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customXml/itemProps10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0"/>
  </p:sldMasterIdLst>
  <p:notesMasterIdLst>
    <p:notesMasterId r:id="rId34"/>
  </p:notesMasterIdLst>
  <p:handoutMasterIdLst>
    <p:handoutMasterId r:id="rId35"/>
  </p:handoutMasterIdLst>
  <p:sldIdLst>
    <p:sldId id="338" r:id="rId11"/>
    <p:sldId id="300" r:id="rId12"/>
    <p:sldId id="359" r:id="rId13"/>
    <p:sldId id="358" r:id="rId14"/>
    <p:sldId id="361" r:id="rId15"/>
    <p:sldId id="2147375145" r:id="rId16"/>
    <p:sldId id="1687" r:id="rId17"/>
    <p:sldId id="2147375147" r:id="rId18"/>
    <p:sldId id="349" r:id="rId19"/>
    <p:sldId id="2147375146" r:id="rId20"/>
    <p:sldId id="1105" r:id="rId21"/>
    <p:sldId id="336" r:id="rId22"/>
    <p:sldId id="362" r:id="rId23"/>
    <p:sldId id="340" r:id="rId24"/>
    <p:sldId id="341" r:id="rId25"/>
    <p:sldId id="343" r:id="rId26"/>
    <p:sldId id="2147375151" r:id="rId27"/>
    <p:sldId id="369" r:id="rId28"/>
    <p:sldId id="363" r:id="rId29"/>
    <p:sldId id="355" r:id="rId30"/>
    <p:sldId id="2147375148" r:id="rId31"/>
    <p:sldId id="2147375152" r:id="rId32"/>
    <p:sldId id="334" r:id="rId33"/>
  </p:sldIdLst>
  <p:sldSz cx="12169775" cy="6858000"/>
  <p:notesSz cx="6858000" cy="9144000"/>
  <p:custDataLst>
    <p:custData r:id="rId3"/>
    <p:custData r:id="rId4"/>
    <p:custData r:id="rId5"/>
    <p:custData r:id="rId6"/>
    <p:custData r:id="rId7"/>
    <p:custData r:id="rId8"/>
    <p:custData r:id="rId9"/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itle" id="{95C52D09-2DEB-4F98-8362-E7FC37D1B415}">
          <p14:sldIdLst>
            <p14:sldId id="338"/>
          </p14:sldIdLst>
        </p14:section>
        <p14:section name="Chapter title" id="{42CE5625-B973-4D71-8259-0ACE94D76670}">
          <p14:sldIdLst>
            <p14:sldId id="300"/>
            <p14:sldId id="359"/>
            <p14:sldId id="358"/>
            <p14:sldId id="361"/>
            <p14:sldId id="2147375145"/>
            <p14:sldId id="1687"/>
            <p14:sldId id="2147375147"/>
            <p14:sldId id="349"/>
            <p14:sldId id="2147375146"/>
            <p14:sldId id="1105"/>
            <p14:sldId id="336"/>
            <p14:sldId id="362"/>
            <p14:sldId id="340"/>
            <p14:sldId id="341"/>
            <p14:sldId id="343"/>
            <p14:sldId id="2147375151"/>
            <p14:sldId id="369"/>
            <p14:sldId id="363"/>
          </p14:sldIdLst>
        </p14:section>
        <p14:section name="Content" id="{F3504D70-21CE-437B-B57A-D947E69E63DC}">
          <p14:sldIdLst>
            <p14:sldId id="355"/>
            <p14:sldId id="2147375148"/>
            <p14:sldId id="2147375152"/>
            <p14:sldId id="334"/>
          </p14:sldIdLst>
        </p14:section>
        <p14:section name="Appendix" id="{B8F4B0F8-4F5C-4B99-819C-70AB7AE7D1D0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367E69-EB47-71B6-C24C-D34061992084}" name="Macků, Jan" initials="MJ" userId="S::jan.macku@siemens-healthineers.com::b0805b99-4936-4570-a19a-9f21b5b810e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-1-5-21-2414005191-2431363525-1628603290-15972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B2C41A-A70F-4F7F-836A-15E567369DC9}" v="7" dt="2026-03-24T07:16:33.429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59" autoAdjust="0"/>
    <p:restoredTop sz="73245" autoAdjust="0"/>
  </p:normalViewPr>
  <p:slideViewPr>
    <p:cSldViewPr snapToGrid="0" snapToObjects="1" showGuides="1">
      <p:cViewPr varScale="1">
        <p:scale>
          <a:sx n="73" d="100"/>
          <a:sy n="73" d="100"/>
        </p:scale>
        <p:origin x="1854" y="2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viewProps" Target="viewProps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42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45" Type="http://schemas.openxmlformats.org/officeDocument/2006/relationships/customXml" Target="../customXml/item10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handoutMaster" Target="handoutMasters/handoutMaster1.xml"/><Relationship Id="rId43" Type="http://schemas.microsoft.com/office/2015/10/relationships/revisionInfo" Target="revisionInfo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presProps" Target="presProps.xml"/><Relationship Id="rId20" Type="http://schemas.openxmlformats.org/officeDocument/2006/relationships/slide" Target="slides/slide10.xml"/><Relationship Id="rId4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cků, Jan" userId="b0805b99-4936-4570-a19a-9f21b5b810e3" providerId="ADAL" clId="{4D5895F9-B523-4F31-8A0F-9182864C1055}"/>
    <pc:docChg chg="undo redo custSel addSld delSld modSld sldOrd delMainMaster modSection">
      <pc:chgData name="Macků, Jan" userId="b0805b99-4936-4570-a19a-9f21b5b810e3" providerId="ADAL" clId="{4D5895F9-B523-4F31-8A0F-9182864C1055}" dt="2026-03-24T14:33:41.507" v="23157" actId="6549"/>
      <pc:docMkLst>
        <pc:docMk/>
      </pc:docMkLst>
      <pc:sldChg chg="addSp delSp modSp mod modClrScheme delAnim modAnim chgLayout modNotesTx">
        <pc:chgData name="Macků, Jan" userId="b0805b99-4936-4570-a19a-9f21b5b810e3" providerId="ADAL" clId="{4D5895F9-B523-4F31-8A0F-9182864C1055}" dt="2026-03-24T14:32:56.925" v="23137" actId="20577"/>
        <pc:sldMkLst>
          <pc:docMk/>
          <pc:sldMk cId="80302458" sldId="300"/>
        </pc:sldMkLst>
        <pc:spChg chg="mod ord">
          <ac:chgData name="Macků, Jan" userId="b0805b99-4936-4570-a19a-9f21b5b810e3" providerId="ADAL" clId="{4D5895F9-B523-4F31-8A0F-9182864C1055}" dt="2026-03-18T08:50:58.793" v="22559" actId="20577"/>
          <ac:spMkLst>
            <pc:docMk/>
            <pc:sldMk cId="80302458" sldId="300"/>
            <ac:spMk id="3" creationId="{00000000-0000-0000-0000-000000000000}"/>
          </ac:spMkLst>
        </pc:spChg>
      </pc:sldChg>
      <pc:sldChg chg="addSp delSp modSp mod modClrScheme chgLayout modNotesTx">
        <pc:chgData name="Macků, Jan" userId="b0805b99-4936-4570-a19a-9f21b5b810e3" providerId="ADAL" clId="{4D5895F9-B523-4F31-8A0F-9182864C1055}" dt="2026-03-24T14:33:41.507" v="23157" actId="6549"/>
        <pc:sldMkLst>
          <pc:docMk/>
          <pc:sldMk cId="1995191675" sldId="334"/>
        </pc:sldMkLst>
      </pc:sldChg>
      <pc:sldChg chg="addSp delSp modSp mod addAnim delAnim modAnim modNotesTx">
        <pc:chgData name="Macků, Jan" userId="b0805b99-4936-4570-a19a-9f21b5b810e3" providerId="ADAL" clId="{4D5895F9-B523-4F31-8A0F-9182864C1055}" dt="2026-03-24T14:33:20.403" v="23147" actId="6549"/>
        <pc:sldMkLst>
          <pc:docMk/>
          <pc:sldMk cId="2369387871" sldId="336"/>
        </pc:sldMkLst>
      </pc:sldChg>
      <pc:sldChg chg="addSp modSp mod modNotesTx">
        <pc:chgData name="Macků, Jan" userId="b0805b99-4936-4570-a19a-9f21b5b810e3" providerId="ADAL" clId="{4D5895F9-B523-4F31-8A0F-9182864C1055}" dt="2026-03-24T14:32:54.001" v="23136" actId="20577"/>
        <pc:sldMkLst>
          <pc:docMk/>
          <pc:sldMk cId="298416577" sldId="338"/>
        </pc:sldMkLst>
      </pc:sldChg>
      <pc:sldChg chg="modSp mod addAnim delAnim modAnim modNotesTx">
        <pc:chgData name="Macků, Jan" userId="b0805b99-4936-4570-a19a-9f21b5b810e3" providerId="ADAL" clId="{4D5895F9-B523-4F31-8A0F-9182864C1055}" dt="2026-03-24T14:33:24.463" v="23149" actId="6549"/>
        <pc:sldMkLst>
          <pc:docMk/>
          <pc:sldMk cId="4266144059" sldId="340"/>
        </pc:sldMkLst>
        <pc:spChg chg="mod">
          <ac:chgData name="Macků, Jan" userId="b0805b99-4936-4570-a19a-9f21b5b810e3" providerId="ADAL" clId="{4D5895F9-B523-4F31-8A0F-9182864C1055}" dt="2026-03-11T13:24:15.627" v="19318" actId="20577"/>
          <ac:spMkLst>
            <pc:docMk/>
            <pc:sldMk cId="4266144059" sldId="340"/>
            <ac:spMk id="3" creationId="{9D78C271-6174-4B75-2277-BB523AC3A193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51" creationId="{96AECB5D-095A-F840-884A-6B8E24919E2E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59" creationId="{7F243A43-A8E5-A57B-BCAB-04ADD65C305F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68" creationId="{C3FA0930-6A8D-0AE9-B8E6-C2E88690F1E0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01" creationId="{C831EAEE-D0A8-ECC4-2D37-31D687881C2A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12" creationId="{E037F4DF-5625-66DA-DEF4-6C9B71838064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44" creationId="{74007636-C6D1-12D5-BDCA-9B1D9659C0FC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49" creationId="{0A274B55-97D2-CE71-FB08-BFB7B6969C87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74" creationId="{4464C6BA-F168-023A-C1A4-6A0FD01ABB10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193" creationId="{7F56EEFF-EF76-2273-BA2F-A9EEF329EEB8}"/>
          </ac:spMkLst>
        </pc:spChg>
        <pc:spChg chg="mod">
          <ac:chgData name="Macků, Jan" userId="b0805b99-4936-4570-a19a-9f21b5b810e3" providerId="ADAL" clId="{4D5895F9-B523-4F31-8A0F-9182864C1055}" dt="2026-03-11T13:24:36.241" v="19322" actId="404"/>
          <ac:spMkLst>
            <pc:docMk/>
            <pc:sldMk cId="4266144059" sldId="340"/>
            <ac:spMk id="214" creationId="{F08DC53F-EE6B-4BC4-BFDA-D44BD99FABF1}"/>
          </ac:spMkLst>
        </pc:spChg>
        <pc:graphicFrameChg chg="mod">
          <ac:chgData name="Macků, Jan" userId="b0805b99-4936-4570-a19a-9f21b5b810e3" providerId="ADAL" clId="{4D5895F9-B523-4F31-8A0F-9182864C1055}" dt="2026-03-11T13:24:04.003" v="19314" actId="1076"/>
          <ac:graphicFrameMkLst>
            <pc:docMk/>
            <pc:sldMk cId="4266144059" sldId="340"/>
            <ac:graphicFrameMk id="5" creationId="{36F97453-6032-3602-BBB7-508E496A0017}"/>
          </ac:graphicFrameMkLst>
        </pc:graphicFrameChg>
      </pc:sldChg>
      <pc:sldChg chg="addSp delSp modSp mod addAnim delAnim modAnim modNotesTx">
        <pc:chgData name="Macků, Jan" userId="b0805b99-4936-4570-a19a-9f21b5b810e3" providerId="ADAL" clId="{4D5895F9-B523-4F31-8A0F-9182864C1055}" dt="2026-03-24T14:33:26.412" v="23150" actId="6549"/>
        <pc:sldMkLst>
          <pc:docMk/>
          <pc:sldMk cId="948206080" sldId="341"/>
        </pc:sldMkLst>
        <pc:spChg chg="mod">
          <ac:chgData name="Macků, Jan" userId="b0805b99-4936-4570-a19a-9f21b5b810e3" providerId="ADAL" clId="{4D5895F9-B523-4F31-8A0F-9182864C1055}" dt="2026-03-24T07:16:37.808" v="22871" actId="20577"/>
          <ac:spMkLst>
            <pc:docMk/>
            <pc:sldMk cId="948206080" sldId="341"/>
            <ac:spMk id="5" creationId="{47B64D4E-EA6D-1E8B-F60C-0F281F5F42A8}"/>
          </ac:spMkLst>
        </pc:spChg>
        <pc:graphicFrameChg chg="add mod">
          <ac:chgData name="Macků, Jan" userId="b0805b99-4936-4570-a19a-9f21b5b810e3" providerId="ADAL" clId="{4D5895F9-B523-4F31-8A0F-9182864C1055}" dt="2026-03-24T07:15:35.922" v="22842"/>
          <ac:graphicFrameMkLst>
            <pc:docMk/>
            <pc:sldMk cId="948206080" sldId="341"/>
            <ac:graphicFrameMk id="3" creationId="{530BE243-C68B-6D4D-0B1F-51071EDCAB91}"/>
          </ac:graphicFrameMkLst>
        </pc:graphicFrameChg>
        <pc:graphicFrameChg chg="add mod">
          <ac:chgData name="Macků, Jan" userId="b0805b99-4936-4570-a19a-9f21b5b810e3" providerId="ADAL" clId="{4D5895F9-B523-4F31-8A0F-9182864C1055}" dt="2026-03-24T07:16:21.253" v="22866"/>
          <ac:graphicFrameMkLst>
            <pc:docMk/>
            <pc:sldMk cId="948206080" sldId="341"/>
            <ac:graphicFrameMk id="7" creationId="{FF6BA7B0-D0B0-5C79-FE03-2D1BBD1FAC75}"/>
          </ac:graphicFrameMkLst>
        </pc:graphicFrameChg>
      </pc:sldChg>
      <pc:sldChg chg="addSp delSp modSp mod addAnim delAnim modAnim modNotesTx">
        <pc:chgData name="Macků, Jan" userId="b0805b99-4936-4570-a19a-9f21b5b810e3" providerId="ADAL" clId="{4D5895F9-B523-4F31-8A0F-9182864C1055}" dt="2026-03-24T14:33:28.869" v="23151" actId="6549"/>
        <pc:sldMkLst>
          <pc:docMk/>
          <pc:sldMk cId="2907194205" sldId="343"/>
        </pc:sldMkLst>
        <pc:spChg chg="add mod">
          <ac:chgData name="Macků, Jan" userId="b0805b99-4936-4570-a19a-9f21b5b810e3" providerId="ADAL" clId="{4D5895F9-B523-4F31-8A0F-9182864C1055}" dt="2026-03-17T08:59:26.147" v="22433" actId="20577"/>
          <ac:spMkLst>
            <pc:docMk/>
            <pc:sldMk cId="2907194205" sldId="343"/>
            <ac:spMk id="3" creationId="{901B0072-252F-7B02-4AFE-F1DE7D2F0D33}"/>
          </ac:spMkLst>
        </pc:spChg>
        <pc:spChg chg="mod">
          <ac:chgData name="Macků, Jan" userId="b0805b99-4936-4570-a19a-9f21b5b810e3" providerId="ADAL" clId="{4D5895F9-B523-4F31-8A0F-9182864C1055}" dt="2026-03-11T13:39:31.382" v="19820" actId="20577"/>
          <ac:spMkLst>
            <pc:docMk/>
            <pc:sldMk cId="2907194205" sldId="343"/>
            <ac:spMk id="10" creationId="{7A981F1F-B2E3-51D2-E32A-C2779C1879B0}"/>
          </ac:spMkLst>
        </pc:spChg>
      </pc:sldChg>
      <pc:sldChg chg="addSp delSp modSp mod ord addAnim delAnim modAnim modNotesTx">
        <pc:chgData name="Macků, Jan" userId="b0805b99-4936-4570-a19a-9f21b5b810e3" providerId="ADAL" clId="{4D5895F9-B523-4F31-8A0F-9182864C1055}" dt="2026-03-24T14:33:14.051" v="23144" actId="6549"/>
        <pc:sldMkLst>
          <pc:docMk/>
          <pc:sldMk cId="2334836949" sldId="349"/>
        </pc:sldMkLst>
      </pc:sldChg>
      <pc:sldChg chg="addSp delSp modSp mod ord addAnim delAnim modAnim modNotesTx">
        <pc:chgData name="Macků, Jan" userId="b0805b99-4936-4570-a19a-9f21b5b810e3" providerId="ADAL" clId="{4D5895F9-B523-4F31-8A0F-9182864C1055}" dt="2026-03-24T14:33:36.660" v="23155" actId="6549"/>
        <pc:sldMkLst>
          <pc:docMk/>
          <pc:sldMk cId="3139208757" sldId="355"/>
        </pc:sldMkLst>
        <pc:spChg chg="mod">
          <ac:chgData name="Macků, Jan" userId="b0805b99-4936-4570-a19a-9f21b5b810e3" providerId="ADAL" clId="{4D5895F9-B523-4F31-8A0F-9182864C1055}" dt="2026-03-12T13:34:33.285" v="21490" actId="20577"/>
          <ac:spMkLst>
            <pc:docMk/>
            <pc:sldMk cId="3139208757" sldId="355"/>
            <ac:spMk id="2" creationId="{F3DFDB3C-4A64-FA46-BD4B-15D1908F5389}"/>
          </ac:spMkLst>
        </pc:spChg>
      </pc:sldChg>
      <pc:sldChg chg="modAnim modNotesTx">
        <pc:chgData name="Macků, Jan" userId="b0805b99-4936-4570-a19a-9f21b5b810e3" providerId="ADAL" clId="{4D5895F9-B523-4F31-8A0F-9182864C1055}" dt="2026-03-24T14:33:01.919" v="23139" actId="6549"/>
        <pc:sldMkLst>
          <pc:docMk/>
          <pc:sldMk cId="1595920417" sldId="358"/>
        </pc:sldMkLst>
      </pc:sldChg>
      <pc:sldChg chg="addSp delSp modSp mod modNotesTx">
        <pc:chgData name="Macků, Jan" userId="b0805b99-4936-4570-a19a-9f21b5b810e3" providerId="ADAL" clId="{4D5895F9-B523-4F31-8A0F-9182864C1055}" dt="2026-03-24T14:32:59.412" v="23138" actId="6549"/>
        <pc:sldMkLst>
          <pc:docMk/>
          <pc:sldMk cId="3646618021" sldId="359"/>
        </pc:sldMkLst>
        <pc:picChg chg="add mod">
          <ac:chgData name="Macků, Jan" userId="b0805b99-4936-4570-a19a-9f21b5b810e3" providerId="ADAL" clId="{4D5895F9-B523-4F31-8A0F-9182864C1055}" dt="2026-03-17T07:38:10.032" v="22419" actId="1076"/>
          <ac:picMkLst>
            <pc:docMk/>
            <pc:sldMk cId="3646618021" sldId="359"/>
            <ac:picMk id="3074" creationId="{FB1CEEEB-DCC0-F9D5-8351-BDC6278FF322}"/>
          </ac:picMkLst>
        </pc:picChg>
      </pc:sldChg>
      <pc:sldChg chg="addSp delSp modSp mod delAnim modAnim modNotesTx">
        <pc:chgData name="Macků, Jan" userId="b0805b99-4936-4570-a19a-9f21b5b810e3" providerId="ADAL" clId="{4D5895F9-B523-4F31-8A0F-9182864C1055}" dt="2026-03-24T14:33:05.378" v="23140" actId="6549"/>
        <pc:sldMkLst>
          <pc:docMk/>
          <pc:sldMk cId="1747819786" sldId="361"/>
        </pc:sldMkLst>
      </pc:sldChg>
      <pc:sldChg chg="addSp delSp modSp mod ord modNotesTx">
        <pc:chgData name="Macků, Jan" userId="b0805b99-4936-4570-a19a-9f21b5b810e3" providerId="ADAL" clId="{4D5895F9-B523-4F31-8A0F-9182864C1055}" dt="2026-03-24T14:33:22.198" v="23148" actId="6549"/>
        <pc:sldMkLst>
          <pc:docMk/>
          <pc:sldMk cId="1280146952" sldId="362"/>
        </pc:sldMkLst>
        <pc:picChg chg="add mod">
          <ac:chgData name="Macků, Jan" userId="b0805b99-4936-4570-a19a-9f21b5b810e3" providerId="ADAL" clId="{4D5895F9-B523-4F31-8A0F-9182864C1055}" dt="2026-03-12T14:47:54.593" v="22286" actId="1076"/>
          <ac:picMkLst>
            <pc:docMk/>
            <pc:sldMk cId="1280146952" sldId="362"/>
            <ac:picMk id="4098" creationId="{30DD62C3-373F-9714-7131-C5EDEDF8092E}"/>
          </ac:picMkLst>
        </pc:picChg>
      </pc:sldChg>
      <pc:sldChg chg="addSp delSp modSp mod modNotesTx">
        <pc:chgData name="Macků, Jan" userId="b0805b99-4936-4570-a19a-9f21b5b810e3" providerId="ADAL" clId="{4D5895F9-B523-4F31-8A0F-9182864C1055}" dt="2026-03-24T14:33:34.815" v="23154" actId="6549"/>
        <pc:sldMkLst>
          <pc:docMk/>
          <pc:sldMk cId="1984577281" sldId="363"/>
        </pc:sldMkLst>
      </pc:sldChg>
      <pc:sldChg chg="modSp mod addAnim delAnim modAnim modNotesTx">
        <pc:chgData name="Macků, Jan" userId="b0805b99-4936-4570-a19a-9f21b5b810e3" providerId="ADAL" clId="{4D5895F9-B523-4F31-8A0F-9182864C1055}" dt="2026-03-24T14:33:33.001" v="23153" actId="6549"/>
        <pc:sldMkLst>
          <pc:docMk/>
          <pc:sldMk cId="2767686114" sldId="369"/>
        </pc:sldMkLst>
        <pc:spChg chg="mod">
          <ac:chgData name="Macků, Jan" userId="b0805b99-4936-4570-a19a-9f21b5b810e3" providerId="ADAL" clId="{4D5895F9-B523-4F31-8A0F-9182864C1055}" dt="2026-03-11T14:13:39.029" v="20754" actId="20577"/>
          <ac:spMkLst>
            <pc:docMk/>
            <pc:sldMk cId="2767686114" sldId="369"/>
            <ac:spMk id="2" creationId="{B87DEA52-DB2D-8880-DA24-3882BBE6E90F}"/>
          </ac:spMkLst>
        </pc:spChg>
        <pc:spChg chg="mod">
          <ac:chgData name="Macků, Jan" userId="b0805b99-4936-4570-a19a-9f21b5b810e3" providerId="ADAL" clId="{4D5895F9-B523-4F31-8A0F-9182864C1055}" dt="2026-03-11T14:15:05.827" v="20807" actId="14100"/>
          <ac:spMkLst>
            <pc:docMk/>
            <pc:sldMk cId="2767686114" sldId="369"/>
            <ac:spMk id="3" creationId="{4FB815C6-A683-BA60-2964-C5D436E574B6}"/>
          </ac:spMkLst>
        </pc:spChg>
      </pc:sldChg>
      <pc:sldChg chg="addSp delSp modSp add mod addAnim delAnim modAnim modNotesTx">
        <pc:chgData name="Macků, Jan" userId="b0805b99-4936-4570-a19a-9f21b5b810e3" providerId="ADAL" clId="{4D5895F9-B523-4F31-8A0F-9182864C1055}" dt="2026-03-24T14:33:18.514" v="23146" actId="6549"/>
        <pc:sldMkLst>
          <pc:docMk/>
          <pc:sldMk cId="2800906765" sldId="1105"/>
        </pc:sldMkLst>
        <pc:spChg chg="mod">
          <ac:chgData name="Macků, Jan" userId="b0805b99-4936-4570-a19a-9f21b5b810e3" providerId="ADAL" clId="{4D5895F9-B523-4F31-8A0F-9182864C1055}" dt="2026-03-12T14:48:17.803" v="22288" actId="20577"/>
          <ac:spMkLst>
            <pc:docMk/>
            <pc:sldMk cId="2800906765" sldId="1105"/>
            <ac:spMk id="2" creationId="{DAA2F390-DC01-3F4B-B60D-A9DED548A988}"/>
          </ac:spMkLst>
        </pc:spChg>
        <pc:spChg chg="add mod">
          <ac:chgData name="Macků, Jan" userId="b0805b99-4936-4570-a19a-9f21b5b810e3" providerId="ADAL" clId="{4D5895F9-B523-4F31-8A0F-9182864C1055}" dt="2026-03-19T14:40:12.375" v="22839" actId="20577"/>
          <ac:spMkLst>
            <pc:docMk/>
            <pc:sldMk cId="2800906765" sldId="1105"/>
            <ac:spMk id="4" creationId="{51C3A8CF-4BA0-EF63-2631-CF02F954AEB9}"/>
          </ac:spMkLst>
        </pc:spChg>
        <pc:spChg chg="mod">
          <ac:chgData name="Macků, Jan" userId="b0805b99-4936-4570-a19a-9f21b5b810e3" providerId="ADAL" clId="{4D5895F9-B523-4F31-8A0F-9182864C1055}" dt="2026-03-11T12:34:37.809" v="17828" actId="1076"/>
          <ac:spMkLst>
            <pc:docMk/>
            <pc:sldMk cId="2800906765" sldId="1105"/>
            <ac:spMk id="39" creationId="{6ACB438D-CC92-7145-B753-1A52F4CB8F73}"/>
          </ac:spMkLst>
        </pc:spChg>
      </pc:sldChg>
      <pc:sldChg chg="modSp add mod modNotesTx">
        <pc:chgData name="Macků, Jan" userId="b0805b99-4936-4570-a19a-9f21b5b810e3" providerId="ADAL" clId="{4D5895F9-B523-4F31-8A0F-9182864C1055}" dt="2026-03-24T14:33:10.068" v="23142" actId="6549"/>
        <pc:sldMkLst>
          <pc:docMk/>
          <pc:sldMk cId="3409230250" sldId="1687"/>
        </pc:sldMkLst>
        <pc:spChg chg="mod">
          <ac:chgData name="Macků, Jan" userId="b0805b99-4936-4570-a19a-9f21b5b810e3" providerId="ADAL" clId="{4D5895F9-B523-4F31-8A0F-9182864C1055}" dt="2026-03-17T07:45:55.751" v="22421" actId="20577"/>
          <ac:spMkLst>
            <pc:docMk/>
            <pc:sldMk cId="3409230250" sldId="1687"/>
            <ac:spMk id="179" creationId="{BBD29A23-3094-40CF-B5AD-74B2554F135C}"/>
          </ac:spMkLst>
        </pc:spChg>
      </pc:sldChg>
      <pc:sldChg chg="modSp add mod modAnim modNotesTx">
        <pc:chgData name="Macků, Jan" userId="b0805b99-4936-4570-a19a-9f21b5b810e3" providerId="ADAL" clId="{4D5895F9-B523-4F31-8A0F-9182864C1055}" dt="2026-03-24T14:33:07.736" v="23141" actId="6549"/>
        <pc:sldMkLst>
          <pc:docMk/>
          <pc:sldMk cId="3927566887" sldId="2147375145"/>
        </pc:sldMkLst>
        <pc:spChg chg="mod">
          <ac:chgData name="Macků, Jan" userId="b0805b99-4936-4570-a19a-9f21b5b810e3" providerId="ADAL" clId="{4D5895F9-B523-4F31-8A0F-9182864C1055}" dt="2026-03-10T16:52:33.550" v="16096" actId="20577"/>
          <ac:spMkLst>
            <pc:docMk/>
            <pc:sldMk cId="3927566887" sldId="2147375145"/>
            <ac:spMk id="7" creationId="{A20378E4-3F88-4179-988E-BA5CF24ECCD8}"/>
          </ac:spMkLst>
        </pc:spChg>
        <pc:spChg chg="mod">
          <ac:chgData name="Macků, Jan" userId="b0805b99-4936-4570-a19a-9f21b5b810e3" providerId="ADAL" clId="{4D5895F9-B523-4F31-8A0F-9182864C1055}" dt="2026-03-10T16:52:42.691" v="16101" actId="20577"/>
          <ac:spMkLst>
            <pc:docMk/>
            <pc:sldMk cId="3927566887" sldId="2147375145"/>
            <ac:spMk id="10" creationId="{AECA3DF6-71ED-440C-88C1-B766115A04BF}"/>
          </ac:spMkLst>
        </pc:spChg>
      </pc:sldChg>
      <pc:sldChg chg="addSp delSp modSp add mod addAnim delAnim modAnim modNotesTx">
        <pc:chgData name="Macků, Jan" userId="b0805b99-4936-4570-a19a-9f21b5b810e3" providerId="ADAL" clId="{4D5895F9-B523-4F31-8A0F-9182864C1055}" dt="2026-03-24T14:33:16.726" v="23145" actId="6549"/>
        <pc:sldMkLst>
          <pc:docMk/>
          <pc:sldMk cId="423217364" sldId="2147375146"/>
        </pc:sldMkLst>
      </pc:sldChg>
      <pc:sldChg chg="addSp delSp modSp add mod delAnim modAnim modNotesTx">
        <pc:chgData name="Macků, Jan" userId="b0805b99-4936-4570-a19a-9f21b5b810e3" providerId="ADAL" clId="{4D5895F9-B523-4F31-8A0F-9182864C1055}" dt="2026-03-24T14:33:12.117" v="23143" actId="6549"/>
        <pc:sldMkLst>
          <pc:docMk/>
          <pc:sldMk cId="899704885" sldId="2147375147"/>
        </pc:sldMkLst>
      </pc:sldChg>
      <pc:sldChg chg="addSp delSp modSp new mod addAnim delAnim modAnim modNotesTx">
        <pc:chgData name="Macků, Jan" userId="b0805b99-4936-4570-a19a-9f21b5b810e3" providerId="ADAL" clId="{4D5895F9-B523-4F31-8A0F-9182864C1055}" dt="2026-03-24T14:33:38.412" v="23156" actId="6549"/>
        <pc:sldMkLst>
          <pc:docMk/>
          <pc:sldMk cId="3286005517" sldId="2147375148"/>
        </pc:sldMkLst>
        <pc:spChg chg="mod">
          <ac:chgData name="Macků, Jan" userId="b0805b99-4936-4570-a19a-9f21b5b810e3" providerId="ADAL" clId="{4D5895F9-B523-4F31-8A0F-9182864C1055}" dt="2026-03-12T14:35:40.480" v="22280" actId="20577"/>
          <ac:spMkLst>
            <pc:docMk/>
            <pc:sldMk cId="3286005517" sldId="2147375148"/>
            <ac:spMk id="3" creationId="{1F6B7FB5-10C1-3CEF-14A6-3D87F4CAE20F}"/>
          </ac:spMkLst>
        </pc:spChg>
      </pc:sldChg>
      <pc:sldChg chg="addSp delSp modSp add mod delAnim modAnim modNotesTx">
        <pc:chgData name="Macků, Jan" userId="b0805b99-4936-4570-a19a-9f21b5b810e3" providerId="ADAL" clId="{4D5895F9-B523-4F31-8A0F-9182864C1055}" dt="2026-03-24T14:33:31.124" v="23152" actId="6549"/>
        <pc:sldMkLst>
          <pc:docMk/>
          <pc:sldMk cId="158445929" sldId="2147375151"/>
        </pc:sldMkLst>
        <pc:picChg chg="add mod">
          <ac:chgData name="Macků, Jan" userId="b0805b99-4936-4570-a19a-9f21b5b810e3" providerId="ADAL" clId="{4D5895F9-B523-4F31-8A0F-9182864C1055}" dt="2026-03-11T14:05:08.453" v="20331" actId="1076"/>
          <ac:picMkLst>
            <pc:docMk/>
            <pc:sldMk cId="158445929" sldId="2147375151"/>
            <ac:picMk id="5" creationId="{84A457A8-BAD4-4C15-F60A-A7DF5BC5067D}"/>
          </ac:picMkLst>
        </pc:picChg>
        <pc:picChg chg="mod modCrop">
          <ac:chgData name="Macků, Jan" userId="b0805b99-4936-4570-a19a-9f21b5b810e3" providerId="ADAL" clId="{4D5895F9-B523-4F31-8A0F-9182864C1055}" dt="2026-03-11T13:58:38.878" v="19832" actId="1076"/>
          <ac:picMkLst>
            <pc:docMk/>
            <pc:sldMk cId="158445929" sldId="2147375151"/>
            <ac:picMk id="6" creationId="{7B217F4E-DE6B-2E2C-6B24-8496F03E611D}"/>
          </ac:picMkLst>
        </pc:picChg>
        <pc:picChg chg="add mod modCrop">
          <ac:chgData name="Macků, Jan" userId="b0805b99-4936-4570-a19a-9f21b5b810e3" providerId="ADAL" clId="{4D5895F9-B523-4F31-8A0F-9182864C1055}" dt="2026-03-11T14:08:07.824" v="20551" actId="1076"/>
          <ac:picMkLst>
            <pc:docMk/>
            <pc:sldMk cId="158445929" sldId="2147375151"/>
            <ac:picMk id="7" creationId="{E2592644-677F-2D17-0534-6DAD4F08B7BA}"/>
          </ac:picMkLst>
        </pc:picChg>
      </pc:sldChg>
      <pc:sldChg chg="addSp delSp modSp add mod modAnim modNotesTx">
        <pc:chgData name="Macků, Jan" userId="b0805b99-4936-4570-a19a-9f21b5b810e3" providerId="ADAL" clId="{4D5895F9-B523-4F31-8A0F-9182864C1055}" dt="2026-03-19T09:37:51.739" v="22778" actId="1076"/>
        <pc:sldMkLst>
          <pc:docMk/>
          <pc:sldMk cId="1793636949" sldId="2147375152"/>
        </pc:sldMkLst>
        <pc:picChg chg="mod">
          <ac:chgData name="Macků, Jan" userId="b0805b99-4936-4570-a19a-9f21b5b810e3" providerId="ADAL" clId="{4D5895F9-B523-4F31-8A0F-9182864C1055}" dt="2026-03-19T09:37:51.739" v="22778" actId="1076"/>
          <ac:picMkLst>
            <pc:docMk/>
            <pc:sldMk cId="1793636949" sldId="2147375152"/>
            <ac:picMk id="5" creationId="{C0825DA3-4828-F7FC-DF04-A6460B1986B8}"/>
          </ac:picMkLst>
        </pc:picChg>
        <pc:picChg chg="add mod ord">
          <ac:chgData name="Macků, Jan" userId="b0805b99-4936-4570-a19a-9f21b5b810e3" providerId="ADAL" clId="{4D5895F9-B523-4F31-8A0F-9182864C1055}" dt="2026-03-19T09:31:06.213" v="22767" actId="167"/>
          <ac:picMkLst>
            <pc:docMk/>
            <pc:sldMk cId="1793636949" sldId="2147375152"/>
            <ac:picMk id="9" creationId="{D6E369E5-3BA4-5293-2D6C-55C4C214C2CB}"/>
          </ac:picMkLst>
        </pc:picChg>
        <pc:picChg chg="add mod">
          <ac:chgData name="Macků, Jan" userId="b0805b99-4936-4570-a19a-9f21b5b810e3" providerId="ADAL" clId="{4D5895F9-B523-4F31-8A0F-9182864C1055}" dt="2026-03-19T09:37:22.746" v="22777" actId="1076"/>
          <ac:picMkLst>
            <pc:docMk/>
            <pc:sldMk cId="1793636949" sldId="2147375152"/>
            <ac:picMk id="11" creationId="{AD6E6B82-4FB5-C9D6-FA64-7F7671EC36C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4.03.202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4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90955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233C0-4900-8739-B1E2-DE792FCA08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132169-C197-32D3-F544-873817658B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3481FD-B527-780C-48E6-08DC487BC2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8AF0D-0E5B-FBC9-1804-4504C338B9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28383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566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55917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75799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B63EA-AE35-43A1-05C6-746C9471B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64F099F-3724-6612-6475-0043A67E14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CE75A2D-620F-4B28-1698-D1EA97DB8E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6DBC1C-729A-BE90-6A03-D2B2A71E64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74607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5599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14952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1A5EB-D98D-3A8D-FA23-97479C8624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4E138C-1CA6-4C3B-D07E-F78CF8358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9F447C-EDCE-797F-2E9B-DD08A31F7C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C617D-D00B-38B5-0AD1-5FD3BC53A5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14968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03933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6990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51048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59EFFB-933E-8FB0-2BDC-B0EDAD304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1C4C715-F5E9-4DA1-D29A-0927575CD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8B4F658-D95A-7013-F89C-630FF0E4F4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7F5C5-2B36-EF8F-D257-8D6B2982A8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28157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74608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45574-E0B2-7FA5-8905-642287302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2CBBA1-7AD1-FAD1-0EE8-7B050D5AF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E2570C-45AF-2801-C823-9B16A7410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75B29-365A-CE34-840F-0E34A661AD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0567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921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903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8201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3500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5100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s No. </a:t>
            </a: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441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CABEA-7057-6B74-BB60-67AC1C036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A45505-50E1-4EC3-8CF7-3FCA73F0C2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6BFCB4-8AA2-FBFD-D091-38CE01425D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29B85D-E265-3BA0-5121-1140B2764B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s No. </a:t>
            </a: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232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580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Optional subhead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Headline </a:t>
            </a:r>
            <a:br>
              <a:rPr lang="en-US" noProof="0" dirty="0"/>
            </a:br>
            <a:r>
              <a:rPr lang="en-US" noProof="0" dirty="0"/>
              <a:t>Calibri 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er Calibri 16 pt</a:t>
            </a:r>
            <a:br>
              <a:rPr lang="en-US" noProof="0" dirty="0"/>
            </a:br>
            <a:r>
              <a:rPr lang="en-US" noProof="0" dirty="0"/>
              <a:t>English, Month 2024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noProof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noProof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noProof="0">
                <a:solidFill>
                  <a:schemeClr val="tx1"/>
                </a:solidFill>
              </a:rPr>
              <a:t>optionally  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noProof="0">
              <a:solidFill>
                <a:schemeClr val="bg1"/>
              </a:solidFill>
              <a:latin typeface="+mn-lt"/>
            </a:endParaRPr>
          </a:p>
          <a:p>
            <a:r>
              <a:rPr lang="en-US" sz="1100" noProof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noProof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noProof="0">
                <a:solidFill>
                  <a:schemeClr val="tx1"/>
                </a:solidFill>
                <a:latin typeface="+mn-lt"/>
              </a:rPr>
              <a:t>Select </a:t>
            </a:r>
            <a:r>
              <a:rPr lang="en-US" sz="1100" b="1" noProof="0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US" sz="1100" b="0" noProof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US" sz="1100" b="0" noProof="0">
                <a:solidFill>
                  <a:schemeClr val="tx1"/>
                </a:solidFill>
                <a:latin typeface="+mn-lt"/>
              </a:rPr>
            </a:br>
            <a:r>
              <a:rPr lang="en-US" sz="1100" b="0" noProof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497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7A0B1002-B9E1-4BD1-87C1-830FEBC3AB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FDC4F5C6-9673-44EB-B422-E6717BC2C4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5">
            <a:extLst>
              <a:ext uri="{FF2B5EF4-FFF2-40B4-BE49-F238E27FC236}">
                <a16:creationId xmlns:a16="http://schemas.microsoft.com/office/drawing/2014/main" id="{8A7875A9-E733-4C47-BA95-2C92C1524F0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4" name="TextBox 5">
            <a:extLst>
              <a:ext uri="{FF2B5EF4-FFF2-40B4-BE49-F238E27FC236}">
                <a16:creationId xmlns:a16="http://schemas.microsoft.com/office/drawing/2014/main" id="{3F84E70F-FB3D-4AE7-8A2C-A042E16D64A7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3CB828C1-8DF5-4C7F-AAE3-19596CEA440A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idden title">
            <a:extLst>
              <a:ext uri="{FF2B5EF4-FFF2-40B4-BE49-F238E27FC236}">
                <a16:creationId xmlns:a16="http://schemas.microsoft.com/office/drawing/2014/main" id="{2EEE1BBF-C7C7-5DF1-003D-E6194230E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47CF5F01-9A3A-4F32-92CF-298F6ACCA2E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Siemens Healthineers logo">
            <a:extLst>
              <a:ext uri="{FF2B5EF4-FFF2-40B4-BE49-F238E27FC236}">
                <a16:creationId xmlns:a16="http://schemas.microsoft.com/office/drawing/2014/main" id="{2426173F-5027-713F-FD78-CD9F368432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idden title">
            <a:extLst>
              <a:ext uri="{FF2B5EF4-FFF2-40B4-BE49-F238E27FC236}">
                <a16:creationId xmlns:a16="http://schemas.microsoft.com/office/drawing/2014/main" id="{E85FB90E-0B0B-001D-0CC7-23C209120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7" name="TextBox 5">
            <a:extLst>
              <a:ext uri="{FF2B5EF4-FFF2-40B4-BE49-F238E27FC236}">
                <a16:creationId xmlns:a16="http://schemas.microsoft.com/office/drawing/2014/main" id="{BC63A81D-3EEB-4062-BDC0-21E83B9423B2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idden title">
            <a:extLst>
              <a:ext uri="{FF2B5EF4-FFF2-40B4-BE49-F238E27FC236}">
                <a16:creationId xmlns:a16="http://schemas.microsoft.com/office/drawing/2014/main" id="{9C7694D4-400D-9921-3AAE-F9454EAAE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01C9B5B8-4498-4007-A232-8AEF2CCB6DD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99EE0F3-C34F-4788-B238-4B3A62274B3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2" name="TextBox 5">
            <a:extLst>
              <a:ext uri="{FF2B5EF4-FFF2-40B4-BE49-F238E27FC236}">
                <a16:creationId xmlns:a16="http://schemas.microsoft.com/office/drawing/2014/main" id="{295B91A2-DB0B-4B89-8D78-BB61E03467FC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 dirty="0"/>
              <a:t>Insert key visual or another title motive (please refer to the front level communication matrix). </a:t>
            </a:r>
            <a:r>
              <a:rPr lang="en-GB" dirty="0"/>
              <a:t>When using a key visual, please pay attention to the correct placement.</a:t>
            </a:r>
            <a:endParaRPr lang="en-US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599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pt</a:t>
            </a:r>
            <a:br>
              <a:rPr lang="en-US" dirty="0"/>
            </a:br>
            <a:r>
              <a:rPr lang="en-US" dirty="0"/>
              <a:t>English, Month 2024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28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CD0F6A0E-995C-402A-8853-745F5D53EAB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2479C87C-4F28-46F2-ADE8-B0C1E181165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A90A8933-12E0-45C6-97E3-BC14EB9B6AE2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51473639-ECE2-4063-9B15-15644125E29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tro Title Picture 0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5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1D4C8F54-CA57-432E-B219-8F9B2883FF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:a16="http://schemas.microsoft.com/office/drawing/2014/main" id="{0E373152-53F1-4A5C-BA28-60A67016977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:a16="http://schemas.microsoft.com/office/drawing/2014/main" id="{87D28081-5C7D-4263-A122-A9A343119521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:a16="http://schemas.microsoft.com/office/drawing/2014/main" id="{2D8F380D-9AB1-4632-B05F-79A71910221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:a16="http://schemas.microsoft.com/office/drawing/2014/main" id="{ECED7000-783D-45AD-A9D2-698BE235DF17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:a16="http://schemas.microsoft.com/office/drawing/2014/main" id="{F01B2F18-147D-4109-B327-12625E3107B9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:a16="http://schemas.microsoft.com/office/drawing/2014/main" id="{64863C32-5294-44FC-8643-E468CA154E78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:a16="http://schemas.microsoft.com/office/drawing/2014/main" id="{9745B01A-4D23-4141-B61F-7FE622CD835F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:a16="http://schemas.microsoft.com/office/drawing/2014/main" id="{1B0F8A37-6A9D-48D9-BEF7-DB0D665102BE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:a16="http://schemas.microsoft.com/office/drawing/2014/main" id="{FA2DEC35-0591-4B44-8ADF-6E904E5CB04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:a16="http://schemas.microsoft.com/office/drawing/2014/main" id="{26E05700-1560-4B3B-8D2C-2FBD0C494F9D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:a16="http://schemas.microsoft.com/office/drawing/2014/main" id="{6D8A2E44-F681-4228-81D4-F420468A1766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:a16="http://schemas.microsoft.com/office/drawing/2014/main" id="{6748F20F-A1E0-4105-A14F-A42377386C7F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:a16="http://schemas.microsoft.com/office/drawing/2014/main" id="{88314AD1-9B10-47AA-87EF-2640D2DC0494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:a16="http://schemas.microsoft.com/office/drawing/2014/main" id="{36D52977-A41B-41AF-A116-02DEE40BEAB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:a16="http://schemas.microsoft.com/office/drawing/2014/main" id="{371D0E7A-28FA-405E-B9E7-D8DAC8974319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:a16="http://schemas.microsoft.com/office/drawing/2014/main" id="{BE1195D6-F1BB-4CE6-9B2E-EE26044C4D35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:a16="http://schemas.microsoft.com/office/drawing/2014/main" id="{267C8800-F149-4C34-A6C7-69899737EE0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:a16="http://schemas.microsoft.com/office/drawing/2014/main" id="{72AC5500-8468-42AA-A154-B96BE9ACC56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:a16="http://schemas.microsoft.com/office/drawing/2014/main" id="{9F4C69DD-F1E9-4BE4-9DB9-B96C6B34D06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:a16="http://schemas.microsoft.com/office/drawing/2014/main" id="{7AC7776A-A973-4CF3-8B51-A908C9FBA98C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:a16="http://schemas.microsoft.com/office/drawing/2014/main" id="{7972B666-996E-4FCA-93A1-543D6083388F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:a16="http://schemas.microsoft.com/office/drawing/2014/main" id="{D124AAC6-818C-4909-A52A-9C1C55CE3A0C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:a16="http://schemas.microsoft.com/office/drawing/2014/main" id="{7F1F76A3-320E-43EB-B2B6-735DC779B8FC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:a16="http://schemas.microsoft.com/office/drawing/2014/main" id="{C44F0130-9F65-4D10-9457-1B4B7F532EA4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:a16="http://schemas.microsoft.com/office/drawing/2014/main" id="{B064E506-2F77-4120-AC43-D1BFD281E17A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:a16="http://schemas.microsoft.com/office/drawing/2014/main" id="{6789BCA4-E813-41A6-87F4-986302AEB357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:a16="http://schemas.microsoft.com/office/drawing/2014/main" id="{5EE21CC1-DED0-4DD3-989D-A6A69B22C004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:a16="http://schemas.microsoft.com/office/drawing/2014/main" id="{171A9335-006B-42D4-AAE7-3173368B4023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:a16="http://schemas.microsoft.com/office/drawing/2014/main" id="{B41B7C74-BF9F-421B-B6C7-57C2289DF7E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:a16="http://schemas.microsoft.com/office/drawing/2014/main" id="{EFA37079-1C53-4920-8D14-F73F9634284F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:a16="http://schemas.microsoft.com/office/drawing/2014/main" id="{B6DF8B4C-734B-488E-9684-F2BD18ACA1CC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:a16="http://schemas.microsoft.com/office/drawing/2014/main" id="{B9D60400-7679-4AC9-B3CF-7867105C670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:a16="http://schemas.microsoft.com/office/drawing/2014/main" id="{F30163F1-3EDB-46A2-96DC-25347A5BD1E5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:a16="http://schemas.microsoft.com/office/drawing/2014/main" id="{96FBA5F0-DFE3-46F2-89AB-F33E4A234D95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:a16="http://schemas.microsoft.com/office/drawing/2014/main" id="{166438F8-A62F-4CFB-970B-EC61739E482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:a16="http://schemas.microsoft.com/office/drawing/2014/main" id="{320BB23F-6880-4655-A99A-4A1BE34489EA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:a16="http://schemas.microsoft.com/office/drawing/2014/main" id="{FD25E049-BA09-4DA7-8E7C-CCA919D7F319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:a16="http://schemas.microsoft.com/office/drawing/2014/main" id="{AB9ADEC5-646F-48A9-9F89-61FE32A88399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:a16="http://schemas.microsoft.com/office/drawing/2014/main" id="{57A43B6E-FFFE-4DD2-B010-7691C411330F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:a16="http://schemas.microsoft.com/office/drawing/2014/main" id="{91B2D6AA-017B-4948-B30B-3A5A8F6217F9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:a16="http://schemas.microsoft.com/office/drawing/2014/main" id="{8B5E6F71-D969-4A99-89E5-88E74F958B0A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:a16="http://schemas.microsoft.com/office/drawing/2014/main" id="{A541CFAA-5F38-4609-A0B5-7B32D079A41C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:a16="http://schemas.microsoft.com/office/drawing/2014/main" id="{F11846CB-5236-4456-B821-EC07DFD2BF47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:a16="http://schemas.microsoft.com/office/drawing/2014/main" id="{67500360-8CC7-48EA-8DEA-D3E76F2A863A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:a16="http://schemas.microsoft.com/office/drawing/2014/main" id="{5BA1E83F-78E0-4C6B-AF6F-3429B830FC03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:a16="http://schemas.microsoft.com/office/drawing/2014/main" id="{DF926600-0817-474D-8CC9-96F35CA99A6C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:a16="http://schemas.microsoft.com/office/drawing/2014/main" id="{AFC843C8-4006-457A-85BD-783C61F1CDBB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:a16="http://schemas.microsoft.com/office/drawing/2014/main" id="{49961705-8540-497E-987C-B545A4FDD0D0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:a16="http://schemas.microsoft.com/office/drawing/2014/main" id="{D374666A-201D-4158-86C9-18F89F81ED51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:a16="http://schemas.microsoft.com/office/drawing/2014/main" id="{A9426618-E271-45C8-8028-B092CC6C3551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:a16="http://schemas.microsoft.com/office/drawing/2014/main" id="{ADE4C5FA-EDC7-49C8-B2CA-5BC713C34CC8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:a16="http://schemas.microsoft.com/office/drawing/2014/main" id="{B13B3F21-0492-4ABD-B1B8-7DE3C3E489C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:a16="http://schemas.microsoft.com/office/drawing/2014/main" id="{2C688EE0-890C-4B9A-B0D4-58603DC20922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0671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pt</a:t>
            </a:r>
            <a:br>
              <a:rPr lang="en-US" dirty="0"/>
            </a:br>
            <a:r>
              <a:rPr lang="en-US" dirty="0"/>
              <a:t>English, Month 2024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C763EA-6C08-40D2-97D3-0905B7D6DDEE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61" name="TextBox 5">
            <a:extLst>
              <a:ext uri="{FF2B5EF4-FFF2-40B4-BE49-F238E27FC236}">
                <a16:creationId xmlns:a16="http://schemas.microsoft.com/office/drawing/2014/main" id="{5CB9023E-A62F-4166-A814-CA2B27CCD1F2}"/>
              </a:ext>
            </a:extLst>
          </p:cNvPr>
          <p:cNvSpPr txBox="1"/>
          <p:nvPr userDrawn="1"/>
        </p:nvSpPr>
        <p:spPr>
          <a:xfrm>
            <a:off x="11347637" y="6349996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004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205923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431C5C-CB1C-FEE4-7396-C8C044A5BC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12775" y="2334410"/>
            <a:ext cx="4114800" cy="2602800"/>
          </a:xfrm>
        </p:spPr>
        <p:txBody>
          <a:bodyPr/>
          <a:lstStyle>
            <a:lvl1pPr>
              <a:defRPr sz="5200"/>
            </a:lvl1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7F37326A-B34D-4767-9015-ACB626F5584E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6000" indent="-2160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14290200-244B-4278-80B1-2F5BC9D3645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7" name="TextBox 5">
            <a:extLst>
              <a:ext uri="{FF2B5EF4-FFF2-40B4-BE49-F238E27FC236}">
                <a16:creationId xmlns:a16="http://schemas.microsoft.com/office/drawing/2014/main" id="{D0AB4910-D72D-4D2A-AA8C-D0CDFD05DAC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 err="1">
                <a:solidFill>
                  <a:schemeClr val="tx1"/>
                </a:solidFill>
              </a:rPr>
              <a:t>Restricted</a:t>
            </a:r>
            <a:r>
              <a:rPr lang="de-DE" sz="1000" dirty="0">
                <a:solidFill>
                  <a:schemeClr val="tx1"/>
                </a:solidFill>
              </a:rPr>
              <a:t> © Siemens Healthineers, </a:t>
            </a:r>
            <a:fld id="{CDC078A8-A4E0-4E4E-8927-2F3FB572D3D0}" type="datetimeyyyy">
              <a:rPr lang="de-DE" sz="1000" smtClean="0">
                <a:solidFill>
                  <a:schemeClr val="tx1"/>
                </a:solidFill>
              </a:rPr>
              <a:t>2026</a:t>
            </a:fld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33" r:id="rId5"/>
    <p:sldLayoutId id="2147483718" r:id="rId6"/>
    <p:sldLayoutId id="2147483716" r:id="rId7"/>
    <p:sldLayoutId id="2147483725" r:id="rId8"/>
    <p:sldLayoutId id="2147483724" r:id="rId9"/>
    <p:sldLayoutId id="2147483698" r:id="rId10"/>
    <p:sldLayoutId id="2147483723" r:id="rId11"/>
    <p:sldLayoutId id="2147483721" r:id="rId12"/>
    <p:sldLayoutId id="2147483706" r:id="rId13"/>
    <p:sldLayoutId id="2147483730" r:id="rId14"/>
    <p:sldLayoutId id="2147483692" r:id="rId15"/>
    <p:sldLayoutId id="2147483719" r:id="rId16"/>
    <p:sldLayoutId id="2147483731" r:id="rId17"/>
    <p:sldLayoutId id="2147483727" r:id="rId18"/>
    <p:sldLayoutId id="2147483710" r:id="rId19"/>
    <p:sldLayoutId id="2147483712" r:id="rId20"/>
    <p:sldLayoutId id="2147483702" r:id="rId21"/>
    <p:sldLayoutId id="2147483732" r:id="rId22"/>
    <p:sldLayoutId id="2147483726" r:id="rId23"/>
    <p:sldLayoutId id="2147483734" r:id="rId2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35.emf"/><Relationship Id="rId3" Type="http://schemas.openxmlformats.org/officeDocument/2006/relationships/image" Target="../media/image27.png"/><Relationship Id="rId7" Type="http://schemas.microsoft.com/office/2007/relationships/hdphoto" Target="../media/hdphoto2.wdp"/><Relationship Id="rId12" Type="http://schemas.openxmlformats.org/officeDocument/2006/relationships/image" Target="../media/image32.emf"/><Relationship Id="rId17" Type="http://schemas.openxmlformats.org/officeDocument/2006/relationships/oleObject" Target="../embeddings/oleObject4.bin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4.emf"/><Relationship Id="rId20" Type="http://schemas.openxmlformats.org/officeDocument/2006/relationships/image" Target="../media/image36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11" Type="http://schemas.openxmlformats.org/officeDocument/2006/relationships/oleObject" Target="../embeddings/oleObject1.bin"/><Relationship Id="rId5" Type="http://schemas.openxmlformats.org/officeDocument/2006/relationships/image" Target="../media/image28.jpeg"/><Relationship Id="rId15" Type="http://schemas.openxmlformats.org/officeDocument/2006/relationships/oleObject" Target="../embeddings/oleObject3.bin"/><Relationship Id="rId10" Type="http://schemas.openxmlformats.org/officeDocument/2006/relationships/image" Target="../media/image31.jpg"/><Relationship Id="rId19" Type="http://schemas.openxmlformats.org/officeDocument/2006/relationships/oleObject" Target="../embeddings/oleObject5.bin"/><Relationship Id="rId4" Type="http://schemas.microsoft.com/office/2007/relationships/hdphoto" Target="../media/hdphoto1.wdp"/><Relationship Id="rId9" Type="http://schemas.microsoft.com/office/2007/relationships/hdphoto" Target="../media/hdphoto3.wdp"/><Relationship Id="rId14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w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0.w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7.bin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3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8.pn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63" Type="http://schemas.openxmlformats.org/officeDocument/2006/relationships/tags" Target="../tags/tag64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159" Type="http://schemas.openxmlformats.org/officeDocument/2006/relationships/tags" Target="../tags/tag160.xml"/><Relationship Id="rId170" Type="http://schemas.openxmlformats.org/officeDocument/2006/relationships/tags" Target="../tags/tag171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26" Type="http://schemas.openxmlformats.org/officeDocument/2006/relationships/tags" Target="../tags/tag227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53" Type="http://schemas.openxmlformats.org/officeDocument/2006/relationships/tags" Target="../tags/tag54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81" Type="http://schemas.openxmlformats.org/officeDocument/2006/relationships/tags" Target="../tags/tag182.xml"/><Relationship Id="rId216" Type="http://schemas.openxmlformats.org/officeDocument/2006/relationships/tags" Target="../tags/tag217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18" Type="http://schemas.openxmlformats.org/officeDocument/2006/relationships/tags" Target="../tags/tag119.xml"/><Relationship Id="rId134" Type="http://schemas.openxmlformats.org/officeDocument/2006/relationships/tags" Target="../tags/tag135.xml"/><Relationship Id="rId139" Type="http://schemas.openxmlformats.org/officeDocument/2006/relationships/tags" Target="../tags/tag14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55" Type="http://schemas.openxmlformats.org/officeDocument/2006/relationships/tags" Target="../tags/tag156.xml"/><Relationship Id="rId171" Type="http://schemas.openxmlformats.org/officeDocument/2006/relationships/tags" Target="../tags/tag172.xml"/><Relationship Id="rId176" Type="http://schemas.openxmlformats.org/officeDocument/2006/relationships/tags" Target="../tags/tag177.xml"/><Relationship Id="rId192" Type="http://schemas.openxmlformats.org/officeDocument/2006/relationships/tags" Target="../tags/tag193.xml"/><Relationship Id="rId197" Type="http://schemas.openxmlformats.org/officeDocument/2006/relationships/tags" Target="../tags/tag198.xml"/><Relationship Id="rId206" Type="http://schemas.openxmlformats.org/officeDocument/2006/relationships/tags" Target="../tags/tag207.xml"/><Relationship Id="rId227" Type="http://schemas.openxmlformats.org/officeDocument/2006/relationships/slideLayout" Target="../slideLayouts/slideLayout18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124" Type="http://schemas.openxmlformats.org/officeDocument/2006/relationships/tags" Target="../tags/tag125.xml"/><Relationship Id="rId129" Type="http://schemas.openxmlformats.org/officeDocument/2006/relationships/tags" Target="../tags/tag130.xml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45" Type="http://schemas.openxmlformats.org/officeDocument/2006/relationships/tags" Target="../tags/tag146.xml"/><Relationship Id="rId161" Type="http://schemas.openxmlformats.org/officeDocument/2006/relationships/tags" Target="../tags/tag162.xml"/><Relationship Id="rId166" Type="http://schemas.openxmlformats.org/officeDocument/2006/relationships/tags" Target="../tags/tag167.xml"/><Relationship Id="rId182" Type="http://schemas.openxmlformats.org/officeDocument/2006/relationships/tags" Target="../tags/tag183.xml"/><Relationship Id="rId187" Type="http://schemas.openxmlformats.org/officeDocument/2006/relationships/tags" Target="../tags/tag188.xml"/><Relationship Id="rId217" Type="http://schemas.openxmlformats.org/officeDocument/2006/relationships/tags" Target="../tags/tag218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212" Type="http://schemas.openxmlformats.org/officeDocument/2006/relationships/tags" Target="../tags/tag213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119" Type="http://schemas.openxmlformats.org/officeDocument/2006/relationships/tags" Target="../tags/tag120.xml"/><Relationship Id="rId44" Type="http://schemas.openxmlformats.org/officeDocument/2006/relationships/tags" Target="../tags/tag45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35" Type="http://schemas.openxmlformats.org/officeDocument/2006/relationships/tags" Target="../tags/tag136.xml"/><Relationship Id="rId151" Type="http://schemas.openxmlformats.org/officeDocument/2006/relationships/tags" Target="../tags/tag152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172" Type="http://schemas.openxmlformats.org/officeDocument/2006/relationships/tags" Target="../tags/tag173.xml"/><Relationship Id="rId193" Type="http://schemas.openxmlformats.org/officeDocument/2006/relationships/tags" Target="../tags/tag194.xml"/><Relationship Id="rId202" Type="http://schemas.openxmlformats.org/officeDocument/2006/relationships/tags" Target="../tags/tag203.xml"/><Relationship Id="rId207" Type="http://schemas.openxmlformats.org/officeDocument/2006/relationships/tags" Target="../tags/tag208.xml"/><Relationship Id="rId223" Type="http://schemas.openxmlformats.org/officeDocument/2006/relationships/tags" Target="../tags/tag224.xml"/><Relationship Id="rId228" Type="http://schemas.openxmlformats.org/officeDocument/2006/relationships/notesSlide" Target="../notesSlides/notesSlide7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13" Type="http://schemas.openxmlformats.org/officeDocument/2006/relationships/tags" Target="../tags/tag214.xml"/><Relationship Id="rId218" Type="http://schemas.openxmlformats.org/officeDocument/2006/relationships/tags" Target="../tags/tag219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4" Type="http://schemas.openxmlformats.org/officeDocument/2006/relationships/tags" Target="../tags/tag195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208" Type="http://schemas.openxmlformats.org/officeDocument/2006/relationships/tags" Target="../tags/tag209.xml"/><Relationship Id="rId229" Type="http://schemas.openxmlformats.org/officeDocument/2006/relationships/slide" Target="slide7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189" Type="http://schemas.openxmlformats.org/officeDocument/2006/relationships/tags" Target="../tags/tag190.xml"/><Relationship Id="rId219" Type="http://schemas.openxmlformats.org/officeDocument/2006/relationships/tags" Target="../tags/tag220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79" Type="http://schemas.openxmlformats.org/officeDocument/2006/relationships/tags" Target="../tags/tag180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0" Type="http://schemas.openxmlformats.org/officeDocument/2006/relationships/tags" Target="../tags/tag221.xml"/><Relationship Id="rId225" Type="http://schemas.openxmlformats.org/officeDocument/2006/relationships/tags" Target="../tags/tag226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64" Type="http://schemas.openxmlformats.org/officeDocument/2006/relationships/tags" Target="../tags/tag165.xml"/><Relationship Id="rId169" Type="http://schemas.openxmlformats.org/officeDocument/2006/relationships/tags" Target="../tags/tag170.xml"/><Relationship Id="rId185" Type="http://schemas.openxmlformats.org/officeDocument/2006/relationships/tags" Target="../tags/tag18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80" Type="http://schemas.openxmlformats.org/officeDocument/2006/relationships/tags" Target="../tags/tag181.xml"/><Relationship Id="rId210" Type="http://schemas.openxmlformats.org/officeDocument/2006/relationships/tags" Target="../tags/tag211.xml"/><Relationship Id="rId215" Type="http://schemas.openxmlformats.org/officeDocument/2006/relationships/tags" Target="../tags/tag216.xml"/><Relationship Id="rId26" Type="http://schemas.openxmlformats.org/officeDocument/2006/relationships/tags" Target="../tags/tag27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211" Type="http://schemas.openxmlformats.org/officeDocument/2006/relationships/tags" Target="../tags/tag2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err="1"/>
              <a:t>Horbaczewského</a:t>
            </a:r>
            <a:r>
              <a:rPr lang="en-US" noProof="0" dirty="0"/>
              <a:t> </a:t>
            </a:r>
            <a:r>
              <a:rPr lang="en-US" noProof="0" dirty="0" err="1"/>
              <a:t>Analytický</a:t>
            </a:r>
            <a:r>
              <a:rPr lang="en-US" noProof="0" dirty="0"/>
              <a:t> Den</a:t>
            </a:r>
            <a:endParaRPr lang="cs-CZ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Technologie, </a:t>
            </a:r>
            <a:r>
              <a:rPr lang="en-US" noProof="0" dirty="0" err="1"/>
              <a:t>které</a:t>
            </a:r>
            <a:r>
              <a:rPr lang="en-US" noProof="0" dirty="0"/>
              <a:t> </a:t>
            </a:r>
            <a:r>
              <a:rPr lang="en-US" noProof="0" dirty="0" err="1"/>
              <a:t>tvoří</a:t>
            </a:r>
            <a:r>
              <a:rPr lang="en-US" noProof="0" dirty="0"/>
              <a:t> </a:t>
            </a:r>
            <a:r>
              <a:rPr lang="en-US" noProof="0" dirty="0" err="1"/>
              <a:t>budoucnost</a:t>
            </a:r>
            <a:endParaRPr lang="cs-CZ" noProof="0" dirty="0"/>
          </a:p>
        </p:txBody>
      </p:sp>
      <p:sp>
        <p:nvSpPr>
          <p:cNvPr id="4" name="Presenter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Jan Macků</a:t>
            </a:r>
            <a:br>
              <a:rPr lang="cs-CZ" noProof="0" dirty="0"/>
            </a:br>
            <a:r>
              <a:rPr lang="en-US" noProof="0" dirty="0"/>
              <a:t>25. 3. </a:t>
            </a:r>
            <a:r>
              <a:rPr lang="cs-CZ" noProof="0" dirty="0"/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298416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DF52CE-D8F9-4A1E-156D-7600A221F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628992-D881-4DD5-CF5D-F1EBA0C8C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ELF™ TE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50F0F7-C4E9-18D2-DC47-4D10E33385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00AEB2F-3943-F347-DB6F-23CE779FEA32}"/>
              </a:ext>
            </a:extLst>
          </p:cNvPr>
          <p:cNvGrpSpPr/>
          <p:nvPr/>
        </p:nvGrpSpPr>
        <p:grpSpPr>
          <a:xfrm>
            <a:off x="830467" y="1049813"/>
            <a:ext cx="4743332" cy="3157093"/>
            <a:chOff x="351848" y="3561837"/>
            <a:chExt cx="4743332" cy="315709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96D773-EFBC-3791-B77F-A10ED6B625BD}"/>
                </a:ext>
              </a:extLst>
            </p:cNvPr>
            <p:cNvSpPr/>
            <p:nvPr/>
          </p:nvSpPr>
          <p:spPr>
            <a:xfrm>
              <a:off x="351848" y="3561837"/>
              <a:ext cx="4743332" cy="315709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8113977-7FCC-912E-65E1-1EFCC947E5EB}"/>
                </a:ext>
              </a:extLst>
            </p:cNvPr>
            <p:cNvGrpSpPr/>
            <p:nvPr/>
          </p:nvGrpSpPr>
          <p:grpSpPr>
            <a:xfrm>
              <a:off x="540000" y="3718736"/>
              <a:ext cx="4171430" cy="2556494"/>
              <a:chOff x="7201181" y="1260205"/>
              <a:chExt cx="4171430" cy="2556494"/>
            </a:xfrm>
          </p:grpSpPr>
          <p:sp>
            <p:nvSpPr>
              <p:cNvPr id="22" name="Text Box 8">
                <a:extLst>
                  <a:ext uri="{FF2B5EF4-FFF2-40B4-BE49-F238E27FC236}">
                    <a16:creationId xmlns:a16="http://schemas.microsoft.com/office/drawing/2014/main" id="{6012E339-7AD5-670D-3E73-5BC6580422B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201181" y="1260205"/>
                <a:ext cx="4171429" cy="7377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C660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1294" tIns="45647" rIns="91294" bIns="45647" anchor="t" anchorCtr="0"/>
              <a:lstStyle>
                <a:lvl1pPr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99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Procollagen III amino terminal peptide (PIIINP)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ECM component</a:t>
                </a:r>
              </a:p>
            </p:txBody>
          </p:sp>
          <p:pic>
            <p:nvPicPr>
              <p:cNvPr id="43" name="Picture 17" descr="PIINP">
                <a:extLst>
                  <a:ext uri="{FF2B5EF4-FFF2-40B4-BE49-F238E27FC236}">
                    <a16:creationId xmlns:a16="http://schemas.microsoft.com/office/drawing/2014/main" id="{F6CE1537-413D-A3C0-D5C8-DCAA7B011F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45"/>
              <a:stretch>
                <a:fillRect/>
              </a:stretch>
            </p:blipFill>
            <p:spPr bwMode="auto">
              <a:xfrm>
                <a:off x="7201182" y="1913172"/>
                <a:ext cx="4171429" cy="19035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3CB869-53CB-F4B1-630A-B54DA288861A}"/>
              </a:ext>
            </a:extLst>
          </p:cNvPr>
          <p:cNvGrpSpPr/>
          <p:nvPr/>
        </p:nvGrpSpPr>
        <p:grpSpPr>
          <a:xfrm>
            <a:off x="3442370" y="1861502"/>
            <a:ext cx="4743333" cy="3384233"/>
            <a:chOff x="6388235" y="2119196"/>
            <a:chExt cx="4743333" cy="338423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AF7B20-B29D-91FF-4773-AB1C49F3F131}"/>
                </a:ext>
              </a:extLst>
            </p:cNvPr>
            <p:cNvSpPr/>
            <p:nvPr/>
          </p:nvSpPr>
          <p:spPr>
            <a:xfrm>
              <a:off x="6388236" y="2119196"/>
              <a:ext cx="4743332" cy="338423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9FE8A9C-301A-FF7E-4C19-69F588936A46}"/>
                </a:ext>
              </a:extLst>
            </p:cNvPr>
            <p:cNvGrpSpPr/>
            <p:nvPr/>
          </p:nvGrpSpPr>
          <p:grpSpPr>
            <a:xfrm>
              <a:off x="6388235" y="2338736"/>
              <a:ext cx="4510800" cy="2984730"/>
              <a:chOff x="2807310" y="3139622"/>
              <a:chExt cx="4510800" cy="2984730"/>
            </a:xfrm>
          </p:grpSpPr>
          <p:sp>
            <p:nvSpPr>
              <p:cNvPr id="23" name="Text Box 11">
                <a:extLst>
                  <a:ext uri="{FF2B5EF4-FFF2-40B4-BE49-F238E27FC236}">
                    <a16:creationId xmlns:a16="http://schemas.microsoft.com/office/drawing/2014/main" id="{96B879FC-C416-2CB2-D752-3B1083D043B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07310" y="3139622"/>
                <a:ext cx="4510800" cy="7447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1294" tIns="45647" rIns="91294" bIns="45647" anchor="t" anchorCtr="0"/>
              <a:lstStyle>
                <a:lvl1pPr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99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Tissue inhibitor of metalloproteinase 1 (TIMP-1)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Inhibits breakdown of collagen III</a:t>
                </a:r>
              </a:p>
            </p:txBody>
          </p:sp>
          <p:pic>
            <p:nvPicPr>
              <p:cNvPr id="44" name="Picture 20" descr="TIMP-1">
                <a:extLst>
                  <a:ext uri="{FF2B5EF4-FFF2-40B4-BE49-F238E27FC236}">
                    <a16:creationId xmlns:a16="http://schemas.microsoft.com/office/drawing/2014/main" id="{DD03A05A-4A1E-39FA-06EF-DBDFA5BED4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62019" y="3783553"/>
                <a:ext cx="2466446" cy="23407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A8F830-F7A2-953D-6452-CBEFA58D06DD}"/>
              </a:ext>
            </a:extLst>
          </p:cNvPr>
          <p:cNvGrpSpPr/>
          <p:nvPr/>
        </p:nvGrpSpPr>
        <p:grpSpPr>
          <a:xfrm>
            <a:off x="6600851" y="2724973"/>
            <a:ext cx="4743332" cy="3384233"/>
            <a:chOff x="1036535" y="809209"/>
            <a:chExt cx="4743332" cy="338423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71EE652-2A0D-0935-9B0E-8AFD21C78510}"/>
                </a:ext>
              </a:extLst>
            </p:cNvPr>
            <p:cNvSpPr/>
            <p:nvPr/>
          </p:nvSpPr>
          <p:spPr>
            <a:xfrm>
              <a:off x="1036535" y="809209"/>
              <a:ext cx="4743332" cy="338423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6A2632-913A-551F-7E09-BD309B4DE430}"/>
                </a:ext>
              </a:extLst>
            </p:cNvPr>
            <p:cNvGrpSpPr/>
            <p:nvPr/>
          </p:nvGrpSpPr>
          <p:grpSpPr>
            <a:xfrm>
              <a:off x="1430952" y="1252212"/>
              <a:ext cx="3714260" cy="2399580"/>
              <a:chOff x="493397" y="1029420"/>
              <a:chExt cx="3714260" cy="2399580"/>
            </a:xfrm>
          </p:grpSpPr>
          <p:sp>
            <p:nvSpPr>
              <p:cNvPr id="21" name="Text Box 5">
                <a:extLst>
                  <a:ext uri="{FF2B5EF4-FFF2-40B4-BE49-F238E27FC236}">
                    <a16:creationId xmlns:a16="http://schemas.microsoft.com/office/drawing/2014/main" id="{37BF0356-4663-5619-C9C8-501F7F91AF1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3635" y="1029420"/>
                <a:ext cx="3474022" cy="59968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C660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1294" tIns="45647" rIns="91294" bIns="45647" anchor="t" anchorCtr="0"/>
              <a:lstStyle>
                <a:lvl1pPr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Aft>
                    <a:spcPct val="3000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99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Hyaluronic acid (HA)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charset="0"/>
                  </a:rPr>
                  <a:t>Extracellular matrix (ECM) component</a:t>
                </a:r>
              </a:p>
            </p:txBody>
          </p:sp>
          <p:pic>
            <p:nvPicPr>
              <p:cNvPr id="42" name="Picture 14" descr="HA">
                <a:extLst>
                  <a:ext uri="{FF2B5EF4-FFF2-40B4-BE49-F238E27FC236}">
                    <a16:creationId xmlns:a16="http://schemas.microsoft.com/office/drawing/2014/main" id="{2D4FB5C7-1830-A7DE-B9E3-1E9CDC96508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6" t="1144" r="1120" b="1718"/>
              <a:stretch>
                <a:fillRect/>
              </a:stretch>
            </p:blipFill>
            <p:spPr bwMode="auto">
              <a:xfrm>
                <a:off x="493397" y="1629102"/>
                <a:ext cx="3714260" cy="17998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423217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2F390-DC01-3F4B-B60D-A9DED548A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F </a:t>
            </a:r>
            <a:r>
              <a:rPr lang="en-US" dirty="0" err="1"/>
              <a:t>hodnotí</a:t>
            </a:r>
            <a:r>
              <a:rPr lang="en-US" dirty="0"/>
              <a:t> </a:t>
            </a:r>
            <a:r>
              <a:rPr lang="en-US" dirty="0" err="1"/>
              <a:t>prognostické</a:t>
            </a:r>
            <a:r>
              <a:rPr lang="en-US" dirty="0"/>
              <a:t> </a:t>
            </a:r>
            <a:r>
              <a:rPr lang="en-US" dirty="0" err="1"/>
              <a:t>riziko</a:t>
            </a:r>
            <a:r>
              <a:rPr lang="en-US" dirty="0"/>
              <a:t> </a:t>
            </a:r>
            <a:r>
              <a:rPr lang="en-US" dirty="0" err="1"/>
              <a:t>progrese</a:t>
            </a:r>
            <a:r>
              <a:rPr lang="en-US" dirty="0"/>
              <a:t> </a:t>
            </a:r>
            <a:r>
              <a:rPr lang="en-US" dirty="0" err="1"/>
              <a:t>onemocnění</a:t>
            </a:r>
            <a:r>
              <a:rPr lang="en-US" dirty="0"/>
              <a:t> u </a:t>
            </a:r>
            <a:r>
              <a:rPr lang="en-US" dirty="0" err="1"/>
              <a:t>pacientů</a:t>
            </a:r>
            <a:r>
              <a:rPr lang="en-US" dirty="0"/>
              <a:t> </a:t>
            </a:r>
            <a:r>
              <a:rPr lang="en-US"/>
              <a:t>s MASH </a:t>
            </a:r>
            <a:r>
              <a:rPr lang="en-US" dirty="0"/>
              <a:t>s </a:t>
            </a:r>
            <a:r>
              <a:rPr lang="en-US" dirty="0" err="1"/>
              <a:t>pokročilou</a:t>
            </a:r>
            <a:r>
              <a:rPr lang="en-US" dirty="0"/>
              <a:t> </a:t>
            </a:r>
            <a:r>
              <a:rPr lang="en-US" dirty="0" err="1"/>
              <a:t>fibrózou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727768-F81F-4A95-A6A0-7DBECACA4A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5956403"/>
            <a:ext cx="6401886" cy="894753"/>
          </a:xfrm>
        </p:spPr>
        <p:txBody>
          <a:bodyPr/>
          <a:lstStyle/>
          <a:p>
            <a:pPr>
              <a:lnSpc>
                <a:spcPct val="107000"/>
              </a:lnSpc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In the Mid group, the risk of disease progression is similar to the pre-test risk. Pre-test risk refers to the likelihood of disease progression in the overall intended use population without considering the ELF score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ACB438D-CC92-7145-B753-1A52F4CB8F73}"/>
              </a:ext>
            </a:extLst>
          </p:cNvPr>
          <p:cNvSpPr/>
          <p:nvPr/>
        </p:nvSpPr>
        <p:spPr>
          <a:xfrm>
            <a:off x="451823" y="1140810"/>
            <a:ext cx="86643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dnoduchý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ýpočet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yužívající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3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markery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apojené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o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bolismu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terní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rice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k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dnocení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ibrózy</a:t>
            </a:r>
            <a:r>
              <a:rPr kumimoji="0" lang="en-US" sz="1400" b="1" i="1" u="none" strike="noStrike" kern="1200" cap="none" spc="0" normalizeH="0" baseline="3000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EC8D346-C602-DB48-8F9A-E414CBE9A1FC}"/>
              </a:ext>
            </a:extLst>
          </p:cNvPr>
          <p:cNvSpPr txBox="1">
            <a:spLocks/>
          </p:cNvSpPr>
          <p:nvPr/>
        </p:nvSpPr>
        <p:spPr>
          <a:xfrm>
            <a:off x="549170" y="5919739"/>
            <a:ext cx="45108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4981489-00B2-0743-9ABE-55CB7E72FD42}"/>
              </a:ext>
            </a:extLst>
          </p:cNvPr>
          <p:cNvSpPr txBox="1">
            <a:spLocks/>
          </p:cNvSpPr>
          <p:nvPr/>
        </p:nvSpPr>
        <p:spPr>
          <a:xfrm>
            <a:off x="1304835" y="1900236"/>
            <a:ext cx="2988104" cy="5473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srgbClr val="EC6602"/>
                </a:solidFill>
                <a:latin typeface="Calibri"/>
              </a:rPr>
              <a:t>Automatické</a:t>
            </a:r>
            <a:r>
              <a:rPr lang="en-US" sz="2000" dirty="0">
                <a:solidFill>
                  <a:srgbClr val="EC6602"/>
                </a:solidFill>
                <a:latin typeface="Calibri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ELF Score</a:t>
            </a:r>
            <a:endParaRPr kumimoji="0" lang="en-US" sz="2000" b="1" i="0" u="none" strike="noStrike" kern="1200" cap="none" spc="0" normalizeH="0" baseline="30000" noProof="0" dirty="0">
              <a:ln>
                <a:noFill/>
              </a:ln>
              <a:solidFill>
                <a:srgbClr val="EC6602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135D52-3224-4682-A2AE-148B8CCC7560}"/>
              </a:ext>
            </a:extLst>
          </p:cNvPr>
          <p:cNvGrpSpPr/>
          <p:nvPr/>
        </p:nvGrpSpPr>
        <p:grpSpPr>
          <a:xfrm>
            <a:off x="5307638" y="3039529"/>
            <a:ext cx="1738835" cy="1123439"/>
            <a:chOff x="5307638" y="2979073"/>
            <a:chExt cx="1738835" cy="1123439"/>
          </a:xfrm>
        </p:grpSpPr>
        <p:sp>
          <p:nvSpPr>
            <p:cNvPr id="8" name="Down Arrow 7">
              <a:extLst>
                <a:ext uri="{FF2B5EF4-FFF2-40B4-BE49-F238E27FC236}">
                  <a16:creationId xmlns:a16="http://schemas.microsoft.com/office/drawing/2014/main" id="{E410EE8A-E545-AE4C-8286-9EAF2DF2A200}"/>
                </a:ext>
              </a:extLst>
            </p:cNvPr>
            <p:cNvSpPr/>
            <p:nvPr/>
          </p:nvSpPr>
          <p:spPr>
            <a:xfrm rot="16200000">
              <a:off x="5615336" y="2671375"/>
              <a:ext cx="1123439" cy="1738835"/>
            </a:xfrm>
            <a:prstGeom prst="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A77B628-9764-1849-A550-C64437044066}"/>
                </a:ext>
              </a:extLst>
            </p:cNvPr>
            <p:cNvSpPr/>
            <p:nvPr/>
          </p:nvSpPr>
          <p:spPr>
            <a:xfrm>
              <a:off x="5427391" y="3270409"/>
              <a:ext cx="1131272" cy="5355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Výpočtový</a:t>
              </a: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 </a:t>
              </a:r>
              <a:b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en-US" alt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algoritmus</a:t>
              </a:r>
              <a:endPara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A1FFE0F7-A377-4342-B388-830A22F649D8}"/>
              </a:ext>
            </a:extLst>
          </p:cNvPr>
          <p:cNvSpPr txBox="1"/>
          <p:nvPr/>
        </p:nvSpPr>
        <p:spPr>
          <a:xfrm>
            <a:off x="2646725" y="4827645"/>
            <a:ext cx="68779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ELF score*</a:t>
            </a:r>
            <a:r>
              <a:rPr kumimoji="0" lang="en-GB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†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= 2.278 + 0.851 ln (C</a:t>
            </a:r>
            <a:r>
              <a:rPr kumimoji="0" lang="en-GB" alt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HA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) + 0.751 ln (C</a:t>
            </a:r>
            <a:r>
              <a:rPr kumimoji="0" lang="en-GB" alt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IIINP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) + 0.394 ln (C</a:t>
            </a:r>
            <a:r>
              <a:rPr kumimoji="0" lang="en-GB" alt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IMP-1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)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543DDE-3227-C86B-AB07-A6340A1A1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35" y="2546466"/>
            <a:ext cx="3494395" cy="206413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1C3A8CF-4BA0-EF63-2631-CF02F954AEB9}"/>
              </a:ext>
            </a:extLst>
          </p:cNvPr>
          <p:cNvSpPr txBox="1">
            <a:spLocks/>
          </p:cNvSpPr>
          <p:nvPr/>
        </p:nvSpPr>
        <p:spPr>
          <a:xfrm>
            <a:off x="7567944" y="3039529"/>
            <a:ext cx="1262548" cy="1123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err="1">
                <a:solidFill>
                  <a:schemeClr val="accent3"/>
                </a:solidFill>
                <a:latin typeface="Calibri"/>
              </a:rPr>
              <a:t>Prognóza</a:t>
            </a:r>
            <a:endParaRPr lang="en-US" sz="2400" dirty="0">
              <a:solidFill>
                <a:schemeClr val="accent3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accent3"/>
                </a:solidFill>
                <a:latin typeface="Calibri"/>
              </a:rPr>
              <a:t>/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err="1">
                <a:solidFill>
                  <a:schemeClr val="accent3"/>
                </a:solidFill>
                <a:latin typeface="Calibri"/>
              </a:rPr>
              <a:t>Diagnóza</a:t>
            </a:r>
            <a:endParaRPr lang="en-US" sz="2400" dirty="0">
              <a:solidFill>
                <a:schemeClr val="accent3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0906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noProof="0" dirty="0" err="1"/>
              <a:t>Diagn</a:t>
            </a:r>
            <a:r>
              <a:rPr lang="en-US" noProof="0" dirty="0" err="1"/>
              <a:t>ostika</a:t>
            </a:r>
            <a:r>
              <a:rPr lang="cs-CZ" noProof="0" dirty="0"/>
              <a:t> rychlostí světla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noProof="0" dirty="0" err="1"/>
              <a:t>Acridinium</a:t>
            </a:r>
            <a:r>
              <a:rPr lang="cs-CZ" noProof="0" dirty="0"/>
              <a:t> Es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DE57D2-BF54-065B-C413-A41AF94157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644" t="58470" r="66085" b="20084"/>
          <a:stretch/>
        </p:blipFill>
        <p:spPr bwMode="auto">
          <a:xfrm rot="16200000">
            <a:off x="6567764" y="1844024"/>
            <a:ext cx="409554" cy="5237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D46E79-0C7E-AD60-B043-384BCF99B45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5" t="50116" r="70965" b="30789"/>
          <a:stretch/>
        </p:blipFill>
        <p:spPr bwMode="auto">
          <a:xfrm rot="16200000">
            <a:off x="8384712" y="1880966"/>
            <a:ext cx="439872" cy="4802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6A88AC-465E-6CB9-6BC4-9B26ACD3D9F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67" t="42303" r="67979" b="35234"/>
          <a:stretch/>
        </p:blipFill>
        <p:spPr bwMode="auto">
          <a:xfrm rot="16200000">
            <a:off x="5672282" y="1830088"/>
            <a:ext cx="447566" cy="5237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EDBF883-2F24-11A9-8C95-4A34759A1E2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38010" t="49539" r="42740" b="30813"/>
          <a:stretch/>
        </p:blipFill>
        <p:spPr>
          <a:xfrm>
            <a:off x="1563873" y="1924860"/>
            <a:ext cx="484062" cy="42248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84FE88-DBE1-CE99-578F-DFC7C3330225}"/>
              </a:ext>
            </a:extLst>
          </p:cNvPr>
          <p:cNvSpPr/>
          <p:nvPr/>
        </p:nvSpPr>
        <p:spPr>
          <a:xfrm rot="10800000">
            <a:off x="630620" y="5267754"/>
            <a:ext cx="11285767" cy="10177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0000">
                <a:srgbClr val="0E2268"/>
              </a:gs>
              <a:gs pos="32000">
                <a:srgbClr val="0070C0"/>
              </a:gs>
              <a:gs pos="61000">
                <a:srgbClr val="FFFF00"/>
              </a:gs>
              <a:gs pos="5000">
                <a:srgbClr val="7030A0">
                  <a:lumMod val="90000"/>
                </a:srgbClr>
              </a:gs>
              <a:gs pos="43000">
                <a:srgbClr val="00B050"/>
              </a:gs>
              <a:gs pos="65000">
                <a:srgbClr val="FFC000"/>
              </a:gs>
              <a:gs pos="78000">
                <a:srgbClr val="FF0000"/>
              </a:gs>
              <a:gs pos="89000">
                <a:srgbClr val="C80000"/>
              </a:gs>
              <a:gs pos="100000">
                <a:schemeClr val="tx1"/>
              </a:gs>
            </a:gsLst>
            <a:lin ang="0" scaled="1"/>
            <a:tileRect/>
          </a:gradFill>
          <a:ln w="38100">
            <a:noFill/>
          </a:ln>
          <a:effectLst>
            <a:glow>
              <a:schemeClr val="accent1">
                <a:alpha val="40000"/>
              </a:schemeClr>
            </a:glow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 dirty="0"/>
          </a:p>
        </p:txBody>
      </p:sp>
      <p:pic>
        <p:nvPicPr>
          <p:cNvPr id="11" name="Content Placeholder 8" descr="A green liquid in a tube&#10;&#10;Description automatically generated">
            <a:extLst>
              <a:ext uri="{FF2B5EF4-FFF2-40B4-BE49-F238E27FC236}">
                <a16:creationId xmlns:a16="http://schemas.microsoft.com/office/drawing/2014/main" id="{76EFFD0B-1DE4-E9EC-EAEC-B7241FEAAB2E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82" t="51754" r="32100" b="11856"/>
          <a:stretch/>
        </p:blipFill>
        <p:spPr>
          <a:xfrm>
            <a:off x="4823644" y="1903783"/>
            <a:ext cx="461266" cy="365016"/>
          </a:xfrm>
          <a:prstGeom prst="rect">
            <a:avLst/>
          </a:prstGeom>
        </p:spPr>
      </p:pic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97477B64-F13A-8B26-A03A-A71A02F7ADD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90092069"/>
              </p:ext>
            </p:extLst>
          </p:nvPr>
        </p:nvGraphicFramePr>
        <p:xfrm>
          <a:off x="1476374" y="3764034"/>
          <a:ext cx="874086" cy="16606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1538602" imgH="2922814" progId="ChemDraw.Document.6.0">
                  <p:embed/>
                </p:oleObj>
              </mc:Choice>
              <mc:Fallback>
                <p:oleObj name="CS ChemDraw Drawing" r:id="rId11" imgW="1538602" imgH="2922814" progId="ChemDraw.Document.6.0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97477B64-F13A-8B26-A03A-A71A02F7A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6374" y="3764034"/>
                        <a:ext cx="874086" cy="16606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33ADA667-C2C5-9506-221F-B7139D8482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5427287"/>
              </p:ext>
            </p:extLst>
          </p:nvPr>
        </p:nvGraphicFramePr>
        <p:xfrm>
          <a:off x="5634167" y="4322426"/>
          <a:ext cx="630534" cy="91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1108921" imgH="1604282" progId="ChemDraw.Document.6.0">
                  <p:embed/>
                </p:oleObj>
              </mc:Choice>
              <mc:Fallback>
                <p:oleObj name="CS ChemDraw Drawing" r:id="rId13" imgW="1108921" imgH="1604282" progId="ChemDraw.Document.6.0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33ADA667-C2C5-9506-221F-B7139D848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5634167" y="4322426"/>
                        <a:ext cx="630534" cy="91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C656C0A0-90CB-2B26-AAFF-6A76064693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5118115"/>
              </p:ext>
            </p:extLst>
          </p:nvPr>
        </p:nvGraphicFramePr>
        <p:xfrm>
          <a:off x="4840907" y="4255657"/>
          <a:ext cx="468164" cy="874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824236" imgH="1540601" progId="ChemDraw.Document.6.0">
                  <p:embed/>
                </p:oleObj>
              </mc:Choice>
              <mc:Fallback>
                <p:oleObj name="CS ChemDraw Drawing" r:id="rId15" imgW="824236" imgH="1540601" progId="ChemDraw.Document.6.0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C656C0A0-90CB-2B26-AAFF-6A76064693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4840907" y="4255657"/>
                        <a:ext cx="468164" cy="874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5DAA347D-4AAE-B444-D749-65BE9CF10A4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3654857"/>
              </p:ext>
            </p:extLst>
          </p:nvPr>
        </p:nvGraphicFramePr>
        <p:xfrm>
          <a:off x="6510645" y="4318080"/>
          <a:ext cx="630532" cy="784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1109329" imgH="1380581" progId="ChemDraw.Document.6.0">
                  <p:embed/>
                </p:oleObj>
              </mc:Choice>
              <mc:Fallback>
                <p:oleObj name="CS ChemDraw Drawing" r:id="rId17" imgW="1109329" imgH="1380581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5DAA347D-4AAE-B444-D749-65BE9CF10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510645" y="4318080"/>
                        <a:ext cx="630532" cy="784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4C911A3E-61FD-116B-7CDF-6AECAE79B7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308261"/>
              </p:ext>
            </p:extLst>
          </p:nvPr>
        </p:nvGraphicFramePr>
        <p:xfrm>
          <a:off x="8342751" y="4459358"/>
          <a:ext cx="630532" cy="6052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1109329" imgH="1065031" progId="ChemDraw.Document.6.0">
                  <p:embed/>
                </p:oleObj>
              </mc:Choice>
              <mc:Fallback>
                <p:oleObj name="CS ChemDraw Drawing" r:id="rId19" imgW="1109329" imgH="1065031" progId="ChemDraw.Document.6.0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4C911A3E-61FD-116B-7CDF-6AECAE79B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8342751" y="4459358"/>
                        <a:ext cx="630532" cy="6052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9387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A9F6FB1-1809-AE40-FB6F-385F7D6F2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C&amp;#95;Scientific&amp;#95;038&amp;#95;IMAGE&amp;#95;20">
            <a:extLst>
              <a:ext uri="{FF2B5EF4-FFF2-40B4-BE49-F238E27FC236}">
                <a16:creationId xmlns:a16="http://schemas.microsoft.com/office/drawing/2014/main" id="{30DD62C3-373F-9714-7131-C5EDEDF80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525" y="715191"/>
            <a:ext cx="542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80ECA-D483-1F0C-CF88-396E3D768DA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dvanced Acridinium Ester Technology</a:t>
            </a:r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65D214-08FB-1F6A-300B-11AAF71005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800" dirty="0"/>
              <a:t>DMAE, NSP-DMAE, HEGAE HQYAE, ZAE, ISOZAE, </a:t>
            </a:r>
            <a:br>
              <a:rPr lang="en-US" sz="4800" dirty="0"/>
            </a:br>
            <a:r>
              <a:rPr lang="en-US" sz="4800" dirty="0"/>
              <a:t>TSPAE, ISODIZAE</a:t>
            </a:r>
            <a:endParaRPr lang="cs-CZ" sz="4800" dirty="0"/>
          </a:p>
        </p:txBody>
      </p:sp>
    </p:spTree>
    <p:extLst>
      <p:ext uri="{BB962C8B-B14F-4D97-AF65-F5344CB8AC3E}">
        <p14:creationId xmlns:p14="http://schemas.microsoft.com/office/powerpoint/2010/main" val="12801469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256B7-BD71-18E9-0A12-EB5965CC6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B102CFF1-40C3-A89D-FC2E-791B9FDAC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1. Generace AE</a:t>
            </a:r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9D78C271-6174-4B75-2277-BB523AC3A193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cs-CZ" sz="2400" noProof="0" dirty="0"/>
              <a:t>DMAE = </a:t>
            </a:r>
            <a:r>
              <a:rPr lang="cs-CZ" sz="2400" noProof="0" dirty="0" err="1"/>
              <a:t>dimethyl</a:t>
            </a:r>
            <a:r>
              <a:rPr lang="cs-CZ" sz="2400" noProof="0" dirty="0"/>
              <a:t> </a:t>
            </a:r>
            <a:r>
              <a:rPr lang="cs-CZ" sz="2400" noProof="0" dirty="0" err="1"/>
              <a:t>acridinium</a:t>
            </a:r>
            <a:r>
              <a:rPr lang="cs-CZ" sz="2400" noProof="0" dirty="0"/>
              <a:t> ester</a:t>
            </a:r>
          </a:p>
          <a:p>
            <a:endParaRPr lang="cs-CZ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0" noProof="0" dirty="0"/>
              <a:t>1986, 1. manuální chemiluminiscenční </a:t>
            </a:r>
            <a:r>
              <a:rPr lang="cs-CZ" b="0" noProof="0" dirty="0" err="1"/>
              <a:t>immunoassay</a:t>
            </a:r>
            <a:r>
              <a:rPr lang="cs-CZ" b="0" noProof="0" dirty="0"/>
              <a:t> </a:t>
            </a:r>
            <a:r>
              <a:rPr lang="cs-CZ" b="0" i="1" noProof="0" dirty="0" err="1"/>
              <a:t>Magic</a:t>
            </a:r>
            <a:r>
              <a:rPr lang="cs-CZ" b="0" i="1" noProof="0" dirty="0"/>
              <a:t>® Lite</a:t>
            </a:r>
          </a:p>
        </p:txBody>
      </p:sp>
      <p:sp>
        <p:nvSpPr>
          <p:cNvPr id="4" name="Footnote">
            <a:extLst>
              <a:ext uri="{FF2B5EF4-FFF2-40B4-BE49-F238E27FC236}">
                <a16:creationId xmlns:a16="http://schemas.microsoft.com/office/drawing/2014/main" id="{317CBD90-0739-92D2-A8E6-4E0AEC9A8B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graphicFrame>
        <p:nvGraphicFramePr>
          <p:cNvPr id="5" name="Object 22">
            <a:extLst>
              <a:ext uri="{FF2B5EF4-FFF2-40B4-BE49-F238E27FC236}">
                <a16:creationId xmlns:a16="http://schemas.microsoft.com/office/drawing/2014/main" id="{36F97453-6032-3602-BBB7-508E496A00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6137346"/>
              </p:ext>
            </p:extLst>
          </p:nvPr>
        </p:nvGraphicFramePr>
        <p:xfrm>
          <a:off x="866775" y="3009900"/>
          <a:ext cx="5218113" cy="2865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7130796" imgH="3916680" progId="ChemDraw.Document.6.0">
                  <p:embed/>
                </p:oleObj>
              </mc:Choice>
              <mc:Fallback>
                <p:oleObj name="CS ChemDraw Drawing" r:id="rId3" imgW="7130796" imgH="3916680" progId="ChemDraw.Document.6.0">
                  <p:embed/>
                  <p:pic>
                    <p:nvPicPr>
                      <p:cNvPr id="5" name="Object 22">
                        <a:extLst>
                          <a:ext uri="{FF2B5EF4-FFF2-40B4-BE49-F238E27FC236}">
                            <a16:creationId xmlns:a16="http://schemas.microsoft.com/office/drawing/2014/main" id="{36F97453-6032-3602-BBB7-508E496A001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6775" y="3009900"/>
                        <a:ext cx="5218113" cy="28654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651">
            <a:extLst>
              <a:ext uri="{FF2B5EF4-FFF2-40B4-BE49-F238E27FC236}">
                <a16:creationId xmlns:a16="http://schemas.microsoft.com/office/drawing/2014/main" id="{5105AEF9-58D1-7BBE-3F01-13070DBEE00E}"/>
              </a:ext>
            </a:extLst>
          </p:cNvPr>
          <p:cNvGrpSpPr>
            <a:grpSpLocks/>
          </p:cNvGrpSpPr>
          <p:nvPr/>
        </p:nvGrpSpPr>
        <p:grpSpPr bwMode="auto">
          <a:xfrm>
            <a:off x="6429430" y="2990850"/>
            <a:ext cx="4672013" cy="3098800"/>
            <a:chOff x="470" y="954"/>
            <a:chExt cx="2943" cy="1952"/>
          </a:xfrm>
        </p:grpSpPr>
        <p:sp>
          <p:nvSpPr>
            <p:cNvPr id="10" name="AutoShape 11">
              <a:extLst>
                <a:ext uri="{FF2B5EF4-FFF2-40B4-BE49-F238E27FC236}">
                  <a16:creationId xmlns:a16="http://schemas.microsoft.com/office/drawing/2014/main" id="{C7119E36-A322-DEA3-DA23-092335C5A1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0" y="954"/>
              <a:ext cx="2702" cy="1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 noProof="0" dirty="0"/>
            </a:p>
          </p:txBody>
        </p:sp>
        <p:grpSp>
          <p:nvGrpSpPr>
            <p:cNvPr id="11" name="Group 213">
              <a:extLst>
                <a:ext uri="{FF2B5EF4-FFF2-40B4-BE49-F238E27FC236}">
                  <a16:creationId xmlns:a16="http://schemas.microsoft.com/office/drawing/2014/main" id="{534F41EB-9A12-E508-CBE3-2B864657C4F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8" y="1059"/>
              <a:ext cx="2586" cy="1847"/>
              <a:chOff x="463" y="871"/>
              <a:chExt cx="2586" cy="1847"/>
            </a:xfrm>
          </p:grpSpPr>
          <p:sp>
            <p:nvSpPr>
              <p:cNvPr id="22" name="Oval 13">
                <a:extLst>
                  <a:ext uri="{FF2B5EF4-FFF2-40B4-BE49-F238E27FC236}">
                    <a16:creationId xmlns:a16="http://schemas.microsoft.com/office/drawing/2014/main" id="{A469B015-6103-22AC-20B6-0CB2E10B5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" y="871"/>
                <a:ext cx="1539" cy="154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3" name="Oval 14">
                <a:extLst>
                  <a:ext uri="{FF2B5EF4-FFF2-40B4-BE49-F238E27FC236}">
                    <a16:creationId xmlns:a16="http://schemas.microsoft.com/office/drawing/2014/main" id="{26219AB1-4406-9352-D7B0-F1736A7AB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" y="888"/>
                <a:ext cx="1490" cy="1489"/>
              </a:xfrm>
              <a:prstGeom prst="ellipse">
                <a:avLst/>
              </a:prstGeom>
              <a:solidFill>
                <a:srgbClr val="F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4" name="Oval 15">
                <a:extLst>
                  <a:ext uri="{FF2B5EF4-FFF2-40B4-BE49-F238E27FC236}">
                    <a16:creationId xmlns:a16="http://schemas.microsoft.com/office/drawing/2014/main" id="{793942A4-7B4D-D545-318B-49878E7492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" y="899"/>
                <a:ext cx="1434" cy="1440"/>
              </a:xfrm>
              <a:prstGeom prst="ellipse">
                <a:avLst/>
              </a:prstGeom>
              <a:solidFill>
                <a:srgbClr val="FF1F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5" name="Oval 16">
                <a:extLst>
                  <a:ext uri="{FF2B5EF4-FFF2-40B4-BE49-F238E27FC236}">
                    <a16:creationId xmlns:a16="http://schemas.microsoft.com/office/drawing/2014/main" id="{581E26E6-F475-EABF-FE15-8DB452BE6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" y="904"/>
                <a:ext cx="1406" cy="1407"/>
              </a:xfrm>
              <a:prstGeom prst="ellipse">
                <a:avLst/>
              </a:prstGeom>
              <a:solidFill>
                <a:srgbClr val="FF2D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Oval 17">
                <a:extLst>
                  <a:ext uri="{FF2B5EF4-FFF2-40B4-BE49-F238E27FC236}">
                    <a16:creationId xmlns:a16="http://schemas.microsoft.com/office/drawing/2014/main" id="{38D7F773-55AF-2B11-7BE9-9B7717B293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" y="916"/>
                <a:ext cx="1351" cy="1356"/>
              </a:xfrm>
              <a:prstGeom prst="ellipse">
                <a:avLst/>
              </a:prstGeom>
              <a:solidFill>
                <a:srgbClr val="FF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7" name="Oval 18">
                <a:extLst>
                  <a:ext uri="{FF2B5EF4-FFF2-40B4-BE49-F238E27FC236}">
                    <a16:creationId xmlns:a16="http://schemas.microsoft.com/office/drawing/2014/main" id="{C2DB0B2D-267C-C342-9C74-D8BBD68D6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" y="921"/>
                <a:ext cx="1323" cy="1323"/>
              </a:xfrm>
              <a:prstGeom prst="ellipse">
                <a:avLst/>
              </a:prstGeom>
              <a:solidFill>
                <a:srgbClr val="FF49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8" name="Oval 19">
                <a:extLst>
                  <a:ext uri="{FF2B5EF4-FFF2-40B4-BE49-F238E27FC236}">
                    <a16:creationId xmlns:a16="http://schemas.microsoft.com/office/drawing/2014/main" id="{9EE410C9-BBE6-9250-A556-EEFE2FB96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" y="938"/>
                <a:ext cx="1274" cy="1273"/>
              </a:xfrm>
              <a:prstGeom prst="ellipse">
                <a:avLst/>
              </a:prstGeom>
              <a:solidFill>
                <a:srgbClr val="FF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9" name="Oval 20">
                <a:extLst>
                  <a:ext uri="{FF2B5EF4-FFF2-40B4-BE49-F238E27FC236}">
                    <a16:creationId xmlns:a16="http://schemas.microsoft.com/office/drawing/2014/main" id="{A14851D8-5BBC-AA8F-01F8-2F8BF9EE27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" y="938"/>
                <a:ext cx="1240" cy="1240"/>
              </a:xfrm>
              <a:prstGeom prst="ellipse">
                <a:avLst/>
              </a:prstGeom>
              <a:solidFill>
                <a:srgbClr val="FF6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0" name="Oval 21">
                <a:extLst>
                  <a:ext uri="{FF2B5EF4-FFF2-40B4-BE49-F238E27FC236}">
                    <a16:creationId xmlns:a16="http://schemas.microsoft.com/office/drawing/2014/main" id="{AC866FEA-69CE-EE1F-87BB-B071E2AB2E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" y="954"/>
                <a:ext cx="1190" cy="1191"/>
              </a:xfrm>
              <a:prstGeom prst="ellipse">
                <a:avLst/>
              </a:prstGeom>
              <a:solidFill>
                <a:srgbClr val="FF70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1" name="Oval 22">
                <a:extLst>
                  <a:ext uri="{FF2B5EF4-FFF2-40B4-BE49-F238E27FC236}">
                    <a16:creationId xmlns:a16="http://schemas.microsoft.com/office/drawing/2014/main" id="{4DF97D16-D6DE-5315-2749-0930AD0B2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" y="954"/>
                <a:ext cx="1157" cy="1158"/>
              </a:xfrm>
              <a:prstGeom prst="ellipse">
                <a:avLst/>
              </a:prstGeom>
              <a:solidFill>
                <a:srgbClr val="FF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2" name="Oval 23">
                <a:extLst>
                  <a:ext uri="{FF2B5EF4-FFF2-40B4-BE49-F238E27FC236}">
                    <a16:creationId xmlns:a16="http://schemas.microsoft.com/office/drawing/2014/main" id="{6C2CB284-035F-64B2-BAEB-0366D64A97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" y="971"/>
                <a:ext cx="1108" cy="1107"/>
              </a:xfrm>
              <a:prstGeom prst="ellipse">
                <a:avLst/>
              </a:prstGeom>
              <a:solidFill>
                <a:srgbClr val="FF86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3" name="Oval 24">
                <a:extLst>
                  <a:ext uri="{FF2B5EF4-FFF2-40B4-BE49-F238E27FC236}">
                    <a16:creationId xmlns:a16="http://schemas.microsoft.com/office/drawing/2014/main" id="{A636F0AB-1879-346A-4AA1-D4449BC7C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" y="971"/>
                <a:ext cx="1075" cy="1074"/>
              </a:xfrm>
              <a:prstGeom prst="ellipse">
                <a:avLst/>
              </a:prstGeom>
              <a:solidFill>
                <a:srgbClr val="FF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4" name="Oval 25">
                <a:extLst>
                  <a:ext uri="{FF2B5EF4-FFF2-40B4-BE49-F238E27FC236}">
                    <a16:creationId xmlns:a16="http://schemas.microsoft.com/office/drawing/2014/main" id="{53EE3447-3398-262D-1A2A-0EEF9032F6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2" y="987"/>
                <a:ext cx="1024" cy="1025"/>
              </a:xfrm>
              <a:prstGeom prst="ellipse">
                <a:avLst/>
              </a:prstGeom>
              <a:solidFill>
                <a:srgbClr val="FF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5" name="Oval 26">
                <a:extLst>
                  <a:ext uri="{FF2B5EF4-FFF2-40B4-BE49-F238E27FC236}">
                    <a16:creationId xmlns:a16="http://schemas.microsoft.com/office/drawing/2014/main" id="{CDC0A313-0088-8108-E84A-1586CE0E1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2" y="987"/>
                <a:ext cx="991" cy="992"/>
              </a:xfrm>
              <a:prstGeom prst="ellipse">
                <a:avLst/>
              </a:prstGeom>
              <a:solidFill>
                <a:srgbClr val="FF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6" name="Oval 27">
                <a:extLst>
                  <a:ext uri="{FF2B5EF4-FFF2-40B4-BE49-F238E27FC236}">
                    <a16:creationId xmlns:a16="http://schemas.microsoft.com/office/drawing/2014/main" id="{2D7C1DA8-1C43-B435-4679-2150FD5DCA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" y="1004"/>
                <a:ext cx="941" cy="941"/>
              </a:xfrm>
              <a:prstGeom prst="ellipse">
                <a:avLst/>
              </a:prstGeom>
              <a:solidFill>
                <a:srgbClr val="FFA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7" name="Oval 28">
                <a:extLst>
                  <a:ext uri="{FF2B5EF4-FFF2-40B4-BE49-F238E27FC236}">
                    <a16:creationId xmlns:a16="http://schemas.microsoft.com/office/drawing/2014/main" id="{E11C0149-6EF8-CA6B-BB20-7E22E1698B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" y="1015"/>
                <a:ext cx="908" cy="908"/>
              </a:xfrm>
              <a:prstGeom prst="ellipse">
                <a:avLst/>
              </a:prstGeom>
              <a:solidFill>
                <a:srgbClr val="FFB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8" name="Oval 29">
                <a:extLst>
                  <a:ext uri="{FF2B5EF4-FFF2-40B4-BE49-F238E27FC236}">
                    <a16:creationId xmlns:a16="http://schemas.microsoft.com/office/drawing/2014/main" id="{EF21C4A4-F5B6-4774-CA9A-4BA8D7ADBA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5" y="1021"/>
                <a:ext cx="858" cy="858"/>
              </a:xfrm>
              <a:prstGeom prst="ellipse">
                <a:avLst/>
              </a:prstGeom>
              <a:solidFill>
                <a:srgbClr val="F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9" name="Oval 30">
                <a:extLst>
                  <a:ext uri="{FF2B5EF4-FFF2-40B4-BE49-F238E27FC236}">
                    <a16:creationId xmlns:a16="http://schemas.microsoft.com/office/drawing/2014/main" id="{3C1B43E7-DB86-1643-A12C-D666291236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" y="1032"/>
                <a:ext cx="825" cy="825"/>
              </a:xfrm>
              <a:prstGeom prst="ellipse">
                <a:avLst/>
              </a:prstGeom>
              <a:solidFill>
                <a:srgbClr val="FF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0" name="Oval 31">
                <a:extLst>
                  <a:ext uri="{FF2B5EF4-FFF2-40B4-BE49-F238E27FC236}">
                    <a16:creationId xmlns:a16="http://schemas.microsoft.com/office/drawing/2014/main" id="{0944951D-9DB6-CC33-C3DE-B79ACD4406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2" y="1037"/>
                <a:ext cx="775" cy="776"/>
              </a:xfrm>
              <a:prstGeom prst="ellipse">
                <a:avLst/>
              </a:prstGeom>
              <a:solidFill>
                <a:srgbClr val="FF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1" name="Oval 32">
                <a:extLst>
                  <a:ext uri="{FF2B5EF4-FFF2-40B4-BE49-F238E27FC236}">
                    <a16:creationId xmlns:a16="http://schemas.microsoft.com/office/drawing/2014/main" id="{66C9C01B-DC7D-AAE5-17B4-EE95314D9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" y="1048"/>
                <a:ext cx="742" cy="742"/>
              </a:xfrm>
              <a:prstGeom prst="ellipse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2" name="Oval 33">
                <a:extLst>
                  <a:ext uri="{FF2B5EF4-FFF2-40B4-BE49-F238E27FC236}">
                    <a16:creationId xmlns:a16="http://schemas.microsoft.com/office/drawing/2014/main" id="{BF62E13F-FAEA-DC9C-180E-C42DDB7A5E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1054"/>
                <a:ext cx="693" cy="692"/>
              </a:xfrm>
              <a:prstGeom prst="ellipse">
                <a:avLst/>
              </a:prstGeom>
              <a:solidFill>
                <a:srgbClr val="FF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3" name="Oval 34">
                <a:extLst>
                  <a:ext uri="{FF2B5EF4-FFF2-40B4-BE49-F238E27FC236}">
                    <a16:creationId xmlns:a16="http://schemas.microsoft.com/office/drawing/2014/main" id="{7AA0DE5B-A904-7885-3DAC-68A63C3C2C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" y="1065"/>
                <a:ext cx="658" cy="659"/>
              </a:xfrm>
              <a:prstGeom prst="ellipse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4" name="Oval 35">
                <a:extLst>
                  <a:ext uri="{FF2B5EF4-FFF2-40B4-BE49-F238E27FC236}">
                    <a16:creationId xmlns:a16="http://schemas.microsoft.com/office/drawing/2014/main" id="{B34F0864-3512-29B7-CCA0-12C1E743F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5" y="1071"/>
                <a:ext cx="609" cy="609"/>
              </a:xfrm>
              <a:prstGeom prst="ellipse">
                <a:avLst/>
              </a:prstGeom>
              <a:solidFill>
                <a:srgbClr val="FF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5" name="Oval 36">
                <a:extLst>
                  <a:ext uri="{FF2B5EF4-FFF2-40B4-BE49-F238E27FC236}">
                    <a16:creationId xmlns:a16="http://schemas.microsoft.com/office/drawing/2014/main" id="{B9F3DAA6-0FF8-CBCF-4645-E660A7703F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" y="1082"/>
                <a:ext cx="576" cy="575"/>
              </a:xfrm>
              <a:prstGeom prst="ellipse">
                <a:avLst/>
              </a:prstGeom>
              <a:solidFill>
                <a:srgbClr val="FF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6" name="Oval 37">
                <a:extLst>
                  <a:ext uri="{FF2B5EF4-FFF2-40B4-BE49-F238E27FC236}">
                    <a16:creationId xmlns:a16="http://schemas.microsoft.com/office/drawing/2014/main" id="{F028D2B0-6425-893C-015D-54E26F4D25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3" y="1098"/>
                <a:ext cx="526" cy="526"/>
              </a:xfrm>
              <a:prstGeom prst="ellipse">
                <a:avLst/>
              </a:prstGeom>
              <a:solidFill>
                <a:srgbClr val="F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7" name="Oval 38">
                <a:extLst>
                  <a:ext uri="{FF2B5EF4-FFF2-40B4-BE49-F238E27FC236}">
                    <a16:creationId xmlns:a16="http://schemas.microsoft.com/office/drawing/2014/main" id="{05A37B78-FA0D-B42B-7C78-9DC7D7161C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3" y="1098"/>
                <a:ext cx="493" cy="493"/>
              </a:xfrm>
              <a:prstGeom prst="ellipse">
                <a:avLst/>
              </a:prstGeom>
              <a:solidFill>
                <a:srgbClr val="FF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Oval 39">
                <a:extLst>
                  <a:ext uri="{FF2B5EF4-FFF2-40B4-BE49-F238E27FC236}">
                    <a16:creationId xmlns:a16="http://schemas.microsoft.com/office/drawing/2014/main" id="{8BE2D65B-7954-CBFF-8B78-DD87A32EE4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" y="1115"/>
                <a:ext cx="443" cy="443"/>
              </a:xfrm>
              <a:prstGeom prst="ellipse">
                <a:avLst/>
              </a:prstGeom>
              <a:solidFill>
                <a:srgbClr val="FF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9" name="Oval 40">
                <a:extLst>
                  <a:ext uri="{FF2B5EF4-FFF2-40B4-BE49-F238E27FC236}">
                    <a16:creationId xmlns:a16="http://schemas.microsoft.com/office/drawing/2014/main" id="{2214C38B-ECAD-E647-E22B-E8BE20A2F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" y="1115"/>
                <a:ext cx="410" cy="410"/>
              </a:xfrm>
              <a:prstGeom prst="ellipse">
                <a:avLst/>
              </a:prstGeom>
              <a:solidFill>
                <a:srgbClr val="FFF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0" name="Oval 41">
                <a:extLst>
                  <a:ext uri="{FF2B5EF4-FFF2-40B4-BE49-F238E27FC236}">
                    <a16:creationId xmlns:a16="http://schemas.microsoft.com/office/drawing/2014/main" id="{76F957AD-9849-99A1-BDEC-ACA88F331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" y="1131"/>
                <a:ext cx="360" cy="360"/>
              </a:xfrm>
              <a:prstGeom prst="ellipse">
                <a:avLst/>
              </a:prstGeom>
              <a:solidFill>
                <a:srgbClr val="FF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1" name="Oval 42">
                <a:extLst>
                  <a:ext uri="{FF2B5EF4-FFF2-40B4-BE49-F238E27FC236}">
                    <a16:creationId xmlns:a16="http://schemas.microsoft.com/office/drawing/2014/main" id="{96AECB5D-095A-F840-884A-6B8E24919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" y="1131"/>
                <a:ext cx="327" cy="327"/>
              </a:xfrm>
              <a:prstGeom prst="ellipse">
                <a:avLst/>
              </a:prstGeom>
              <a:solidFill>
                <a:srgbClr val="FF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2" name="Oval 43">
                <a:extLst>
                  <a:ext uri="{FF2B5EF4-FFF2-40B4-BE49-F238E27FC236}">
                    <a16:creationId xmlns:a16="http://schemas.microsoft.com/office/drawing/2014/main" id="{7661053E-D5BA-45F8-1AFA-505C237448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3" y="1148"/>
                <a:ext cx="276" cy="277"/>
              </a:xfrm>
              <a:prstGeom prst="ellipse">
                <a:avLst/>
              </a:prstGeom>
              <a:solidFill>
                <a:srgbClr val="FF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3" name="Oval 44">
                <a:extLst>
                  <a:ext uri="{FF2B5EF4-FFF2-40B4-BE49-F238E27FC236}">
                    <a16:creationId xmlns:a16="http://schemas.microsoft.com/office/drawing/2014/main" id="{0D4B09B9-C474-DBB5-0B61-6C2AAE6EB0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3" y="1148"/>
                <a:ext cx="243" cy="2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4" name="Oval 45">
                <a:extLst>
                  <a:ext uri="{FF2B5EF4-FFF2-40B4-BE49-F238E27FC236}">
                    <a16:creationId xmlns:a16="http://schemas.microsoft.com/office/drawing/2014/main" id="{4F4E096E-4124-BF90-896F-A5206712A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" y="871"/>
                <a:ext cx="1539" cy="1540"/>
              </a:xfrm>
              <a:prstGeom prst="ellipse">
                <a:avLst/>
              </a:prstGeom>
              <a:solidFill>
                <a:srgbClr val="6699FF"/>
              </a:solidFill>
              <a:ln w="61913">
                <a:solidFill>
                  <a:srgbClr val="6699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5" name="Oval 46">
                <a:extLst>
                  <a:ext uri="{FF2B5EF4-FFF2-40B4-BE49-F238E27FC236}">
                    <a16:creationId xmlns:a16="http://schemas.microsoft.com/office/drawing/2014/main" id="{CA1936A8-690B-0BDE-DB09-D752A85E6A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910"/>
                <a:ext cx="1445" cy="1445"/>
              </a:xfrm>
              <a:prstGeom prst="ellipse">
                <a:avLst/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6" name="Oval 47">
                <a:extLst>
                  <a:ext uri="{FF2B5EF4-FFF2-40B4-BE49-F238E27FC236}">
                    <a16:creationId xmlns:a16="http://schemas.microsoft.com/office/drawing/2014/main" id="{9E3CBA80-9F73-6E81-DDB9-B73177DAD5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" y="927"/>
                <a:ext cx="1395" cy="1400"/>
              </a:xfrm>
              <a:prstGeom prst="ellipse">
                <a:avLst/>
              </a:prstGeom>
              <a:solidFill>
                <a:srgbClr val="FFF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7" name="Oval 48">
                <a:extLst>
                  <a:ext uri="{FF2B5EF4-FFF2-40B4-BE49-F238E27FC236}">
                    <a16:creationId xmlns:a16="http://schemas.microsoft.com/office/drawing/2014/main" id="{67D53823-96B1-1018-D4C6-90AAAC090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" y="938"/>
                <a:ext cx="1345" cy="1351"/>
              </a:xfrm>
              <a:prstGeom prst="ellipse">
                <a:avLst/>
              </a:prstGeom>
              <a:solidFill>
                <a:srgbClr val="FFFF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Oval 49">
                <a:extLst>
                  <a:ext uri="{FF2B5EF4-FFF2-40B4-BE49-F238E27FC236}">
                    <a16:creationId xmlns:a16="http://schemas.microsoft.com/office/drawing/2014/main" id="{EBBDEF27-BFAF-8FC2-8EA4-D2A0D71A3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" y="943"/>
                <a:ext cx="1318" cy="1324"/>
              </a:xfrm>
              <a:prstGeom prst="ellipse">
                <a:avLst/>
              </a:prstGeom>
              <a:solidFill>
                <a:srgbClr val="FFFF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9" name="Oval 50">
                <a:extLst>
                  <a:ext uri="{FF2B5EF4-FFF2-40B4-BE49-F238E27FC236}">
                    <a16:creationId xmlns:a16="http://schemas.microsoft.com/office/drawing/2014/main" id="{7F243A43-A8E5-A57B-BCAB-04ADD65C3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" y="954"/>
                <a:ext cx="1273" cy="1274"/>
              </a:xfrm>
              <a:prstGeom prst="ellipse">
                <a:avLst/>
              </a:prstGeom>
              <a:solidFill>
                <a:srgbClr val="FFF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0" name="Oval 51">
                <a:extLst>
                  <a:ext uri="{FF2B5EF4-FFF2-40B4-BE49-F238E27FC236}">
                    <a16:creationId xmlns:a16="http://schemas.microsoft.com/office/drawing/2014/main" id="{11AF6BA1-F5D6-F979-D325-3A8DAC5DB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" y="960"/>
                <a:ext cx="1240" cy="1240"/>
              </a:xfrm>
              <a:prstGeom prst="ellipse">
                <a:avLst/>
              </a:prstGeom>
              <a:solidFill>
                <a:srgbClr val="FFFF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1" name="Oval 52">
                <a:extLst>
                  <a:ext uri="{FF2B5EF4-FFF2-40B4-BE49-F238E27FC236}">
                    <a16:creationId xmlns:a16="http://schemas.microsoft.com/office/drawing/2014/main" id="{B380516E-F687-12D4-BDEA-92C2A3F2FA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" y="976"/>
                <a:ext cx="1190" cy="1196"/>
              </a:xfrm>
              <a:prstGeom prst="ellipse">
                <a:avLst/>
              </a:prstGeom>
              <a:solidFill>
                <a:srgbClr val="FFFF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2" name="Oval 53">
                <a:extLst>
                  <a:ext uri="{FF2B5EF4-FFF2-40B4-BE49-F238E27FC236}">
                    <a16:creationId xmlns:a16="http://schemas.microsoft.com/office/drawing/2014/main" id="{5D5DA88C-219A-23AB-FF4C-1F43439C0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" y="976"/>
                <a:ext cx="1162" cy="1163"/>
              </a:xfrm>
              <a:prstGeom prst="ellipse">
                <a:avLst/>
              </a:prstGeom>
              <a:solidFill>
                <a:srgbClr val="FFFF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3" name="Oval 54">
                <a:extLst>
                  <a:ext uri="{FF2B5EF4-FFF2-40B4-BE49-F238E27FC236}">
                    <a16:creationId xmlns:a16="http://schemas.microsoft.com/office/drawing/2014/main" id="{6F0438B5-3EB5-88F6-8272-B7029A508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" y="993"/>
                <a:ext cx="1118" cy="1113"/>
              </a:xfrm>
              <a:prstGeom prst="ellipse">
                <a:avLst/>
              </a:prstGeom>
              <a:solidFill>
                <a:srgbClr val="FFFF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4" name="Oval 55">
                <a:extLst>
                  <a:ext uri="{FF2B5EF4-FFF2-40B4-BE49-F238E27FC236}">
                    <a16:creationId xmlns:a16="http://schemas.microsoft.com/office/drawing/2014/main" id="{E59DA406-DA60-E5DA-A077-D967E70B1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" y="993"/>
                <a:ext cx="1085" cy="1085"/>
              </a:xfrm>
              <a:prstGeom prst="ellipse">
                <a:avLst/>
              </a:prstGeom>
              <a:solidFill>
                <a:srgbClr val="FFFF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5" name="Oval 56">
                <a:extLst>
                  <a:ext uri="{FF2B5EF4-FFF2-40B4-BE49-F238E27FC236}">
                    <a16:creationId xmlns:a16="http://schemas.microsoft.com/office/drawing/2014/main" id="{C541787A-227E-DFFF-BDE0-8230BA8C1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04"/>
                <a:ext cx="1041" cy="1041"/>
              </a:xfrm>
              <a:prstGeom prst="ellipse">
                <a:avLst/>
              </a:prstGeom>
              <a:solidFill>
                <a:srgbClr val="FFFF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6" name="Oval 57">
                <a:extLst>
                  <a:ext uri="{FF2B5EF4-FFF2-40B4-BE49-F238E27FC236}">
                    <a16:creationId xmlns:a16="http://schemas.microsoft.com/office/drawing/2014/main" id="{4471C4BD-89B4-4D81-4439-5FCCB7D191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04"/>
                <a:ext cx="1008" cy="1013"/>
              </a:xfrm>
              <a:prstGeom prst="ellipse">
                <a:avLst/>
              </a:prstGeom>
              <a:solidFill>
                <a:srgbClr val="FFF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7" name="Oval 58">
                <a:extLst>
                  <a:ext uri="{FF2B5EF4-FFF2-40B4-BE49-F238E27FC236}">
                    <a16:creationId xmlns:a16="http://schemas.microsoft.com/office/drawing/2014/main" id="{3C64DAE4-7C30-B3DF-0E86-FFFA31584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" y="1021"/>
                <a:ext cx="963" cy="963"/>
              </a:xfrm>
              <a:prstGeom prst="ellipse">
                <a:avLst/>
              </a:prstGeom>
              <a:solidFill>
                <a:srgbClr val="FFFF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Oval 59">
                <a:extLst>
                  <a:ext uri="{FF2B5EF4-FFF2-40B4-BE49-F238E27FC236}">
                    <a16:creationId xmlns:a16="http://schemas.microsoft.com/office/drawing/2014/main" id="{C3FA0930-6A8D-0AE9-B8E6-C2E88690F1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" y="1021"/>
                <a:ext cx="930" cy="930"/>
              </a:xfrm>
              <a:prstGeom prst="ellipse">
                <a:avLst/>
              </a:prstGeom>
              <a:solidFill>
                <a:srgbClr val="FFFF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9" name="Oval 60">
                <a:extLst>
                  <a:ext uri="{FF2B5EF4-FFF2-40B4-BE49-F238E27FC236}">
                    <a16:creationId xmlns:a16="http://schemas.microsoft.com/office/drawing/2014/main" id="{9FBEF535-5E80-26B2-78F4-67D7070AC7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8" y="1037"/>
                <a:ext cx="880" cy="886"/>
              </a:xfrm>
              <a:prstGeom prst="ellipse">
                <a:avLst/>
              </a:prstGeom>
              <a:solidFill>
                <a:srgbClr val="FFFF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0" name="Oval 61">
                <a:extLst>
                  <a:ext uri="{FF2B5EF4-FFF2-40B4-BE49-F238E27FC236}">
                    <a16:creationId xmlns:a16="http://schemas.microsoft.com/office/drawing/2014/main" id="{1BEA8D8D-89CA-CAF7-B2BD-B82C49C19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3" y="1043"/>
                <a:ext cx="853" cy="858"/>
              </a:xfrm>
              <a:prstGeom prst="ellipse">
                <a:avLst/>
              </a:prstGeom>
              <a:solidFill>
                <a:srgbClr val="FFFF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1" name="Oval 62">
                <a:extLst>
                  <a:ext uri="{FF2B5EF4-FFF2-40B4-BE49-F238E27FC236}">
                    <a16:creationId xmlns:a16="http://schemas.microsoft.com/office/drawing/2014/main" id="{E83E29AB-3F9D-A262-7603-2F22DC851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4" y="1054"/>
                <a:ext cx="803" cy="808"/>
              </a:xfrm>
              <a:prstGeom prst="ellipse">
                <a:avLst/>
              </a:prstGeom>
              <a:solidFill>
                <a:srgbClr val="FFF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2" name="Oval 63">
                <a:extLst>
                  <a:ext uri="{FF2B5EF4-FFF2-40B4-BE49-F238E27FC236}">
                    <a16:creationId xmlns:a16="http://schemas.microsoft.com/office/drawing/2014/main" id="{9043539F-E32D-764D-5FE5-CC02B35F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" y="1059"/>
                <a:ext cx="775" cy="776"/>
              </a:xfrm>
              <a:prstGeom prst="ellipse">
                <a:avLst/>
              </a:prstGeom>
              <a:solidFill>
                <a:srgbClr val="FFF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3" name="Oval 64">
                <a:extLst>
                  <a:ext uri="{FF2B5EF4-FFF2-40B4-BE49-F238E27FC236}">
                    <a16:creationId xmlns:a16="http://schemas.microsoft.com/office/drawing/2014/main" id="{8AC3D797-0E69-F6B0-CB68-9D42F4A94B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5" y="1071"/>
                <a:ext cx="731" cy="725"/>
              </a:xfrm>
              <a:prstGeom prst="ellipse">
                <a:avLst/>
              </a:prstGeom>
              <a:solidFill>
                <a:srgbClr val="FFF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4" name="Oval 65">
                <a:extLst>
                  <a:ext uri="{FF2B5EF4-FFF2-40B4-BE49-F238E27FC236}">
                    <a16:creationId xmlns:a16="http://schemas.microsoft.com/office/drawing/2014/main" id="{A2F38977-3E5D-7477-BBAF-FE2ECBEF0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" y="1076"/>
                <a:ext cx="698" cy="698"/>
              </a:xfrm>
              <a:prstGeom prst="ellipse">
                <a:avLst/>
              </a:prstGeom>
              <a:solidFill>
                <a:srgbClr val="FFFF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5" name="Oval 66">
                <a:extLst>
                  <a:ext uri="{FF2B5EF4-FFF2-40B4-BE49-F238E27FC236}">
                    <a16:creationId xmlns:a16="http://schemas.microsoft.com/office/drawing/2014/main" id="{7A8C9236-C2A5-DC52-4205-0520797012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2" y="1082"/>
                <a:ext cx="653" cy="653"/>
              </a:xfrm>
              <a:prstGeom prst="ellipse">
                <a:avLst/>
              </a:prstGeom>
              <a:solidFill>
                <a:srgbClr val="FFFF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6" name="Oval 67">
                <a:extLst>
                  <a:ext uri="{FF2B5EF4-FFF2-40B4-BE49-F238E27FC236}">
                    <a16:creationId xmlns:a16="http://schemas.microsoft.com/office/drawing/2014/main" id="{E0341FBD-18A2-4AAA-69F5-B7D06B5C00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" y="1093"/>
                <a:ext cx="615" cy="620"/>
              </a:xfrm>
              <a:prstGeom prst="ellipse">
                <a:avLst/>
              </a:prstGeom>
              <a:solidFill>
                <a:srgbClr val="FFF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7" name="Oval 68">
                <a:extLst>
                  <a:ext uri="{FF2B5EF4-FFF2-40B4-BE49-F238E27FC236}">
                    <a16:creationId xmlns:a16="http://schemas.microsoft.com/office/drawing/2014/main" id="{7DF738A8-8E78-0D57-9F68-3214C45496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1098"/>
                <a:ext cx="571" cy="576"/>
              </a:xfrm>
              <a:prstGeom prst="ellipse">
                <a:avLst/>
              </a:prstGeom>
              <a:solidFill>
                <a:srgbClr val="FF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8" name="Oval 69">
                <a:extLst>
                  <a:ext uri="{FF2B5EF4-FFF2-40B4-BE49-F238E27FC236}">
                    <a16:creationId xmlns:a16="http://schemas.microsoft.com/office/drawing/2014/main" id="{90EC95AA-330A-1B08-E3BD-9943010E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" y="1109"/>
                <a:ext cx="543" cy="543"/>
              </a:xfrm>
              <a:prstGeom prst="ellipse">
                <a:avLst/>
              </a:prstGeom>
              <a:solidFill>
                <a:srgbClr val="FFF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9" name="Oval 70">
                <a:extLst>
                  <a:ext uri="{FF2B5EF4-FFF2-40B4-BE49-F238E27FC236}">
                    <a16:creationId xmlns:a16="http://schemas.microsoft.com/office/drawing/2014/main" id="{7B80A1A7-AE9E-B6E3-6DBC-168507C2E9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1" y="1120"/>
                <a:ext cx="498" cy="499"/>
              </a:xfrm>
              <a:prstGeom prst="ellipse">
                <a:avLst/>
              </a:prstGeom>
              <a:solidFill>
                <a:srgbClr val="FFF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0" name="Oval 71">
                <a:extLst>
                  <a:ext uri="{FF2B5EF4-FFF2-40B4-BE49-F238E27FC236}">
                    <a16:creationId xmlns:a16="http://schemas.microsoft.com/office/drawing/2014/main" id="{E8823EDF-D668-E734-7962-DABDE3DADF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1" y="1120"/>
                <a:ext cx="465" cy="465"/>
              </a:xfrm>
              <a:prstGeom prst="ellipse">
                <a:avLst/>
              </a:prstGeom>
              <a:solidFill>
                <a:srgbClr val="FFFF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1" name="Oval 72">
                <a:extLst>
                  <a:ext uri="{FF2B5EF4-FFF2-40B4-BE49-F238E27FC236}">
                    <a16:creationId xmlns:a16="http://schemas.microsoft.com/office/drawing/2014/main" id="{81EA4563-7FC6-89BF-9D37-87180A339E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" y="1137"/>
                <a:ext cx="415" cy="421"/>
              </a:xfrm>
              <a:prstGeom prst="ellipse">
                <a:avLst/>
              </a:prstGeom>
              <a:solidFill>
                <a:srgbClr val="FFFF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2" name="Oval 73">
                <a:extLst>
                  <a:ext uri="{FF2B5EF4-FFF2-40B4-BE49-F238E27FC236}">
                    <a16:creationId xmlns:a16="http://schemas.microsoft.com/office/drawing/2014/main" id="{F943D146-5895-A539-73B7-FB6439988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" y="1137"/>
                <a:ext cx="388" cy="388"/>
              </a:xfrm>
              <a:prstGeom prst="ellipse">
                <a:avLst/>
              </a:prstGeom>
              <a:solidFill>
                <a:srgbClr val="FFFF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3" name="Oval 74">
                <a:extLst>
                  <a:ext uri="{FF2B5EF4-FFF2-40B4-BE49-F238E27FC236}">
                    <a16:creationId xmlns:a16="http://schemas.microsoft.com/office/drawing/2014/main" id="{CDB10DCC-C082-AF13-89F0-90C2A42F2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" y="1154"/>
                <a:ext cx="338" cy="337"/>
              </a:xfrm>
              <a:prstGeom prst="ellipse">
                <a:avLst/>
              </a:prstGeom>
              <a:solidFill>
                <a:srgbClr val="FFFF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4" name="Oval 75">
                <a:extLst>
                  <a:ext uri="{FF2B5EF4-FFF2-40B4-BE49-F238E27FC236}">
                    <a16:creationId xmlns:a16="http://schemas.microsoft.com/office/drawing/2014/main" id="{0B40E591-B80E-780A-A3B0-BE1337D41A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" y="1154"/>
                <a:ext cx="310" cy="310"/>
              </a:xfrm>
              <a:prstGeom prst="ellipse">
                <a:avLst/>
              </a:prstGeom>
              <a:solidFill>
                <a:srgbClr val="FFF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5" name="Oval 76">
                <a:extLst>
                  <a:ext uri="{FF2B5EF4-FFF2-40B4-BE49-F238E27FC236}">
                    <a16:creationId xmlns:a16="http://schemas.microsoft.com/office/drawing/2014/main" id="{50F09E4A-994D-C3EB-1299-117A5FBCFB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0" y="1170"/>
                <a:ext cx="261" cy="260"/>
              </a:xfrm>
              <a:prstGeom prst="ellipse">
                <a:avLst/>
              </a:prstGeom>
              <a:solidFill>
                <a:srgbClr val="FFFF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6" name="Oval 77">
                <a:extLst>
                  <a:ext uri="{FF2B5EF4-FFF2-40B4-BE49-F238E27FC236}">
                    <a16:creationId xmlns:a16="http://schemas.microsoft.com/office/drawing/2014/main" id="{EAD73C68-B2E7-1920-F599-420FAEF6E6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0" y="1170"/>
                <a:ext cx="227" cy="2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7" name="Oval 78">
                <a:extLst>
                  <a:ext uri="{FF2B5EF4-FFF2-40B4-BE49-F238E27FC236}">
                    <a16:creationId xmlns:a16="http://schemas.microsoft.com/office/drawing/2014/main" id="{958968EE-9C7F-C032-8F36-3323BB44C3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910"/>
                <a:ext cx="1445" cy="1445"/>
              </a:xfrm>
              <a:prstGeom prst="ellipse">
                <a:avLst/>
              </a:prstGeom>
              <a:solidFill>
                <a:srgbClr val="FF9900"/>
              </a:solidFill>
              <a:ln w="61913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8" name="Oval 79">
                <a:extLst>
                  <a:ext uri="{FF2B5EF4-FFF2-40B4-BE49-F238E27FC236}">
                    <a16:creationId xmlns:a16="http://schemas.microsoft.com/office/drawing/2014/main" id="{174873CB-4FEA-37EA-6632-009F3CE89F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043"/>
                <a:ext cx="1218" cy="1218"/>
              </a:xfrm>
              <a:prstGeom prst="ellipse">
                <a:avLst/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9" name="Oval 80">
                <a:extLst>
                  <a:ext uri="{FF2B5EF4-FFF2-40B4-BE49-F238E27FC236}">
                    <a16:creationId xmlns:a16="http://schemas.microsoft.com/office/drawing/2014/main" id="{11C3343E-5ECF-42A4-A967-8E8E3EF57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" y="1054"/>
                <a:ext cx="1180" cy="1185"/>
              </a:xfrm>
              <a:prstGeom prst="ellipse">
                <a:avLst/>
              </a:prstGeom>
              <a:solidFill>
                <a:srgbClr val="0FF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0" name="Oval 81">
                <a:extLst>
                  <a:ext uri="{FF2B5EF4-FFF2-40B4-BE49-F238E27FC236}">
                    <a16:creationId xmlns:a16="http://schemas.microsoft.com/office/drawing/2014/main" id="{1624F0D1-18EE-C0B4-B640-F910F4805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" y="1059"/>
                <a:ext cx="1140" cy="1147"/>
              </a:xfrm>
              <a:prstGeom prst="ellipse">
                <a:avLst/>
              </a:prstGeom>
              <a:solidFill>
                <a:srgbClr val="1FFF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1" name="Oval 82">
                <a:extLst>
                  <a:ext uri="{FF2B5EF4-FFF2-40B4-BE49-F238E27FC236}">
                    <a16:creationId xmlns:a16="http://schemas.microsoft.com/office/drawing/2014/main" id="{24958347-7F41-A96F-59DF-95369DD707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" y="1071"/>
                <a:ext cx="1113" cy="1113"/>
              </a:xfrm>
              <a:prstGeom prst="ellipse">
                <a:avLst/>
              </a:prstGeom>
              <a:solidFill>
                <a:srgbClr val="2DFF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2" name="Oval 83">
                <a:extLst>
                  <a:ext uri="{FF2B5EF4-FFF2-40B4-BE49-F238E27FC236}">
                    <a16:creationId xmlns:a16="http://schemas.microsoft.com/office/drawing/2014/main" id="{27729CF0-81E6-C797-F499-9ADBFF1E5A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" y="1076"/>
                <a:ext cx="1075" cy="1074"/>
              </a:xfrm>
              <a:prstGeom prst="ellipse">
                <a:avLst/>
              </a:prstGeom>
              <a:solidFill>
                <a:srgbClr val="3CF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3" name="Oval 84">
                <a:extLst>
                  <a:ext uri="{FF2B5EF4-FFF2-40B4-BE49-F238E27FC236}">
                    <a16:creationId xmlns:a16="http://schemas.microsoft.com/office/drawing/2014/main" id="{C4DFEC3C-C6BD-24AC-3D2B-D5B77446E6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" y="1082"/>
                <a:ext cx="1047" cy="1052"/>
              </a:xfrm>
              <a:prstGeom prst="ellipse">
                <a:avLst/>
              </a:prstGeom>
              <a:solidFill>
                <a:srgbClr val="49FF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4" name="Oval 85">
                <a:extLst>
                  <a:ext uri="{FF2B5EF4-FFF2-40B4-BE49-F238E27FC236}">
                    <a16:creationId xmlns:a16="http://schemas.microsoft.com/office/drawing/2014/main" id="{7D255B6A-DEA4-D022-40B8-7DFC42616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" y="1093"/>
                <a:ext cx="1013" cy="1013"/>
              </a:xfrm>
              <a:prstGeom prst="ellipse">
                <a:avLst/>
              </a:prstGeom>
              <a:solidFill>
                <a:srgbClr val="57FF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5" name="Oval 86">
                <a:extLst>
                  <a:ext uri="{FF2B5EF4-FFF2-40B4-BE49-F238E27FC236}">
                    <a16:creationId xmlns:a16="http://schemas.microsoft.com/office/drawing/2014/main" id="{3A74E306-9C56-8C1A-6C6E-22421882B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" y="1093"/>
                <a:ext cx="986" cy="985"/>
              </a:xfrm>
              <a:prstGeom prst="ellipse">
                <a:avLst/>
              </a:prstGeom>
              <a:solidFill>
                <a:srgbClr val="63FF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6" name="Oval 87">
                <a:extLst>
                  <a:ext uri="{FF2B5EF4-FFF2-40B4-BE49-F238E27FC236}">
                    <a16:creationId xmlns:a16="http://schemas.microsoft.com/office/drawing/2014/main" id="{A92657DB-0E29-CA0F-0FA4-C8C9267A5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" y="1109"/>
                <a:ext cx="941" cy="942"/>
              </a:xfrm>
              <a:prstGeom prst="ellipse">
                <a:avLst/>
              </a:prstGeom>
              <a:solidFill>
                <a:srgbClr val="70FF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7" name="Oval 88">
                <a:extLst>
                  <a:ext uri="{FF2B5EF4-FFF2-40B4-BE49-F238E27FC236}">
                    <a16:creationId xmlns:a16="http://schemas.microsoft.com/office/drawing/2014/main" id="{1C9ACFC8-9511-2895-F48A-435C652D71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" y="1109"/>
                <a:ext cx="913" cy="919"/>
              </a:xfrm>
              <a:prstGeom prst="ellipse">
                <a:avLst/>
              </a:prstGeom>
              <a:solidFill>
                <a:srgbClr val="7BFF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8" name="Oval 89">
                <a:extLst>
                  <a:ext uri="{FF2B5EF4-FFF2-40B4-BE49-F238E27FC236}">
                    <a16:creationId xmlns:a16="http://schemas.microsoft.com/office/drawing/2014/main" id="{08D4E9D1-1DD9-9BF0-8142-98B5201E8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" y="1120"/>
                <a:ext cx="880" cy="881"/>
              </a:xfrm>
              <a:prstGeom prst="ellipse">
                <a:avLst/>
              </a:prstGeom>
              <a:solidFill>
                <a:srgbClr val="86FF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9" name="Oval 90">
                <a:extLst>
                  <a:ext uri="{FF2B5EF4-FFF2-40B4-BE49-F238E27FC236}">
                    <a16:creationId xmlns:a16="http://schemas.microsoft.com/office/drawing/2014/main" id="{4F5D17E6-1B09-1C5A-BEBF-30F5A829C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" y="1120"/>
                <a:ext cx="852" cy="853"/>
              </a:xfrm>
              <a:prstGeom prst="ellipse">
                <a:avLst/>
              </a:prstGeom>
              <a:solidFill>
                <a:srgbClr val="91F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0" name="Oval 91">
                <a:extLst>
                  <a:ext uri="{FF2B5EF4-FFF2-40B4-BE49-F238E27FC236}">
                    <a16:creationId xmlns:a16="http://schemas.microsoft.com/office/drawing/2014/main" id="{82D9019E-47AD-3264-1B66-C144586071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" y="1137"/>
                <a:ext cx="814" cy="808"/>
              </a:xfrm>
              <a:prstGeom prst="ellipse">
                <a:avLst/>
              </a:prstGeom>
              <a:solidFill>
                <a:srgbClr val="9BFF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1" name="Oval 92">
                <a:extLst>
                  <a:ext uri="{FF2B5EF4-FFF2-40B4-BE49-F238E27FC236}">
                    <a16:creationId xmlns:a16="http://schemas.microsoft.com/office/drawing/2014/main" id="{C831EAEE-D0A8-ECC4-2D37-31D687881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" y="1137"/>
                <a:ext cx="786" cy="786"/>
              </a:xfrm>
              <a:prstGeom prst="ellipse">
                <a:avLst/>
              </a:prstGeom>
              <a:solidFill>
                <a:srgbClr val="A5FF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2" name="Oval 93">
                <a:extLst>
                  <a:ext uri="{FF2B5EF4-FFF2-40B4-BE49-F238E27FC236}">
                    <a16:creationId xmlns:a16="http://schemas.microsoft.com/office/drawing/2014/main" id="{CAC3F560-E316-D9C0-6A3B-7C60A1F2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" y="1148"/>
                <a:ext cx="748" cy="748"/>
              </a:xfrm>
              <a:prstGeom prst="ellipse">
                <a:avLst/>
              </a:prstGeom>
              <a:solidFill>
                <a:srgbClr val="AEFF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3" name="Oval 94">
                <a:extLst>
                  <a:ext uri="{FF2B5EF4-FFF2-40B4-BE49-F238E27FC236}">
                    <a16:creationId xmlns:a16="http://schemas.microsoft.com/office/drawing/2014/main" id="{3BEC50E8-1C03-1994-C0B9-069B839BA4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2" y="1154"/>
                <a:ext cx="720" cy="719"/>
              </a:xfrm>
              <a:prstGeom prst="ellipse">
                <a:avLst/>
              </a:prstGeom>
              <a:solidFill>
                <a:srgbClr val="B7FF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4" name="Oval 95">
                <a:extLst>
                  <a:ext uri="{FF2B5EF4-FFF2-40B4-BE49-F238E27FC236}">
                    <a16:creationId xmlns:a16="http://schemas.microsoft.com/office/drawing/2014/main" id="{45DF8455-3217-A4A4-5BC6-797FB718B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8" y="1159"/>
                <a:ext cx="681" cy="681"/>
              </a:xfrm>
              <a:prstGeom prst="ellipse">
                <a:avLst/>
              </a:prstGeom>
              <a:solidFill>
                <a:srgbClr val="BFF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5" name="Oval 96">
                <a:extLst>
                  <a:ext uri="{FF2B5EF4-FFF2-40B4-BE49-F238E27FC236}">
                    <a16:creationId xmlns:a16="http://schemas.microsoft.com/office/drawing/2014/main" id="{0BC0EE03-E0DD-C37E-B0FA-48AF9A1DD3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3" y="1165"/>
                <a:ext cx="659" cy="659"/>
              </a:xfrm>
              <a:prstGeom prst="ellipse">
                <a:avLst/>
              </a:prstGeom>
              <a:solidFill>
                <a:srgbClr val="C7F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6" name="Oval 97">
                <a:extLst>
                  <a:ext uri="{FF2B5EF4-FFF2-40B4-BE49-F238E27FC236}">
                    <a16:creationId xmlns:a16="http://schemas.microsoft.com/office/drawing/2014/main" id="{71F83316-84DE-C810-D186-B69389814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4" y="1176"/>
                <a:ext cx="615" cy="614"/>
              </a:xfrm>
              <a:prstGeom prst="ellipse">
                <a:avLst/>
              </a:prstGeom>
              <a:solidFill>
                <a:srgbClr val="CEF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7" name="Oval 98">
                <a:extLst>
                  <a:ext uri="{FF2B5EF4-FFF2-40B4-BE49-F238E27FC236}">
                    <a16:creationId xmlns:a16="http://schemas.microsoft.com/office/drawing/2014/main" id="{174DB52A-E140-21F7-0924-0D23BEFB2A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" y="1181"/>
                <a:ext cx="587" cy="587"/>
              </a:xfrm>
              <a:prstGeom prst="ellipse">
                <a:avLst/>
              </a:prstGeom>
              <a:solidFill>
                <a:srgbClr val="D5FF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8" name="Oval 99">
                <a:extLst>
                  <a:ext uri="{FF2B5EF4-FFF2-40B4-BE49-F238E27FC236}">
                    <a16:creationId xmlns:a16="http://schemas.microsoft.com/office/drawing/2014/main" id="{EA5995CE-014E-F58A-67A4-D3843E83B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5" y="1187"/>
                <a:ext cx="548" cy="548"/>
              </a:xfrm>
              <a:prstGeom prst="ellipse">
                <a:avLst/>
              </a:prstGeom>
              <a:solidFill>
                <a:srgbClr val="DBFF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9" name="Oval 100">
                <a:extLst>
                  <a:ext uri="{FF2B5EF4-FFF2-40B4-BE49-F238E27FC236}">
                    <a16:creationId xmlns:a16="http://schemas.microsoft.com/office/drawing/2014/main" id="{679E2F9E-BD24-28DD-B231-1E44255C72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1" y="1192"/>
                <a:ext cx="526" cy="526"/>
              </a:xfrm>
              <a:prstGeom prst="ellipse">
                <a:avLst/>
              </a:prstGeom>
              <a:solidFill>
                <a:srgbClr val="E1F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0" name="Oval 101">
                <a:extLst>
                  <a:ext uri="{FF2B5EF4-FFF2-40B4-BE49-F238E27FC236}">
                    <a16:creationId xmlns:a16="http://schemas.microsoft.com/office/drawing/2014/main" id="{EE148724-80BD-291F-331A-96A10A56A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" y="1198"/>
                <a:ext cx="488" cy="487"/>
              </a:xfrm>
              <a:prstGeom prst="ellipse">
                <a:avLst/>
              </a:prstGeom>
              <a:solidFill>
                <a:srgbClr val="E6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1" name="Oval 102">
                <a:extLst>
                  <a:ext uri="{FF2B5EF4-FFF2-40B4-BE49-F238E27FC236}">
                    <a16:creationId xmlns:a16="http://schemas.microsoft.com/office/drawing/2014/main" id="{1354C2CE-45DC-38FA-4BE0-F2A97A3986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2" y="1209"/>
                <a:ext cx="459" cy="454"/>
              </a:xfrm>
              <a:prstGeom prst="ellipse">
                <a:avLst/>
              </a:prstGeom>
              <a:solidFill>
                <a:srgbClr val="EBF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2" name="Oval 103">
                <a:extLst>
                  <a:ext uri="{FF2B5EF4-FFF2-40B4-BE49-F238E27FC236}">
                    <a16:creationId xmlns:a16="http://schemas.microsoft.com/office/drawing/2014/main" id="{E037F4DF-5625-66DA-DEF4-6C9B71838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1220"/>
                <a:ext cx="416" cy="421"/>
              </a:xfrm>
              <a:prstGeom prst="ellipse">
                <a:avLst/>
              </a:prstGeom>
              <a:solidFill>
                <a:srgbClr val="EFF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3" name="Oval 104">
                <a:extLst>
                  <a:ext uri="{FF2B5EF4-FFF2-40B4-BE49-F238E27FC236}">
                    <a16:creationId xmlns:a16="http://schemas.microsoft.com/office/drawing/2014/main" id="{7B9DDBF1-697A-1882-FF54-C8A41957BB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1220"/>
                <a:ext cx="394" cy="393"/>
              </a:xfrm>
              <a:prstGeom prst="ellipse">
                <a:avLst/>
              </a:prstGeom>
              <a:solidFill>
                <a:srgbClr val="F3FF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4" name="Oval 105">
                <a:extLst>
                  <a:ext uri="{FF2B5EF4-FFF2-40B4-BE49-F238E27FC236}">
                    <a16:creationId xmlns:a16="http://schemas.microsoft.com/office/drawing/2014/main" id="{73562D8A-FFDA-02AF-4B3E-5A15D0ED03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" y="1231"/>
                <a:ext cx="354" cy="354"/>
              </a:xfrm>
              <a:prstGeom prst="ellipse">
                <a:avLst/>
              </a:prstGeom>
              <a:solidFill>
                <a:srgbClr val="F6FF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5" name="Oval 106">
                <a:extLst>
                  <a:ext uri="{FF2B5EF4-FFF2-40B4-BE49-F238E27FC236}">
                    <a16:creationId xmlns:a16="http://schemas.microsoft.com/office/drawing/2014/main" id="{BF0A619E-9769-B8D8-7E58-6FC67C717A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" y="1231"/>
                <a:ext cx="326" cy="327"/>
              </a:xfrm>
              <a:prstGeom prst="ellipse">
                <a:avLst/>
              </a:prstGeom>
              <a:solidFill>
                <a:srgbClr val="F9FF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6" name="Oval 107">
                <a:extLst>
                  <a:ext uri="{FF2B5EF4-FFF2-40B4-BE49-F238E27FC236}">
                    <a16:creationId xmlns:a16="http://schemas.microsoft.com/office/drawing/2014/main" id="{1105089E-97F3-2FCA-02ED-EE408BE0F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" y="1248"/>
                <a:ext cx="288" cy="288"/>
              </a:xfrm>
              <a:prstGeom prst="ellipse">
                <a:avLst/>
              </a:prstGeom>
              <a:solidFill>
                <a:srgbClr val="FBFF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7" name="Oval 108">
                <a:extLst>
                  <a:ext uri="{FF2B5EF4-FFF2-40B4-BE49-F238E27FC236}">
                    <a16:creationId xmlns:a16="http://schemas.microsoft.com/office/drawing/2014/main" id="{1386C1EC-EA5C-E9D7-1520-EC83D7539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" y="1248"/>
                <a:ext cx="260" cy="260"/>
              </a:xfrm>
              <a:prstGeom prst="ellipse">
                <a:avLst/>
              </a:prstGeom>
              <a:solidFill>
                <a:srgbClr val="FDF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8" name="Oval 109">
                <a:extLst>
                  <a:ext uri="{FF2B5EF4-FFF2-40B4-BE49-F238E27FC236}">
                    <a16:creationId xmlns:a16="http://schemas.microsoft.com/office/drawing/2014/main" id="{C3195FD6-AB1C-F5C1-2D07-D3D73F416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" y="1259"/>
                <a:ext cx="222" cy="221"/>
              </a:xfrm>
              <a:prstGeom prst="ellipse">
                <a:avLst/>
              </a:prstGeom>
              <a:solidFill>
                <a:srgbClr val="FEFF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9" name="Oval 110">
                <a:extLst>
                  <a:ext uri="{FF2B5EF4-FFF2-40B4-BE49-F238E27FC236}">
                    <a16:creationId xmlns:a16="http://schemas.microsoft.com/office/drawing/2014/main" id="{0356AE34-58D5-EBB0-87B6-F188E07034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" y="1259"/>
                <a:ext cx="194" cy="19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0" name="Oval 111">
                <a:extLst>
                  <a:ext uri="{FF2B5EF4-FFF2-40B4-BE49-F238E27FC236}">
                    <a16:creationId xmlns:a16="http://schemas.microsoft.com/office/drawing/2014/main" id="{1652C3C4-8FA0-5F88-4B73-95F96E5303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043"/>
                <a:ext cx="1218" cy="1218"/>
              </a:xfrm>
              <a:prstGeom prst="ellipse">
                <a:avLst/>
              </a:prstGeom>
              <a:solidFill>
                <a:srgbClr val="99CC00"/>
              </a:solidFill>
              <a:ln w="52388">
                <a:solidFill>
                  <a:srgbClr val="99CC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1" name="Oval 112">
                <a:extLst>
                  <a:ext uri="{FF2B5EF4-FFF2-40B4-BE49-F238E27FC236}">
                    <a16:creationId xmlns:a16="http://schemas.microsoft.com/office/drawing/2014/main" id="{6730C4C2-1988-89DB-5EFD-6F8D43BA18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" y="1541"/>
                <a:ext cx="249" cy="249"/>
              </a:xfrm>
              <a:prstGeom prst="ellipse">
                <a:avLst/>
              </a:pr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2" name="Oval 113">
                <a:extLst>
                  <a:ext uri="{FF2B5EF4-FFF2-40B4-BE49-F238E27FC236}">
                    <a16:creationId xmlns:a16="http://schemas.microsoft.com/office/drawing/2014/main" id="{B1B13D15-5FA7-7AE1-A10A-D746B0B2B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" y="1541"/>
                <a:ext cx="238" cy="244"/>
              </a:xfrm>
              <a:prstGeom prst="ellipse">
                <a:avLst/>
              </a:prstGeom>
              <a:solidFill>
                <a:srgbClr val="0F0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3" name="Oval 114">
                <a:extLst>
                  <a:ext uri="{FF2B5EF4-FFF2-40B4-BE49-F238E27FC236}">
                    <a16:creationId xmlns:a16="http://schemas.microsoft.com/office/drawing/2014/main" id="{17843935-259D-F008-07FA-F3196D08D7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" y="1541"/>
                <a:ext cx="233" cy="238"/>
              </a:xfrm>
              <a:prstGeom prst="ellipse">
                <a:avLst/>
              </a:prstGeom>
              <a:solidFill>
                <a:srgbClr val="1F1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4" name="Oval 115">
                <a:extLst>
                  <a:ext uri="{FF2B5EF4-FFF2-40B4-BE49-F238E27FC236}">
                    <a16:creationId xmlns:a16="http://schemas.microsoft.com/office/drawing/2014/main" id="{4CF0F1B6-8291-BD48-1A80-9E3CC3751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" y="1547"/>
                <a:ext cx="233" cy="227"/>
              </a:xfrm>
              <a:prstGeom prst="ellipse">
                <a:avLst/>
              </a:prstGeom>
              <a:solidFill>
                <a:srgbClr val="2D2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5" name="Oval 116">
                <a:extLst>
                  <a:ext uri="{FF2B5EF4-FFF2-40B4-BE49-F238E27FC236}">
                    <a16:creationId xmlns:a16="http://schemas.microsoft.com/office/drawing/2014/main" id="{92DAB8BF-A5D0-B062-1B61-CCC8D7F60B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" y="1547"/>
                <a:ext cx="222" cy="221"/>
              </a:xfrm>
              <a:prstGeom prst="ellipse">
                <a:avLst/>
              </a:prstGeom>
              <a:solidFill>
                <a:srgbClr val="3C3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6" name="Oval 117">
                <a:extLst>
                  <a:ext uri="{FF2B5EF4-FFF2-40B4-BE49-F238E27FC236}">
                    <a16:creationId xmlns:a16="http://schemas.microsoft.com/office/drawing/2014/main" id="{C85AA698-7EF7-DBCB-F827-216BD527F0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" y="1547"/>
                <a:ext cx="222" cy="216"/>
              </a:xfrm>
              <a:prstGeom prst="ellipse">
                <a:avLst/>
              </a:prstGeom>
              <a:solidFill>
                <a:srgbClr val="494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7" name="Oval 118">
                <a:extLst>
                  <a:ext uri="{FF2B5EF4-FFF2-40B4-BE49-F238E27FC236}">
                    <a16:creationId xmlns:a16="http://schemas.microsoft.com/office/drawing/2014/main" id="{2DB1BF2B-5852-4925-8D7E-1637DA20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" y="1552"/>
                <a:ext cx="210" cy="205"/>
              </a:xfrm>
              <a:prstGeom prst="ellipse">
                <a:avLst/>
              </a:prstGeom>
              <a:solidFill>
                <a:srgbClr val="575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8" name="Oval 119">
                <a:extLst>
                  <a:ext uri="{FF2B5EF4-FFF2-40B4-BE49-F238E27FC236}">
                    <a16:creationId xmlns:a16="http://schemas.microsoft.com/office/drawing/2014/main" id="{0D91EC7A-34C2-91ED-F278-BA7854EDE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" y="1552"/>
                <a:ext cx="204" cy="200"/>
              </a:xfrm>
              <a:prstGeom prst="ellipse">
                <a:avLst/>
              </a:prstGeom>
              <a:solidFill>
                <a:srgbClr val="636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29" name="Oval 120">
                <a:extLst>
                  <a:ext uri="{FF2B5EF4-FFF2-40B4-BE49-F238E27FC236}">
                    <a16:creationId xmlns:a16="http://schemas.microsoft.com/office/drawing/2014/main" id="{D24643B7-4222-C173-C14F-8C216E08E3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" y="1552"/>
                <a:ext cx="199" cy="194"/>
              </a:xfrm>
              <a:prstGeom prst="ellipse">
                <a:avLst/>
              </a:prstGeom>
              <a:solidFill>
                <a:srgbClr val="707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0" name="Oval 121">
                <a:extLst>
                  <a:ext uri="{FF2B5EF4-FFF2-40B4-BE49-F238E27FC236}">
                    <a16:creationId xmlns:a16="http://schemas.microsoft.com/office/drawing/2014/main" id="{28F37342-A098-0C6E-526E-3FD373E44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" y="1552"/>
                <a:ext cx="193" cy="189"/>
              </a:xfrm>
              <a:prstGeom prst="ellipse">
                <a:avLst/>
              </a:prstGeom>
              <a:solidFill>
                <a:srgbClr val="7B7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1" name="Oval 122">
                <a:extLst>
                  <a:ext uri="{FF2B5EF4-FFF2-40B4-BE49-F238E27FC236}">
                    <a16:creationId xmlns:a16="http://schemas.microsoft.com/office/drawing/2014/main" id="{395A6AAE-374D-C08E-118F-F1F4BACC62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" y="1558"/>
                <a:ext cx="183" cy="177"/>
              </a:xfrm>
              <a:prstGeom prst="ellipse">
                <a:avLst/>
              </a:prstGeom>
              <a:solidFill>
                <a:srgbClr val="868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2" name="Oval 123">
                <a:extLst>
                  <a:ext uri="{FF2B5EF4-FFF2-40B4-BE49-F238E27FC236}">
                    <a16:creationId xmlns:a16="http://schemas.microsoft.com/office/drawing/2014/main" id="{680E0BB7-B632-9666-D991-B577A379B5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" y="1558"/>
                <a:ext cx="177" cy="171"/>
              </a:xfrm>
              <a:prstGeom prst="ellipse">
                <a:avLst/>
              </a:prstGeom>
              <a:solidFill>
                <a:srgbClr val="919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3" name="Oval 124">
                <a:extLst>
                  <a:ext uri="{FF2B5EF4-FFF2-40B4-BE49-F238E27FC236}">
                    <a16:creationId xmlns:a16="http://schemas.microsoft.com/office/drawing/2014/main" id="{027F5CD0-725C-7050-F112-CD9647CD63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" y="1558"/>
                <a:ext cx="172" cy="166"/>
              </a:xfrm>
              <a:prstGeom prst="ellipse">
                <a:avLst/>
              </a:prstGeom>
              <a:solidFill>
                <a:srgbClr val="9B9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4" name="Oval 125">
                <a:extLst>
                  <a:ext uri="{FF2B5EF4-FFF2-40B4-BE49-F238E27FC236}">
                    <a16:creationId xmlns:a16="http://schemas.microsoft.com/office/drawing/2014/main" id="{7C0FB998-D684-43E3-6106-AFD4D5DB6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" y="1558"/>
                <a:ext cx="166" cy="160"/>
              </a:xfrm>
              <a:prstGeom prst="ellipse">
                <a:avLst/>
              </a:prstGeom>
              <a:solidFill>
                <a:srgbClr val="A5A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5" name="Oval 126">
                <a:extLst>
                  <a:ext uri="{FF2B5EF4-FFF2-40B4-BE49-F238E27FC236}">
                    <a16:creationId xmlns:a16="http://schemas.microsoft.com/office/drawing/2014/main" id="{20844C7C-E634-1ED4-2D9B-FDB048708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" y="1563"/>
                <a:ext cx="155" cy="155"/>
              </a:xfrm>
              <a:prstGeom prst="ellipse">
                <a:avLst/>
              </a:prstGeom>
              <a:solidFill>
                <a:srgbClr val="AEA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6" name="Oval 127">
                <a:extLst>
                  <a:ext uri="{FF2B5EF4-FFF2-40B4-BE49-F238E27FC236}">
                    <a16:creationId xmlns:a16="http://schemas.microsoft.com/office/drawing/2014/main" id="{E083B8DE-DCEE-6B07-A0B8-DAFC568B8E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" y="1563"/>
                <a:ext cx="149" cy="150"/>
              </a:xfrm>
              <a:prstGeom prst="ellipse">
                <a:avLst/>
              </a:prstGeom>
              <a:solidFill>
                <a:srgbClr val="B7B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7" name="Oval 128">
                <a:extLst>
                  <a:ext uri="{FF2B5EF4-FFF2-40B4-BE49-F238E27FC236}">
                    <a16:creationId xmlns:a16="http://schemas.microsoft.com/office/drawing/2014/main" id="{E698C5DF-BF49-279D-E00E-046A779741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" y="1563"/>
                <a:ext cx="144" cy="144"/>
              </a:xfrm>
              <a:prstGeom prst="ellipse">
                <a:avLst/>
              </a:prstGeom>
              <a:solidFill>
                <a:srgbClr val="BF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8" name="Oval 129">
                <a:extLst>
                  <a:ext uri="{FF2B5EF4-FFF2-40B4-BE49-F238E27FC236}">
                    <a16:creationId xmlns:a16="http://schemas.microsoft.com/office/drawing/2014/main" id="{57853CD9-3BF4-447C-77F4-EDD2CFC91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1563"/>
                <a:ext cx="133" cy="139"/>
              </a:xfrm>
              <a:prstGeom prst="ellipse">
                <a:avLst/>
              </a:prstGeom>
              <a:solidFill>
                <a:srgbClr val="C7C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9" name="Oval 130">
                <a:extLst>
                  <a:ext uri="{FF2B5EF4-FFF2-40B4-BE49-F238E27FC236}">
                    <a16:creationId xmlns:a16="http://schemas.microsoft.com/office/drawing/2014/main" id="{ABE457F2-94E6-F3DE-8FC7-BA73C7E0C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1569"/>
                <a:ext cx="128" cy="127"/>
              </a:xfrm>
              <a:prstGeom prst="ellipse">
                <a:avLst/>
              </a:prstGeom>
              <a:solidFill>
                <a:srgbClr val="CE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0" name="Oval 131">
                <a:extLst>
                  <a:ext uri="{FF2B5EF4-FFF2-40B4-BE49-F238E27FC236}">
                    <a16:creationId xmlns:a16="http://schemas.microsoft.com/office/drawing/2014/main" id="{8A55B004-FC6F-B773-AD99-5CBBDD24F9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1569"/>
                <a:ext cx="122" cy="122"/>
              </a:xfrm>
              <a:prstGeom prst="ellipse">
                <a:avLst/>
              </a:prstGeom>
              <a:solidFill>
                <a:srgbClr val="D5D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1" name="Oval 132">
                <a:extLst>
                  <a:ext uri="{FF2B5EF4-FFF2-40B4-BE49-F238E27FC236}">
                    <a16:creationId xmlns:a16="http://schemas.microsoft.com/office/drawing/2014/main" id="{FF475170-FE12-A157-18DF-8A342E24EF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" y="1569"/>
                <a:ext cx="116" cy="116"/>
              </a:xfrm>
              <a:prstGeom prst="ellipse">
                <a:avLst/>
              </a:prstGeom>
              <a:solidFill>
                <a:srgbClr val="DBD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2" name="Oval 133">
                <a:extLst>
                  <a:ext uri="{FF2B5EF4-FFF2-40B4-BE49-F238E27FC236}">
                    <a16:creationId xmlns:a16="http://schemas.microsoft.com/office/drawing/2014/main" id="{287663CE-6C0B-1310-1B6F-A61CEA045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" y="1569"/>
                <a:ext cx="110" cy="111"/>
              </a:xfrm>
              <a:prstGeom prst="ellipse">
                <a:avLst/>
              </a:prstGeom>
              <a:solidFill>
                <a:srgbClr val="E1E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3" name="Oval 134">
                <a:extLst>
                  <a:ext uri="{FF2B5EF4-FFF2-40B4-BE49-F238E27FC236}">
                    <a16:creationId xmlns:a16="http://schemas.microsoft.com/office/drawing/2014/main" id="{64C99C37-F23A-682C-A9E6-48C3E4A247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" y="1574"/>
                <a:ext cx="99" cy="100"/>
              </a:xfrm>
              <a:prstGeom prst="ellipse">
                <a:avLst/>
              </a:prstGeom>
              <a:solidFill>
                <a:srgbClr val="E6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4" name="Oval 135">
                <a:extLst>
                  <a:ext uri="{FF2B5EF4-FFF2-40B4-BE49-F238E27FC236}">
                    <a16:creationId xmlns:a16="http://schemas.microsoft.com/office/drawing/2014/main" id="{74007636-C6D1-12D5-BDCA-9B1D9659C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" y="1574"/>
                <a:ext cx="99" cy="95"/>
              </a:xfrm>
              <a:prstGeom prst="ellipse">
                <a:avLst/>
              </a:prstGeom>
              <a:solidFill>
                <a:srgbClr val="EB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5" name="Oval 136">
                <a:extLst>
                  <a:ext uri="{FF2B5EF4-FFF2-40B4-BE49-F238E27FC236}">
                    <a16:creationId xmlns:a16="http://schemas.microsoft.com/office/drawing/2014/main" id="{2F84ADC1-92FC-6150-0291-3E0160D8FC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74"/>
                <a:ext cx="89" cy="89"/>
              </a:xfrm>
              <a:prstGeom prst="ellipse">
                <a:avLst/>
              </a:prstGeom>
              <a:solidFill>
                <a:srgbClr val="EF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6" name="Oval 137">
                <a:extLst>
                  <a:ext uri="{FF2B5EF4-FFF2-40B4-BE49-F238E27FC236}">
                    <a16:creationId xmlns:a16="http://schemas.microsoft.com/office/drawing/2014/main" id="{ACA67C19-C394-E613-B954-954060C40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74"/>
                <a:ext cx="83" cy="83"/>
              </a:xfrm>
              <a:prstGeom prst="ellipse">
                <a:avLst/>
              </a:prstGeom>
              <a:solidFill>
                <a:srgbClr val="F3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7" name="Oval 138">
                <a:extLst>
                  <a:ext uri="{FF2B5EF4-FFF2-40B4-BE49-F238E27FC236}">
                    <a16:creationId xmlns:a16="http://schemas.microsoft.com/office/drawing/2014/main" id="{062857AA-58E6-3EF4-0C51-7E18E3D7DF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80"/>
                <a:ext cx="78" cy="72"/>
              </a:xfrm>
              <a:prstGeom prst="ellipse">
                <a:avLst/>
              </a:prstGeom>
              <a:solidFill>
                <a:srgbClr val="F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8" name="Oval 139">
                <a:extLst>
                  <a:ext uri="{FF2B5EF4-FFF2-40B4-BE49-F238E27FC236}">
                    <a16:creationId xmlns:a16="http://schemas.microsoft.com/office/drawing/2014/main" id="{DB5BD1B0-5FB1-C50E-10FC-D08A59F1C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80"/>
                <a:ext cx="72" cy="66"/>
              </a:xfrm>
              <a:prstGeom prst="ellipse">
                <a:avLst/>
              </a:prstGeom>
              <a:solidFill>
                <a:srgbClr val="F9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9" name="Oval 140">
                <a:extLst>
                  <a:ext uri="{FF2B5EF4-FFF2-40B4-BE49-F238E27FC236}">
                    <a16:creationId xmlns:a16="http://schemas.microsoft.com/office/drawing/2014/main" id="{0A274B55-97D2-CE71-FB08-BFB7B6969C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80"/>
                <a:ext cx="67" cy="61"/>
              </a:xfrm>
              <a:prstGeom prst="ellipse">
                <a:avLst/>
              </a:prstGeom>
              <a:solidFill>
                <a:srgbClr val="FBF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0" name="Oval 141">
                <a:extLst>
                  <a:ext uri="{FF2B5EF4-FFF2-40B4-BE49-F238E27FC236}">
                    <a16:creationId xmlns:a16="http://schemas.microsoft.com/office/drawing/2014/main" id="{20CE7BDE-B5ED-9CA3-50E3-448F71EF1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" y="1580"/>
                <a:ext cx="61" cy="55"/>
              </a:xfrm>
              <a:prstGeom prst="ellipse">
                <a:avLst/>
              </a:prstGeom>
              <a:solidFill>
                <a:srgbClr val="FDF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1" name="Oval 142">
                <a:extLst>
                  <a:ext uri="{FF2B5EF4-FFF2-40B4-BE49-F238E27FC236}">
                    <a16:creationId xmlns:a16="http://schemas.microsoft.com/office/drawing/2014/main" id="{57A95767-A957-9F8D-7959-32F6087343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" y="1585"/>
                <a:ext cx="50" cy="45"/>
              </a:xfrm>
              <a:prstGeom prst="ellipse">
                <a:avLst/>
              </a:prstGeom>
              <a:solidFill>
                <a:srgbClr val="FEF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2" name="Oval 143">
                <a:extLst>
                  <a:ext uri="{FF2B5EF4-FFF2-40B4-BE49-F238E27FC236}">
                    <a16:creationId xmlns:a16="http://schemas.microsoft.com/office/drawing/2014/main" id="{F8B75B3F-638F-5599-5AF1-59DEF4452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" y="1585"/>
                <a:ext cx="44" cy="3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3" name="Oval 144">
                <a:extLst>
                  <a:ext uri="{FF2B5EF4-FFF2-40B4-BE49-F238E27FC236}">
                    <a16:creationId xmlns:a16="http://schemas.microsoft.com/office/drawing/2014/main" id="{189224D4-F08F-9C3F-D672-CFFB72EE88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" y="1541"/>
                <a:ext cx="249" cy="249"/>
              </a:xfrm>
              <a:prstGeom prst="ellipse">
                <a:avLst/>
              </a:prstGeom>
              <a:noFill/>
              <a:ln w="9525">
                <a:solidFill>
                  <a:srgbClr val="0000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4" name="Line 145">
                <a:extLst>
                  <a:ext uri="{FF2B5EF4-FFF2-40B4-BE49-F238E27FC236}">
                    <a16:creationId xmlns:a16="http://schemas.microsoft.com/office/drawing/2014/main" id="{22789361-51CC-8CD2-973A-B42E525B10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38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55" name="Line 146">
                <a:extLst>
                  <a:ext uri="{FF2B5EF4-FFF2-40B4-BE49-F238E27FC236}">
                    <a16:creationId xmlns:a16="http://schemas.microsoft.com/office/drawing/2014/main" id="{2243FD17-2D7E-32D7-FE54-FCAB5F3DF7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59" y="2416"/>
                <a:ext cx="22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56" name="Line 147">
                <a:extLst>
                  <a:ext uri="{FF2B5EF4-FFF2-40B4-BE49-F238E27FC236}">
                    <a16:creationId xmlns:a16="http://schemas.microsoft.com/office/drawing/2014/main" id="{3D9B348E-F43A-846B-AF4B-C9EED6FDA9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87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57" name="Line 148">
                <a:extLst>
                  <a:ext uri="{FF2B5EF4-FFF2-40B4-BE49-F238E27FC236}">
                    <a16:creationId xmlns:a16="http://schemas.microsoft.com/office/drawing/2014/main" id="{9691792E-77B6-1597-639E-E7DE14A364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14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58" name="Line 149">
                <a:extLst>
                  <a:ext uri="{FF2B5EF4-FFF2-40B4-BE49-F238E27FC236}">
                    <a16:creationId xmlns:a16="http://schemas.microsoft.com/office/drawing/2014/main" id="{4FF04C6F-F0A7-BEF4-ACFF-420598B0E4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1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59" name="Line 150">
                <a:extLst>
                  <a:ext uri="{FF2B5EF4-FFF2-40B4-BE49-F238E27FC236}">
                    <a16:creationId xmlns:a16="http://schemas.microsoft.com/office/drawing/2014/main" id="{5D3E1AF0-8D9E-3706-533C-B08A625EB8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0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0" name="Line 151">
                <a:extLst>
                  <a:ext uri="{FF2B5EF4-FFF2-40B4-BE49-F238E27FC236}">
                    <a16:creationId xmlns:a16="http://schemas.microsoft.com/office/drawing/2014/main" id="{4EB1439F-CA58-05C9-4A8D-AAA87974AE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5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1" name="Line 152">
                <a:extLst>
                  <a:ext uri="{FF2B5EF4-FFF2-40B4-BE49-F238E27FC236}">
                    <a16:creationId xmlns:a16="http://schemas.microsoft.com/office/drawing/2014/main" id="{DFAC2487-1040-DBA6-74AD-A4CCEFC34F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62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2" name="Line 153">
                <a:extLst>
                  <a:ext uri="{FF2B5EF4-FFF2-40B4-BE49-F238E27FC236}">
                    <a16:creationId xmlns:a16="http://schemas.microsoft.com/office/drawing/2014/main" id="{F5647411-2FA3-4765-99E6-07B294C720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3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3" name="Line 154">
                <a:extLst>
                  <a:ext uri="{FF2B5EF4-FFF2-40B4-BE49-F238E27FC236}">
                    <a16:creationId xmlns:a16="http://schemas.microsoft.com/office/drawing/2014/main" id="{7A2E4C28-CFE1-E863-24F1-61890B9B84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89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4" name="Line 155">
                <a:extLst>
                  <a:ext uri="{FF2B5EF4-FFF2-40B4-BE49-F238E27FC236}">
                    <a16:creationId xmlns:a16="http://schemas.microsoft.com/office/drawing/2014/main" id="{FBFB01D1-18A9-079F-EE89-3B7AED4C4B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0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5" name="Line 156">
                <a:extLst>
                  <a:ext uri="{FF2B5EF4-FFF2-40B4-BE49-F238E27FC236}">
                    <a16:creationId xmlns:a16="http://schemas.microsoft.com/office/drawing/2014/main" id="{7DC9C4B1-3277-8DBA-EB9F-A6AE00740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11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6" name="Line 157">
                <a:extLst>
                  <a:ext uri="{FF2B5EF4-FFF2-40B4-BE49-F238E27FC236}">
                    <a16:creationId xmlns:a16="http://schemas.microsoft.com/office/drawing/2014/main" id="{84F9A9A3-CF41-BDD6-53E4-6A4A491152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38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7" name="Line 158">
                <a:extLst>
                  <a:ext uri="{FF2B5EF4-FFF2-40B4-BE49-F238E27FC236}">
                    <a16:creationId xmlns:a16="http://schemas.microsoft.com/office/drawing/2014/main" id="{2C2E1225-FBEB-946F-85B9-6EB65097D2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59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8" name="Line 159">
                <a:extLst>
                  <a:ext uri="{FF2B5EF4-FFF2-40B4-BE49-F238E27FC236}">
                    <a16:creationId xmlns:a16="http://schemas.microsoft.com/office/drawing/2014/main" id="{3AFC4348-6883-2BB4-B7B7-A9AADD1E4F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87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69" name="Line 160">
                <a:extLst>
                  <a:ext uri="{FF2B5EF4-FFF2-40B4-BE49-F238E27FC236}">
                    <a16:creationId xmlns:a16="http://schemas.microsoft.com/office/drawing/2014/main" id="{FF4CCD45-4A80-E778-020B-BC6E82228B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14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0" name="Line 161">
                <a:extLst>
                  <a:ext uri="{FF2B5EF4-FFF2-40B4-BE49-F238E27FC236}">
                    <a16:creationId xmlns:a16="http://schemas.microsoft.com/office/drawing/2014/main" id="{38E43C08-7C41-C714-E54E-E2A8E99BA7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3" y="910"/>
                <a:ext cx="0" cy="1506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1" name="Line 162">
                <a:extLst>
                  <a:ext uri="{FF2B5EF4-FFF2-40B4-BE49-F238E27FC236}">
                    <a16:creationId xmlns:a16="http://schemas.microsoft.com/office/drawing/2014/main" id="{3949FD5D-9996-F1BC-4908-24C693D77F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35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2" name="Line 163">
                <a:extLst>
                  <a:ext uri="{FF2B5EF4-FFF2-40B4-BE49-F238E27FC236}">
                    <a16:creationId xmlns:a16="http://schemas.microsoft.com/office/drawing/2014/main" id="{6F13FE45-827E-11F7-91F6-4CA8D38666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62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3" name="Line 164">
                <a:extLst>
                  <a:ext uri="{FF2B5EF4-FFF2-40B4-BE49-F238E27FC236}">
                    <a16:creationId xmlns:a16="http://schemas.microsoft.com/office/drawing/2014/main" id="{2534E3B3-C178-348E-4ED1-1BB27C1A3B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89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4" name="Line 165">
                <a:extLst>
                  <a:ext uri="{FF2B5EF4-FFF2-40B4-BE49-F238E27FC236}">
                    <a16:creationId xmlns:a16="http://schemas.microsoft.com/office/drawing/2014/main" id="{4464C6BA-F168-023A-C1A4-6A0FD01ABB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16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75" name="Rectangle 166">
                <a:extLst>
                  <a:ext uri="{FF2B5EF4-FFF2-40B4-BE49-F238E27FC236}">
                    <a16:creationId xmlns:a16="http://schemas.microsoft.com/office/drawing/2014/main" id="{EBA5CD32-FF79-4A2C-48DF-D98D2C44A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0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76" name="Rectangle 167">
                <a:extLst>
                  <a:ext uri="{FF2B5EF4-FFF2-40B4-BE49-F238E27FC236}">
                    <a16:creationId xmlns:a16="http://schemas.microsoft.com/office/drawing/2014/main" id="{1E357EC3-68B5-2146-9339-CAEEF55D3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1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77" name="Rectangle 168">
                <a:extLst>
                  <a:ext uri="{FF2B5EF4-FFF2-40B4-BE49-F238E27FC236}">
                    <a16:creationId xmlns:a16="http://schemas.microsoft.com/office/drawing/2014/main" id="{AB828D71-72FE-8959-1434-03508583F5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2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78" name="Rectangle 169">
                <a:extLst>
                  <a:ext uri="{FF2B5EF4-FFF2-40B4-BE49-F238E27FC236}">
                    <a16:creationId xmlns:a16="http://schemas.microsoft.com/office/drawing/2014/main" id="{84FE3A51-0E7B-49F5-4AA4-10E67533B8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8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3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79" name="Rectangle 170">
                <a:extLst>
                  <a:ext uri="{FF2B5EF4-FFF2-40B4-BE49-F238E27FC236}">
                    <a16:creationId xmlns:a16="http://schemas.microsoft.com/office/drawing/2014/main" id="{A3419B19-6B4E-9546-5E07-D9BFFC93D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9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4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0" name="Rectangle 171">
                <a:extLst>
                  <a:ext uri="{FF2B5EF4-FFF2-40B4-BE49-F238E27FC236}">
                    <a16:creationId xmlns:a16="http://schemas.microsoft.com/office/drawing/2014/main" id="{E040E6D6-6B14-5AE0-9D83-C1D7C7938F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7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5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1" name="Rectangle 172">
                <a:extLst>
                  <a:ext uri="{FF2B5EF4-FFF2-40B4-BE49-F238E27FC236}">
                    <a16:creationId xmlns:a16="http://schemas.microsoft.com/office/drawing/2014/main" id="{B744436A-9964-0264-1438-F0797878C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4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6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2" name="Rectangle 173">
                <a:extLst>
                  <a:ext uri="{FF2B5EF4-FFF2-40B4-BE49-F238E27FC236}">
                    <a16:creationId xmlns:a16="http://schemas.microsoft.com/office/drawing/2014/main" id="{0F454CEE-382A-9658-55D2-7A3AD70403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5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7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3" name="Rectangle 174">
                <a:extLst>
                  <a:ext uri="{FF2B5EF4-FFF2-40B4-BE49-F238E27FC236}">
                    <a16:creationId xmlns:a16="http://schemas.microsoft.com/office/drawing/2014/main" id="{55B8B39B-C355-D2B8-BD72-FE03F4B8B6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8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4" name="Rectangle 175">
                <a:extLst>
                  <a:ext uri="{FF2B5EF4-FFF2-40B4-BE49-F238E27FC236}">
                    <a16:creationId xmlns:a16="http://schemas.microsoft.com/office/drawing/2014/main" id="{07F2D69E-7E12-A0AB-F69D-B00DAD9740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3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9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5" name="Rectangle 176">
                <a:extLst>
                  <a:ext uri="{FF2B5EF4-FFF2-40B4-BE49-F238E27FC236}">
                    <a16:creationId xmlns:a16="http://schemas.microsoft.com/office/drawing/2014/main" id="{7154F0AE-B2D8-62A7-ADA8-CD1305F1F2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2" y="2438"/>
                <a:ext cx="89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10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6" name="Rectangle 177">
                <a:extLst>
                  <a:ext uri="{FF2B5EF4-FFF2-40B4-BE49-F238E27FC236}">
                    <a16:creationId xmlns:a16="http://schemas.microsoft.com/office/drawing/2014/main" id="{7C69801B-A5F7-9A87-AF8B-C8FED76376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" y="2544"/>
                <a:ext cx="1745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noProof="0" dirty="0" err="1"/>
                  <a:t>approximate</a:t>
                </a:r>
                <a:r>
                  <a:rPr lang="cs-CZ" noProof="0" dirty="0"/>
                  <a:t> </a:t>
                </a:r>
                <a:r>
                  <a:rPr lang="cs-CZ" noProof="0" dirty="0" err="1"/>
                  <a:t>diameter</a:t>
                </a:r>
                <a:r>
                  <a:rPr lang="cs-CZ" noProof="0" dirty="0"/>
                  <a:t> (</a:t>
                </a:r>
                <a:r>
                  <a:rPr lang="cs-CZ" noProof="0" dirty="0" err="1"/>
                  <a:t>nm</a:t>
                </a:r>
                <a:r>
                  <a:rPr lang="cs-CZ" noProof="0" dirty="0"/>
                  <a:t>)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7" name="Rectangle 178">
                <a:extLst>
                  <a:ext uri="{FF2B5EF4-FFF2-40B4-BE49-F238E27FC236}">
                    <a16:creationId xmlns:a16="http://schemas.microsoft.com/office/drawing/2014/main" id="{0483B8FB-4DF3-AA7D-7E26-4F254A8098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0" y="1691"/>
                <a:ext cx="859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400" b="1" noProof="0" dirty="0"/>
                  <a:t>DMAE (MW 481)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8" name="Freeform 179">
                <a:extLst>
                  <a:ext uri="{FF2B5EF4-FFF2-40B4-BE49-F238E27FC236}">
                    <a16:creationId xmlns:a16="http://schemas.microsoft.com/office/drawing/2014/main" id="{F53944FE-602B-C752-DE9C-E37918CAF1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5" y="1314"/>
                <a:ext cx="437" cy="39"/>
              </a:xfrm>
              <a:custGeom>
                <a:avLst/>
                <a:gdLst>
                  <a:gd name="T0" fmla="*/ 437 w 437"/>
                  <a:gd name="T1" fmla="*/ 22 h 39"/>
                  <a:gd name="T2" fmla="*/ 33 w 437"/>
                  <a:gd name="T3" fmla="*/ 22 h 39"/>
                  <a:gd name="T4" fmla="*/ 33 w 437"/>
                  <a:gd name="T5" fmla="*/ 17 h 39"/>
                  <a:gd name="T6" fmla="*/ 437 w 437"/>
                  <a:gd name="T7" fmla="*/ 17 h 39"/>
                  <a:gd name="T8" fmla="*/ 437 w 437"/>
                  <a:gd name="T9" fmla="*/ 22 h 39"/>
                  <a:gd name="T10" fmla="*/ 39 w 437"/>
                  <a:gd name="T11" fmla="*/ 39 h 39"/>
                  <a:gd name="T12" fmla="*/ 0 w 437"/>
                  <a:gd name="T13" fmla="*/ 17 h 39"/>
                  <a:gd name="T14" fmla="*/ 39 w 437"/>
                  <a:gd name="T15" fmla="*/ 0 h 39"/>
                  <a:gd name="T16" fmla="*/ 39 w 437"/>
                  <a:gd name="T17" fmla="*/ 39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7"/>
                  <a:gd name="T28" fmla="*/ 0 h 39"/>
                  <a:gd name="T29" fmla="*/ 437 w 437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7" h="39">
                    <a:moveTo>
                      <a:pt x="437" y="22"/>
                    </a:moveTo>
                    <a:lnTo>
                      <a:pt x="33" y="22"/>
                    </a:lnTo>
                    <a:lnTo>
                      <a:pt x="33" y="17"/>
                    </a:lnTo>
                    <a:lnTo>
                      <a:pt x="437" y="17"/>
                    </a:lnTo>
                    <a:lnTo>
                      <a:pt x="437" y="22"/>
                    </a:lnTo>
                    <a:close/>
                    <a:moveTo>
                      <a:pt x="39" y="39"/>
                    </a:moveTo>
                    <a:lnTo>
                      <a:pt x="0" y="17"/>
                    </a:lnTo>
                    <a:lnTo>
                      <a:pt x="39" y="0"/>
                    </a:lnTo>
                    <a:lnTo>
                      <a:pt x="39" y="39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89" name="Freeform 180">
                <a:extLst>
                  <a:ext uri="{FF2B5EF4-FFF2-40B4-BE49-F238E27FC236}">
                    <a16:creationId xmlns:a16="http://schemas.microsoft.com/office/drawing/2014/main" id="{B2EF3B35-3CB9-335F-C674-FFF1E3247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31" y="1536"/>
                <a:ext cx="609" cy="38"/>
              </a:xfrm>
              <a:custGeom>
                <a:avLst/>
                <a:gdLst>
                  <a:gd name="T0" fmla="*/ 609 w 609"/>
                  <a:gd name="T1" fmla="*/ 22 h 38"/>
                  <a:gd name="T2" fmla="*/ 33 w 609"/>
                  <a:gd name="T3" fmla="*/ 22 h 38"/>
                  <a:gd name="T4" fmla="*/ 33 w 609"/>
                  <a:gd name="T5" fmla="*/ 16 h 38"/>
                  <a:gd name="T6" fmla="*/ 609 w 609"/>
                  <a:gd name="T7" fmla="*/ 16 h 38"/>
                  <a:gd name="T8" fmla="*/ 609 w 609"/>
                  <a:gd name="T9" fmla="*/ 22 h 38"/>
                  <a:gd name="T10" fmla="*/ 39 w 609"/>
                  <a:gd name="T11" fmla="*/ 38 h 38"/>
                  <a:gd name="T12" fmla="*/ 0 w 609"/>
                  <a:gd name="T13" fmla="*/ 22 h 38"/>
                  <a:gd name="T14" fmla="*/ 39 w 609"/>
                  <a:gd name="T15" fmla="*/ 0 h 38"/>
                  <a:gd name="T16" fmla="*/ 39 w 609"/>
                  <a:gd name="T17" fmla="*/ 38 h 3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09"/>
                  <a:gd name="T28" fmla="*/ 0 h 38"/>
                  <a:gd name="T29" fmla="*/ 609 w 609"/>
                  <a:gd name="T30" fmla="*/ 38 h 3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09" h="38">
                    <a:moveTo>
                      <a:pt x="609" y="22"/>
                    </a:moveTo>
                    <a:lnTo>
                      <a:pt x="33" y="22"/>
                    </a:lnTo>
                    <a:lnTo>
                      <a:pt x="33" y="16"/>
                    </a:lnTo>
                    <a:lnTo>
                      <a:pt x="609" y="16"/>
                    </a:lnTo>
                    <a:lnTo>
                      <a:pt x="609" y="22"/>
                    </a:lnTo>
                    <a:close/>
                    <a:moveTo>
                      <a:pt x="39" y="38"/>
                    </a:moveTo>
                    <a:lnTo>
                      <a:pt x="0" y="22"/>
                    </a:lnTo>
                    <a:lnTo>
                      <a:pt x="39" y="0"/>
                    </a:lnTo>
                    <a:lnTo>
                      <a:pt x="39" y="38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0" name="Freeform 181">
                <a:extLst>
                  <a:ext uri="{FF2B5EF4-FFF2-40B4-BE49-F238E27FC236}">
                    <a16:creationId xmlns:a16="http://schemas.microsoft.com/office/drawing/2014/main" id="{05D50517-E56D-169A-6D00-7B534A1FD6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" y="1724"/>
                <a:ext cx="1446" cy="39"/>
              </a:xfrm>
              <a:custGeom>
                <a:avLst/>
                <a:gdLst>
                  <a:gd name="T0" fmla="*/ 1446 w 1446"/>
                  <a:gd name="T1" fmla="*/ 17 h 39"/>
                  <a:gd name="T2" fmla="*/ 34 w 1446"/>
                  <a:gd name="T3" fmla="*/ 22 h 39"/>
                  <a:gd name="T4" fmla="*/ 34 w 1446"/>
                  <a:gd name="T5" fmla="*/ 17 h 39"/>
                  <a:gd name="T6" fmla="*/ 1446 w 1446"/>
                  <a:gd name="T7" fmla="*/ 11 h 39"/>
                  <a:gd name="T8" fmla="*/ 1446 w 1446"/>
                  <a:gd name="T9" fmla="*/ 17 h 39"/>
                  <a:gd name="T10" fmla="*/ 39 w 1446"/>
                  <a:gd name="T11" fmla="*/ 39 h 39"/>
                  <a:gd name="T12" fmla="*/ 0 w 1446"/>
                  <a:gd name="T13" fmla="*/ 22 h 39"/>
                  <a:gd name="T14" fmla="*/ 39 w 1446"/>
                  <a:gd name="T15" fmla="*/ 0 h 39"/>
                  <a:gd name="T16" fmla="*/ 39 w 1446"/>
                  <a:gd name="T17" fmla="*/ 39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46"/>
                  <a:gd name="T28" fmla="*/ 0 h 39"/>
                  <a:gd name="T29" fmla="*/ 1446 w 1446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46" h="39">
                    <a:moveTo>
                      <a:pt x="1446" y="17"/>
                    </a:moveTo>
                    <a:lnTo>
                      <a:pt x="34" y="22"/>
                    </a:lnTo>
                    <a:lnTo>
                      <a:pt x="34" y="17"/>
                    </a:lnTo>
                    <a:lnTo>
                      <a:pt x="1446" y="11"/>
                    </a:lnTo>
                    <a:lnTo>
                      <a:pt x="1446" y="17"/>
                    </a:lnTo>
                    <a:close/>
                    <a:moveTo>
                      <a:pt x="39" y="39"/>
                    </a:moveTo>
                    <a:lnTo>
                      <a:pt x="0" y="22"/>
                    </a:lnTo>
                    <a:lnTo>
                      <a:pt x="39" y="0"/>
                    </a:lnTo>
                    <a:lnTo>
                      <a:pt x="39" y="39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1" name="Line 182">
                <a:extLst>
                  <a:ext uri="{FF2B5EF4-FFF2-40B4-BE49-F238E27FC236}">
                    <a16:creationId xmlns:a16="http://schemas.microsoft.com/office/drawing/2014/main" id="{35C34847-2DD2-16DB-4BFD-F7C2F8B3C5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38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2" name="Line 183">
                <a:extLst>
                  <a:ext uri="{FF2B5EF4-FFF2-40B4-BE49-F238E27FC236}">
                    <a16:creationId xmlns:a16="http://schemas.microsoft.com/office/drawing/2014/main" id="{74445C47-3A4D-486F-9B86-34C9AE3E40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59" y="2416"/>
                <a:ext cx="22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3" name="Line 184">
                <a:extLst>
                  <a:ext uri="{FF2B5EF4-FFF2-40B4-BE49-F238E27FC236}">
                    <a16:creationId xmlns:a16="http://schemas.microsoft.com/office/drawing/2014/main" id="{7F56EEFF-EF76-2273-BA2F-A9EEF329EE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87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4" name="Line 185">
                <a:extLst>
                  <a:ext uri="{FF2B5EF4-FFF2-40B4-BE49-F238E27FC236}">
                    <a16:creationId xmlns:a16="http://schemas.microsoft.com/office/drawing/2014/main" id="{E80BE16C-D8A5-7279-C7D1-EFDC24EFCC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14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5" name="Line 186">
                <a:extLst>
                  <a:ext uri="{FF2B5EF4-FFF2-40B4-BE49-F238E27FC236}">
                    <a16:creationId xmlns:a16="http://schemas.microsoft.com/office/drawing/2014/main" id="{60E3EF89-FA24-14B8-CBC9-B650EF5666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1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6" name="Line 187">
                <a:extLst>
                  <a:ext uri="{FF2B5EF4-FFF2-40B4-BE49-F238E27FC236}">
                    <a16:creationId xmlns:a16="http://schemas.microsoft.com/office/drawing/2014/main" id="{E26F6808-710C-1E2D-7AC5-E249C22E0D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0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7" name="Line 188">
                <a:extLst>
                  <a:ext uri="{FF2B5EF4-FFF2-40B4-BE49-F238E27FC236}">
                    <a16:creationId xmlns:a16="http://schemas.microsoft.com/office/drawing/2014/main" id="{30F5E673-C812-1039-D1E9-78A99508EA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5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8" name="Line 189">
                <a:extLst>
                  <a:ext uri="{FF2B5EF4-FFF2-40B4-BE49-F238E27FC236}">
                    <a16:creationId xmlns:a16="http://schemas.microsoft.com/office/drawing/2014/main" id="{E80E8F5D-EDD6-F128-D5DD-A182971A2A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62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199" name="Line 190">
                <a:extLst>
                  <a:ext uri="{FF2B5EF4-FFF2-40B4-BE49-F238E27FC236}">
                    <a16:creationId xmlns:a16="http://schemas.microsoft.com/office/drawing/2014/main" id="{D459A4A4-8655-AF88-4471-832A626B6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3" y="2416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0" name="Line 191">
                <a:extLst>
                  <a:ext uri="{FF2B5EF4-FFF2-40B4-BE49-F238E27FC236}">
                    <a16:creationId xmlns:a16="http://schemas.microsoft.com/office/drawing/2014/main" id="{53D9F9B3-0CC1-BD13-FA23-8F33C35DCA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89" y="2416"/>
                <a:ext cx="221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1" name="Line 192">
                <a:extLst>
                  <a:ext uri="{FF2B5EF4-FFF2-40B4-BE49-F238E27FC236}">
                    <a16:creationId xmlns:a16="http://schemas.microsoft.com/office/drawing/2014/main" id="{F2F758C5-6F9C-4E89-BDC3-8128014FE1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0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2" name="Line 193">
                <a:extLst>
                  <a:ext uri="{FF2B5EF4-FFF2-40B4-BE49-F238E27FC236}">
                    <a16:creationId xmlns:a16="http://schemas.microsoft.com/office/drawing/2014/main" id="{2B61A7D2-0418-0251-0B34-48B4541C8A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11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3" name="Line 194">
                <a:extLst>
                  <a:ext uri="{FF2B5EF4-FFF2-40B4-BE49-F238E27FC236}">
                    <a16:creationId xmlns:a16="http://schemas.microsoft.com/office/drawing/2014/main" id="{EEC20080-E8FF-E8D0-FACE-19C72DD43C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38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4" name="Line 195">
                <a:extLst>
                  <a:ext uri="{FF2B5EF4-FFF2-40B4-BE49-F238E27FC236}">
                    <a16:creationId xmlns:a16="http://schemas.microsoft.com/office/drawing/2014/main" id="{498DD851-52FE-93FA-EFC8-D1A1C0DD6E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59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5" name="Line 196">
                <a:extLst>
                  <a:ext uri="{FF2B5EF4-FFF2-40B4-BE49-F238E27FC236}">
                    <a16:creationId xmlns:a16="http://schemas.microsoft.com/office/drawing/2014/main" id="{EB983B4E-91BA-DCA2-699E-98E91CF79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87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6" name="Line 197">
                <a:extLst>
                  <a:ext uri="{FF2B5EF4-FFF2-40B4-BE49-F238E27FC236}">
                    <a16:creationId xmlns:a16="http://schemas.microsoft.com/office/drawing/2014/main" id="{8B86D383-165A-F9E3-0C9A-DE450B59DA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14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7" name="Line 198">
                <a:extLst>
                  <a:ext uri="{FF2B5EF4-FFF2-40B4-BE49-F238E27FC236}">
                    <a16:creationId xmlns:a16="http://schemas.microsoft.com/office/drawing/2014/main" id="{BCB5E321-1532-F754-AE2F-0F5C9F4443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3" y="910"/>
                <a:ext cx="0" cy="1506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8" name="Line 199">
                <a:extLst>
                  <a:ext uri="{FF2B5EF4-FFF2-40B4-BE49-F238E27FC236}">
                    <a16:creationId xmlns:a16="http://schemas.microsoft.com/office/drawing/2014/main" id="{40FD66AE-AC4D-C3F6-437C-141BCFC5E5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35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09" name="Line 200">
                <a:extLst>
                  <a:ext uri="{FF2B5EF4-FFF2-40B4-BE49-F238E27FC236}">
                    <a16:creationId xmlns:a16="http://schemas.microsoft.com/office/drawing/2014/main" id="{3863D548-82C1-D799-1DC8-BB85FC3520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62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10" name="Line 201">
                <a:extLst>
                  <a:ext uri="{FF2B5EF4-FFF2-40B4-BE49-F238E27FC236}">
                    <a16:creationId xmlns:a16="http://schemas.microsoft.com/office/drawing/2014/main" id="{8646DCF3-3D7C-C448-2C4D-9F46CB1439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89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11" name="Line 202">
                <a:extLst>
                  <a:ext uri="{FF2B5EF4-FFF2-40B4-BE49-F238E27FC236}">
                    <a16:creationId xmlns:a16="http://schemas.microsoft.com/office/drawing/2014/main" id="{2F82ED06-8B1A-4CA9-5CA4-0966079D3A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16" y="2377"/>
                <a:ext cx="0" cy="3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sz="2400" noProof="0" dirty="0"/>
              </a:p>
            </p:txBody>
          </p:sp>
          <p:sp>
            <p:nvSpPr>
              <p:cNvPr id="212" name="Rectangle 203">
                <a:extLst>
                  <a:ext uri="{FF2B5EF4-FFF2-40B4-BE49-F238E27FC236}">
                    <a16:creationId xmlns:a16="http://schemas.microsoft.com/office/drawing/2014/main" id="{E000DA82-F937-A3F5-41B5-5FCD4413F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0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3" name="Rectangle 204">
                <a:extLst>
                  <a:ext uri="{FF2B5EF4-FFF2-40B4-BE49-F238E27FC236}">
                    <a16:creationId xmlns:a16="http://schemas.microsoft.com/office/drawing/2014/main" id="{B77F4579-6C6E-A85E-0522-608CD9952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1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4" name="Rectangle 205">
                <a:extLst>
                  <a:ext uri="{FF2B5EF4-FFF2-40B4-BE49-F238E27FC236}">
                    <a16:creationId xmlns:a16="http://schemas.microsoft.com/office/drawing/2014/main" id="{F08DC53F-EE6B-4BC4-BFDA-D44BD99FAB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2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5" name="Rectangle 206">
                <a:extLst>
                  <a:ext uri="{FF2B5EF4-FFF2-40B4-BE49-F238E27FC236}">
                    <a16:creationId xmlns:a16="http://schemas.microsoft.com/office/drawing/2014/main" id="{722FDE70-7A0B-C469-BDC3-30A09A5AF8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8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3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6" name="Rectangle 207">
                <a:extLst>
                  <a:ext uri="{FF2B5EF4-FFF2-40B4-BE49-F238E27FC236}">
                    <a16:creationId xmlns:a16="http://schemas.microsoft.com/office/drawing/2014/main" id="{149894E3-D97E-5A33-0BFD-EEE3A42CD8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9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4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7" name="Rectangle 208">
                <a:extLst>
                  <a:ext uri="{FF2B5EF4-FFF2-40B4-BE49-F238E27FC236}">
                    <a16:creationId xmlns:a16="http://schemas.microsoft.com/office/drawing/2014/main" id="{A191F8D7-53F6-C56E-C63B-F799F0B86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7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5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8" name="Rectangle 209">
                <a:extLst>
                  <a:ext uri="{FF2B5EF4-FFF2-40B4-BE49-F238E27FC236}">
                    <a16:creationId xmlns:a16="http://schemas.microsoft.com/office/drawing/2014/main" id="{623592D5-A5BE-593A-EA24-2CDCF12F4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4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6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19" name="Rectangle 210">
                <a:extLst>
                  <a:ext uri="{FF2B5EF4-FFF2-40B4-BE49-F238E27FC236}">
                    <a16:creationId xmlns:a16="http://schemas.microsoft.com/office/drawing/2014/main" id="{B09E2BE7-977E-E7EB-09FD-8DA945DDCF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5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7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20" name="Rectangle 211">
                <a:extLst>
                  <a:ext uri="{FF2B5EF4-FFF2-40B4-BE49-F238E27FC236}">
                    <a16:creationId xmlns:a16="http://schemas.microsoft.com/office/drawing/2014/main" id="{3D10EE26-9581-F0C2-80DF-A0235E400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8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21" name="Rectangle 212">
                <a:extLst>
                  <a:ext uri="{FF2B5EF4-FFF2-40B4-BE49-F238E27FC236}">
                    <a16:creationId xmlns:a16="http://schemas.microsoft.com/office/drawing/2014/main" id="{45FCFE34-B6D5-D2A7-8E74-1C3CE7EFE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3" y="2438"/>
                <a:ext cx="44" cy="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ct val="110000"/>
                  </a:lnSpc>
                  <a:buClr>
                    <a:schemeClr val="accent1"/>
                  </a:buClr>
                  <a:buFont typeface="Arial" panose="020B0604020202020204" pitchFamily="34" charset="0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110000"/>
                  </a:lnSpc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ClrTx/>
                  <a:buFontTx/>
                  <a:buNone/>
                </a:pPr>
                <a:r>
                  <a:rPr lang="cs-CZ" sz="1100" noProof="0" dirty="0">
                    <a:latin typeface="Times New Roman" panose="02020603050405020304" pitchFamily="18" charset="0"/>
                  </a:rPr>
                  <a:t>9</a:t>
                </a:r>
                <a:endParaRPr lang="cs-CZ" sz="2400" noProof="0" dirty="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12" name="Rectangle 214">
              <a:extLst>
                <a:ext uri="{FF2B5EF4-FFF2-40B4-BE49-F238E27FC236}">
                  <a16:creationId xmlns:a16="http://schemas.microsoft.com/office/drawing/2014/main" id="{F749B9EA-C106-8166-96BF-0C3ACF698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7" y="2626"/>
              <a:ext cx="89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sz="1100" noProof="0" dirty="0">
                  <a:latin typeface="Times New Roman" panose="02020603050405020304" pitchFamily="18" charset="0"/>
                </a:rPr>
                <a:t>10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  <p:sp>
          <p:nvSpPr>
            <p:cNvPr id="13" name="Rectangle 215">
              <a:extLst>
                <a:ext uri="{FF2B5EF4-FFF2-40B4-BE49-F238E27FC236}">
                  <a16:creationId xmlns:a16="http://schemas.microsoft.com/office/drawing/2014/main" id="{6539393A-5C62-9B59-DD63-2F2A36524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" y="2732"/>
              <a:ext cx="1745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noProof="0" dirty="0" err="1"/>
                <a:t>approximate</a:t>
              </a:r>
              <a:r>
                <a:rPr lang="cs-CZ" noProof="0" dirty="0"/>
                <a:t> </a:t>
              </a:r>
              <a:r>
                <a:rPr lang="cs-CZ" noProof="0" dirty="0" err="1"/>
                <a:t>diameter</a:t>
              </a:r>
              <a:r>
                <a:rPr lang="cs-CZ" noProof="0" dirty="0"/>
                <a:t> (</a:t>
              </a:r>
              <a:r>
                <a:rPr lang="cs-CZ" noProof="0" dirty="0" err="1"/>
                <a:t>nm</a:t>
              </a:r>
              <a:r>
                <a:rPr lang="cs-CZ" noProof="0" dirty="0"/>
                <a:t>)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  <p:sp>
          <p:nvSpPr>
            <p:cNvPr id="14" name="Rectangle 216">
              <a:extLst>
                <a:ext uri="{FF2B5EF4-FFF2-40B4-BE49-F238E27FC236}">
                  <a16:creationId xmlns:a16="http://schemas.microsoft.com/office/drawing/2014/main" id="{31BEF746-3ABC-B7D0-B711-56BFF9FA1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5" y="1879"/>
              <a:ext cx="85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sz="1400" b="1" noProof="0" dirty="0"/>
                <a:t>DMAE (MW 481)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  <p:sp>
          <p:nvSpPr>
            <p:cNvPr id="15" name="Freeform 217">
              <a:extLst>
                <a:ext uri="{FF2B5EF4-FFF2-40B4-BE49-F238E27FC236}">
                  <a16:creationId xmlns:a16="http://schemas.microsoft.com/office/drawing/2014/main" id="{6B4EC4CA-DB1D-DB53-B3F4-B4BDA20BFB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0" y="1502"/>
              <a:ext cx="437" cy="39"/>
            </a:xfrm>
            <a:custGeom>
              <a:avLst/>
              <a:gdLst>
                <a:gd name="T0" fmla="*/ 437 w 437"/>
                <a:gd name="T1" fmla="*/ 22 h 39"/>
                <a:gd name="T2" fmla="*/ 33 w 437"/>
                <a:gd name="T3" fmla="*/ 22 h 39"/>
                <a:gd name="T4" fmla="*/ 33 w 437"/>
                <a:gd name="T5" fmla="*/ 17 h 39"/>
                <a:gd name="T6" fmla="*/ 437 w 437"/>
                <a:gd name="T7" fmla="*/ 17 h 39"/>
                <a:gd name="T8" fmla="*/ 437 w 437"/>
                <a:gd name="T9" fmla="*/ 22 h 39"/>
                <a:gd name="T10" fmla="*/ 39 w 437"/>
                <a:gd name="T11" fmla="*/ 39 h 39"/>
                <a:gd name="T12" fmla="*/ 0 w 437"/>
                <a:gd name="T13" fmla="*/ 17 h 39"/>
                <a:gd name="T14" fmla="*/ 39 w 437"/>
                <a:gd name="T15" fmla="*/ 0 h 39"/>
                <a:gd name="T16" fmla="*/ 39 w 437"/>
                <a:gd name="T17" fmla="*/ 39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39"/>
                <a:gd name="T29" fmla="*/ 437 w 437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39">
                  <a:moveTo>
                    <a:pt x="437" y="22"/>
                  </a:moveTo>
                  <a:lnTo>
                    <a:pt x="33" y="22"/>
                  </a:lnTo>
                  <a:lnTo>
                    <a:pt x="33" y="17"/>
                  </a:lnTo>
                  <a:lnTo>
                    <a:pt x="437" y="17"/>
                  </a:lnTo>
                  <a:lnTo>
                    <a:pt x="437" y="22"/>
                  </a:lnTo>
                  <a:close/>
                  <a:moveTo>
                    <a:pt x="39" y="39"/>
                  </a:moveTo>
                  <a:lnTo>
                    <a:pt x="0" y="17"/>
                  </a:lnTo>
                  <a:lnTo>
                    <a:pt x="39" y="0"/>
                  </a:lnTo>
                  <a:lnTo>
                    <a:pt x="39" y="39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 sz="2400" noProof="0" dirty="0"/>
            </a:p>
          </p:txBody>
        </p:sp>
        <p:sp>
          <p:nvSpPr>
            <p:cNvPr id="16" name="Freeform 218">
              <a:extLst>
                <a:ext uri="{FF2B5EF4-FFF2-40B4-BE49-F238E27FC236}">
                  <a16:creationId xmlns:a16="http://schemas.microsoft.com/office/drawing/2014/main" id="{F837F3B4-DA85-78DD-6354-1B673985B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6" y="1724"/>
              <a:ext cx="609" cy="38"/>
            </a:xfrm>
            <a:custGeom>
              <a:avLst/>
              <a:gdLst>
                <a:gd name="T0" fmla="*/ 609 w 609"/>
                <a:gd name="T1" fmla="*/ 22 h 38"/>
                <a:gd name="T2" fmla="*/ 33 w 609"/>
                <a:gd name="T3" fmla="*/ 22 h 38"/>
                <a:gd name="T4" fmla="*/ 33 w 609"/>
                <a:gd name="T5" fmla="*/ 16 h 38"/>
                <a:gd name="T6" fmla="*/ 609 w 609"/>
                <a:gd name="T7" fmla="*/ 16 h 38"/>
                <a:gd name="T8" fmla="*/ 609 w 609"/>
                <a:gd name="T9" fmla="*/ 22 h 38"/>
                <a:gd name="T10" fmla="*/ 39 w 609"/>
                <a:gd name="T11" fmla="*/ 38 h 38"/>
                <a:gd name="T12" fmla="*/ 0 w 609"/>
                <a:gd name="T13" fmla="*/ 22 h 38"/>
                <a:gd name="T14" fmla="*/ 39 w 609"/>
                <a:gd name="T15" fmla="*/ 0 h 38"/>
                <a:gd name="T16" fmla="*/ 39 w 609"/>
                <a:gd name="T17" fmla="*/ 38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9"/>
                <a:gd name="T28" fmla="*/ 0 h 38"/>
                <a:gd name="T29" fmla="*/ 609 w 609"/>
                <a:gd name="T30" fmla="*/ 38 h 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9" h="38">
                  <a:moveTo>
                    <a:pt x="609" y="22"/>
                  </a:moveTo>
                  <a:lnTo>
                    <a:pt x="33" y="22"/>
                  </a:lnTo>
                  <a:lnTo>
                    <a:pt x="33" y="16"/>
                  </a:lnTo>
                  <a:lnTo>
                    <a:pt x="609" y="16"/>
                  </a:lnTo>
                  <a:lnTo>
                    <a:pt x="609" y="22"/>
                  </a:lnTo>
                  <a:close/>
                  <a:moveTo>
                    <a:pt x="39" y="38"/>
                  </a:moveTo>
                  <a:lnTo>
                    <a:pt x="0" y="22"/>
                  </a:lnTo>
                  <a:lnTo>
                    <a:pt x="39" y="0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 sz="2400" noProof="0" dirty="0"/>
            </a:p>
          </p:txBody>
        </p:sp>
        <p:sp>
          <p:nvSpPr>
            <p:cNvPr id="17" name="Freeform 219">
              <a:extLst>
                <a:ext uri="{FF2B5EF4-FFF2-40B4-BE49-F238E27FC236}">
                  <a16:creationId xmlns:a16="http://schemas.microsoft.com/office/drawing/2014/main" id="{1BBDA3E1-7320-BB74-9EE5-825FE797C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" y="1912"/>
              <a:ext cx="1446" cy="39"/>
            </a:xfrm>
            <a:custGeom>
              <a:avLst/>
              <a:gdLst>
                <a:gd name="T0" fmla="*/ 1446 w 1446"/>
                <a:gd name="T1" fmla="*/ 17 h 39"/>
                <a:gd name="T2" fmla="*/ 34 w 1446"/>
                <a:gd name="T3" fmla="*/ 22 h 39"/>
                <a:gd name="T4" fmla="*/ 34 w 1446"/>
                <a:gd name="T5" fmla="*/ 17 h 39"/>
                <a:gd name="T6" fmla="*/ 1446 w 1446"/>
                <a:gd name="T7" fmla="*/ 11 h 39"/>
                <a:gd name="T8" fmla="*/ 1446 w 1446"/>
                <a:gd name="T9" fmla="*/ 17 h 39"/>
                <a:gd name="T10" fmla="*/ 39 w 1446"/>
                <a:gd name="T11" fmla="*/ 39 h 39"/>
                <a:gd name="T12" fmla="*/ 0 w 1446"/>
                <a:gd name="T13" fmla="*/ 22 h 39"/>
                <a:gd name="T14" fmla="*/ 39 w 1446"/>
                <a:gd name="T15" fmla="*/ 0 h 39"/>
                <a:gd name="T16" fmla="*/ 39 w 1446"/>
                <a:gd name="T17" fmla="*/ 39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46"/>
                <a:gd name="T28" fmla="*/ 0 h 39"/>
                <a:gd name="T29" fmla="*/ 1446 w 1446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46" h="39">
                  <a:moveTo>
                    <a:pt x="1446" y="17"/>
                  </a:moveTo>
                  <a:lnTo>
                    <a:pt x="34" y="22"/>
                  </a:lnTo>
                  <a:lnTo>
                    <a:pt x="34" y="17"/>
                  </a:lnTo>
                  <a:lnTo>
                    <a:pt x="1446" y="11"/>
                  </a:lnTo>
                  <a:lnTo>
                    <a:pt x="1446" y="17"/>
                  </a:lnTo>
                  <a:close/>
                  <a:moveTo>
                    <a:pt x="39" y="39"/>
                  </a:moveTo>
                  <a:lnTo>
                    <a:pt x="0" y="22"/>
                  </a:lnTo>
                  <a:lnTo>
                    <a:pt x="39" y="0"/>
                  </a:lnTo>
                  <a:lnTo>
                    <a:pt x="39" y="39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 sz="2400" noProof="0" dirty="0"/>
            </a:p>
          </p:txBody>
        </p:sp>
        <p:sp>
          <p:nvSpPr>
            <p:cNvPr id="18" name="Freeform 220">
              <a:extLst>
                <a:ext uri="{FF2B5EF4-FFF2-40B4-BE49-F238E27FC236}">
                  <a16:creationId xmlns:a16="http://schemas.microsoft.com/office/drawing/2014/main" id="{E5D0A7F4-0F17-C52C-2C03-E8D776D532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0" y="1292"/>
              <a:ext cx="166" cy="33"/>
            </a:xfrm>
            <a:custGeom>
              <a:avLst/>
              <a:gdLst>
                <a:gd name="T0" fmla="*/ 166 w 166"/>
                <a:gd name="T1" fmla="*/ 22 h 33"/>
                <a:gd name="T2" fmla="*/ 33 w 166"/>
                <a:gd name="T3" fmla="*/ 22 h 33"/>
                <a:gd name="T4" fmla="*/ 33 w 166"/>
                <a:gd name="T5" fmla="*/ 16 h 33"/>
                <a:gd name="T6" fmla="*/ 27 w 166"/>
                <a:gd name="T7" fmla="*/ 16 h 33"/>
                <a:gd name="T8" fmla="*/ 33 w 166"/>
                <a:gd name="T9" fmla="*/ 16 h 33"/>
                <a:gd name="T10" fmla="*/ 33 w 166"/>
                <a:gd name="T11" fmla="*/ 11 h 33"/>
                <a:gd name="T12" fmla="*/ 166 w 166"/>
                <a:gd name="T13" fmla="*/ 11 h 33"/>
                <a:gd name="T14" fmla="*/ 166 w 166"/>
                <a:gd name="T15" fmla="*/ 16 h 33"/>
                <a:gd name="T16" fmla="*/ 166 w 166"/>
                <a:gd name="T17" fmla="*/ 16 h 33"/>
                <a:gd name="T18" fmla="*/ 166 w 166"/>
                <a:gd name="T19" fmla="*/ 16 h 33"/>
                <a:gd name="T20" fmla="*/ 166 w 166"/>
                <a:gd name="T21" fmla="*/ 22 h 33"/>
                <a:gd name="T22" fmla="*/ 166 w 166"/>
                <a:gd name="T23" fmla="*/ 22 h 33"/>
                <a:gd name="T24" fmla="*/ 38 w 166"/>
                <a:gd name="T25" fmla="*/ 33 h 33"/>
                <a:gd name="T26" fmla="*/ 0 w 166"/>
                <a:gd name="T27" fmla="*/ 16 h 33"/>
                <a:gd name="T28" fmla="*/ 38 w 166"/>
                <a:gd name="T29" fmla="*/ 0 h 33"/>
                <a:gd name="T30" fmla="*/ 38 w 166"/>
                <a:gd name="T31" fmla="*/ 3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6"/>
                <a:gd name="T49" fmla="*/ 0 h 33"/>
                <a:gd name="T50" fmla="*/ 166 w 166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6" h="33">
                  <a:moveTo>
                    <a:pt x="166" y="22"/>
                  </a:moveTo>
                  <a:lnTo>
                    <a:pt x="33" y="22"/>
                  </a:lnTo>
                  <a:lnTo>
                    <a:pt x="33" y="16"/>
                  </a:lnTo>
                  <a:lnTo>
                    <a:pt x="27" y="16"/>
                  </a:lnTo>
                  <a:lnTo>
                    <a:pt x="33" y="16"/>
                  </a:lnTo>
                  <a:lnTo>
                    <a:pt x="33" y="11"/>
                  </a:lnTo>
                  <a:lnTo>
                    <a:pt x="166" y="11"/>
                  </a:lnTo>
                  <a:lnTo>
                    <a:pt x="166" y="16"/>
                  </a:lnTo>
                  <a:lnTo>
                    <a:pt x="166" y="22"/>
                  </a:lnTo>
                  <a:close/>
                  <a:moveTo>
                    <a:pt x="38" y="33"/>
                  </a:moveTo>
                  <a:lnTo>
                    <a:pt x="0" y="16"/>
                  </a:lnTo>
                  <a:lnTo>
                    <a:pt x="38" y="0"/>
                  </a:lnTo>
                  <a:lnTo>
                    <a:pt x="38" y="3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 sz="2400" noProof="0" dirty="0"/>
            </a:p>
          </p:txBody>
        </p:sp>
        <p:sp>
          <p:nvSpPr>
            <p:cNvPr id="19" name="Rectangle 221">
              <a:extLst>
                <a:ext uri="{FF2B5EF4-FFF2-40B4-BE49-F238E27FC236}">
                  <a16:creationId xmlns:a16="http://schemas.microsoft.com/office/drawing/2014/main" id="{B1B44A0D-371E-AE8F-3B47-9FC0B14FA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4" y="1259"/>
              <a:ext cx="129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sz="1400" b="1" noProof="0" dirty="0" err="1"/>
                <a:t>Antibody</a:t>
              </a:r>
              <a:r>
                <a:rPr lang="cs-CZ" sz="1400" b="1" noProof="0" dirty="0"/>
                <a:t> (MW ~150,000)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  <p:sp>
          <p:nvSpPr>
            <p:cNvPr id="20" name="Rectangle 222">
              <a:extLst>
                <a:ext uri="{FF2B5EF4-FFF2-40B4-BE49-F238E27FC236}">
                  <a16:creationId xmlns:a16="http://schemas.microsoft.com/office/drawing/2014/main" id="{69A2639D-9A18-E5F0-F416-E0CF9FCBE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" y="1463"/>
              <a:ext cx="894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sz="1400" b="1" noProof="0" dirty="0"/>
                <a:t>AP (MW 114,000)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  <p:sp>
          <p:nvSpPr>
            <p:cNvPr id="21" name="Rectangle 223">
              <a:extLst>
                <a:ext uri="{FF2B5EF4-FFF2-40B4-BE49-F238E27FC236}">
                  <a16:creationId xmlns:a16="http://schemas.microsoft.com/office/drawing/2014/main" id="{12D8AA46-BD1F-FE70-C4F4-1C5F1D88B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4" y="1696"/>
              <a:ext cx="918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lnSpc>
                  <a:spcPct val="110000"/>
                </a:lnSpc>
                <a:buClr>
                  <a:schemeClr val="accent1"/>
                </a:buClr>
                <a:buFont typeface="Arial" panose="020B0604020202020204" pitchFamily="34" charset="0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</a:pPr>
              <a:r>
                <a:rPr lang="cs-CZ" sz="1400" b="1" noProof="0" dirty="0"/>
                <a:t>BSA (MW 66,400)</a:t>
              </a:r>
              <a:endParaRPr lang="cs-CZ" sz="2400" noProof="0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144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20260220-1257-09.8003157">
            <a:hlinkClick r:id="" action="ppaction://media"/>
            <a:extLst>
              <a:ext uri="{FF2B5EF4-FFF2-40B4-BE49-F238E27FC236}">
                <a16:creationId xmlns:a16="http://schemas.microsoft.com/office/drawing/2014/main" id="{250747C9-99F3-F866-BC4B-40D88FE3BF0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52291" y="3006144"/>
            <a:ext cx="2549159" cy="32912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547A82-F9B3-5024-C6B2-96BD6C23B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Mechanismus </a:t>
            </a:r>
            <a:r>
              <a:rPr lang="cs-CZ" noProof="0" dirty="0" err="1"/>
              <a:t>chemiluminescence</a:t>
            </a:r>
            <a:endParaRPr lang="cs-CZ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D8BFD7-42E1-F44C-D30E-CEBF38EB05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47B64D4E-EA6D-1E8B-F60C-0F281F5F42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025" y="5108575"/>
            <a:ext cx="8378825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285750" indent="-1714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 lvl="1">
              <a:lnSpc>
                <a:spcPct val="100000"/>
              </a:lnSpc>
              <a:spcAft>
                <a:spcPct val="50000"/>
              </a:spcAft>
              <a:buFontTx/>
              <a:buNone/>
            </a:pPr>
            <a:r>
              <a:rPr lang="cs-CZ" noProof="0" dirty="0">
                <a:solidFill>
                  <a:schemeClr val="tx1"/>
                </a:solidFill>
              </a:rPr>
              <a:t>	Světlo emitující </a:t>
            </a:r>
            <a:r>
              <a:rPr lang="cs-CZ" noProof="0" dirty="0" err="1">
                <a:solidFill>
                  <a:schemeClr val="tx1"/>
                </a:solidFill>
              </a:rPr>
              <a:t>acridonová</a:t>
            </a:r>
            <a:r>
              <a:rPr lang="cs-CZ" noProof="0" dirty="0">
                <a:solidFill>
                  <a:schemeClr val="tx1"/>
                </a:solidFill>
              </a:rPr>
              <a:t> část se oddělí od fenolové skupiny navázané na ligand. Tím pádem nedochází k zhášení (</a:t>
            </a:r>
            <a:r>
              <a:rPr lang="cs-CZ" noProof="0" dirty="0" err="1">
                <a:solidFill>
                  <a:schemeClr val="tx1"/>
                </a:solidFill>
              </a:rPr>
              <a:t>quenchingu</a:t>
            </a:r>
            <a:r>
              <a:rPr lang="cs-CZ" noProof="0" dirty="0">
                <a:solidFill>
                  <a:schemeClr val="tx1"/>
                </a:solidFill>
              </a:rPr>
              <a:t>) uvolněného světla.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lnSpc>
                <a:spcPct val="100000"/>
              </a:lnSpc>
              <a:spcAft>
                <a:spcPct val="50000"/>
              </a:spcAft>
              <a:buFontTx/>
              <a:buNone/>
            </a:pPr>
            <a:r>
              <a:rPr lang="cs-CZ" sz="1400" noProof="0" dirty="0">
                <a:solidFill>
                  <a:schemeClr val="tx1"/>
                </a:solidFill>
              </a:rPr>
              <a:t>	</a:t>
            </a:r>
            <a:r>
              <a:rPr lang="cs-CZ" sz="1200" noProof="0" dirty="0">
                <a:solidFill>
                  <a:schemeClr val="tx1"/>
                </a:solidFill>
              </a:rPr>
              <a:t>A. </a:t>
            </a:r>
            <a:r>
              <a:rPr lang="cs-CZ" sz="1200" noProof="0" dirty="0" err="1">
                <a:solidFill>
                  <a:schemeClr val="tx1"/>
                </a:solidFill>
              </a:rPr>
              <a:t>Natrajan</a:t>
            </a:r>
            <a:r>
              <a:rPr lang="cs-CZ" sz="1200" noProof="0" dirty="0">
                <a:solidFill>
                  <a:schemeClr val="tx1"/>
                </a:solidFill>
              </a:rPr>
              <a:t>, D. </a:t>
            </a:r>
            <a:r>
              <a:rPr lang="cs-CZ" sz="1200" noProof="0" dirty="0" err="1">
                <a:solidFill>
                  <a:schemeClr val="tx1"/>
                </a:solidFill>
              </a:rPr>
              <a:t>Sharpe</a:t>
            </a:r>
            <a:r>
              <a:rPr lang="cs-CZ" sz="1200" noProof="0" dirty="0">
                <a:solidFill>
                  <a:schemeClr val="tx1"/>
                </a:solidFill>
              </a:rPr>
              <a:t> and D. </a:t>
            </a:r>
            <a:r>
              <a:rPr lang="cs-CZ" sz="1200" noProof="0" dirty="0" err="1">
                <a:solidFill>
                  <a:schemeClr val="tx1"/>
                </a:solidFill>
              </a:rPr>
              <a:t>Wen</a:t>
            </a:r>
            <a:r>
              <a:rPr lang="cs-CZ" sz="1200" noProof="0" dirty="0">
                <a:solidFill>
                  <a:schemeClr val="tx1"/>
                </a:solidFill>
              </a:rPr>
              <a:t>,</a:t>
            </a:r>
            <a:r>
              <a:rPr lang="cs-CZ" sz="1200" noProof="0" dirty="0">
                <a:solidFill>
                  <a:schemeClr val="bg2"/>
                </a:solidFill>
              </a:rPr>
              <a:t> </a:t>
            </a:r>
            <a:r>
              <a:rPr lang="cs-CZ" sz="1200" noProof="0" dirty="0">
                <a:solidFill>
                  <a:schemeClr val="tx1"/>
                </a:solidFill>
              </a:rPr>
              <a:t>“</a:t>
            </a:r>
            <a:r>
              <a:rPr lang="cs-CZ" sz="1200" noProof="0" dirty="0" err="1">
                <a:solidFill>
                  <a:schemeClr val="tx1"/>
                </a:solidFill>
              </a:rPr>
              <a:t>Chemiluminescence</a:t>
            </a:r>
            <a:r>
              <a:rPr lang="cs-CZ" sz="1200" noProof="0" dirty="0">
                <a:solidFill>
                  <a:schemeClr val="tx1"/>
                </a:solidFill>
              </a:rPr>
              <a:t> </a:t>
            </a:r>
            <a:r>
              <a:rPr lang="cs-CZ" sz="1200" noProof="0" dirty="0" err="1">
                <a:solidFill>
                  <a:schemeClr val="tx1"/>
                </a:solidFill>
              </a:rPr>
              <a:t>from</a:t>
            </a:r>
            <a:r>
              <a:rPr lang="cs-CZ" sz="1200" noProof="0" dirty="0">
                <a:solidFill>
                  <a:schemeClr val="tx1"/>
                </a:solidFill>
              </a:rPr>
              <a:t> </a:t>
            </a:r>
            <a:r>
              <a:rPr lang="cs-CZ" sz="1200" noProof="0" dirty="0" err="1">
                <a:solidFill>
                  <a:schemeClr val="tx1"/>
                </a:solidFill>
              </a:rPr>
              <a:t>Alkoxy-Substituted</a:t>
            </a:r>
            <a:r>
              <a:rPr lang="cs-CZ" sz="1200" noProof="0" dirty="0">
                <a:solidFill>
                  <a:schemeClr val="tx1"/>
                </a:solidFill>
              </a:rPr>
              <a:t> </a:t>
            </a:r>
            <a:r>
              <a:rPr lang="cs-CZ" sz="1200" noProof="0" dirty="0" err="1">
                <a:solidFill>
                  <a:schemeClr val="tx1"/>
                </a:solidFill>
              </a:rPr>
              <a:t>Acridinium</a:t>
            </a:r>
            <a:r>
              <a:rPr lang="cs-CZ" sz="1200" noProof="0" dirty="0">
                <a:solidFill>
                  <a:schemeClr val="tx1"/>
                </a:solidFill>
              </a:rPr>
              <a:t> </a:t>
            </a:r>
            <a:r>
              <a:rPr lang="cs-CZ" sz="1200" noProof="0" dirty="0" err="1">
                <a:solidFill>
                  <a:schemeClr val="tx1"/>
                </a:solidFill>
              </a:rPr>
              <a:t>Dimethylphenyl</a:t>
            </a:r>
            <a:r>
              <a:rPr lang="cs-CZ" sz="1200" noProof="0" dirty="0">
                <a:solidFill>
                  <a:schemeClr val="tx1"/>
                </a:solidFill>
              </a:rPr>
              <a:t> Ester </a:t>
            </a:r>
            <a:r>
              <a:rPr lang="cs-CZ" sz="1200" noProof="0" dirty="0" err="1">
                <a:solidFill>
                  <a:schemeClr val="tx1"/>
                </a:solidFill>
              </a:rPr>
              <a:t>Labels</a:t>
            </a:r>
            <a:r>
              <a:rPr lang="cs-CZ" sz="1200" noProof="0" dirty="0">
                <a:solidFill>
                  <a:schemeClr val="tx1"/>
                </a:solidFill>
              </a:rPr>
              <a:t>”, </a:t>
            </a:r>
            <a:r>
              <a:rPr lang="cs-CZ" sz="1200" i="1" noProof="0" dirty="0" err="1">
                <a:solidFill>
                  <a:schemeClr val="tx1"/>
                </a:solidFill>
              </a:rPr>
              <a:t>Org</a:t>
            </a:r>
            <a:r>
              <a:rPr lang="cs-CZ" sz="1200" i="1" noProof="0" dirty="0">
                <a:solidFill>
                  <a:schemeClr val="tx1"/>
                </a:solidFill>
              </a:rPr>
              <a:t>. </a:t>
            </a:r>
            <a:r>
              <a:rPr lang="cs-CZ" sz="1200" i="1" noProof="0" dirty="0" err="1">
                <a:solidFill>
                  <a:schemeClr val="tx1"/>
                </a:solidFill>
              </a:rPr>
              <a:t>Biomol</a:t>
            </a:r>
            <a:r>
              <a:rPr lang="cs-CZ" sz="1200" i="1" noProof="0" dirty="0">
                <a:solidFill>
                  <a:schemeClr val="tx1"/>
                </a:solidFill>
              </a:rPr>
              <a:t>. </a:t>
            </a:r>
            <a:r>
              <a:rPr lang="cs-CZ" sz="1200" i="1" noProof="0" dirty="0" err="1">
                <a:solidFill>
                  <a:schemeClr val="tx1"/>
                </a:solidFill>
              </a:rPr>
              <a:t>Chem</a:t>
            </a:r>
            <a:r>
              <a:rPr lang="cs-CZ" sz="1200" i="1" noProof="0" dirty="0">
                <a:solidFill>
                  <a:schemeClr val="tx1"/>
                </a:solidFill>
              </a:rPr>
              <a:t>., </a:t>
            </a:r>
            <a:r>
              <a:rPr lang="cs-CZ" sz="1200" noProof="0" dirty="0">
                <a:solidFill>
                  <a:schemeClr val="tx1"/>
                </a:solidFill>
              </a:rPr>
              <a:t>2011, </a:t>
            </a:r>
            <a:r>
              <a:rPr lang="cs-CZ" sz="1200" b="1" i="1" noProof="0" dirty="0">
                <a:solidFill>
                  <a:schemeClr val="tx1"/>
                </a:solidFill>
              </a:rPr>
              <a:t>9</a:t>
            </a:r>
            <a:r>
              <a:rPr lang="cs-CZ" sz="1200" i="1" noProof="0" dirty="0">
                <a:solidFill>
                  <a:schemeClr val="tx1"/>
                </a:solidFill>
              </a:rPr>
              <a:t>(14),</a:t>
            </a:r>
            <a:r>
              <a:rPr lang="cs-CZ" sz="1200" noProof="0" dirty="0">
                <a:solidFill>
                  <a:schemeClr val="tx1"/>
                </a:solidFill>
              </a:rPr>
              <a:t> 5092-5103.\</a:t>
            </a:r>
          </a:p>
        </p:txBody>
      </p:sp>
      <p:graphicFrame>
        <p:nvGraphicFramePr>
          <p:cNvPr id="6" name="Object 36">
            <a:extLst>
              <a:ext uri="{FF2B5EF4-FFF2-40B4-BE49-F238E27FC236}">
                <a16:creationId xmlns:a16="http://schemas.microsoft.com/office/drawing/2014/main" id="{F5A9CE16-C132-8904-571D-8FE2FA50260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68325" y="1497013"/>
          <a:ext cx="8018463" cy="3290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6941820" imgH="2849880" progId="ChemDraw.Document.6.0">
                  <p:embed/>
                </p:oleObj>
              </mc:Choice>
              <mc:Fallback>
                <p:oleObj name="CS ChemDraw Drawing" r:id="rId6" imgW="6941820" imgH="2849880" progId="ChemDraw.Document.6.0">
                  <p:embed/>
                  <p:pic>
                    <p:nvPicPr>
                      <p:cNvPr id="6" name="Object 36">
                        <a:extLst>
                          <a:ext uri="{FF2B5EF4-FFF2-40B4-BE49-F238E27FC236}">
                            <a16:creationId xmlns:a16="http://schemas.microsoft.com/office/drawing/2014/main" id="{F5A9CE16-C132-8904-571D-8FE2FA50260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8325" y="1497013"/>
                        <a:ext cx="8018463" cy="32908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6">
            <a:extLst>
              <a:ext uri="{FF2B5EF4-FFF2-40B4-BE49-F238E27FC236}">
                <a16:creationId xmlns:a16="http://schemas.microsoft.com/office/drawing/2014/main" id="{1EBF84A2-E23C-EB18-0B04-8BDBBE2D92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26" t="24026" r="34326" b="8687"/>
          <a:stretch>
            <a:fillRect/>
          </a:stretch>
        </p:blipFill>
        <p:spPr bwMode="auto">
          <a:xfrm>
            <a:off x="9052291" y="902208"/>
            <a:ext cx="2549159" cy="2717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8206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19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64117-0ED8-3C89-C785-1D207BA16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Cíle</a:t>
            </a:r>
            <a:r>
              <a:rPr lang="en-US" noProof="0" dirty="0"/>
              <a:t> </a:t>
            </a:r>
            <a:r>
              <a:rPr lang="en-US" noProof="0" dirty="0" err="1"/>
              <a:t>vývoje</a:t>
            </a:r>
            <a:r>
              <a:rPr lang="en-US" noProof="0" dirty="0"/>
              <a:t> – </a:t>
            </a:r>
            <a:r>
              <a:rPr lang="en-US" noProof="0" dirty="0" err="1"/>
              <a:t>strukturální</a:t>
            </a:r>
            <a:r>
              <a:rPr lang="en-US" noProof="0" dirty="0"/>
              <a:t> </a:t>
            </a:r>
            <a:r>
              <a:rPr lang="en-US" noProof="0" dirty="0" err="1"/>
              <a:t>obměny</a:t>
            </a:r>
            <a:r>
              <a:rPr lang="en-US" noProof="0" dirty="0"/>
              <a:t> a </a:t>
            </a:r>
            <a:r>
              <a:rPr lang="en-US" noProof="0" dirty="0" err="1"/>
              <a:t>jejich</a:t>
            </a:r>
            <a:r>
              <a:rPr lang="en-US" noProof="0" dirty="0"/>
              <a:t> </a:t>
            </a:r>
            <a:r>
              <a:rPr lang="en-US" noProof="0" dirty="0" err="1"/>
              <a:t>význam</a:t>
            </a:r>
            <a:endParaRPr lang="cs-CZ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912BF-0673-7A41-B4CC-3E22C606A5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981F1F-B2E3-51D2-E32A-C2779C1879B0}"/>
              </a:ext>
            </a:extLst>
          </p:cNvPr>
          <p:cNvSpPr txBox="1"/>
          <p:nvPr/>
        </p:nvSpPr>
        <p:spPr>
          <a:xfrm>
            <a:off x="540000" y="1762797"/>
            <a:ext cx="11214678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noProof="0" dirty="0" err="1"/>
              <a:t>Optimizace</a:t>
            </a:r>
            <a:r>
              <a:rPr lang="en-US" b="1" noProof="0" dirty="0"/>
              <a:t> </a:t>
            </a:r>
            <a:r>
              <a:rPr lang="en-US" b="1" noProof="0" dirty="0" err="1"/>
              <a:t>kvantového</a:t>
            </a:r>
            <a:r>
              <a:rPr lang="en-US" b="1" noProof="0" dirty="0"/>
              <a:t> </a:t>
            </a:r>
            <a:r>
              <a:rPr lang="en-US" b="1" noProof="0" dirty="0" err="1"/>
              <a:t>výtěžku</a:t>
            </a:r>
            <a:r>
              <a:rPr lang="en-US" b="1" noProof="0" dirty="0"/>
              <a:t> </a:t>
            </a:r>
            <a:r>
              <a:rPr lang="en-US" b="1" noProof="0" dirty="0" err="1"/>
              <a:t>světelné</a:t>
            </a:r>
            <a:r>
              <a:rPr lang="en-US" b="1" noProof="0" dirty="0"/>
              <a:t> </a:t>
            </a:r>
            <a:r>
              <a:rPr lang="en-US" b="1" noProof="0" dirty="0" err="1"/>
              <a:t>reakce</a:t>
            </a:r>
            <a:r>
              <a:rPr lang="en-US" b="1" noProof="0" dirty="0"/>
              <a:t> (RLU / mol A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n. 5% </a:t>
            </a:r>
            <a:r>
              <a:rPr lang="en-US" dirty="0" err="1"/>
              <a:t>dle</a:t>
            </a:r>
            <a:r>
              <a:rPr lang="en-US" dirty="0"/>
              <a:t> </a:t>
            </a:r>
            <a:r>
              <a:rPr lang="en-US" dirty="0" err="1"/>
              <a:t>literatury</a:t>
            </a:r>
            <a:r>
              <a:rPr lang="en-US" dirty="0"/>
              <a:t>, SHS 10-15 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noProof="0" dirty="0" err="1"/>
              <a:t>Dosažení</a:t>
            </a:r>
            <a:r>
              <a:rPr lang="en-US" noProof="0" dirty="0"/>
              <a:t> </a:t>
            </a:r>
            <a:r>
              <a:rPr lang="en-US" noProof="0" dirty="0" err="1"/>
              <a:t>skrze</a:t>
            </a:r>
            <a:r>
              <a:rPr lang="en-US" noProof="0" dirty="0"/>
              <a:t> </a:t>
            </a:r>
            <a:r>
              <a:rPr lang="en-US" noProof="0" dirty="0" err="1"/>
              <a:t>modifikace</a:t>
            </a:r>
            <a:r>
              <a:rPr lang="en-US" noProof="0" dirty="0"/>
              <a:t> </a:t>
            </a:r>
            <a:r>
              <a:rPr lang="en-US" noProof="0" dirty="0" err="1"/>
              <a:t>acridiniového</a:t>
            </a:r>
            <a:r>
              <a:rPr lang="en-US" noProof="0" dirty="0"/>
              <a:t> </a:t>
            </a:r>
            <a:r>
              <a:rPr lang="en-US" noProof="0" dirty="0" err="1"/>
              <a:t>kruhu</a:t>
            </a:r>
            <a:endParaRPr lang="en-US" noProof="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noProof="0" dirty="0" err="1"/>
              <a:t>Optimalizace</a:t>
            </a:r>
            <a:r>
              <a:rPr lang="en-US" b="1" noProof="0" dirty="0"/>
              <a:t> </a:t>
            </a:r>
            <a:r>
              <a:rPr lang="en-US" b="1" noProof="0" dirty="0" err="1"/>
              <a:t>kine</a:t>
            </a:r>
            <a:r>
              <a:rPr lang="en-US" b="1" dirty="0" err="1"/>
              <a:t>tiky</a:t>
            </a:r>
            <a:r>
              <a:rPr lang="en-US" b="1" dirty="0"/>
              <a:t> pro </a:t>
            </a:r>
            <a:r>
              <a:rPr lang="en-US" b="1" dirty="0" err="1"/>
              <a:t>uvolnění</a:t>
            </a:r>
            <a:r>
              <a:rPr lang="en-US" b="1" dirty="0"/>
              <a:t> &gt; 95 % </a:t>
            </a:r>
            <a:r>
              <a:rPr lang="en-US" b="1" dirty="0" err="1"/>
              <a:t>světla</a:t>
            </a:r>
            <a:r>
              <a:rPr lang="en-US" b="1" dirty="0"/>
              <a:t> za &lt;4 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noProof="0" dirty="0" err="1"/>
              <a:t>Alkylové</a:t>
            </a:r>
            <a:r>
              <a:rPr lang="en-US" noProof="0" dirty="0"/>
              <a:t> </a:t>
            </a:r>
            <a:r>
              <a:rPr lang="en-US" noProof="0" dirty="0" err="1"/>
              <a:t>skupiny</a:t>
            </a:r>
            <a:r>
              <a:rPr lang="en-US" noProof="0" dirty="0"/>
              <a:t>, </a:t>
            </a:r>
            <a:r>
              <a:rPr lang="en-US" noProof="0" dirty="0" err="1"/>
              <a:t>linkery</a:t>
            </a:r>
            <a:r>
              <a:rPr lang="en-US" noProof="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Zvýšení</a:t>
            </a:r>
            <a:r>
              <a:rPr lang="en-US" b="1" dirty="0"/>
              <a:t> stability A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Fenolová</a:t>
            </a:r>
            <a:r>
              <a:rPr lang="en-US" dirty="0"/>
              <a:t> sk., </a:t>
            </a:r>
            <a:r>
              <a:rPr lang="en-US" dirty="0" err="1"/>
              <a:t>aromatické</a:t>
            </a:r>
            <a:r>
              <a:rPr lang="en-US" dirty="0"/>
              <a:t> sk., </a:t>
            </a:r>
            <a:r>
              <a:rPr lang="en-US" dirty="0" err="1"/>
              <a:t>dioxany</a:t>
            </a: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Snížení</a:t>
            </a:r>
            <a:r>
              <a:rPr lang="en-US" b="1" dirty="0"/>
              <a:t> </a:t>
            </a:r>
            <a:r>
              <a:rPr lang="en-US" b="1" dirty="0" err="1"/>
              <a:t>nespecifické</a:t>
            </a:r>
            <a:r>
              <a:rPr lang="en-US" b="1" dirty="0"/>
              <a:t> </a:t>
            </a:r>
            <a:r>
              <a:rPr lang="en-US" b="1" dirty="0" err="1"/>
              <a:t>vazby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Optimalizace</a:t>
            </a:r>
            <a:r>
              <a:rPr lang="en-US" b="1" dirty="0"/>
              <a:t> </a:t>
            </a:r>
            <a:r>
              <a:rPr lang="en-US" b="1" dirty="0" err="1"/>
              <a:t>vlnové</a:t>
            </a:r>
            <a:r>
              <a:rPr lang="en-US" b="1" dirty="0"/>
              <a:t> </a:t>
            </a:r>
            <a:r>
              <a:rPr lang="en-US" b="1" dirty="0" err="1"/>
              <a:t>délky</a:t>
            </a:r>
            <a:r>
              <a:rPr lang="en-US" b="1" dirty="0"/>
              <a:t> </a:t>
            </a:r>
            <a:r>
              <a:rPr lang="en-US" b="1" dirty="0" err="1"/>
              <a:t>vyzářeného</a:t>
            </a:r>
            <a:r>
              <a:rPr lang="en-US" b="1" dirty="0"/>
              <a:t> </a:t>
            </a:r>
            <a:r>
              <a:rPr lang="en-US" b="1" dirty="0" err="1"/>
              <a:t>světla</a:t>
            </a:r>
            <a:endParaRPr lang="en-US" b="1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Optimalizace</a:t>
            </a:r>
            <a:r>
              <a:rPr lang="en-US" b="1" dirty="0"/>
              <a:t> </a:t>
            </a:r>
            <a:r>
              <a:rPr lang="en-US" b="1" dirty="0" err="1"/>
              <a:t>nákladové</a:t>
            </a:r>
            <a:r>
              <a:rPr lang="en-US" b="1" dirty="0"/>
              <a:t> </a:t>
            </a:r>
            <a:r>
              <a:rPr lang="en-US" b="1" dirty="0" err="1"/>
              <a:t>efektivity</a:t>
            </a:r>
            <a:r>
              <a:rPr lang="en-US" b="1" dirty="0"/>
              <a:t>, </a:t>
            </a:r>
            <a:r>
              <a:rPr lang="en-US" b="1" dirty="0" err="1"/>
              <a:t>důraz</a:t>
            </a:r>
            <a:r>
              <a:rPr lang="en-US" b="1" dirty="0"/>
              <a:t> </a:t>
            </a:r>
            <a:r>
              <a:rPr lang="en-US" b="1" dirty="0" err="1"/>
              <a:t>na</a:t>
            </a:r>
            <a:r>
              <a:rPr lang="en-US" b="1" dirty="0"/>
              <a:t> </a:t>
            </a:r>
            <a:r>
              <a:rPr lang="en-US" b="1" dirty="0" err="1"/>
              <a:t>životní</a:t>
            </a:r>
            <a:r>
              <a:rPr lang="en-US" b="1" dirty="0"/>
              <a:t> </a:t>
            </a:r>
            <a:r>
              <a:rPr lang="en-US" b="1" dirty="0" err="1"/>
              <a:t>prostředí</a:t>
            </a:r>
            <a:endParaRPr lang="cs-CZ" b="1" noProof="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C5578E-30F9-6895-3303-8B2F54B46C95}"/>
              </a:ext>
            </a:extLst>
          </p:cNvPr>
          <p:cNvSpPr txBox="1"/>
          <p:nvPr/>
        </p:nvSpPr>
        <p:spPr>
          <a:xfrm>
            <a:off x="6977063" y="3036888"/>
            <a:ext cx="883453" cy="220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cs-CZ" noProof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991A20-3C16-8B49-A4F3-4758B8290676}"/>
              </a:ext>
            </a:extLst>
          </p:cNvPr>
          <p:cNvSpPr txBox="1"/>
          <p:nvPr/>
        </p:nvSpPr>
        <p:spPr>
          <a:xfrm>
            <a:off x="6977063" y="3036888"/>
            <a:ext cx="876300" cy="506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cs-CZ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6ACC45-331F-19BD-FFCA-2D49AF12B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43" y="2127378"/>
            <a:ext cx="4879110" cy="32371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01B0072-252F-7B02-4AFE-F1DE7D2F0D33}"/>
              </a:ext>
            </a:extLst>
          </p:cNvPr>
          <p:cNvSpPr txBox="1"/>
          <p:nvPr/>
        </p:nvSpPr>
        <p:spPr>
          <a:xfrm>
            <a:off x="6562695" y="1846484"/>
            <a:ext cx="443917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noProof="0" dirty="0"/>
              <a:t>50+ udělených a podaných patentů na AE </a:t>
            </a:r>
            <a:endParaRPr lang="cs-CZ" noProof="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noProof="0" dirty="0"/>
              <a:t>Každá gene</a:t>
            </a:r>
            <a:r>
              <a:rPr lang="en-US" dirty="0"/>
              <a:t>r</a:t>
            </a:r>
            <a:r>
              <a:rPr lang="cs-CZ" noProof="0" dirty="0" err="1"/>
              <a:t>ace</a:t>
            </a:r>
            <a:r>
              <a:rPr lang="cs-CZ" noProof="0" dirty="0"/>
              <a:t> přináší vyšší citlivost, </a:t>
            </a:r>
            <a:br>
              <a:rPr lang="en-US" dirty="0"/>
            </a:br>
            <a:r>
              <a:rPr lang="cs-CZ" noProof="0" dirty="0"/>
              <a:t>stabilitu a rychlost testů</a:t>
            </a:r>
            <a:endParaRPr lang="en-US" noProof="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cs-CZ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noProof="0" dirty="0"/>
              <a:t>Vývoj a výroba v USA (</a:t>
            </a:r>
            <a:r>
              <a:rPr lang="cs-CZ" b="1" noProof="0" dirty="0" err="1"/>
              <a:t>Walpole</a:t>
            </a:r>
            <a:r>
              <a:rPr lang="cs-CZ" b="1" noProof="0" dirty="0"/>
              <a:t>, MA) </a:t>
            </a:r>
            <a:endParaRPr lang="en-US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noProof="0" dirty="0"/>
              <a:t>tým s </a:t>
            </a:r>
            <a:r>
              <a:rPr lang="en-US" noProof="0" dirty="0"/>
              <a:t>ca</a:t>
            </a:r>
            <a:r>
              <a:rPr lang="cs-CZ" noProof="0" dirty="0"/>
              <a:t> </a:t>
            </a:r>
            <a:r>
              <a:rPr lang="en-US" noProof="0" dirty="0"/>
              <a:t>60</a:t>
            </a:r>
            <a:r>
              <a:rPr lang="cs-CZ" noProof="0"/>
              <a:t> let </a:t>
            </a:r>
            <a:r>
              <a:rPr lang="cs-CZ" noProof="0" dirty="0"/>
              <a:t>zkušeností</a:t>
            </a:r>
          </a:p>
        </p:txBody>
      </p:sp>
    </p:spTree>
    <p:extLst>
      <p:ext uri="{BB962C8B-B14F-4D97-AF65-F5344CB8AC3E}">
        <p14:creationId xmlns:p14="http://schemas.microsoft.com/office/powerpoint/2010/main" val="2907194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7511E-6 -4.81481E-6 L -0.49387 -4.81481E-6 " pathEditMode="relative" rAng="0" ptsTypes="AA">
                                      <p:cBhvr>
                                        <p:cTn id="13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693" y="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71603-503D-4AA3-A8EF-AB1DD55647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B773BEC2-8BA0-5E51-2A9B-ED9CF4BC8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dirty="0" err="1"/>
              <a:t>Příklady</a:t>
            </a:r>
            <a:r>
              <a:rPr lang="en-US" dirty="0"/>
              <a:t> </a:t>
            </a:r>
            <a:r>
              <a:rPr lang="en-US" dirty="0" err="1"/>
              <a:t>komerčně</a:t>
            </a:r>
            <a:r>
              <a:rPr lang="en-US" dirty="0"/>
              <a:t> </a:t>
            </a:r>
            <a:r>
              <a:rPr lang="en-US" dirty="0" err="1"/>
              <a:t>používaných</a:t>
            </a:r>
            <a:r>
              <a:rPr lang="en-US" dirty="0"/>
              <a:t> AE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B217F4E-DE6B-2E2C-6B24-8496F03E611D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/>
          <a:srcRect l="28293"/>
          <a:stretch>
            <a:fillRect/>
          </a:stretch>
        </p:blipFill>
        <p:spPr>
          <a:xfrm>
            <a:off x="2411939" y="985630"/>
            <a:ext cx="7338486" cy="4886740"/>
          </a:xfrm>
          <a:prstGeom prst="rect">
            <a:avLst/>
          </a:prstGeom>
          <a:noFill/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FE60EFF-A089-EB64-0AD8-1815D1788E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84A457A8-BAD4-4C15-F60A-A7DF5BC506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54"/>
          <a:stretch>
            <a:fillRect/>
          </a:stretch>
        </p:blipFill>
        <p:spPr>
          <a:xfrm>
            <a:off x="2778572" y="870684"/>
            <a:ext cx="6605219" cy="5183514"/>
          </a:xfrm>
          <a:prstGeom prst="rect">
            <a:avLst/>
          </a:prstGeom>
          <a:noFill/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E2592644-677F-2D17-0534-6DAD4F08B7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" t="11569" r="56962" b="8486"/>
          <a:stretch>
            <a:fillRect/>
          </a:stretch>
        </p:blipFill>
        <p:spPr>
          <a:xfrm>
            <a:off x="3219800" y="1070539"/>
            <a:ext cx="5730173" cy="51298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8445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DEA52-DB2D-8880-DA24-3882BBE6E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udoucnost</a:t>
            </a:r>
            <a:r>
              <a:rPr lang="en-US" dirty="0"/>
              <a:t> AE ?</a:t>
            </a:r>
            <a:endParaRPr lang="cs-CZ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A97997-D1F9-481E-EAA3-C2A2EE3FA0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4887" y="1623600"/>
            <a:ext cx="5630061" cy="40010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815C6-A683-BA60-2964-C5D436E574B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39999" y="1623600"/>
            <a:ext cx="5246847" cy="4572000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000" dirty="0"/>
              <a:t>“Multiplexing – </a:t>
            </a:r>
            <a:r>
              <a:rPr lang="en-US" sz="2000" dirty="0" err="1"/>
              <a:t>vlnové</a:t>
            </a:r>
            <a:r>
              <a:rPr lang="en-US" sz="2000" dirty="0"/>
              <a:t> </a:t>
            </a:r>
            <a:r>
              <a:rPr lang="en-US" sz="2000" dirty="0" err="1"/>
              <a:t>délky</a:t>
            </a:r>
            <a:r>
              <a:rPr lang="en-US" sz="2000" dirty="0"/>
              <a:t>”</a:t>
            </a:r>
          </a:p>
          <a:p>
            <a:pPr marL="285750" indent="-285750">
              <a:buFontTx/>
              <a:buChar char="-"/>
            </a:pPr>
            <a:endParaRPr lang="en-US" sz="2000" dirty="0"/>
          </a:p>
          <a:p>
            <a:pPr marL="285750" indent="-285750">
              <a:buFontTx/>
              <a:buChar char="-"/>
            </a:pPr>
            <a:r>
              <a:rPr lang="en-US" sz="2000" dirty="0"/>
              <a:t>“</a:t>
            </a:r>
            <a:r>
              <a:rPr lang="en-US" sz="2000" dirty="0" err="1"/>
              <a:t>Transparentní</a:t>
            </a:r>
            <a:r>
              <a:rPr lang="en-US" sz="2000" dirty="0"/>
              <a:t> </a:t>
            </a:r>
            <a:r>
              <a:rPr lang="en-US" sz="2000" dirty="0" err="1"/>
              <a:t>paramagnetické</a:t>
            </a:r>
            <a:r>
              <a:rPr lang="en-US" sz="2000" dirty="0"/>
              <a:t> </a:t>
            </a:r>
            <a:r>
              <a:rPr lang="en-US" sz="2000" dirty="0" err="1"/>
              <a:t>částice</a:t>
            </a:r>
            <a:r>
              <a:rPr lang="en-US" sz="2000" dirty="0"/>
              <a:t>”</a:t>
            </a:r>
          </a:p>
          <a:p>
            <a:pPr marL="285750" indent="-285750">
              <a:buFontTx/>
              <a:buChar char="-"/>
            </a:pPr>
            <a:endParaRPr lang="en-US" sz="2000" dirty="0"/>
          </a:p>
          <a:p>
            <a:pPr marL="285750" indent="-285750">
              <a:buFontTx/>
              <a:buChar char="-"/>
            </a:pPr>
            <a:r>
              <a:rPr lang="en-US" sz="2000" dirty="0"/>
              <a:t>“</a:t>
            </a:r>
            <a:r>
              <a:rPr lang="en-US" sz="2000" dirty="0" err="1"/>
              <a:t>Amplifikace</a:t>
            </a:r>
            <a:r>
              <a:rPr lang="en-US" sz="2000" dirty="0"/>
              <a:t> </a:t>
            </a:r>
            <a:r>
              <a:rPr lang="en-US" sz="2000" dirty="0" err="1"/>
              <a:t>signálu</a:t>
            </a:r>
            <a:r>
              <a:rPr lang="en-US" sz="2000" dirty="0"/>
              <a:t> </a:t>
            </a:r>
            <a:r>
              <a:rPr lang="en-US" sz="2000" dirty="0" err="1"/>
              <a:t>přes</a:t>
            </a:r>
            <a:r>
              <a:rPr lang="en-US" sz="2000" dirty="0"/>
              <a:t> AE </a:t>
            </a:r>
            <a:r>
              <a:rPr lang="en-US" sz="2000" dirty="0" err="1"/>
              <a:t>dendrimery</a:t>
            </a:r>
            <a:r>
              <a:rPr lang="en-US" sz="2000" dirty="0"/>
              <a:t> a </a:t>
            </a:r>
            <a:r>
              <a:rPr lang="en-US" sz="2000" dirty="0" err="1"/>
              <a:t>vyšší</a:t>
            </a:r>
            <a:r>
              <a:rPr lang="en-US" sz="2000" dirty="0"/>
              <a:t> </a:t>
            </a:r>
            <a:r>
              <a:rPr lang="en-US" sz="2000" dirty="0" err="1"/>
              <a:t>vazebná</a:t>
            </a:r>
            <a:r>
              <a:rPr lang="en-US" sz="2000" dirty="0"/>
              <a:t> </a:t>
            </a:r>
            <a:r>
              <a:rPr lang="en-US" sz="2000" dirty="0" err="1"/>
              <a:t>aktivita</a:t>
            </a:r>
            <a:r>
              <a:rPr lang="en-US" sz="2000" dirty="0"/>
              <a:t> </a:t>
            </a:r>
            <a:r>
              <a:rPr lang="en-US" sz="2000" dirty="0" err="1"/>
              <a:t>skrze</a:t>
            </a:r>
            <a:r>
              <a:rPr lang="en-US" sz="2000" dirty="0"/>
              <a:t> Fab </a:t>
            </a:r>
            <a:r>
              <a:rPr lang="en-US" sz="2000" dirty="0" err="1"/>
              <a:t>fragmenty</a:t>
            </a:r>
            <a:r>
              <a:rPr lang="en-US" sz="2000" dirty="0"/>
              <a:t> (</a:t>
            </a:r>
            <a:r>
              <a:rPr lang="en-US" sz="2000" dirty="0" err="1"/>
              <a:t>multivalentní</a:t>
            </a:r>
            <a:r>
              <a:rPr lang="en-US" sz="2000" dirty="0"/>
              <a:t> </a:t>
            </a:r>
            <a:r>
              <a:rPr lang="en-US" sz="2000" dirty="0" err="1"/>
              <a:t>afinita</a:t>
            </a:r>
            <a:r>
              <a:rPr lang="en-US" sz="2000" dirty="0"/>
              <a:t>)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BF89CF-5101-5DA3-DAC0-14FE7D163B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7686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607113A-7DA7-4085-EE88-857E19E59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M&amp;#38;S&amp;#95;Scientific&amp;#95;customer&amp;#95;experience&amp;#95;IMAGE&amp;#95;20">
            <a:extLst>
              <a:ext uri="{FF2B5EF4-FFF2-40B4-BE49-F238E27FC236}">
                <a16:creationId xmlns:a16="http://schemas.microsoft.com/office/drawing/2014/main" id="{9BA09641-7370-7C5B-67CF-CE7D47AD63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6954" y="831913"/>
            <a:ext cx="6448425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52DFF7-DE9A-028E-5F2D-931F7212E1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BIO-RAD &amp; Siemens Healthineers</a:t>
            </a:r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7914C2-8239-A2D1-C257-002DBB2139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InteliQ</a:t>
            </a:r>
            <a:r>
              <a:rPr lang="en-US" dirty="0"/>
              <a:t> load-and-go controls</a:t>
            </a:r>
            <a:endParaRPr lang="cs-CZ" dirty="0"/>
          </a:p>
        </p:txBody>
      </p:sp>
      <p:pic>
        <p:nvPicPr>
          <p:cNvPr id="5" name="Picture 2" descr="Bio-Rad Laboratories logo in transparent PNG format">
            <a:extLst>
              <a:ext uri="{FF2B5EF4-FFF2-40B4-BE49-F238E27FC236}">
                <a16:creationId xmlns:a16="http://schemas.microsoft.com/office/drawing/2014/main" id="{23926ECD-B583-0970-5142-C53863C576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9217" y="831913"/>
            <a:ext cx="1417983" cy="37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4577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CC&amp;#95;Scientific&amp;#95;014&amp;#95;IMAGE&amp;#95;20">
            <a:extLst>
              <a:ext uri="{FF2B5EF4-FFF2-40B4-BE49-F238E27FC236}">
                <a16:creationId xmlns:a16="http://schemas.microsoft.com/office/drawing/2014/main" id="{C1CBE501-B2A2-B630-CF86-867DECF85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575" y="693420"/>
            <a:ext cx="54102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8508874" cy="1224000"/>
          </a:xfrm>
        </p:spPr>
        <p:txBody>
          <a:bodyPr/>
          <a:lstStyle/>
          <a:p>
            <a:r>
              <a:rPr lang="en-US" sz="2800" noProof="0" dirty="0"/>
              <a:t>Magline™ · ELF™ test · Acridinium Ester · </a:t>
            </a:r>
            <a:r>
              <a:rPr lang="en-US" sz="2800" noProof="0" dirty="0" err="1"/>
              <a:t>InteliQ</a:t>
            </a:r>
            <a:r>
              <a:rPr lang="en-US" sz="2800" noProof="0" dirty="0"/>
              <a:t> BIO-RAD</a:t>
            </a:r>
            <a:endParaRPr lang="cs-CZ" sz="2800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1476374" y="3009329"/>
            <a:ext cx="9228202" cy="1661315"/>
          </a:xfrm>
        </p:spPr>
        <p:txBody>
          <a:bodyPr/>
          <a:lstStyle/>
          <a:p>
            <a:r>
              <a:rPr lang="en-US" sz="4400" dirty="0" err="1"/>
              <a:t>Patenty</a:t>
            </a:r>
            <a:r>
              <a:rPr lang="en-US" sz="4400" dirty="0"/>
              <a:t> &amp; Technologie | </a:t>
            </a:r>
            <a:r>
              <a:rPr lang="en-US" sz="4400" dirty="0" err="1"/>
              <a:t>Partnerství</a:t>
            </a:r>
            <a:endParaRPr lang="en-US" sz="4400" dirty="0"/>
          </a:p>
          <a:p>
            <a:endParaRPr lang="en-US" sz="4400" dirty="0"/>
          </a:p>
          <a:p>
            <a:endParaRPr lang="cs-CZ" sz="4400" noProof="0" dirty="0"/>
          </a:p>
        </p:txBody>
      </p:sp>
    </p:spTree>
    <p:extLst>
      <p:ext uri="{BB962C8B-B14F-4D97-AF65-F5344CB8AC3E}">
        <p14:creationId xmlns:p14="http://schemas.microsoft.com/office/powerpoint/2010/main" val="803024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7264F-382C-57DC-53E3-EBAA7A0913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F3DFDB3C-4A64-FA46-BD4B-15D1908F5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UNITY™ Data Management</a:t>
            </a:r>
            <a:endParaRPr lang="cs-CZ" noProof="0" dirty="0"/>
          </a:p>
        </p:txBody>
      </p:sp>
      <p:pic>
        <p:nvPicPr>
          <p:cNvPr id="2050" name="Picture 2" descr="Quality Control Management for Assays - Siemens Healthineers Česká republika">
            <a:extLst>
              <a:ext uri="{FF2B5EF4-FFF2-40B4-BE49-F238E27FC236}">
                <a16:creationId xmlns:a16="http://schemas.microsoft.com/office/drawing/2014/main" id="{043B34C3-8DBB-3A39-F6DC-0BB1FDC746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0000" y="1052512"/>
            <a:ext cx="3599142" cy="202451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055" name="Text Placeholder 4">
            <a:extLst>
              <a:ext uri="{FF2B5EF4-FFF2-40B4-BE49-F238E27FC236}">
                <a16:creationId xmlns:a16="http://schemas.microsoft.com/office/drawing/2014/main" id="{1AB9D9D3-C042-D53E-D158-CF93659394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A99B6C-52D5-A33F-4A8B-BB2F7B633FB9}"/>
              </a:ext>
            </a:extLst>
          </p:cNvPr>
          <p:cNvSpPr txBox="1"/>
          <p:nvPr/>
        </p:nvSpPr>
        <p:spPr>
          <a:xfrm>
            <a:off x="539999" y="2782669"/>
            <a:ext cx="53073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noProof="0" dirty="0"/>
              <a:t>Jeden z největších </a:t>
            </a:r>
            <a:r>
              <a:rPr lang="cs-CZ" b="1" noProof="0" dirty="0"/>
              <a:t>komerčních nezávislých EQA/PT programů</a:t>
            </a:r>
            <a:endParaRPr lang="cs-CZ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AD2DF8-2D9B-8C74-D8A8-0CBC3EC202CE}"/>
              </a:ext>
            </a:extLst>
          </p:cNvPr>
          <p:cNvSpPr txBox="1"/>
          <p:nvPr/>
        </p:nvSpPr>
        <p:spPr>
          <a:xfrm>
            <a:off x="539998" y="3483119"/>
            <a:ext cx="530730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noProof="0" dirty="0"/>
              <a:t>desítky tisíc aktivních účastníků ve více než 140 zemích </a:t>
            </a:r>
            <a:r>
              <a:rPr lang="cs-CZ" b="1" noProof="0" dirty="0"/>
              <a:t>= nejrozsáhlejší komerční </a:t>
            </a:r>
            <a:r>
              <a:rPr lang="cs-CZ" b="1" noProof="0" dirty="0" err="1"/>
              <a:t>databá</a:t>
            </a:r>
            <a:r>
              <a:rPr lang="en-US" b="1" noProof="0" dirty="0"/>
              <a:t>z</a:t>
            </a:r>
            <a:r>
              <a:rPr lang="cs-CZ" b="1" noProof="0" dirty="0"/>
              <a:t>e výsledků EQA pro IVD</a:t>
            </a:r>
            <a:r>
              <a:rPr lang="cs-CZ" noProof="0" dirty="0"/>
              <a:t> z hlediska počtu účastníků a geografického pokrytí</a:t>
            </a:r>
          </a:p>
        </p:txBody>
      </p:sp>
      <p:pic>
        <p:nvPicPr>
          <p:cNvPr id="13" name="Picture 2" descr="Bio-Rad Advances InteliQ Quality Controls Product Line | Clinical Lab  Products">
            <a:extLst>
              <a:ext uri="{FF2B5EF4-FFF2-40B4-BE49-F238E27FC236}">
                <a16:creationId xmlns:a16="http://schemas.microsoft.com/office/drawing/2014/main" id="{56B563DC-50E9-C265-BF31-3FADA7958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472" y="1438761"/>
            <a:ext cx="5307305" cy="3980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208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F5634-7441-4FAA-3885-5BC252EA5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rtnerství</a:t>
            </a:r>
            <a:r>
              <a:rPr lang="en-US" dirty="0"/>
              <a:t> s BIO-RAD</a:t>
            </a:r>
            <a:endParaRPr lang="cs-CZ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6B7FB5-10C1-3CEF-14A6-3D87F4CAE20F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sz="2400" dirty="0" err="1"/>
              <a:t>Zkumavkové</a:t>
            </a:r>
            <a:r>
              <a:rPr lang="en-US" sz="2400" dirty="0"/>
              <a:t> </a:t>
            </a:r>
            <a:r>
              <a:rPr lang="en-US" sz="2400" dirty="0" err="1"/>
              <a:t>kontroly</a:t>
            </a:r>
            <a:r>
              <a:rPr lang="en-US" sz="2400" dirty="0"/>
              <a:t> </a:t>
            </a:r>
            <a:r>
              <a:rPr lang="en-US" sz="2400" dirty="0" err="1"/>
              <a:t>InteliQ</a:t>
            </a:r>
            <a:r>
              <a:rPr lang="en-US" sz="2400" dirty="0"/>
              <a:t> load-and-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 err="1"/>
              <a:t>Stažení</a:t>
            </a:r>
            <a:r>
              <a:rPr lang="en-US" sz="2400" b="0" dirty="0"/>
              <a:t> </a:t>
            </a:r>
            <a:r>
              <a:rPr lang="en-US" sz="2400" b="0" dirty="0" err="1"/>
              <a:t>cílových</a:t>
            </a:r>
            <a:r>
              <a:rPr lang="en-US" sz="2400" b="0" dirty="0"/>
              <a:t> </a:t>
            </a:r>
            <a:r>
              <a:rPr lang="en-US" sz="2400" b="0" dirty="0" err="1"/>
              <a:t>hodnot</a:t>
            </a:r>
            <a:r>
              <a:rPr lang="en-US" sz="2400" b="0" dirty="0"/>
              <a:t> z </a:t>
            </a:r>
            <a:r>
              <a:rPr lang="en-US" sz="2400" b="0" dirty="0" err="1"/>
              <a:t>příbalových</a:t>
            </a:r>
            <a:r>
              <a:rPr lang="en-US" sz="2400" b="0" dirty="0"/>
              <a:t> </a:t>
            </a:r>
            <a:r>
              <a:rPr lang="en-US" sz="2400" b="0" dirty="0" err="1"/>
              <a:t>letáků</a:t>
            </a:r>
            <a:r>
              <a:rPr lang="en-US" sz="2400" b="0" dirty="0"/>
              <a:t> do </a:t>
            </a:r>
            <a:r>
              <a:rPr lang="en-US" sz="2400" b="0" dirty="0" err="1"/>
              <a:t>stroje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/>
              <a:t>On-board </a:t>
            </a:r>
            <a:r>
              <a:rPr lang="en-US" sz="2400" b="0" dirty="0" err="1"/>
              <a:t>skladování</a:t>
            </a:r>
            <a:r>
              <a:rPr lang="en-US" sz="2400" b="0" dirty="0"/>
              <a:t> </a:t>
            </a:r>
            <a:r>
              <a:rPr lang="en-US" sz="2400" b="0" dirty="0" err="1"/>
              <a:t>nebo</a:t>
            </a:r>
            <a:r>
              <a:rPr lang="en-US" sz="2400" b="0" dirty="0"/>
              <a:t> </a:t>
            </a:r>
            <a:r>
              <a:rPr lang="en-US" sz="2400" b="0" dirty="0" err="1"/>
              <a:t>skladování</a:t>
            </a:r>
            <a:r>
              <a:rPr lang="en-US" sz="2400" b="0" dirty="0"/>
              <a:t> v </a:t>
            </a:r>
            <a:r>
              <a:rPr lang="en-US" sz="2400" b="0" dirty="0" err="1"/>
              <a:t>lednici</a:t>
            </a:r>
            <a:r>
              <a:rPr lang="en-US" sz="2400" b="0" dirty="0"/>
              <a:t> (</a:t>
            </a:r>
            <a:r>
              <a:rPr lang="en-US" sz="2400" b="0" dirty="0" err="1"/>
              <a:t>nutná</a:t>
            </a:r>
            <a:r>
              <a:rPr lang="en-US" sz="2400" b="0" dirty="0"/>
              <a:t> </a:t>
            </a:r>
            <a:r>
              <a:rPr lang="en-US" sz="2400" b="0" dirty="0" err="1"/>
              <a:t>automatizace</a:t>
            </a:r>
            <a:r>
              <a:rPr lang="en-US" sz="2400" b="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 err="1"/>
              <a:t>Nižší</a:t>
            </a:r>
            <a:r>
              <a:rPr lang="en-US" sz="2400" b="0" dirty="0"/>
              <a:t> </a:t>
            </a:r>
            <a:r>
              <a:rPr lang="en-US" sz="2400" b="0" dirty="0" err="1"/>
              <a:t>spotřeba</a:t>
            </a:r>
            <a:r>
              <a:rPr lang="en-US" sz="2400" b="0" dirty="0"/>
              <a:t> </a:t>
            </a:r>
            <a:r>
              <a:rPr lang="en-US" sz="2400" b="0" dirty="0" err="1"/>
              <a:t>kontrolního</a:t>
            </a:r>
            <a:r>
              <a:rPr lang="en-US" sz="2400" b="0" dirty="0"/>
              <a:t> </a:t>
            </a:r>
            <a:r>
              <a:rPr lang="en-US" sz="2400" b="0" dirty="0" err="1"/>
              <a:t>materiálu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 err="1"/>
              <a:t>Zkumavky</a:t>
            </a:r>
            <a:r>
              <a:rPr lang="en-US" sz="2400" b="0" dirty="0"/>
              <a:t> </a:t>
            </a:r>
            <a:r>
              <a:rPr lang="en-US" sz="2400" b="0" dirty="0" err="1"/>
              <a:t>opatřeny</a:t>
            </a:r>
            <a:r>
              <a:rPr lang="en-US" sz="2400" b="0" dirty="0"/>
              <a:t> </a:t>
            </a:r>
            <a:r>
              <a:rPr lang="en-US" sz="2400" b="0" dirty="0" err="1"/>
              <a:t>barkódem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 err="1"/>
              <a:t>Kompatibilní</a:t>
            </a:r>
            <a:r>
              <a:rPr lang="en-US" sz="2400" b="0" dirty="0"/>
              <a:t> </a:t>
            </a:r>
            <a:r>
              <a:rPr lang="en-US" sz="2400" b="0" dirty="0" err="1"/>
              <a:t>zkumavky</a:t>
            </a:r>
            <a:r>
              <a:rPr lang="en-US" sz="2400" b="0" dirty="0"/>
              <a:t> </a:t>
            </a:r>
            <a:r>
              <a:rPr lang="en-US" sz="2400" b="0" dirty="0" err="1"/>
              <a:t>vyrobeny</a:t>
            </a:r>
            <a:r>
              <a:rPr lang="en-US" sz="2400" b="0" dirty="0"/>
              <a:t> z </a:t>
            </a:r>
            <a:r>
              <a:rPr lang="en-US" sz="2400" b="0" dirty="0" err="1"/>
              <a:t>plastu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/>
              <a:t>QC bez </a:t>
            </a:r>
            <a:r>
              <a:rPr lang="en-US" sz="2400" b="0" dirty="0" err="1"/>
              <a:t>nutnosti</a:t>
            </a:r>
            <a:r>
              <a:rPr lang="en-US" sz="2400" b="0" dirty="0"/>
              <a:t> </a:t>
            </a:r>
            <a:r>
              <a:rPr lang="en-US" sz="2400" b="0" dirty="0" err="1"/>
              <a:t>alikvotace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tellica &amp; </a:t>
            </a:r>
            <a:r>
              <a:rPr lang="en-US" sz="2400" dirty="0" err="1"/>
              <a:t>InteliQ</a:t>
            </a:r>
            <a:endParaRPr lang="en-US" sz="24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b="0" dirty="0" err="1"/>
              <a:t>Delší</a:t>
            </a:r>
            <a:r>
              <a:rPr lang="en-US" sz="2400" b="0" dirty="0"/>
              <a:t> </a:t>
            </a:r>
            <a:r>
              <a:rPr lang="en-US" sz="2400" b="0" dirty="0" err="1"/>
              <a:t>deklarované</a:t>
            </a:r>
            <a:r>
              <a:rPr lang="en-US" sz="2400" b="0" dirty="0"/>
              <a:t> stability </a:t>
            </a:r>
            <a:r>
              <a:rPr lang="en-US" sz="2400" b="0" dirty="0" err="1"/>
              <a:t>při</a:t>
            </a:r>
            <a:r>
              <a:rPr lang="en-US" sz="2400" b="0" dirty="0"/>
              <a:t> </a:t>
            </a:r>
            <a:r>
              <a:rPr lang="en-US" sz="2400" b="0" dirty="0" err="1"/>
              <a:t>skladování</a:t>
            </a:r>
            <a:r>
              <a:rPr lang="en-US" sz="2400" b="0" dirty="0"/>
              <a:t> on-boar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err="1"/>
              <a:t>Tzv</a:t>
            </a:r>
            <a:r>
              <a:rPr lang="en-US" sz="2400" dirty="0"/>
              <a:t>. </a:t>
            </a:r>
            <a:r>
              <a:rPr lang="en-US" sz="2400" dirty="0" err="1"/>
              <a:t>volání</a:t>
            </a:r>
            <a:r>
              <a:rPr lang="en-US" sz="2400" dirty="0"/>
              <a:t> </a:t>
            </a:r>
            <a:r>
              <a:rPr lang="en-US" sz="2400" dirty="0" err="1"/>
              <a:t>kontrol</a:t>
            </a:r>
            <a:r>
              <a:rPr lang="en-US" sz="2400" dirty="0"/>
              <a:t> (v </a:t>
            </a:r>
            <a:r>
              <a:rPr lang="en-US" sz="2400" dirty="0" err="1"/>
              <a:t>přístroji</a:t>
            </a:r>
            <a:r>
              <a:rPr lang="en-US" sz="2400" dirty="0"/>
              <a:t> </a:t>
            </a:r>
            <a:r>
              <a:rPr lang="en-US" sz="2400" dirty="0" err="1"/>
              <a:t>lze</a:t>
            </a:r>
            <a:r>
              <a:rPr lang="en-US" sz="2400" dirty="0"/>
              <a:t> </a:t>
            </a:r>
            <a:r>
              <a:rPr lang="en-US" sz="2400" dirty="0" err="1"/>
              <a:t>plánovat</a:t>
            </a:r>
            <a:r>
              <a:rPr lang="en-US" sz="2400" dirty="0"/>
              <a:t> QC)</a:t>
            </a: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endParaRPr lang="cs-CZ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D4C34-43CC-5CF9-CF03-BFC9315327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Picture 2" descr="Bio-Rad Laboratories logo in transparent PNG format">
            <a:extLst>
              <a:ext uri="{FF2B5EF4-FFF2-40B4-BE49-F238E27FC236}">
                <a16:creationId xmlns:a16="http://schemas.microsoft.com/office/drawing/2014/main" id="{A51095B0-7637-6EEC-3A71-AE812023E9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9217" y="831913"/>
            <a:ext cx="1417983" cy="37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InteliQ Specialty Immunoassay Control | Bio-Rad">
            <a:extLst>
              <a:ext uri="{FF2B5EF4-FFF2-40B4-BE49-F238E27FC236}">
                <a16:creationId xmlns:a16="http://schemas.microsoft.com/office/drawing/2014/main" id="{A8F4DE21-3EB4-DBDD-4881-A964C1A02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29363" y="3984084"/>
            <a:ext cx="3600412" cy="2313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6005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7F89A8-A63E-6153-6DE4-86EA561D6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DX IFCC EuroMedLab 2025 Atellica Systems Total QC Video 4034 04 2025">
            <a:hlinkClick r:id="" action="ppaction://media"/>
            <a:extLst>
              <a:ext uri="{FF2B5EF4-FFF2-40B4-BE49-F238E27FC236}">
                <a16:creationId xmlns:a16="http://schemas.microsoft.com/office/drawing/2014/main" id="{D6E369E5-3BA4-5293-2D6C-55C4C214C2CB}"/>
              </a:ext>
            </a:extLst>
          </p:cNvPr>
          <p:cNvPicPr>
            <a:picLocks noGrp="1" noChangeAspect="1"/>
          </p:cNvPicPr>
          <p:nvPr>
            <p:ph sz="quarter" idx="23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5" name="Picture 2" descr="Bio-Rad Laboratories logo in transparent PNG format">
            <a:extLst>
              <a:ext uri="{FF2B5EF4-FFF2-40B4-BE49-F238E27FC236}">
                <a16:creationId xmlns:a16="http://schemas.microsoft.com/office/drawing/2014/main" id="{C0825DA3-4828-F7FC-DF04-A6460B198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0028" y="409125"/>
            <a:ext cx="1417983" cy="37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6E6B82-4FB5-C9D6-FA64-7F7671EC36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481" y="5484597"/>
            <a:ext cx="1831204" cy="137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636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4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935CAE58-DA2A-4778-98FF-57D032900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 err="1"/>
              <a:t>We</a:t>
            </a:r>
            <a:r>
              <a:rPr lang="cs-CZ" noProof="0" dirty="0"/>
              <a:t> </a:t>
            </a:r>
            <a:r>
              <a:rPr lang="cs-CZ" noProof="0" dirty="0" err="1"/>
              <a:t>pioneer</a:t>
            </a:r>
            <a:r>
              <a:rPr lang="cs-CZ" noProof="0" dirty="0"/>
              <a:t> </a:t>
            </a:r>
            <a:r>
              <a:rPr lang="cs-CZ" noProof="0" dirty="0" err="1"/>
              <a:t>breakthroughs</a:t>
            </a:r>
            <a:r>
              <a:rPr lang="cs-CZ" noProof="0" dirty="0"/>
              <a:t> in </a:t>
            </a:r>
            <a:r>
              <a:rPr lang="cs-CZ" noProof="0" dirty="0" err="1"/>
              <a:t>healthcare</a:t>
            </a:r>
            <a:r>
              <a:rPr lang="cs-CZ" noProof="0" dirty="0"/>
              <a:t>.</a:t>
            </a:r>
            <a:br>
              <a:rPr lang="cs-CZ" noProof="0" dirty="0"/>
            </a:br>
            <a:r>
              <a:rPr lang="cs-CZ" noProof="0" dirty="0" err="1"/>
              <a:t>For</a:t>
            </a:r>
            <a:r>
              <a:rPr lang="cs-CZ" noProof="0" dirty="0"/>
              <a:t> </a:t>
            </a:r>
            <a:r>
              <a:rPr lang="cs-CZ" noProof="0" dirty="0" err="1"/>
              <a:t>everyone</a:t>
            </a:r>
            <a:r>
              <a:rPr lang="cs-CZ" noProof="0" dirty="0"/>
              <a:t>. </a:t>
            </a:r>
            <a:r>
              <a:rPr lang="cs-CZ" noProof="0" dirty="0" err="1"/>
              <a:t>Everywhere</a:t>
            </a:r>
            <a:r>
              <a:rPr lang="cs-CZ" noProof="0" dirty="0"/>
              <a:t>. </a:t>
            </a:r>
            <a:r>
              <a:rPr lang="cs-CZ" noProof="0" dirty="0" err="1"/>
              <a:t>Sustainably</a:t>
            </a:r>
            <a:r>
              <a:rPr lang="cs-CZ" noProof="0" dirty="0"/>
              <a:t>.</a:t>
            </a:r>
            <a:br>
              <a:rPr lang="cs-CZ" noProof="0" dirty="0"/>
            </a:br>
            <a:endParaRPr lang="cs-CZ" noProof="0" dirty="0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BC5BE784-75FA-4EDC-B7E5-2E5BE6DDADE3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cs-CZ" noProof="0" dirty="0"/>
              <a:t>Siemens </a:t>
            </a:r>
            <a:r>
              <a:rPr lang="en-US" noProof="0" dirty="0"/>
              <a:t>Healthcare, </a:t>
            </a:r>
            <a:r>
              <a:rPr lang="en-US" noProof="0" dirty="0" err="1"/>
              <a:t>s.r.o</a:t>
            </a:r>
            <a:endParaRPr lang="en-US" noProof="0" dirty="0"/>
          </a:p>
          <a:p>
            <a:r>
              <a:rPr lang="cs-CZ" b="0" noProof="0" dirty="0" err="1"/>
              <a:t>Diagnostics</a:t>
            </a:r>
            <a:endParaRPr lang="cs-CZ" b="0" noProof="0" dirty="0"/>
          </a:p>
          <a:p>
            <a:pPr lvl="1"/>
            <a:r>
              <a:rPr lang="cs-CZ" dirty="0"/>
              <a:t>Budějovická 779/3b</a:t>
            </a:r>
            <a:endParaRPr lang="en-US" dirty="0"/>
          </a:p>
          <a:p>
            <a:pPr lvl="1"/>
            <a:r>
              <a:rPr lang="en-US" dirty="0"/>
              <a:t>140 00 P</a:t>
            </a:r>
            <a:r>
              <a:rPr lang="cs-CZ" dirty="0" err="1"/>
              <a:t>raha</a:t>
            </a:r>
            <a:r>
              <a:rPr lang="cs-CZ" dirty="0"/>
              <a:t> 4-Michle</a:t>
            </a:r>
            <a:endParaRPr lang="cs-CZ" noProof="0" dirty="0"/>
          </a:p>
          <a:p>
            <a:pPr lvl="1"/>
            <a:r>
              <a:rPr lang="cs-CZ" dirty="0"/>
              <a:t>https://www.siemens-healthineers.com/cz</a:t>
            </a:r>
            <a:endParaRPr lang="cs-CZ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584FDACA-74D7-4BCB-B0BA-566718ED13D2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pPr lvl="1"/>
            <a:r>
              <a:rPr lang="en-US" noProof="0" dirty="0"/>
              <a:t>Mgr. Jan Macků, Ph.D.</a:t>
            </a:r>
            <a:br>
              <a:rPr lang="cs-CZ" dirty="0"/>
            </a:br>
            <a:r>
              <a:rPr lang="cs-CZ" dirty="0"/>
              <a:t>SHS DX C-LS CEE CZE PR</a:t>
            </a:r>
            <a:br>
              <a:rPr lang="cs-CZ" dirty="0"/>
            </a:br>
            <a:r>
              <a:rPr lang="cs-CZ" dirty="0" err="1"/>
              <a:t>Podnikatelsk</a:t>
            </a:r>
            <a:r>
              <a:rPr lang="en-US" dirty="0"/>
              <a:t>á</a:t>
            </a:r>
            <a:r>
              <a:rPr lang="cs-CZ" dirty="0"/>
              <a:t> 2924/2</a:t>
            </a:r>
            <a:br>
              <a:rPr lang="cs-CZ" dirty="0"/>
            </a:br>
            <a:r>
              <a:rPr lang="cs-CZ" dirty="0"/>
              <a:t>612 00 Brno</a:t>
            </a:r>
            <a:br>
              <a:rPr lang="cs-CZ" dirty="0"/>
            </a:br>
            <a:r>
              <a:rPr lang="cs-CZ" dirty="0"/>
              <a:t>Tel.: + 420 704 652 049</a:t>
            </a:r>
            <a:br>
              <a:rPr lang="cs-CZ" dirty="0"/>
            </a:br>
            <a:endParaRPr lang="cs-CZ" noProof="0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72436A1B-B04E-4F69-8493-F93449D788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cxnSp>
        <p:nvCxnSpPr>
          <p:cNvPr id="10" name="Line top left">
            <a:extLst>
              <a:ext uri="{FF2B5EF4-FFF2-40B4-BE49-F238E27FC236}">
                <a16:creationId xmlns:a16="http://schemas.microsoft.com/office/drawing/2014/main" id="{50BE6ABA-C049-4E4D-AD71-53DCDC2A3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39750" y="162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ne buttom left">
            <a:extLst>
              <a:ext uri="{FF2B5EF4-FFF2-40B4-BE49-F238E27FC236}">
                <a16:creationId xmlns:a16="http://schemas.microsoft.com/office/drawing/2014/main" id="{8820882F-145B-460A-B52F-F6BA507A75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39750" y="414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 top right">
            <a:extLst>
              <a:ext uri="{FF2B5EF4-FFF2-40B4-BE49-F238E27FC236}">
                <a16:creationId xmlns:a16="http://schemas.microsoft.com/office/drawing/2014/main" id="{E2437A0C-AFEC-40AE-9177-4AC37C6BE9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37163" y="162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 buttom right">
            <a:extLst>
              <a:ext uri="{FF2B5EF4-FFF2-40B4-BE49-F238E27FC236}">
                <a16:creationId xmlns:a16="http://schemas.microsoft.com/office/drawing/2014/main" id="{9188ED7F-3478-4E7F-988D-59479B89AB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237163" y="414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CLS&amp;#32;Atellica&amp;#32;with&amp;#32;SSCCII&amp;#32;Straight&amp;#32;View&amp;#32;4038&amp;#32;04&amp;#32;2025">
            <a:extLst>
              <a:ext uri="{FF2B5EF4-FFF2-40B4-BE49-F238E27FC236}">
                <a16:creationId xmlns:a16="http://schemas.microsoft.com/office/drawing/2014/main" id="{E53A76E7-222D-4C6F-270F-B06BF447D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400" y="2880000"/>
            <a:ext cx="762000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5191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C&amp;#95;Digital&amp;#95;Clinic&amp;#95;IMAGE&amp;#95;22">
            <a:extLst>
              <a:ext uri="{FF2B5EF4-FFF2-40B4-BE49-F238E27FC236}">
                <a16:creationId xmlns:a16="http://schemas.microsoft.com/office/drawing/2014/main" id="{FB1CEEEB-DCC0-F9D5-8351-BDC6278FF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887" y="702129"/>
            <a:ext cx="6086475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E54040-783F-8305-577C-959F52CB72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gline™</a:t>
            </a:r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EE24EF-D2A6-F2E0-E672-B6B168DBBC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tellica Magline™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46618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AF7F82-201A-C030-0C6B-6251F241B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B88BE-F429-E7BA-64AC-327230A8F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echnologický</a:t>
            </a:r>
            <a:r>
              <a:rPr lang="en-US" dirty="0"/>
              <a:t> patent: Atellica Magline™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07A03C-935F-0B42-F5E7-FF18AC3945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3" name="Grafik 13">
            <a:extLst>
              <a:ext uri="{FF2B5EF4-FFF2-40B4-BE49-F238E27FC236}">
                <a16:creationId xmlns:a16="http://schemas.microsoft.com/office/drawing/2014/main" id="{86872B5D-7430-7592-3CE2-994957AC72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99" b="21675"/>
          <a:stretch>
            <a:fillRect/>
          </a:stretch>
        </p:blipFill>
        <p:spPr bwMode="gray">
          <a:xfrm>
            <a:off x="0" y="3429000"/>
            <a:ext cx="12169776" cy="34471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4ADB298-DEAB-1467-B04C-33C8D8983D39}"/>
              </a:ext>
            </a:extLst>
          </p:cNvPr>
          <p:cNvSpPr txBox="1">
            <a:spLocks/>
          </p:cNvSpPr>
          <p:nvPr/>
        </p:nvSpPr>
        <p:spPr>
          <a:xfrm>
            <a:off x="540000" y="1052512"/>
            <a:ext cx="9729569" cy="48441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>
                <a:solidFill>
                  <a:schemeClr val="bg1"/>
                </a:solidFill>
              </a:rPr>
              <a:t>Obousměrný</a:t>
            </a:r>
            <a:r>
              <a:rPr lang="en-US" dirty="0">
                <a:solidFill>
                  <a:schemeClr val="bg1"/>
                </a:solidFill>
              </a:rPr>
              <a:t> transport </a:t>
            </a:r>
            <a:r>
              <a:rPr lang="en-US" dirty="0" err="1">
                <a:solidFill>
                  <a:schemeClr val="bg1"/>
                </a:solidFill>
              </a:rPr>
              <a:t>vzorků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 err="1">
                <a:solidFill>
                  <a:schemeClr val="bg1"/>
                </a:solidFill>
              </a:rPr>
              <a:t>Až</a:t>
            </a:r>
            <a:r>
              <a:rPr lang="en-US" dirty="0">
                <a:solidFill>
                  <a:schemeClr val="bg1"/>
                </a:solidFill>
              </a:rPr>
              <a:t> 10x </a:t>
            </a:r>
            <a:r>
              <a:rPr lang="en-US" dirty="0" err="1">
                <a:solidFill>
                  <a:schemeClr val="bg1"/>
                </a:solidFill>
              </a:rPr>
              <a:t>rychlejší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ž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nvenční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opravníky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 err="1">
                <a:solidFill>
                  <a:schemeClr val="bg1"/>
                </a:solidFill>
              </a:rPr>
              <a:t>Inovativní</a:t>
            </a:r>
            <a:r>
              <a:rPr lang="en-US" dirty="0">
                <a:solidFill>
                  <a:schemeClr val="bg1"/>
                </a:solidFill>
              </a:rPr>
              <a:t> a </a:t>
            </a:r>
            <a:r>
              <a:rPr lang="en-US" dirty="0" err="1">
                <a:solidFill>
                  <a:schemeClr val="bg1"/>
                </a:solidFill>
              </a:rPr>
              <a:t>unikátní</a:t>
            </a:r>
            <a:r>
              <a:rPr lang="en-US" dirty="0">
                <a:solidFill>
                  <a:schemeClr val="bg1"/>
                </a:solidFill>
              </a:rPr>
              <a:t> management </a:t>
            </a:r>
            <a:r>
              <a:rPr lang="en-US" dirty="0" err="1">
                <a:solidFill>
                  <a:schemeClr val="bg1"/>
                </a:solidFill>
              </a:rPr>
              <a:t>vzorků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STATIM do 60 s</a:t>
            </a:r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8F7A0B-B538-65A8-9874-F8F61C2CA7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651" y="961324"/>
            <a:ext cx="5154625" cy="289947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95920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0CF63E-1C39-FE41-D7D8-5CEFF16FB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T&amp;#95;clinical&amp;#95;conditions&amp;#95;liver&amp;#95;IMAGE">
            <a:extLst>
              <a:ext uri="{FF2B5EF4-FFF2-40B4-BE49-F238E27FC236}">
                <a16:creationId xmlns:a16="http://schemas.microsoft.com/office/drawing/2014/main" id="{0199A8E9-C79D-849B-35D6-6C3247BCBC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775" y="982486"/>
            <a:ext cx="6477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E390D6-CCC0-161A-CBF8-A70B0D10FA4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LF™</a:t>
            </a:r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9F76EB-B87C-6603-CF42-401C3E4A35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nhanced Liver Fibrosis Tes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47819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2EAAA0-A42F-4A70-8566-BE71F398A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tiologie</a:t>
            </a:r>
            <a:r>
              <a:rPr lang="en-US" dirty="0"/>
              <a:t> </a:t>
            </a:r>
            <a:r>
              <a:rPr lang="en-US" dirty="0" err="1"/>
              <a:t>chronického</a:t>
            </a:r>
            <a:r>
              <a:rPr lang="en-US" dirty="0"/>
              <a:t> </a:t>
            </a:r>
            <a:r>
              <a:rPr lang="en-US" dirty="0" err="1"/>
              <a:t>onemocnění</a:t>
            </a:r>
            <a:r>
              <a:rPr lang="en-US" dirty="0"/>
              <a:t> </a:t>
            </a:r>
            <a:r>
              <a:rPr lang="en-US" dirty="0" err="1"/>
              <a:t>jat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742B2E-D2A2-4F0D-A857-D3CD05077A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on, AM., et al. Clin Gastroenterol Hepatol 2020;18(12): 2650-66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70B48D8-6092-4398-A881-D628BC2AF273}"/>
              </a:ext>
            </a:extLst>
          </p:cNvPr>
          <p:cNvGrpSpPr/>
          <p:nvPr/>
        </p:nvGrpSpPr>
        <p:grpSpPr>
          <a:xfrm>
            <a:off x="1416869" y="3685988"/>
            <a:ext cx="2751636" cy="2415595"/>
            <a:chOff x="8180817" y="1607640"/>
            <a:chExt cx="3409895" cy="2993465"/>
          </a:xfrm>
        </p:grpSpPr>
        <p:pic>
          <p:nvPicPr>
            <p:cNvPr id="27" name="Picture 5" descr="D:\Data\My Pictures\Food\Alcoholic drinks istock\Alcoholic drinks [Converted]-01.png">
              <a:extLst>
                <a:ext uri="{FF2B5EF4-FFF2-40B4-BE49-F238E27FC236}">
                  <a16:creationId xmlns:a16="http://schemas.microsoft.com/office/drawing/2014/main" id="{C765CB17-C07C-4AFC-9DAB-4578C5474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0817" y="1607640"/>
              <a:ext cx="3409895" cy="25495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A7514CC-B0FD-4C1A-8FD9-E02F7DAEFA65}"/>
                </a:ext>
              </a:extLst>
            </p:cNvPr>
            <p:cNvSpPr txBox="1"/>
            <p:nvPr/>
          </p:nvSpPr>
          <p:spPr>
            <a:xfrm>
              <a:off x="8857919" y="4324106"/>
              <a:ext cx="2055691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/>
                <a:t>Alcoholic liver diseas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68C491A-6843-4268-8D11-5DAD48EFF466}"/>
              </a:ext>
            </a:extLst>
          </p:cNvPr>
          <p:cNvGrpSpPr/>
          <p:nvPr/>
        </p:nvGrpSpPr>
        <p:grpSpPr>
          <a:xfrm>
            <a:off x="1528633" y="1410527"/>
            <a:ext cx="2465957" cy="2081862"/>
            <a:chOff x="2024586" y="1388879"/>
            <a:chExt cx="2465957" cy="2081862"/>
          </a:xfrm>
        </p:grpSpPr>
        <p:pic>
          <p:nvPicPr>
            <p:cNvPr id="22" name="Picture 6" descr="D:\Data\My Pictures\HCV\Hepatitis C Healthineers-01.png">
              <a:extLst>
                <a:ext uri="{FF2B5EF4-FFF2-40B4-BE49-F238E27FC236}">
                  <a16:creationId xmlns:a16="http://schemas.microsoft.com/office/drawing/2014/main" id="{6C70EE50-1F62-4BD7-9F5B-1E7C6C5F78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8640" y="1410527"/>
              <a:ext cx="1129208" cy="11342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5E391B6-FA8D-4D7C-947B-BA1BAE1C659E}"/>
                </a:ext>
              </a:extLst>
            </p:cNvPr>
            <p:cNvGrpSpPr/>
            <p:nvPr/>
          </p:nvGrpSpPr>
          <p:grpSpPr>
            <a:xfrm>
              <a:off x="2024586" y="1388879"/>
              <a:ext cx="2465957" cy="2081862"/>
              <a:chOff x="3639112" y="1940483"/>
              <a:chExt cx="2465957" cy="208186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D3238F4-64D8-4463-AA08-D43E9D31DBCC}"/>
                  </a:ext>
                </a:extLst>
              </p:cNvPr>
              <p:cNvSpPr txBox="1"/>
              <p:nvPr/>
            </p:nvSpPr>
            <p:spPr>
              <a:xfrm>
                <a:off x="3639112" y="3468347"/>
                <a:ext cx="2465957" cy="55399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dirty="0"/>
                  <a:t>Viral hepatitis (including </a:t>
                </a:r>
                <a:r>
                  <a:rPr lang="en-GB" altLang="en-US" dirty="0"/>
                  <a:t>HIV/HCV coinfections) 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DE4AC39-1C07-4776-B737-3063D260AB18}"/>
                  </a:ext>
                </a:extLst>
              </p:cNvPr>
              <p:cNvSpPr txBox="1"/>
              <p:nvPr/>
            </p:nvSpPr>
            <p:spPr>
              <a:xfrm>
                <a:off x="3848014" y="3089332"/>
                <a:ext cx="7761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/>
                  <a:t>HBV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07352C4-68AD-40AA-AC66-304EDF59632A}"/>
                  </a:ext>
                </a:extLst>
              </p:cNvPr>
              <p:cNvSpPr txBox="1"/>
              <p:nvPr/>
            </p:nvSpPr>
            <p:spPr>
              <a:xfrm>
                <a:off x="5159757" y="3089332"/>
                <a:ext cx="58662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HCV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CA638CB1-E4DD-44D2-91EE-AEE776055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5615" y="1940483"/>
                <a:ext cx="1129208" cy="1177499"/>
              </a:xfrm>
              <a:prstGeom prst="rect">
                <a:avLst/>
              </a:prstGeom>
            </p:spPr>
          </p:pic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F3CCA48-9F41-42C6-AB71-9B85CEB421F5}"/>
              </a:ext>
            </a:extLst>
          </p:cNvPr>
          <p:cNvGrpSpPr/>
          <p:nvPr/>
        </p:nvGrpSpPr>
        <p:grpSpPr>
          <a:xfrm>
            <a:off x="8156204" y="1120475"/>
            <a:ext cx="2939070" cy="3426604"/>
            <a:chOff x="4424784" y="1859569"/>
            <a:chExt cx="3703607" cy="431796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0378E4-3F88-4179-988E-BA5CF24ECCD8}"/>
                </a:ext>
              </a:extLst>
            </p:cNvPr>
            <p:cNvSpPr txBox="1"/>
            <p:nvPr/>
          </p:nvSpPr>
          <p:spPr>
            <a:xfrm>
              <a:off x="4424784" y="4781312"/>
              <a:ext cx="3703607" cy="139621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/>
                <a:t>Obesity and associated metabolic diseases: MASLD/MASH </a:t>
              </a:r>
              <a:r>
                <a:rPr lang="en-US" dirty="0">
                  <a:solidFill>
                    <a:schemeClr val="accent2"/>
                  </a:solidFill>
                </a:rPr>
                <a:t>(~59% of current CLD’s)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15C7B83B-3F0A-4C03-89C2-D26C17988F6B}"/>
                </a:ext>
              </a:extLst>
            </p:cNvPr>
            <p:cNvGrpSpPr/>
            <p:nvPr/>
          </p:nvGrpSpPr>
          <p:grpSpPr>
            <a:xfrm>
              <a:off x="5317728" y="1859569"/>
              <a:ext cx="1921752" cy="2783432"/>
              <a:chOff x="5340533" y="1859569"/>
              <a:chExt cx="1921752" cy="2783432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2970ACE-B63B-4D11-9974-6A29B06C0F62}"/>
                  </a:ext>
                </a:extLst>
              </p:cNvPr>
              <p:cNvGrpSpPr/>
              <p:nvPr/>
            </p:nvGrpSpPr>
            <p:grpSpPr>
              <a:xfrm>
                <a:off x="5340533" y="1859569"/>
                <a:ext cx="925280" cy="2783432"/>
                <a:chOff x="17883895" y="3018758"/>
                <a:chExt cx="473812" cy="1425322"/>
              </a:xfrm>
            </p:grpSpPr>
            <p:sp>
              <p:nvSpPr>
                <p:cNvPr id="43" name="Freeform 746">
                  <a:extLst>
                    <a:ext uri="{FF2B5EF4-FFF2-40B4-BE49-F238E27FC236}">
                      <a16:creationId xmlns:a16="http://schemas.microsoft.com/office/drawing/2014/main" id="{D3F3577C-8C4B-42F2-8762-8A1EBFE49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07202" y="3026528"/>
                  <a:ext cx="427208" cy="1343762"/>
                </a:xfrm>
                <a:custGeom>
                  <a:avLst/>
                  <a:gdLst>
                    <a:gd name="T0" fmla="*/ 746 w 1065"/>
                    <a:gd name="T1" fmla="*/ 549 h 3362"/>
                    <a:gd name="T2" fmla="*/ 629 w 1065"/>
                    <a:gd name="T3" fmla="*/ 419 h 3362"/>
                    <a:gd name="T4" fmla="*/ 662 w 1065"/>
                    <a:gd name="T5" fmla="*/ 343 h 3362"/>
                    <a:gd name="T6" fmla="*/ 684 w 1065"/>
                    <a:gd name="T7" fmla="*/ 288 h 3362"/>
                    <a:gd name="T8" fmla="*/ 672 w 1065"/>
                    <a:gd name="T9" fmla="*/ 226 h 3362"/>
                    <a:gd name="T10" fmla="*/ 535 w 1065"/>
                    <a:gd name="T11" fmla="*/ 8 h 3362"/>
                    <a:gd name="T12" fmla="*/ 530 w 1065"/>
                    <a:gd name="T13" fmla="*/ 8 h 3362"/>
                    <a:gd name="T14" fmla="*/ 393 w 1065"/>
                    <a:gd name="T15" fmla="*/ 226 h 3362"/>
                    <a:gd name="T16" fmla="*/ 381 w 1065"/>
                    <a:gd name="T17" fmla="*/ 288 h 3362"/>
                    <a:gd name="T18" fmla="*/ 403 w 1065"/>
                    <a:gd name="T19" fmla="*/ 343 h 3362"/>
                    <a:gd name="T20" fmla="*/ 436 w 1065"/>
                    <a:gd name="T21" fmla="*/ 419 h 3362"/>
                    <a:gd name="T22" fmla="*/ 319 w 1065"/>
                    <a:gd name="T23" fmla="*/ 549 h 3362"/>
                    <a:gd name="T24" fmla="*/ 71 w 1065"/>
                    <a:gd name="T25" fmla="*/ 883 h 3362"/>
                    <a:gd name="T26" fmla="*/ 2 w 1065"/>
                    <a:gd name="T27" fmla="*/ 1188 h 3362"/>
                    <a:gd name="T28" fmla="*/ 31 w 1065"/>
                    <a:gd name="T29" fmla="*/ 1671 h 3362"/>
                    <a:gd name="T30" fmla="*/ 94 w 1065"/>
                    <a:gd name="T31" fmla="*/ 1995 h 3362"/>
                    <a:gd name="T32" fmla="*/ 140 w 1065"/>
                    <a:gd name="T33" fmla="*/ 1629 h 3362"/>
                    <a:gd name="T34" fmla="*/ 142 w 1065"/>
                    <a:gd name="T35" fmla="*/ 1314 h 3362"/>
                    <a:gd name="T36" fmla="*/ 233 w 1065"/>
                    <a:gd name="T37" fmla="*/ 967 h 3362"/>
                    <a:gd name="T38" fmla="*/ 193 w 1065"/>
                    <a:gd name="T39" fmla="*/ 1287 h 3362"/>
                    <a:gd name="T40" fmla="*/ 201 w 1065"/>
                    <a:gd name="T41" fmla="*/ 2247 h 3362"/>
                    <a:gd name="T42" fmla="*/ 237 w 1065"/>
                    <a:gd name="T43" fmla="*/ 2515 h 3362"/>
                    <a:gd name="T44" fmla="*/ 333 w 1065"/>
                    <a:gd name="T45" fmla="*/ 3362 h 3362"/>
                    <a:gd name="T46" fmla="*/ 462 w 1065"/>
                    <a:gd name="T47" fmla="*/ 3345 h 3362"/>
                    <a:gd name="T48" fmla="*/ 482 w 1065"/>
                    <a:gd name="T49" fmla="*/ 3041 h 3362"/>
                    <a:gd name="T50" fmla="*/ 482 w 1065"/>
                    <a:gd name="T51" fmla="*/ 2455 h 3362"/>
                    <a:gd name="T52" fmla="*/ 516 w 1065"/>
                    <a:gd name="T53" fmla="*/ 1995 h 3362"/>
                    <a:gd name="T54" fmla="*/ 530 w 1065"/>
                    <a:gd name="T55" fmla="*/ 1995 h 3362"/>
                    <a:gd name="T56" fmla="*/ 535 w 1065"/>
                    <a:gd name="T57" fmla="*/ 1995 h 3362"/>
                    <a:gd name="T58" fmla="*/ 550 w 1065"/>
                    <a:gd name="T59" fmla="*/ 1995 h 3362"/>
                    <a:gd name="T60" fmla="*/ 584 w 1065"/>
                    <a:gd name="T61" fmla="*/ 2455 h 3362"/>
                    <a:gd name="T62" fmla="*/ 584 w 1065"/>
                    <a:gd name="T63" fmla="*/ 3041 h 3362"/>
                    <a:gd name="T64" fmla="*/ 603 w 1065"/>
                    <a:gd name="T65" fmla="*/ 3345 h 3362"/>
                    <a:gd name="T66" fmla="*/ 733 w 1065"/>
                    <a:gd name="T67" fmla="*/ 3362 h 3362"/>
                    <a:gd name="T68" fmla="*/ 828 w 1065"/>
                    <a:gd name="T69" fmla="*/ 2515 h 3362"/>
                    <a:gd name="T70" fmla="*/ 864 w 1065"/>
                    <a:gd name="T71" fmla="*/ 2247 h 3362"/>
                    <a:gd name="T72" fmla="*/ 872 w 1065"/>
                    <a:gd name="T73" fmla="*/ 1287 h 3362"/>
                    <a:gd name="T74" fmla="*/ 832 w 1065"/>
                    <a:gd name="T75" fmla="*/ 967 h 3362"/>
                    <a:gd name="T76" fmla="*/ 923 w 1065"/>
                    <a:gd name="T77" fmla="*/ 1314 h 3362"/>
                    <a:gd name="T78" fmla="*/ 925 w 1065"/>
                    <a:gd name="T79" fmla="*/ 1629 h 3362"/>
                    <a:gd name="T80" fmla="*/ 972 w 1065"/>
                    <a:gd name="T81" fmla="*/ 1995 h 3362"/>
                    <a:gd name="T82" fmla="*/ 1034 w 1065"/>
                    <a:gd name="T83" fmla="*/ 1671 h 3362"/>
                    <a:gd name="T84" fmla="*/ 1064 w 1065"/>
                    <a:gd name="T85" fmla="*/ 1188 h 3362"/>
                    <a:gd name="T86" fmla="*/ 992 w 1065"/>
                    <a:gd name="T87" fmla="*/ 872 h 3362"/>
                    <a:gd name="T88" fmla="*/ 746 w 1065"/>
                    <a:gd name="T89" fmla="*/ 549 h 33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065" h="3362">
                      <a:moveTo>
                        <a:pt x="746" y="549"/>
                      </a:moveTo>
                      <a:cubicBezTo>
                        <a:pt x="590" y="521"/>
                        <a:pt x="629" y="419"/>
                        <a:pt x="629" y="419"/>
                      </a:cubicBezTo>
                      <a:cubicBezTo>
                        <a:pt x="660" y="398"/>
                        <a:pt x="662" y="343"/>
                        <a:pt x="662" y="343"/>
                      </a:cubicBezTo>
                      <a:cubicBezTo>
                        <a:pt x="681" y="342"/>
                        <a:pt x="663" y="336"/>
                        <a:pt x="684" y="288"/>
                      </a:cubicBezTo>
                      <a:cubicBezTo>
                        <a:pt x="706" y="241"/>
                        <a:pt x="672" y="226"/>
                        <a:pt x="672" y="226"/>
                      </a:cubicBezTo>
                      <a:cubicBezTo>
                        <a:pt x="715" y="0"/>
                        <a:pt x="535" y="8"/>
                        <a:pt x="535" y="8"/>
                      </a:cubicBezTo>
                      <a:lnTo>
                        <a:pt x="530" y="8"/>
                      </a:lnTo>
                      <a:cubicBezTo>
                        <a:pt x="530" y="8"/>
                        <a:pt x="350" y="0"/>
                        <a:pt x="393" y="226"/>
                      </a:cubicBezTo>
                      <a:cubicBezTo>
                        <a:pt x="393" y="226"/>
                        <a:pt x="360" y="241"/>
                        <a:pt x="381" y="288"/>
                      </a:cubicBezTo>
                      <a:cubicBezTo>
                        <a:pt x="403" y="336"/>
                        <a:pt x="385" y="342"/>
                        <a:pt x="403" y="343"/>
                      </a:cubicBezTo>
                      <a:cubicBezTo>
                        <a:pt x="403" y="343"/>
                        <a:pt x="405" y="398"/>
                        <a:pt x="436" y="419"/>
                      </a:cubicBezTo>
                      <a:cubicBezTo>
                        <a:pt x="436" y="419"/>
                        <a:pt x="475" y="521"/>
                        <a:pt x="319" y="549"/>
                      </a:cubicBezTo>
                      <a:cubicBezTo>
                        <a:pt x="101" y="588"/>
                        <a:pt x="67" y="842"/>
                        <a:pt x="71" y="883"/>
                      </a:cubicBezTo>
                      <a:cubicBezTo>
                        <a:pt x="75" y="931"/>
                        <a:pt x="3" y="1059"/>
                        <a:pt x="2" y="1188"/>
                      </a:cubicBezTo>
                      <a:cubicBezTo>
                        <a:pt x="0" y="1318"/>
                        <a:pt x="31" y="1671"/>
                        <a:pt x="31" y="1671"/>
                      </a:cubicBezTo>
                      <a:cubicBezTo>
                        <a:pt x="11" y="1838"/>
                        <a:pt x="54" y="1991"/>
                        <a:pt x="94" y="1995"/>
                      </a:cubicBezTo>
                      <a:cubicBezTo>
                        <a:pt x="134" y="2000"/>
                        <a:pt x="140" y="1629"/>
                        <a:pt x="140" y="1629"/>
                      </a:cubicBezTo>
                      <a:lnTo>
                        <a:pt x="142" y="1314"/>
                      </a:lnTo>
                      <a:lnTo>
                        <a:pt x="233" y="967"/>
                      </a:lnTo>
                      <a:lnTo>
                        <a:pt x="193" y="1287"/>
                      </a:lnTo>
                      <a:cubicBezTo>
                        <a:pt x="125" y="1920"/>
                        <a:pt x="142" y="1915"/>
                        <a:pt x="201" y="2247"/>
                      </a:cubicBezTo>
                      <a:cubicBezTo>
                        <a:pt x="201" y="2247"/>
                        <a:pt x="243" y="2452"/>
                        <a:pt x="237" y="2515"/>
                      </a:cubicBezTo>
                      <a:cubicBezTo>
                        <a:pt x="232" y="2578"/>
                        <a:pt x="306" y="3188"/>
                        <a:pt x="333" y="3362"/>
                      </a:cubicBezTo>
                      <a:lnTo>
                        <a:pt x="462" y="3345"/>
                      </a:lnTo>
                      <a:cubicBezTo>
                        <a:pt x="462" y="3345"/>
                        <a:pt x="468" y="3085"/>
                        <a:pt x="482" y="3041"/>
                      </a:cubicBezTo>
                      <a:cubicBezTo>
                        <a:pt x="495" y="2997"/>
                        <a:pt x="474" y="2560"/>
                        <a:pt x="482" y="2455"/>
                      </a:cubicBezTo>
                      <a:cubicBezTo>
                        <a:pt x="489" y="2349"/>
                        <a:pt x="516" y="1995"/>
                        <a:pt x="516" y="1995"/>
                      </a:cubicBezTo>
                      <a:lnTo>
                        <a:pt x="530" y="1995"/>
                      </a:lnTo>
                      <a:lnTo>
                        <a:pt x="535" y="1995"/>
                      </a:lnTo>
                      <a:lnTo>
                        <a:pt x="550" y="1995"/>
                      </a:lnTo>
                      <a:cubicBezTo>
                        <a:pt x="550" y="1995"/>
                        <a:pt x="576" y="2349"/>
                        <a:pt x="584" y="2455"/>
                      </a:cubicBezTo>
                      <a:cubicBezTo>
                        <a:pt x="592" y="2560"/>
                        <a:pt x="570" y="2997"/>
                        <a:pt x="584" y="3041"/>
                      </a:cubicBezTo>
                      <a:cubicBezTo>
                        <a:pt x="597" y="3085"/>
                        <a:pt x="603" y="3345"/>
                        <a:pt x="603" y="3345"/>
                      </a:cubicBezTo>
                      <a:lnTo>
                        <a:pt x="733" y="3362"/>
                      </a:lnTo>
                      <a:cubicBezTo>
                        <a:pt x="759" y="3188"/>
                        <a:pt x="833" y="2578"/>
                        <a:pt x="828" y="2515"/>
                      </a:cubicBezTo>
                      <a:cubicBezTo>
                        <a:pt x="822" y="2452"/>
                        <a:pt x="864" y="2247"/>
                        <a:pt x="864" y="2247"/>
                      </a:cubicBezTo>
                      <a:cubicBezTo>
                        <a:pt x="924" y="1915"/>
                        <a:pt x="940" y="1920"/>
                        <a:pt x="872" y="1287"/>
                      </a:cubicBezTo>
                      <a:lnTo>
                        <a:pt x="832" y="967"/>
                      </a:lnTo>
                      <a:lnTo>
                        <a:pt x="923" y="1314"/>
                      </a:lnTo>
                      <a:lnTo>
                        <a:pt x="925" y="1629"/>
                      </a:lnTo>
                      <a:cubicBezTo>
                        <a:pt x="925" y="1629"/>
                        <a:pt x="932" y="2000"/>
                        <a:pt x="972" y="1995"/>
                      </a:cubicBezTo>
                      <a:cubicBezTo>
                        <a:pt x="1011" y="1991"/>
                        <a:pt x="1054" y="1838"/>
                        <a:pt x="1034" y="1671"/>
                      </a:cubicBezTo>
                      <a:cubicBezTo>
                        <a:pt x="1034" y="1671"/>
                        <a:pt x="1065" y="1318"/>
                        <a:pt x="1064" y="1188"/>
                      </a:cubicBezTo>
                      <a:cubicBezTo>
                        <a:pt x="1062" y="1059"/>
                        <a:pt x="988" y="920"/>
                        <a:pt x="992" y="872"/>
                      </a:cubicBezTo>
                      <a:cubicBezTo>
                        <a:pt x="995" y="831"/>
                        <a:pt x="964" y="588"/>
                        <a:pt x="746" y="549"/>
                      </a:cubicBezTo>
                    </a:path>
                  </a:pathLst>
                </a:custGeom>
                <a:solidFill>
                  <a:srgbClr val="F9D9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 dirty="0"/>
                </a:p>
              </p:txBody>
            </p:sp>
            <p:sp>
              <p:nvSpPr>
                <p:cNvPr id="44" name="Freeform 812">
                  <a:extLst>
                    <a:ext uri="{FF2B5EF4-FFF2-40B4-BE49-F238E27FC236}">
                      <a16:creationId xmlns:a16="http://schemas.microsoft.com/office/drawing/2014/main" id="{0EFC2A91-F0C8-451D-9CAB-329F6C2D04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054781" y="3018758"/>
                  <a:ext cx="128164" cy="108744"/>
                </a:xfrm>
                <a:custGeom>
                  <a:avLst/>
                  <a:gdLst>
                    <a:gd name="T0" fmla="*/ 8 w 319"/>
                    <a:gd name="T1" fmla="*/ 193 h 278"/>
                    <a:gd name="T2" fmla="*/ 23 w 319"/>
                    <a:gd name="T3" fmla="*/ 278 h 278"/>
                    <a:gd name="T4" fmla="*/ 64 w 319"/>
                    <a:gd name="T5" fmla="*/ 211 h 278"/>
                    <a:gd name="T6" fmla="*/ 54 w 319"/>
                    <a:gd name="T7" fmla="*/ 146 h 278"/>
                    <a:gd name="T8" fmla="*/ 73 w 319"/>
                    <a:gd name="T9" fmla="*/ 79 h 278"/>
                    <a:gd name="T10" fmla="*/ 161 w 319"/>
                    <a:gd name="T11" fmla="*/ 128 h 278"/>
                    <a:gd name="T12" fmla="*/ 263 w 319"/>
                    <a:gd name="T13" fmla="*/ 135 h 278"/>
                    <a:gd name="T14" fmla="*/ 265 w 319"/>
                    <a:gd name="T15" fmla="*/ 212 h 278"/>
                    <a:gd name="T16" fmla="*/ 304 w 319"/>
                    <a:gd name="T17" fmla="*/ 278 h 278"/>
                    <a:gd name="T18" fmla="*/ 318 w 319"/>
                    <a:gd name="T19" fmla="*/ 178 h 278"/>
                    <a:gd name="T20" fmla="*/ 234 w 319"/>
                    <a:gd name="T21" fmla="*/ 31 h 278"/>
                    <a:gd name="T22" fmla="*/ 77 w 319"/>
                    <a:gd name="T23" fmla="*/ 38 h 278"/>
                    <a:gd name="T24" fmla="*/ 8 w 319"/>
                    <a:gd name="T25" fmla="*/ 193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19" h="278">
                      <a:moveTo>
                        <a:pt x="8" y="193"/>
                      </a:moveTo>
                      <a:lnTo>
                        <a:pt x="23" y="278"/>
                      </a:lnTo>
                      <a:lnTo>
                        <a:pt x="64" y="211"/>
                      </a:lnTo>
                      <a:cubicBezTo>
                        <a:pt x="64" y="211"/>
                        <a:pt x="49" y="170"/>
                        <a:pt x="54" y="146"/>
                      </a:cubicBezTo>
                      <a:cubicBezTo>
                        <a:pt x="59" y="120"/>
                        <a:pt x="79" y="115"/>
                        <a:pt x="73" y="79"/>
                      </a:cubicBezTo>
                      <a:cubicBezTo>
                        <a:pt x="73" y="79"/>
                        <a:pt x="108" y="118"/>
                        <a:pt x="161" y="128"/>
                      </a:cubicBezTo>
                      <a:cubicBezTo>
                        <a:pt x="213" y="138"/>
                        <a:pt x="249" y="113"/>
                        <a:pt x="263" y="135"/>
                      </a:cubicBezTo>
                      <a:cubicBezTo>
                        <a:pt x="279" y="159"/>
                        <a:pt x="265" y="212"/>
                        <a:pt x="265" y="212"/>
                      </a:cubicBezTo>
                      <a:lnTo>
                        <a:pt x="304" y="278"/>
                      </a:lnTo>
                      <a:cubicBezTo>
                        <a:pt x="304" y="278"/>
                        <a:pt x="318" y="211"/>
                        <a:pt x="318" y="178"/>
                      </a:cubicBezTo>
                      <a:cubicBezTo>
                        <a:pt x="319" y="142"/>
                        <a:pt x="308" y="62"/>
                        <a:pt x="234" y="31"/>
                      </a:cubicBezTo>
                      <a:cubicBezTo>
                        <a:pt x="159" y="0"/>
                        <a:pt x="103" y="21"/>
                        <a:pt x="77" y="38"/>
                      </a:cubicBezTo>
                      <a:cubicBezTo>
                        <a:pt x="50" y="55"/>
                        <a:pt x="0" y="103"/>
                        <a:pt x="8" y="193"/>
                      </a:cubicBez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2CBE512F-7988-4AAB-A61B-EADF769C4B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64199" y="4358638"/>
                  <a:ext cx="313135" cy="85442"/>
                </a:xfrm>
                <a:custGeom>
                  <a:avLst/>
                  <a:gdLst>
                    <a:gd name="connsiteX0" fmla="*/ 179659 w 313135"/>
                    <a:gd name="connsiteY0" fmla="*/ 0 h 85442"/>
                    <a:gd name="connsiteX1" fmla="*/ 245929 w 313135"/>
                    <a:gd name="connsiteY1" fmla="*/ 2862 h 85442"/>
                    <a:gd name="connsiteX2" fmla="*/ 262497 w 313135"/>
                    <a:gd name="connsiteY2" fmla="*/ 27391 h 85442"/>
                    <a:gd name="connsiteX3" fmla="*/ 306947 w 313135"/>
                    <a:gd name="connsiteY3" fmla="*/ 65410 h 85442"/>
                    <a:gd name="connsiteX4" fmla="*/ 304117 w 313135"/>
                    <a:gd name="connsiteY4" fmla="*/ 85442 h 85442"/>
                    <a:gd name="connsiteX5" fmla="*/ 230979 w 313135"/>
                    <a:gd name="connsiteY5" fmla="*/ 85442 h 85442"/>
                    <a:gd name="connsiteX6" fmla="*/ 221685 w 313135"/>
                    <a:gd name="connsiteY6" fmla="*/ 64184 h 85442"/>
                    <a:gd name="connsiteX7" fmla="*/ 221685 w 313135"/>
                    <a:gd name="connsiteY7" fmla="*/ 76040 h 85442"/>
                    <a:gd name="connsiteX8" fmla="*/ 177639 w 313135"/>
                    <a:gd name="connsiteY8" fmla="*/ 64593 h 85442"/>
                    <a:gd name="connsiteX9" fmla="*/ 177235 w 313135"/>
                    <a:gd name="connsiteY9" fmla="*/ 63775 h 85442"/>
                    <a:gd name="connsiteX10" fmla="*/ 179659 w 313135"/>
                    <a:gd name="connsiteY10" fmla="*/ 0 h 85442"/>
                    <a:gd name="connsiteX11" fmla="*/ 129771 w 313135"/>
                    <a:gd name="connsiteY11" fmla="*/ 0 h 85442"/>
                    <a:gd name="connsiteX12" fmla="*/ 132127 w 313135"/>
                    <a:gd name="connsiteY12" fmla="*/ 63775 h 85442"/>
                    <a:gd name="connsiteX13" fmla="*/ 132127 w 313135"/>
                    <a:gd name="connsiteY13" fmla="*/ 64593 h 85442"/>
                    <a:gd name="connsiteX14" fmla="*/ 88913 w 313135"/>
                    <a:gd name="connsiteY14" fmla="*/ 76040 h 85442"/>
                    <a:gd name="connsiteX15" fmla="*/ 88913 w 313135"/>
                    <a:gd name="connsiteY15" fmla="*/ 64184 h 85442"/>
                    <a:gd name="connsiteX16" fmla="*/ 79877 w 313135"/>
                    <a:gd name="connsiteY16" fmla="*/ 85442 h 85442"/>
                    <a:gd name="connsiteX17" fmla="*/ 8769 w 313135"/>
                    <a:gd name="connsiteY17" fmla="*/ 85442 h 85442"/>
                    <a:gd name="connsiteX18" fmla="*/ 6019 w 313135"/>
                    <a:gd name="connsiteY18" fmla="*/ 65410 h 85442"/>
                    <a:gd name="connsiteX19" fmla="*/ 49233 w 313135"/>
                    <a:gd name="connsiteY19" fmla="*/ 27391 h 85442"/>
                    <a:gd name="connsiteX20" fmla="*/ 65341 w 313135"/>
                    <a:gd name="connsiteY20" fmla="*/ 2862 h 85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13135" h="85442">
                      <a:moveTo>
                        <a:pt x="179659" y="0"/>
                      </a:moveTo>
                      <a:lnTo>
                        <a:pt x="245929" y="2862"/>
                      </a:lnTo>
                      <a:cubicBezTo>
                        <a:pt x="250779" y="9812"/>
                        <a:pt x="258457" y="24938"/>
                        <a:pt x="262497" y="27391"/>
                      </a:cubicBezTo>
                      <a:lnTo>
                        <a:pt x="306947" y="65410"/>
                      </a:lnTo>
                      <a:cubicBezTo>
                        <a:pt x="315431" y="69907"/>
                        <a:pt x="315837" y="82989"/>
                        <a:pt x="304117" y="85442"/>
                      </a:cubicBezTo>
                      <a:lnTo>
                        <a:pt x="230979" y="85442"/>
                      </a:lnTo>
                      <a:lnTo>
                        <a:pt x="221685" y="64184"/>
                      </a:lnTo>
                      <a:lnTo>
                        <a:pt x="221685" y="76040"/>
                      </a:lnTo>
                      <a:lnTo>
                        <a:pt x="177639" y="64593"/>
                      </a:lnTo>
                      <a:cubicBezTo>
                        <a:pt x="177235" y="64184"/>
                        <a:pt x="177235" y="64184"/>
                        <a:pt x="177235" y="63775"/>
                      </a:cubicBezTo>
                      <a:cubicBezTo>
                        <a:pt x="176023" y="58869"/>
                        <a:pt x="178043" y="14309"/>
                        <a:pt x="179659" y="0"/>
                      </a:cubicBezTo>
                      <a:close/>
                      <a:moveTo>
                        <a:pt x="129771" y="0"/>
                      </a:moveTo>
                      <a:cubicBezTo>
                        <a:pt x="131735" y="14309"/>
                        <a:pt x="133305" y="58869"/>
                        <a:pt x="132127" y="63775"/>
                      </a:cubicBezTo>
                      <a:cubicBezTo>
                        <a:pt x="132127" y="64184"/>
                        <a:pt x="132127" y="64184"/>
                        <a:pt x="132127" y="64593"/>
                      </a:cubicBezTo>
                      <a:lnTo>
                        <a:pt x="88913" y="76040"/>
                      </a:lnTo>
                      <a:lnTo>
                        <a:pt x="88913" y="64184"/>
                      </a:lnTo>
                      <a:lnTo>
                        <a:pt x="79877" y="85442"/>
                      </a:lnTo>
                      <a:lnTo>
                        <a:pt x="8769" y="85442"/>
                      </a:lnTo>
                      <a:cubicBezTo>
                        <a:pt x="-2625" y="82989"/>
                        <a:pt x="-2233" y="69907"/>
                        <a:pt x="6019" y="65410"/>
                      </a:cubicBezTo>
                      <a:lnTo>
                        <a:pt x="49233" y="27391"/>
                      </a:lnTo>
                      <a:cubicBezTo>
                        <a:pt x="53555" y="24938"/>
                        <a:pt x="61019" y="9812"/>
                        <a:pt x="65341" y="2862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6" name="Freeform 817">
                  <a:extLst>
                    <a:ext uri="{FF2B5EF4-FFF2-40B4-BE49-F238E27FC236}">
                      <a16:creationId xmlns:a16="http://schemas.microsoft.com/office/drawing/2014/main" id="{222898CD-63BD-41B6-9DC4-7575AF4149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42152" y="3694523"/>
                  <a:ext cx="353418" cy="671882"/>
                </a:xfrm>
                <a:custGeom>
                  <a:avLst/>
                  <a:gdLst>
                    <a:gd name="T0" fmla="*/ 869 w 888"/>
                    <a:gd name="T1" fmla="*/ 191 h 1675"/>
                    <a:gd name="T2" fmla="*/ 827 w 888"/>
                    <a:gd name="T3" fmla="*/ 10 h 1675"/>
                    <a:gd name="T4" fmla="*/ 444 w 888"/>
                    <a:gd name="T5" fmla="*/ 56 h 1675"/>
                    <a:gd name="T6" fmla="*/ 64 w 888"/>
                    <a:gd name="T7" fmla="*/ 0 h 1675"/>
                    <a:gd name="T8" fmla="*/ 19 w 888"/>
                    <a:gd name="T9" fmla="*/ 191 h 1675"/>
                    <a:gd name="T10" fmla="*/ 61 w 888"/>
                    <a:gd name="T11" fmla="*/ 822 h 1675"/>
                    <a:gd name="T12" fmla="*/ 219 w 888"/>
                    <a:gd name="T13" fmla="*/ 1674 h 1675"/>
                    <a:gd name="T14" fmla="*/ 383 w 888"/>
                    <a:gd name="T15" fmla="*/ 1674 h 1675"/>
                    <a:gd name="T16" fmla="*/ 397 w 888"/>
                    <a:gd name="T17" fmla="*/ 1367 h 1675"/>
                    <a:gd name="T18" fmla="*/ 409 w 888"/>
                    <a:gd name="T19" fmla="*/ 942 h 1675"/>
                    <a:gd name="T20" fmla="*/ 402 w 888"/>
                    <a:gd name="T21" fmla="*/ 769 h 1675"/>
                    <a:gd name="T22" fmla="*/ 441 w 888"/>
                    <a:gd name="T23" fmla="*/ 366 h 1675"/>
                    <a:gd name="T24" fmla="*/ 448 w 888"/>
                    <a:gd name="T25" fmla="*/ 366 h 1675"/>
                    <a:gd name="T26" fmla="*/ 487 w 888"/>
                    <a:gd name="T27" fmla="*/ 769 h 1675"/>
                    <a:gd name="T28" fmla="*/ 480 w 888"/>
                    <a:gd name="T29" fmla="*/ 942 h 1675"/>
                    <a:gd name="T30" fmla="*/ 491 w 888"/>
                    <a:gd name="T31" fmla="*/ 1367 h 1675"/>
                    <a:gd name="T32" fmla="*/ 505 w 888"/>
                    <a:gd name="T33" fmla="*/ 1674 h 1675"/>
                    <a:gd name="T34" fmla="*/ 670 w 888"/>
                    <a:gd name="T35" fmla="*/ 1674 h 1675"/>
                    <a:gd name="T36" fmla="*/ 827 w 888"/>
                    <a:gd name="T37" fmla="*/ 822 h 1675"/>
                    <a:gd name="T38" fmla="*/ 869 w 888"/>
                    <a:gd name="T39" fmla="*/ 191 h 16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88" h="1675">
                      <a:moveTo>
                        <a:pt x="869" y="191"/>
                      </a:moveTo>
                      <a:cubicBezTo>
                        <a:pt x="856" y="130"/>
                        <a:pt x="842" y="70"/>
                        <a:pt x="827" y="10"/>
                      </a:cubicBezTo>
                      <a:cubicBezTo>
                        <a:pt x="702" y="25"/>
                        <a:pt x="574" y="41"/>
                        <a:pt x="444" y="56"/>
                      </a:cubicBezTo>
                      <a:cubicBezTo>
                        <a:pt x="315" y="37"/>
                        <a:pt x="188" y="19"/>
                        <a:pt x="64" y="0"/>
                      </a:cubicBezTo>
                      <a:cubicBezTo>
                        <a:pt x="48" y="64"/>
                        <a:pt x="33" y="127"/>
                        <a:pt x="19" y="191"/>
                      </a:cubicBezTo>
                      <a:cubicBezTo>
                        <a:pt x="0" y="405"/>
                        <a:pt x="74" y="664"/>
                        <a:pt x="61" y="822"/>
                      </a:cubicBezTo>
                      <a:cubicBezTo>
                        <a:pt x="39" y="981"/>
                        <a:pt x="218" y="1675"/>
                        <a:pt x="219" y="1674"/>
                      </a:cubicBezTo>
                      <a:lnTo>
                        <a:pt x="383" y="1674"/>
                      </a:lnTo>
                      <a:cubicBezTo>
                        <a:pt x="383" y="1671"/>
                        <a:pt x="396" y="1371"/>
                        <a:pt x="397" y="1367"/>
                      </a:cubicBezTo>
                      <a:cubicBezTo>
                        <a:pt x="397" y="1367"/>
                        <a:pt x="417" y="1167"/>
                        <a:pt x="409" y="942"/>
                      </a:cubicBezTo>
                      <a:cubicBezTo>
                        <a:pt x="406" y="879"/>
                        <a:pt x="402" y="820"/>
                        <a:pt x="402" y="769"/>
                      </a:cubicBezTo>
                      <a:cubicBezTo>
                        <a:pt x="402" y="658"/>
                        <a:pt x="426" y="463"/>
                        <a:pt x="441" y="366"/>
                      </a:cubicBezTo>
                      <a:cubicBezTo>
                        <a:pt x="441" y="362"/>
                        <a:pt x="447" y="362"/>
                        <a:pt x="448" y="366"/>
                      </a:cubicBezTo>
                      <a:cubicBezTo>
                        <a:pt x="462" y="463"/>
                        <a:pt x="486" y="658"/>
                        <a:pt x="487" y="769"/>
                      </a:cubicBezTo>
                      <a:cubicBezTo>
                        <a:pt x="487" y="820"/>
                        <a:pt x="482" y="879"/>
                        <a:pt x="480" y="942"/>
                      </a:cubicBezTo>
                      <a:cubicBezTo>
                        <a:pt x="471" y="1167"/>
                        <a:pt x="492" y="1367"/>
                        <a:pt x="491" y="1367"/>
                      </a:cubicBezTo>
                      <a:cubicBezTo>
                        <a:pt x="492" y="1371"/>
                        <a:pt x="506" y="1671"/>
                        <a:pt x="505" y="1674"/>
                      </a:cubicBezTo>
                      <a:lnTo>
                        <a:pt x="670" y="1674"/>
                      </a:lnTo>
                      <a:cubicBezTo>
                        <a:pt x="670" y="1675"/>
                        <a:pt x="849" y="981"/>
                        <a:pt x="827" y="822"/>
                      </a:cubicBezTo>
                      <a:cubicBezTo>
                        <a:pt x="814" y="664"/>
                        <a:pt x="888" y="405"/>
                        <a:pt x="869" y="191"/>
                      </a:cubicBez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7" name="Freeform 859">
                  <a:extLst>
                    <a:ext uri="{FF2B5EF4-FFF2-40B4-BE49-F238E27FC236}">
                      <a16:creationId xmlns:a16="http://schemas.microsoft.com/office/drawing/2014/main" id="{CA1F4B82-11B6-40CC-9C1B-612A806DD4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3895" y="3244013"/>
                  <a:ext cx="473812" cy="547604"/>
                </a:xfrm>
                <a:custGeom>
                  <a:avLst/>
                  <a:gdLst>
                    <a:gd name="T0" fmla="*/ 841 w 1188"/>
                    <a:gd name="T1" fmla="*/ 13 h 1370"/>
                    <a:gd name="T2" fmla="*/ 807 w 1188"/>
                    <a:gd name="T3" fmla="*/ 0 h 1370"/>
                    <a:gd name="T4" fmla="*/ 594 w 1188"/>
                    <a:gd name="T5" fmla="*/ 113 h 1370"/>
                    <a:gd name="T6" fmla="*/ 382 w 1188"/>
                    <a:gd name="T7" fmla="*/ 0 h 1370"/>
                    <a:gd name="T8" fmla="*/ 349 w 1188"/>
                    <a:gd name="T9" fmla="*/ 13 h 1370"/>
                    <a:gd name="T10" fmla="*/ 11 w 1188"/>
                    <a:gd name="T11" fmla="*/ 586 h 1370"/>
                    <a:gd name="T12" fmla="*/ 60 w 1188"/>
                    <a:gd name="T13" fmla="*/ 1169 h 1370"/>
                    <a:gd name="T14" fmla="*/ 184 w 1188"/>
                    <a:gd name="T15" fmla="*/ 1147 h 1370"/>
                    <a:gd name="T16" fmla="*/ 179 w 1188"/>
                    <a:gd name="T17" fmla="*/ 1247 h 1370"/>
                    <a:gd name="T18" fmla="*/ 595 w 1188"/>
                    <a:gd name="T19" fmla="*/ 1370 h 1370"/>
                    <a:gd name="T20" fmla="*/ 1010 w 1188"/>
                    <a:gd name="T21" fmla="*/ 1247 h 1370"/>
                    <a:gd name="T22" fmla="*/ 1005 w 1188"/>
                    <a:gd name="T23" fmla="*/ 1147 h 1370"/>
                    <a:gd name="T24" fmla="*/ 1129 w 1188"/>
                    <a:gd name="T25" fmla="*/ 1169 h 1370"/>
                    <a:gd name="T26" fmla="*/ 1177 w 1188"/>
                    <a:gd name="T27" fmla="*/ 580 h 1370"/>
                    <a:gd name="T28" fmla="*/ 841 w 1188"/>
                    <a:gd name="T29" fmla="*/ 13 h 1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88" h="1370">
                      <a:moveTo>
                        <a:pt x="841" y="13"/>
                      </a:moveTo>
                      <a:cubicBezTo>
                        <a:pt x="829" y="9"/>
                        <a:pt x="818" y="4"/>
                        <a:pt x="807" y="0"/>
                      </a:cubicBezTo>
                      <a:cubicBezTo>
                        <a:pt x="808" y="81"/>
                        <a:pt x="732" y="113"/>
                        <a:pt x="594" y="113"/>
                      </a:cubicBezTo>
                      <a:cubicBezTo>
                        <a:pt x="457" y="113"/>
                        <a:pt x="381" y="81"/>
                        <a:pt x="382" y="0"/>
                      </a:cubicBezTo>
                      <a:cubicBezTo>
                        <a:pt x="371" y="4"/>
                        <a:pt x="360" y="9"/>
                        <a:pt x="349" y="13"/>
                      </a:cubicBezTo>
                      <a:cubicBezTo>
                        <a:pt x="252" y="58"/>
                        <a:pt x="35" y="99"/>
                        <a:pt x="11" y="586"/>
                      </a:cubicBezTo>
                      <a:cubicBezTo>
                        <a:pt x="0" y="757"/>
                        <a:pt x="56" y="1169"/>
                        <a:pt x="60" y="1169"/>
                      </a:cubicBezTo>
                      <a:cubicBezTo>
                        <a:pt x="101" y="1161"/>
                        <a:pt x="143" y="1154"/>
                        <a:pt x="184" y="1147"/>
                      </a:cubicBezTo>
                      <a:cubicBezTo>
                        <a:pt x="182" y="1180"/>
                        <a:pt x="181" y="1214"/>
                        <a:pt x="179" y="1247"/>
                      </a:cubicBezTo>
                      <a:cubicBezTo>
                        <a:pt x="181" y="1248"/>
                        <a:pt x="374" y="1370"/>
                        <a:pt x="595" y="1370"/>
                      </a:cubicBezTo>
                      <a:cubicBezTo>
                        <a:pt x="815" y="1370"/>
                        <a:pt x="1009" y="1247"/>
                        <a:pt x="1010" y="1247"/>
                      </a:cubicBezTo>
                      <a:cubicBezTo>
                        <a:pt x="1009" y="1214"/>
                        <a:pt x="1007" y="1181"/>
                        <a:pt x="1005" y="1147"/>
                      </a:cubicBezTo>
                      <a:cubicBezTo>
                        <a:pt x="1047" y="1154"/>
                        <a:pt x="1088" y="1161"/>
                        <a:pt x="1129" y="1169"/>
                      </a:cubicBezTo>
                      <a:cubicBezTo>
                        <a:pt x="1133" y="1169"/>
                        <a:pt x="1188" y="751"/>
                        <a:pt x="1177" y="580"/>
                      </a:cubicBezTo>
                      <a:cubicBezTo>
                        <a:pt x="1155" y="117"/>
                        <a:pt x="938" y="58"/>
                        <a:pt x="841" y="13"/>
                      </a:cubicBez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F47AD23F-8D1C-4FFB-BC57-0416E5F560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3808" y="3706178"/>
                  <a:ext cx="333996" cy="69907"/>
                </a:xfrm>
                <a:custGeom>
                  <a:avLst/>
                  <a:gdLst>
                    <a:gd name="connsiteX0" fmla="*/ 333996 w 333996"/>
                    <a:gd name="connsiteY0" fmla="*/ 0 h 69907"/>
                    <a:gd name="connsiteX1" fmla="*/ 333996 w 333996"/>
                    <a:gd name="connsiteY1" fmla="*/ 34954 h 69907"/>
                    <a:gd name="connsiteX2" fmla="*/ 316520 w 333996"/>
                    <a:gd name="connsiteY2" fmla="*/ 69907 h 69907"/>
                    <a:gd name="connsiteX3" fmla="*/ 319018 w 333996"/>
                    <a:gd name="connsiteY3" fmla="*/ 25528 h 69907"/>
                    <a:gd name="connsiteX4" fmla="*/ 331084 w 333996"/>
                    <a:gd name="connsiteY4" fmla="*/ 4713 h 69907"/>
                    <a:gd name="connsiteX5" fmla="*/ 0 w 333996"/>
                    <a:gd name="connsiteY5" fmla="*/ 0 h 69907"/>
                    <a:gd name="connsiteX6" fmla="*/ 2496 w 333996"/>
                    <a:gd name="connsiteY6" fmla="*/ 4713 h 69907"/>
                    <a:gd name="connsiteX7" fmla="*/ 14562 w 333996"/>
                    <a:gd name="connsiteY7" fmla="*/ 25528 h 69907"/>
                    <a:gd name="connsiteX8" fmla="*/ 17476 w 333996"/>
                    <a:gd name="connsiteY8" fmla="*/ 69907 h 69907"/>
                    <a:gd name="connsiteX9" fmla="*/ 0 w 333996"/>
                    <a:gd name="connsiteY9" fmla="*/ 34954 h 69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33996" h="69907">
                      <a:moveTo>
                        <a:pt x="333996" y="0"/>
                      </a:moveTo>
                      <a:lnTo>
                        <a:pt x="333996" y="34954"/>
                      </a:lnTo>
                      <a:cubicBezTo>
                        <a:pt x="333996" y="34954"/>
                        <a:pt x="327756" y="69907"/>
                        <a:pt x="316520" y="69907"/>
                      </a:cubicBezTo>
                      <a:cubicBezTo>
                        <a:pt x="310696" y="69514"/>
                        <a:pt x="317768" y="34561"/>
                        <a:pt x="319018" y="25528"/>
                      </a:cubicBezTo>
                      <a:cubicBezTo>
                        <a:pt x="320682" y="16495"/>
                        <a:pt x="331084" y="4713"/>
                        <a:pt x="331084" y="4713"/>
                      </a:cubicBezTo>
                      <a:close/>
                      <a:moveTo>
                        <a:pt x="0" y="0"/>
                      </a:moveTo>
                      <a:lnTo>
                        <a:pt x="2496" y="4713"/>
                      </a:lnTo>
                      <a:cubicBezTo>
                        <a:pt x="2496" y="4713"/>
                        <a:pt x="13314" y="16495"/>
                        <a:pt x="14562" y="25528"/>
                      </a:cubicBezTo>
                      <a:cubicBezTo>
                        <a:pt x="16228" y="34561"/>
                        <a:pt x="23300" y="69514"/>
                        <a:pt x="17476" y="69907"/>
                      </a:cubicBezTo>
                      <a:cubicBezTo>
                        <a:pt x="6240" y="69907"/>
                        <a:pt x="0" y="34954"/>
                        <a:pt x="0" y="34954"/>
                      </a:cubicBezTo>
                      <a:close/>
                    </a:path>
                  </a:pathLst>
                </a:custGeom>
                <a:solidFill>
                  <a:srgbClr val="F9D9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3D6F4CA5-3D01-4FB4-874C-D383034668C6}"/>
                  </a:ext>
                </a:extLst>
              </p:cNvPr>
              <p:cNvGrpSpPr/>
              <p:nvPr/>
            </p:nvGrpSpPr>
            <p:grpSpPr>
              <a:xfrm>
                <a:off x="6412846" y="1965758"/>
                <a:ext cx="849439" cy="2677243"/>
                <a:chOff x="17646986" y="4910092"/>
                <a:chExt cx="434975" cy="1370936"/>
              </a:xfrm>
            </p:grpSpPr>
            <p:sp>
              <p:nvSpPr>
                <p:cNvPr id="37" name="Freeform 747">
                  <a:extLst>
                    <a:ext uri="{FF2B5EF4-FFF2-40B4-BE49-F238E27FC236}">
                      <a16:creationId xmlns:a16="http://schemas.microsoft.com/office/drawing/2014/main" id="{554B223A-FF65-4E26-8CDA-5819F288A1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46986" y="4921742"/>
                  <a:ext cx="434975" cy="1273846"/>
                </a:xfrm>
                <a:custGeom>
                  <a:avLst/>
                  <a:gdLst>
                    <a:gd name="T0" fmla="*/ 1063 w 1097"/>
                    <a:gd name="T1" fmla="*/ 1606 h 3183"/>
                    <a:gd name="T2" fmla="*/ 1037 w 1097"/>
                    <a:gd name="T3" fmla="*/ 991 h 3183"/>
                    <a:gd name="T4" fmla="*/ 950 w 1097"/>
                    <a:gd name="T5" fmla="*/ 685 h 3183"/>
                    <a:gd name="T6" fmla="*/ 668 w 1097"/>
                    <a:gd name="T7" fmla="*/ 496 h 3183"/>
                    <a:gd name="T8" fmla="*/ 644 w 1097"/>
                    <a:gd name="T9" fmla="*/ 413 h 3183"/>
                    <a:gd name="T10" fmla="*/ 670 w 1097"/>
                    <a:gd name="T11" fmla="*/ 341 h 3183"/>
                    <a:gd name="T12" fmla="*/ 674 w 1097"/>
                    <a:gd name="T13" fmla="*/ 262 h 3183"/>
                    <a:gd name="T14" fmla="*/ 684 w 1097"/>
                    <a:gd name="T15" fmla="*/ 258 h 3183"/>
                    <a:gd name="T16" fmla="*/ 689 w 1097"/>
                    <a:gd name="T17" fmla="*/ 243 h 3183"/>
                    <a:gd name="T18" fmla="*/ 697 w 1097"/>
                    <a:gd name="T19" fmla="*/ 223 h 3183"/>
                    <a:gd name="T20" fmla="*/ 704 w 1097"/>
                    <a:gd name="T21" fmla="*/ 195 h 3183"/>
                    <a:gd name="T22" fmla="*/ 691 w 1097"/>
                    <a:gd name="T23" fmla="*/ 177 h 3183"/>
                    <a:gd name="T24" fmla="*/ 678 w 1097"/>
                    <a:gd name="T25" fmla="*/ 180 h 3183"/>
                    <a:gd name="T26" fmla="*/ 675 w 1097"/>
                    <a:gd name="T27" fmla="*/ 127 h 3183"/>
                    <a:gd name="T28" fmla="*/ 636 w 1097"/>
                    <a:gd name="T29" fmla="*/ 37 h 3183"/>
                    <a:gd name="T30" fmla="*/ 548 w 1097"/>
                    <a:gd name="T31" fmla="*/ 0 h 3183"/>
                    <a:gd name="T32" fmla="*/ 461 w 1097"/>
                    <a:gd name="T33" fmla="*/ 37 h 3183"/>
                    <a:gd name="T34" fmla="*/ 422 w 1097"/>
                    <a:gd name="T35" fmla="*/ 127 h 3183"/>
                    <a:gd name="T36" fmla="*/ 418 w 1097"/>
                    <a:gd name="T37" fmla="*/ 180 h 3183"/>
                    <a:gd name="T38" fmla="*/ 406 w 1097"/>
                    <a:gd name="T39" fmla="*/ 177 h 3183"/>
                    <a:gd name="T40" fmla="*/ 393 w 1097"/>
                    <a:gd name="T41" fmla="*/ 195 h 3183"/>
                    <a:gd name="T42" fmla="*/ 399 w 1097"/>
                    <a:gd name="T43" fmla="*/ 223 h 3183"/>
                    <a:gd name="T44" fmla="*/ 408 w 1097"/>
                    <a:gd name="T45" fmla="*/ 243 h 3183"/>
                    <a:gd name="T46" fmla="*/ 413 w 1097"/>
                    <a:gd name="T47" fmla="*/ 258 h 3183"/>
                    <a:gd name="T48" fmla="*/ 422 w 1097"/>
                    <a:gd name="T49" fmla="*/ 262 h 3183"/>
                    <a:gd name="T50" fmla="*/ 426 w 1097"/>
                    <a:gd name="T51" fmla="*/ 341 h 3183"/>
                    <a:gd name="T52" fmla="*/ 453 w 1097"/>
                    <a:gd name="T53" fmla="*/ 413 h 3183"/>
                    <a:gd name="T54" fmla="*/ 428 w 1097"/>
                    <a:gd name="T55" fmla="*/ 496 h 3183"/>
                    <a:gd name="T56" fmla="*/ 146 w 1097"/>
                    <a:gd name="T57" fmla="*/ 685 h 3183"/>
                    <a:gd name="T58" fmla="*/ 59 w 1097"/>
                    <a:gd name="T59" fmla="*/ 991 h 3183"/>
                    <a:gd name="T60" fmla="*/ 34 w 1097"/>
                    <a:gd name="T61" fmla="*/ 1606 h 3183"/>
                    <a:gd name="T62" fmla="*/ 49 w 1097"/>
                    <a:gd name="T63" fmla="*/ 1787 h 3183"/>
                    <a:gd name="T64" fmla="*/ 81 w 1097"/>
                    <a:gd name="T65" fmla="*/ 1971 h 3183"/>
                    <a:gd name="T66" fmla="*/ 129 w 1097"/>
                    <a:gd name="T67" fmla="*/ 1820 h 3183"/>
                    <a:gd name="T68" fmla="*/ 139 w 1097"/>
                    <a:gd name="T69" fmla="*/ 1716 h 3183"/>
                    <a:gd name="T70" fmla="*/ 168 w 1097"/>
                    <a:gd name="T71" fmla="*/ 1298 h 3183"/>
                    <a:gd name="T72" fmla="*/ 232 w 1097"/>
                    <a:gd name="T73" fmla="*/ 917 h 3183"/>
                    <a:gd name="T74" fmla="*/ 213 w 1097"/>
                    <a:gd name="T75" fmla="*/ 1210 h 3183"/>
                    <a:gd name="T76" fmla="*/ 187 w 1097"/>
                    <a:gd name="T77" fmla="*/ 1459 h 3183"/>
                    <a:gd name="T78" fmla="*/ 204 w 1097"/>
                    <a:gd name="T79" fmla="*/ 2053 h 3183"/>
                    <a:gd name="T80" fmla="*/ 272 w 1097"/>
                    <a:gd name="T81" fmla="*/ 2436 h 3183"/>
                    <a:gd name="T82" fmla="*/ 390 w 1097"/>
                    <a:gd name="T83" fmla="*/ 3143 h 3183"/>
                    <a:gd name="T84" fmla="*/ 499 w 1097"/>
                    <a:gd name="T85" fmla="*/ 3182 h 3183"/>
                    <a:gd name="T86" fmla="*/ 513 w 1097"/>
                    <a:gd name="T87" fmla="*/ 2515 h 3183"/>
                    <a:gd name="T88" fmla="*/ 544 w 1097"/>
                    <a:gd name="T89" fmla="*/ 1844 h 3183"/>
                    <a:gd name="T90" fmla="*/ 555 w 1097"/>
                    <a:gd name="T91" fmla="*/ 1825 h 3183"/>
                    <a:gd name="T92" fmla="*/ 566 w 1097"/>
                    <a:gd name="T93" fmla="*/ 1844 h 3183"/>
                    <a:gd name="T94" fmla="*/ 583 w 1097"/>
                    <a:gd name="T95" fmla="*/ 2515 h 3183"/>
                    <a:gd name="T96" fmla="*/ 597 w 1097"/>
                    <a:gd name="T97" fmla="*/ 3182 h 3183"/>
                    <a:gd name="T98" fmla="*/ 706 w 1097"/>
                    <a:gd name="T99" fmla="*/ 3143 h 3183"/>
                    <a:gd name="T100" fmla="*/ 824 w 1097"/>
                    <a:gd name="T101" fmla="*/ 2436 h 3183"/>
                    <a:gd name="T102" fmla="*/ 894 w 1097"/>
                    <a:gd name="T103" fmla="*/ 2053 h 3183"/>
                    <a:gd name="T104" fmla="*/ 909 w 1097"/>
                    <a:gd name="T105" fmla="*/ 1459 h 3183"/>
                    <a:gd name="T106" fmla="*/ 883 w 1097"/>
                    <a:gd name="T107" fmla="*/ 1210 h 3183"/>
                    <a:gd name="T108" fmla="*/ 865 w 1097"/>
                    <a:gd name="T109" fmla="*/ 917 h 3183"/>
                    <a:gd name="T110" fmla="*/ 929 w 1097"/>
                    <a:gd name="T111" fmla="*/ 1298 h 3183"/>
                    <a:gd name="T112" fmla="*/ 957 w 1097"/>
                    <a:gd name="T113" fmla="*/ 1716 h 3183"/>
                    <a:gd name="T114" fmla="*/ 968 w 1097"/>
                    <a:gd name="T115" fmla="*/ 1820 h 3183"/>
                    <a:gd name="T116" fmla="*/ 1016 w 1097"/>
                    <a:gd name="T117" fmla="*/ 1971 h 3183"/>
                    <a:gd name="T118" fmla="*/ 1047 w 1097"/>
                    <a:gd name="T119" fmla="*/ 1787 h 3183"/>
                    <a:gd name="T120" fmla="*/ 1063 w 1097"/>
                    <a:gd name="T121" fmla="*/ 1606 h 3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97" h="3183">
                      <a:moveTo>
                        <a:pt x="1063" y="1606"/>
                      </a:moveTo>
                      <a:cubicBezTo>
                        <a:pt x="1097" y="1327"/>
                        <a:pt x="1037" y="991"/>
                        <a:pt x="1037" y="991"/>
                      </a:cubicBezTo>
                      <a:cubicBezTo>
                        <a:pt x="1029" y="776"/>
                        <a:pt x="950" y="685"/>
                        <a:pt x="950" y="685"/>
                      </a:cubicBezTo>
                      <a:cubicBezTo>
                        <a:pt x="871" y="572"/>
                        <a:pt x="725" y="569"/>
                        <a:pt x="668" y="496"/>
                      </a:cubicBezTo>
                      <a:cubicBezTo>
                        <a:pt x="654" y="475"/>
                        <a:pt x="642" y="467"/>
                        <a:pt x="644" y="413"/>
                      </a:cubicBezTo>
                      <a:cubicBezTo>
                        <a:pt x="644" y="377"/>
                        <a:pt x="643" y="390"/>
                        <a:pt x="670" y="341"/>
                      </a:cubicBezTo>
                      <a:cubicBezTo>
                        <a:pt x="686" y="312"/>
                        <a:pt x="671" y="276"/>
                        <a:pt x="674" y="262"/>
                      </a:cubicBezTo>
                      <a:cubicBezTo>
                        <a:pt x="678" y="262"/>
                        <a:pt x="681" y="260"/>
                        <a:pt x="684" y="258"/>
                      </a:cubicBezTo>
                      <a:cubicBezTo>
                        <a:pt x="688" y="253"/>
                        <a:pt x="688" y="249"/>
                        <a:pt x="689" y="243"/>
                      </a:cubicBezTo>
                      <a:cubicBezTo>
                        <a:pt x="689" y="236"/>
                        <a:pt x="697" y="223"/>
                        <a:pt x="697" y="223"/>
                      </a:cubicBezTo>
                      <a:cubicBezTo>
                        <a:pt x="697" y="223"/>
                        <a:pt x="707" y="209"/>
                        <a:pt x="704" y="195"/>
                      </a:cubicBezTo>
                      <a:cubicBezTo>
                        <a:pt x="700" y="182"/>
                        <a:pt x="696" y="178"/>
                        <a:pt x="691" y="177"/>
                      </a:cubicBezTo>
                      <a:cubicBezTo>
                        <a:pt x="687" y="175"/>
                        <a:pt x="682" y="177"/>
                        <a:pt x="678" y="180"/>
                      </a:cubicBezTo>
                      <a:cubicBezTo>
                        <a:pt x="677" y="159"/>
                        <a:pt x="675" y="127"/>
                        <a:pt x="675" y="127"/>
                      </a:cubicBezTo>
                      <a:cubicBezTo>
                        <a:pt x="672" y="92"/>
                        <a:pt x="658" y="60"/>
                        <a:pt x="636" y="37"/>
                      </a:cubicBezTo>
                      <a:cubicBezTo>
                        <a:pt x="614" y="14"/>
                        <a:pt x="584" y="0"/>
                        <a:pt x="548" y="0"/>
                      </a:cubicBezTo>
                      <a:cubicBezTo>
                        <a:pt x="513" y="0"/>
                        <a:pt x="482" y="14"/>
                        <a:pt x="461" y="37"/>
                      </a:cubicBezTo>
                      <a:cubicBezTo>
                        <a:pt x="438" y="60"/>
                        <a:pt x="424" y="92"/>
                        <a:pt x="422" y="127"/>
                      </a:cubicBezTo>
                      <a:cubicBezTo>
                        <a:pt x="422" y="127"/>
                        <a:pt x="419" y="159"/>
                        <a:pt x="418" y="180"/>
                      </a:cubicBezTo>
                      <a:cubicBezTo>
                        <a:pt x="414" y="177"/>
                        <a:pt x="410" y="175"/>
                        <a:pt x="406" y="177"/>
                      </a:cubicBezTo>
                      <a:cubicBezTo>
                        <a:pt x="400" y="178"/>
                        <a:pt x="396" y="182"/>
                        <a:pt x="393" y="195"/>
                      </a:cubicBezTo>
                      <a:cubicBezTo>
                        <a:pt x="390" y="209"/>
                        <a:pt x="399" y="223"/>
                        <a:pt x="399" y="223"/>
                      </a:cubicBezTo>
                      <a:cubicBezTo>
                        <a:pt x="399" y="223"/>
                        <a:pt x="407" y="236"/>
                        <a:pt x="408" y="243"/>
                      </a:cubicBezTo>
                      <a:cubicBezTo>
                        <a:pt x="408" y="249"/>
                        <a:pt x="409" y="253"/>
                        <a:pt x="413" y="258"/>
                      </a:cubicBezTo>
                      <a:cubicBezTo>
                        <a:pt x="415" y="260"/>
                        <a:pt x="418" y="262"/>
                        <a:pt x="422" y="262"/>
                      </a:cubicBezTo>
                      <a:cubicBezTo>
                        <a:pt x="426" y="276"/>
                        <a:pt x="410" y="312"/>
                        <a:pt x="426" y="341"/>
                      </a:cubicBezTo>
                      <a:cubicBezTo>
                        <a:pt x="454" y="390"/>
                        <a:pt x="452" y="377"/>
                        <a:pt x="453" y="413"/>
                      </a:cubicBezTo>
                      <a:cubicBezTo>
                        <a:pt x="454" y="467"/>
                        <a:pt x="443" y="475"/>
                        <a:pt x="428" y="496"/>
                      </a:cubicBezTo>
                      <a:cubicBezTo>
                        <a:pt x="372" y="569"/>
                        <a:pt x="226" y="572"/>
                        <a:pt x="146" y="685"/>
                      </a:cubicBezTo>
                      <a:cubicBezTo>
                        <a:pt x="146" y="685"/>
                        <a:pt x="68" y="776"/>
                        <a:pt x="59" y="991"/>
                      </a:cubicBezTo>
                      <a:cubicBezTo>
                        <a:pt x="59" y="991"/>
                        <a:pt x="0" y="1327"/>
                        <a:pt x="34" y="1606"/>
                      </a:cubicBezTo>
                      <a:cubicBezTo>
                        <a:pt x="34" y="1606"/>
                        <a:pt x="55" y="1726"/>
                        <a:pt x="49" y="1787"/>
                      </a:cubicBezTo>
                      <a:cubicBezTo>
                        <a:pt x="43" y="1849"/>
                        <a:pt x="50" y="1962"/>
                        <a:pt x="81" y="1971"/>
                      </a:cubicBezTo>
                      <a:cubicBezTo>
                        <a:pt x="112" y="1981"/>
                        <a:pt x="129" y="1820"/>
                        <a:pt x="129" y="1820"/>
                      </a:cubicBezTo>
                      <a:cubicBezTo>
                        <a:pt x="129" y="1820"/>
                        <a:pt x="152" y="1828"/>
                        <a:pt x="139" y="1716"/>
                      </a:cubicBezTo>
                      <a:cubicBezTo>
                        <a:pt x="127" y="1604"/>
                        <a:pt x="172" y="1375"/>
                        <a:pt x="168" y="1298"/>
                      </a:cubicBezTo>
                      <a:cubicBezTo>
                        <a:pt x="163" y="1221"/>
                        <a:pt x="200" y="1003"/>
                        <a:pt x="232" y="917"/>
                      </a:cubicBezTo>
                      <a:cubicBezTo>
                        <a:pt x="231" y="917"/>
                        <a:pt x="217" y="1127"/>
                        <a:pt x="213" y="1210"/>
                      </a:cubicBezTo>
                      <a:cubicBezTo>
                        <a:pt x="213" y="1210"/>
                        <a:pt x="205" y="1358"/>
                        <a:pt x="187" y="1459"/>
                      </a:cubicBezTo>
                      <a:cubicBezTo>
                        <a:pt x="146" y="1696"/>
                        <a:pt x="165" y="1871"/>
                        <a:pt x="204" y="2053"/>
                      </a:cubicBezTo>
                      <a:cubicBezTo>
                        <a:pt x="217" y="2114"/>
                        <a:pt x="265" y="2345"/>
                        <a:pt x="272" y="2436"/>
                      </a:cubicBezTo>
                      <a:cubicBezTo>
                        <a:pt x="280" y="2527"/>
                        <a:pt x="402" y="3118"/>
                        <a:pt x="390" y="3143"/>
                      </a:cubicBezTo>
                      <a:cubicBezTo>
                        <a:pt x="427" y="3156"/>
                        <a:pt x="463" y="3169"/>
                        <a:pt x="499" y="3182"/>
                      </a:cubicBezTo>
                      <a:cubicBezTo>
                        <a:pt x="499" y="3183"/>
                        <a:pt x="518" y="2667"/>
                        <a:pt x="513" y="2515"/>
                      </a:cubicBezTo>
                      <a:cubicBezTo>
                        <a:pt x="507" y="2363"/>
                        <a:pt x="544" y="1844"/>
                        <a:pt x="544" y="1844"/>
                      </a:cubicBezTo>
                      <a:cubicBezTo>
                        <a:pt x="548" y="1838"/>
                        <a:pt x="551" y="1831"/>
                        <a:pt x="555" y="1825"/>
                      </a:cubicBezTo>
                      <a:lnTo>
                        <a:pt x="566" y="1844"/>
                      </a:lnTo>
                      <a:cubicBezTo>
                        <a:pt x="566" y="1844"/>
                        <a:pt x="589" y="2363"/>
                        <a:pt x="583" y="2515"/>
                      </a:cubicBezTo>
                      <a:cubicBezTo>
                        <a:pt x="578" y="2667"/>
                        <a:pt x="598" y="3182"/>
                        <a:pt x="597" y="3182"/>
                      </a:cubicBezTo>
                      <a:cubicBezTo>
                        <a:pt x="633" y="3169"/>
                        <a:pt x="670" y="3156"/>
                        <a:pt x="706" y="3143"/>
                      </a:cubicBezTo>
                      <a:cubicBezTo>
                        <a:pt x="694" y="3118"/>
                        <a:pt x="817" y="2527"/>
                        <a:pt x="824" y="2436"/>
                      </a:cubicBezTo>
                      <a:cubicBezTo>
                        <a:pt x="831" y="2345"/>
                        <a:pt x="887" y="2115"/>
                        <a:pt x="894" y="2053"/>
                      </a:cubicBezTo>
                      <a:cubicBezTo>
                        <a:pt x="913" y="1867"/>
                        <a:pt x="950" y="1696"/>
                        <a:pt x="909" y="1459"/>
                      </a:cubicBezTo>
                      <a:cubicBezTo>
                        <a:pt x="892" y="1358"/>
                        <a:pt x="883" y="1210"/>
                        <a:pt x="883" y="1210"/>
                      </a:cubicBezTo>
                      <a:cubicBezTo>
                        <a:pt x="880" y="1127"/>
                        <a:pt x="865" y="917"/>
                        <a:pt x="865" y="917"/>
                      </a:cubicBezTo>
                      <a:cubicBezTo>
                        <a:pt x="896" y="1003"/>
                        <a:pt x="933" y="1221"/>
                        <a:pt x="929" y="1298"/>
                      </a:cubicBezTo>
                      <a:cubicBezTo>
                        <a:pt x="925" y="1375"/>
                        <a:pt x="969" y="1604"/>
                        <a:pt x="957" y="1716"/>
                      </a:cubicBezTo>
                      <a:cubicBezTo>
                        <a:pt x="945" y="1828"/>
                        <a:pt x="968" y="1820"/>
                        <a:pt x="968" y="1820"/>
                      </a:cubicBezTo>
                      <a:cubicBezTo>
                        <a:pt x="968" y="1820"/>
                        <a:pt x="985" y="1981"/>
                        <a:pt x="1016" y="1971"/>
                      </a:cubicBezTo>
                      <a:cubicBezTo>
                        <a:pt x="1047" y="1962"/>
                        <a:pt x="1053" y="1849"/>
                        <a:pt x="1047" y="1787"/>
                      </a:cubicBezTo>
                      <a:cubicBezTo>
                        <a:pt x="1041" y="1726"/>
                        <a:pt x="1063" y="1606"/>
                        <a:pt x="1063" y="1606"/>
                      </a:cubicBezTo>
                    </a:path>
                  </a:pathLst>
                </a:custGeom>
                <a:solidFill>
                  <a:srgbClr val="F9D9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FFA0FC99-7712-4E72-B690-78A33BCFA6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39262" y="6172285"/>
                  <a:ext cx="254225" cy="108743"/>
                </a:xfrm>
                <a:custGeom>
                  <a:avLst/>
                  <a:gdLst>
                    <a:gd name="connsiteX0" fmla="*/ 197612 w 254225"/>
                    <a:gd name="connsiteY0" fmla="*/ 0 h 108744"/>
                    <a:gd name="connsiteX1" fmla="*/ 216700 w 254225"/>
                    <a:gd name="connsiteY1" fmla="*/ 55798 h 108744"/>
                    <a:gd name="connsiteX2" fmla="*/ 250102 w 254225"/>
                    <a:gd name="connsiteY2" fmla="*/ 93675 h 108744"/>
                    <a:gd name="connsiteX3" fmla="*/ 246524 w 254225"/>
                    <a:gd name="connsiteY3" fmla="*/ 108744 h 108744"/>
                    <a:gd name="connsiteX4" fmla="*/ 184092 w 254225"/>
                    <a:gd name="connsiteY4" fmla="*/ 108744 h 108744"/>
                    <a:gd name="connsiteX5" fmla="*/ 162222 w 254225"/>
                    <a:gd name="connsiteY5" fmla="*/ 65165 h 108744"/>
                    <a:gd name="connsiteX6" fmla="*/ 162620 w 254225"/>
                    <a:gd name="connsiteY6" fmla="*/ 92046 h 108744"/>
                    <a:gd name="connsiteX7" fmla="*/ 149498 w 254225"/>
                    <a:gd name="connsiteY7" fmla="*/ 88380 h 108744"/>
                    <a:gd name="connsiteX8" fmla="*/ 141544 w 254225"/>
                    <a:gd name="connsiteY8" fmla="*/ 50096 h 108744"/>
                    <a:gd name="connsiteX9" fmla="*/ 140750 w 254225"/>
                    <a:gd name="connsiteY9" fmla="*/ 21179 h 108744"/>
                    <a:gd name="connsiteX10" fmla="*/ 56302 w 254225"/>
                    <a:gd name="connsiteY10" fmla="*/ 0 h 108744"/>
                    <a:gd name="connsiteX11" fmla="*/ 113564 w 254225"/>
                    <a:gd name="connsiteY11" fmla="*/ 21179 h 108744"/>
                    <a:gd name="connsiteX12" fmla="*/ 112768 w 254225"/>
                    <a:gd name="connsiteY12" fmla="*/ 50096 h 108744"/>
                    <a:gd name="connsiteX13" fmla="*/ 104816 w 254225"/>
                    <a:gd name="connsiteY13" fmla="*/ 88380 h 108744"/>
                    <a:gd name="connsiteX14" fmla="*/ 91296 w 254225"/>
                    <a:gd name="connsiteY14" fmla="*/ 92046 h 108744"/>
                    <a:gd name="connsiteX15" fmla="*/ 92090 w 254225"/>
                    <a:gd name="connsiteY15" fmla="*/ 65165 h 108744"/>
                    <a:gd name="connsiteX16" fmla="*/ 70220 w 254225"/>
                    <a:gd name="connsiteY16" fmla="*/ 108744 h 108744"/>
                    <a:gd name="connsiteX17" fmla="*/ 7790 w 254225"/>
                    <a:gd name="connsiteY17" fmla="*/ 108744 h 108744"/>
                    <a:gd name="connsiteX18" fmla="*/ 3814 w 254225"/>
                    <a:gd name="connsiteY18" fmla="*/ 93675 h 108744"/>
                    <a:gd name="connsiteX19" fmla="*/ 37216 w 254225"/>
                    <a:gd name="connsiteY19" fmla="*/ 55798 h 108744"/>
                    <a:gd name="connsiteX20" fmla="*/ 56302 w 254225"/>
                    <a:gd name="connsiteY20" fmla="*/ 0 h 108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54225" h="108744">
                      <a:moveTo>
                        <a:pt x="197612" y="0"/>
                      </a:moveTo>
                      <a:cubicBezTo>
                        <a:pt x="205168" y="26066"/>
                        <a:pt x="208746" y="43987"/>
                        <a:pt x="216700" y="55798"/>
                      </a:cubicBezTo>
                      <a:lnTo>
                        <a:pt x="250102" y="93675"/>
                      </a:lnTo>
                      <a:cubicBezTo>
                        <a:pt x="257260" y="97748"/>
                        <a:pt x="254476" y="108744"/>
                        <a:pt x="246524" y="108744"/>
                      </a:cubicBezTo>
                      <a:lnTo>
                        <a:pt x="184092" y="108744"/>
                      </a:lnTo>
                      <a:lnTo>
                        <a:pt x="162222" y="65165"/>
                      </a:lnTo>
                      <a:lnTo>
                        <a:pt x="162620" y="92046"/>
                      </a:lnTo>
                      <a:lnTo>
                        <a:pt x="149498" y="88380"/>
                      </a:lnTo>
                      <a:lnTo>
                        <a:pt x="141544" y="50096"/>
                      </a:lnTo>
                      <a:lnTo>
                        <a:pt x="140750" y="21179"/>
                      </a:lnTo>
                      <a:close/>
                      <a:moveTo>
                        <a:pt x="56302" y="0"/>
                      </a:moveTo>
                      <a:lnTo>
                        <a:pt x="113564" y="21179"/>
                      </a:lnTo>
                      <a:lnTo>
                        <a:pt x="112768" y="50096"/>
                      </a:lnTo>
                      <a:lnTo>
                        <a:pt x="104816" y="88380"/>
                      </a:lnTo>
                      <a:lnTo>
                        <a:pt x="91296" y="92046"/>
                      </a:lnTo>
                      <a:lnTo>
                        <a:pt x="92090" y="65165"/>
                      </a:lnTo>
                      <a:lnTo>
                        <a:pt x="70220" y="108744"/>
                      </a:lnTo>
                      <a:lnTo>
                        <a:pt x="7790" y="108744"/>
                      </a:lnTo>
                      <a:cubicBezTo>
                        <a:pt x="-164" y="108744"/>
                        <a:pt x="-2946" y="97748"/>
                        <a:pt x="3814" y="93675"/>
                      </a:cubicBezTo>
                      <a:lnTo>
                        <a:pt x="37216" y="55798"/>
                      </a:lnTo>
                      <a:cubicBezTo>
                        <a:pt x="45566" y="43987"/>
                        <a:pt x="49144" y="26066"/>
                        <a:pt x="56302" y="0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39" name="Freeform 818">
                  <a:extLst>
                    <a:ext uri="{FF2B5EF4-FFF2-40B4-BE49-F238E27FC236}">
                      <a16:creationId xmlns:a16="http://schemas.microsoft.com/office/drawing/2014/main" id="{33821BBE-6275-449E-B464-AD24298BDB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01358" y="5512060"/>
                  <a:ext cx="330116" cy="683527"/>
                </a:xfrm>
                <a:custGeom>
                  <a:avLst/>
                  <a:gdLst>
                    <a:gd name="T0" fmla="*/ 760 w 826"/>
                    <a:gd name="T1" fmla="*/ 0 h 1704"/>
                    <a:gd name="T2" fmla="*/ 78 w 826"/>
                    <a:gd name="T3" fmla="*/ 0 h 1704"/>
                    <a:gd name="T4" fmla="*/ 13 w 826"/>
                    <a:gd name="T5" fmla="*/ 319 h 1704"/>
                    <a:gd name="T6" fmla="*/ 83 w 826"/>
                    <a:gd name="T7" fmla="*/ 829 h 1704"/>
                    <a:gd name="T8" fmla="*/ 137 w 826"/>
                    <a:gd name="T9" fmla="*/ 1163 h 1704"/>
                    <a:gd name="T10" fmla="*/ 233 w 826"/>
                    <a:gd name="T11" fmla="*/ 1652 h 1704"/>
                    <a:gd name="T12" fmla="*/ 381 w 826"/>
                    <a:gd name="T13" fmla="*/ 1704 h 1704"/>
                    <a:gd name="T14" fmla="*/ 393 w 826"/>
                    <a:gd name="T15" fmla="*/ 1200 h 1704"/>
                    <a:gd name="T16" fmla="*/ 383 w 826"/>
                    <a:gd name="T17" fmla="*/ 889 h 1704"/>
                    <a:gd name="T18" fmla="*/ 413 w 826"/>
                    <a:gd name="T19" fmla="*/ 384 h 1704"/>
                    <a:gd name="T20" fmla="*/ 421 w 826"/>
                    <a:gd name="T21" fmla="*/ 377 h 1704"/>
                    <a:gd name="T22" fmla="*/ 428 w 826"/>
                    <a:gd name="T23" fmla="*/ 384 h 1704"/>
                    <a:gd name="T24" fmla="*/ 443 w 826"/>
                    <a:gd name="T25" fmla="*/ 889 h 1704"/>
                    <a:gd name="T26" fmla="*/ 433 w 826"/>
                    <a:gd name="T27" fmla="*/ 1200 h 1704"/>
                    <a:gd name="T28" fmla="*/ 443 w 826"/>
                    <a:gd name="T29" fmla="*/ 1704 h 1704"/>
                    <a:gd name="T30" fmla="*/ 597 w 826"/>
                    <a:gd name="T31" fmla="*/ 1652 h 1704"/>
                    <a:gd name="T32" fmla="*/ 688 w 826"/>
                    <a:gd name="T33" fmla="*/ 1163 h 1704"/>
                    <a:gd name="T34" fmla="*/ 744 w 826"/>
                    <a:gd name="T35" fmla="*/ 825 h 1704"/>
                    <a:gd name="T36" fmla="*/ 813 w 826"/>
                    <a:gd name="T37" fmla="*/ 319 h 1704"/>
                    <a:gd name="T38" fmla="*/ 760 w 826"/>
                    <a:gd name="T39" fmla="*/ 0 h 17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26" h="1704">
                      <a:moveTo>
                        <a:pt x="760" y="0"/>
                      </a:moveTo>
                      <a:lnTo>
                        <a:pt x="78" y="0"/>
                      </a:lnTo>
                      <a:cubicBezTo>
                        <a:pt x="67" y="30"/>
                        <a:pt x="0" y="184"/>
                        <a:pt x="13" y="319"/>
                      </a:cubicBezTo>
                      <a:cubicBezTo>
                        <a:pt x="20" y="403"/>
                        <a:pt x="67" y="643"/>
                        <a:pt x="83" y="829"/>
                      </a:cubicBezTo>
                      <a:cubicBezTo>
                        <a:pt x="87" y="888"/>
                        <a:pt x="116" y="1013"/>
                        <a:pt x="137" y="1163"/>
                      </a:cubicBezTo>
                      <a:cubicBezTo>
                        <a:pt x="150" y="1243"/>
                        <a:pt x="221" y="1594"/>
                        <a:pt x="233" y="1652"/>
                      </a:cubicBezTo>
                      <a:cubicBezTo>
                        <a:pt x="279" y="1662"/>
                        <a:pt x="336" y="1694"/>
                        <a:pt x="381" y="1704"/>
                      </a:cubicBezTo>
                      <a:cubicBezTo>
                        <a:pt x="385" y="1652"/>
                        <a:pt x="393" y="1263"/>
                        <a:pt x="393" y="1200"/>
                      </a:cubicBezTo>
                      <a:cubicBezTo>
                        <a:pt x="393" y="1122"/>
                        <a:pt x="381" y="942"/>
                        <a:pt x="383" y="889"/>
                      </a:cubicBezTo>
                      <a:cubicBezTo>
                        <a:pt x="384" y="838"/>
                        <a:pt x="405" y="532"/>
                        <a:pt x="413" y="384"/>
                      </a:cubicBezTo>
                      <a:cubicBezTo>
                        <a:pt x="413" y="379"/>
                        <a:pt x="417" y="377"/>
                        <a:pt x="421" y="377"/>
                      </a:cubicBezTo>
                      <a:cubicBezTo>
                        <a:pt x="424" y="377"/>
                        <a:pt x="428" y="379"/>
                        <a:pt x="428" y="384"/>
                      </a:cubicBezTo>
                      <a:cubicBezTo>
                        <a:pt x="436" y="532"/>
                        <a:pt x="442" y="838"/>
                        <a:pt x="443" y="889"/>
                      </a:cubicBezTo>
                      <a:cubicBezTo>
                        <a:pt x="445" y="942"/>
                        <a:pt x="434" y="1122"/>
                        <a:pt x="433" y="1200"/>
                      </a:cubicBezTo>
                      <a:cubicBezTo>
                        <a:pt x="433" y="1263"/>
                        <a:pt x="439" y="1652"/>
                        <a:pt x="443" y="1704"/>
                      </a:cubicBezTo>
                      <a:cubicBezTo>
                        <a:pt x="489" y="1695"/>
                        <a:pt x="550" y="1661"/>
                        <a:pt x="597" y="1652"/>
                      </a:cubicBezTo>
                      <a:cubicBezTo>
                        <a:pt x="609" y="1594"/>
                        <a:pt x="676" y="1243"/>
                        <a:pt x="688" y="1163"/>
                      </a:cubicBezTo>
                      <a:cubicBezTo>
                        <a:pt x="710" y="1013"/>
                        <a:pt x="740" y="884"/>
                        <a:pt x="744" y="825"/>
                      </a:cubicBezTo>
                      <a:cubicBezTo>
                        <a:pt x="760" y="640"/>
                        <a:pt x="805" y="403"/>
                        <a:pt x="813" y="319"/>
                      </a:cubicBezTo>
                      <a:cubicBezTo>
                        <a:pt x="826" y="184"/>
                        <a:pt x="771" y="30"/>
                        <a:pt x="760" y="0"/>
                      </a:cubicBezTo>
                    </a:path>
                  </a:pathLst>
                </a:custGeom>
                <a:solidFill>
                  <a:srgbClr val="BFB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0" name="Freeform 960">
                  <a:extLst>
                    <a:ext uri="{FF2B5EF4-FFF2-40B4-BE49-F238E27FC236}">
                      <a16:creationId xmlns:a16="http://schemas.microsoft.com/office/drawing/2014/main" id="{BC70610E-F3E3-4643-B40F-8E20220DB9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79035" y="4910092"/>
                  <a:ext cx="170883" cy="205837"/>
                </a:xfrm>
                <a:custGeom>
                  <a:avLst/>
                  <a:gdLst>
                    <a:gd name="T0" fmla="*/ 408 w 432"/>
                    <a:gd name="T1" fmla="*/ 353 h 517"/>
                    <a:gd name="T2" fmla="*/ 396 w 432"/>
                    <a:gd name="T3" fmla="*/ 242 h 517"/>
                    <a:gd name="T4" fmla="*/ 356 w 432"/>
                    <a:gd name="T5" fmla="*/ 79 h 517"/>
                    <a:gd name="T6" fmla="*/ 220 w 432"/>
                    <a:gd name="T7" fmla="*/ 0 h 517"/>
                    <a:gd name="T8" fmla="*/ 212 w 432"/>
                    <a:gd name="T9" fmla="*/ 0 h 517"/>
                    <a:gd name="T10" fmla="*/ 76 w 432"/>
                    <a:gd name="T11" fmla="*/ 79 h 517"/>
                    <a:gd name="T12" fmla="*/ 37 w 432"/>
                    <a:gd name="T13" fmla="*/ 242 h 517"/>
                    <a:gd name="T14" fmla="*/ 25 w 432"/>
                    <a:gd name="T15" fmla="*/ 353 h 517"/>
                    <a:gd name="T16" fmla="*/ 41 w 432"/>
                    <a:gd name="T17" fmla="*/ 489 h 517"/>
                    <a:gd name="T18" fmla="*/ 118 w 432"/>
                    <a:gd name="T19" fmla="*/ 509 h 517"/>
                    <a:gd name="T20" fmla="*/ 121 w 432"/>
                    <a:gd name="T21" fmla="*/ 414 h 517"/>
                    <a:gd name="T22" fmla="*/ 104 w 432"/>
                    <a:gd name="T23" fmla="*/ 383 h 517"/>
                    <a:gd name="T24" fmla="*/ 97 w 432"/>
                    <a:gd name="T25" fmla="*/ 298 h 517"/>
                    <a:gd name="T26" fmla="*/ 86 w 432"/>
                    <a:gd name="T27" fmla="*/ 295 h 517"/>
                    <a:gd name="T28" fmla="*/ 82 w 432"/>
                    <a:gd name="T29" fmla="*/ 281 h 517"/>
                    <a:gd name="T30" fmla="*/ 75 w 432"/>
                    <a:gd name="T31" fmla="*/ 262 h 517"/>
                    <a:gd name="T32" fmla="*/ 68 w 432"/>
                    <a:gd name="T33" fmla="*/ 238 h 517"/>
                    <a:gd name="T34" fmla="*/ 75 w 432"/>
                    <a:gd name="T35" fmla="*/ 221 h 517"/>
                    <a:gd name="T36" fmla="*/ 90 w 432"/>
                    <a:gd name="T37" fmla="*/ 224 h 517"/>
                    <a:gd name="T38" fmla="*/ 254 w 432"/>
                    <a:gd name="T39" fmla="*/ 115 h 517"/>
                    <a:gd name="T40" fmla="*/ 343 w 432"/>
                    <a:gd name="T41" fmla="*/ 224 h 517"/>
                    <a:gd name="T42" fmla="*/ 355 w 432"/>
                    <a:gd name="T43" fmla="*/ 220 h 517"/>
                    <a:gd name="T44" fmla="*/ 366 w 432"/>
                    <a:gd name="T45" fmla="*/ 239 h 517"/>
                    <a:gd name="T46" fmla="*/ 359 w 432"/>
                    <a:gd name="T47" fmla="*/ 260 h 517"/>
                    <a:gd name="T48" fmla="*/ 352 w 432"/>
                    <a:gd name="T49" fmla="*/ 277 h 517"/>
                    <a:gd name="T50" fmla="*/ 347 w 432"/>
                    <a:gd name="T51" fmla="*/ 292 h 517"/>
                    <a:gd name="T52" fmla="*/ 337 w 432"/>
                    <a:gd name="T53" fmla="*/ 296 h 517"/>
                    <a:gd name="T54" fmla="*/ 328 w 432"/>
                    <a:gd name="T55" fmla="*/ 378 h 517"/>
                    <a:gd name="T56" fmla="*/ 311 w 432"/>
                    <a:gd name="T57" fmla="*/ 409 h 517"/>
                    <a:gd name="T58" fmla="*/ 312 w 432"/>
                    <a:gd name="T59" fmla="*/ 508 h 517"/>
                    <a:gd name="T60" fmla="*/ 392 w 432"/>
                    <a:gd name="T61" fmla="*/ 489 h 517"/>
                    <a:gd name="T62" fmla="*/ 408 w 432"/>
                    <a:gd name="T63" fmla="*/ 353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32" h="517">
                      <a:moveTo>
                        <a:pt x="408" y="353"/>
                      </a:moveTo>
                      <a:cubicBezTo>
                        <a:pt x="397" y="313"/>
                        <a:pt x="399" y="288"/>
                        <a:pt x="396" y="242"/>
                      </a:cubicBezTo>
                      <a:cubicBezTo>
                        <a:pt x="392" y="180"/>
                        <a:pt x="387" y="116"/>
                        <a:pt x="356" y="79"/>
                      </a:cubicBezTo>
                      <a:cubicBezTo>
                        <a:pt x="340" y="58"/>
                        <a:pt x="291" y="0"/>
                        <a:pt x="220" y="0"/>
                      </a:cubicBezTo>
                      <a:lnTo>
                        <a:pt x="212" y="0"/>
                      </a:lnTo>
                      <a:cubicBezTo>
                        <a:pt x="141" y="0"/>
                        <a:pt x="93" y="58"/>
                        <a:pt x="76" y="79"/>
                      </a:cubicBezTo>
                      <a:cubicBezTo>
                        <a:pt x="46" y="116"/>
                        <a:pt x="41" y="180"/>
                        <a:pt x="37" y="242"/>
                      </a:cubicBezTo>
                      <a:cubicBezTo>
                        <a:pt x="34" y="288"/>
                        <a:pt x="35" y="313"/>
                        <a:pt x="25" y="353"/>
                      </a:cubicBezTo>
                      <a:cubicBezTo>
                        <a:pt x="0" y="447"/>
                        <a:pt x="41" y="489"/>
                        <a:pt x="41" y="489"/>
                      </a:cubicBezTo>
                      <a:cubicBezTo>
                        <a:pt x="69" y="517"/>
                        <a:pt x="118" y="509"/>
                        <a:pt x="118" y="509"/>
                      </a:cubicBezTo>
                      <a:cubicBezTo>
                        <a:pt x="118" y="509"/>
                        <a:pt x="145" y="449"/>
                        <a:pt x="121" y="414"/>
                      </a:cubicBezTo>
                      <a:cubicBezTo>
                        <a:pt x="121" y="413"/>
                        <a:pt x="111" y="398"/>
                        <a:pt x="104" y="383"/>
                      </a:cubicBezTo>
                      <a:cubicBezTo>
                        <a:pt x="88" y="355"/>
                        <a:pt x="100" y="312"/>
                        <a:pt x="97" y="298"/>
                      </a:cubicBezTo>
                      <a:cubicBezTo>
                        <a:pt x="93" y="298"/>
                        <a:pt x="90" y="299"/>
                        <a:pt x="86" y="295"/>
                      </a:cubicBezTo>
                      <a:cubicBezTo>
                        <a:pt x="82" y="292"/>
                        <a:pt x="83" y="287"/>
                        <a:pt x="82" y="281"/>
                      </a:cubicBezTo>
                      <a:cubicBezTo>
                        <a:pt x="82" y="275"/>
                        <a:pt x="78" y="268"/>
                        <a:pt x="75" y="262"/>
                      </a:cubicBezTo>
                      <a:cubicBezTo>
                        <a:pt x="72" y="255"/>
                        <a:pt x="69" y="247"/>
                        <a:pt x="68" y="238"/>
                      </a:cubicBezTo>
                      <a:cubicBezTo>
                        <a:pt x="67" y="232"/>
                        <a:pt x="68" y="224"/>
                        <a:pt x="75" y="221"/>
                      </a:cubicBezTo>
                      <a:cubicBezTo>
                        <a:pt x="82" y="218"/>
                        <a:pt x="86" y="221"/>
                        <a:pt x="90" y="224"/>
                      </a:cubicBezTo>
                      <a:cubicBezTo>
                        <a:pt x="90" y="224"/>
                        <a:pt x="219" y="167"/>
                        <a:pt x="254" y="115"/>
                      </a:cubicBezTo>
                      <a:cubicBezTo>
                        <a:pt x="254" y="115"/>
                        <a:pt x="317" y="167"/>
                        <a:pt x="343" y="224"/>
                      </a:cubicBezTo>
                      <a:cubicBezTo>
                        <a:pt x="346" y="221"/>
                        <a:pt x="351" y="220"/>
                        <a:pt x="355" y="220"/>
                      </a:cubicBezTo>
                      <a:cubicBezTo>
                        <a:pt x="359" y="221"/>
                        <a:pt x="366" y="229"/>
                        <a:pt x="366" y="239"/>
                      </a:cubicBezTo>
                      <a:cubicBezTo>
                        <a:pt x="366" y="248"/>
                        <a:pt x="359" y="260"/>
                        <a:pt x="359" y="260"/>
                      </a:cubicBezTo>
                      <a:cubicBezTo>
                        <a:pt x="359" y="260"/>
                        <a:pt x="352" y="269"/>
                        <a:pt x="352" y="277"/>
                      </a:cubicBezTo>
                      <a:cubicBezTo>
                        <a:pt x="352" y="282"/>
                        <a:pt x="350" y="288"/>
                        <a:pt x="347" y="292"/>
                      </a:cubicBezTo>
                      <a:cubicBezTo>
                        <a:pt x="344" y="295"/>
                        <a:pt x="341" y="296"/>
                        <a:pt x="337" y="296"/>
                      </a:cubicBezTo>
                      <a:cubicBezTo>
                        <a:pt x="334" y="310"/>
                        <a:pt x="344" y="349"/>
                        <a:pt x="328" y="378"/>
                      </a:cubicBezTo>
                      <a:cubicBezTo>
                        <a:pt x="321" y="392"/>
                        <a:pt x="311" y="408"/>
                        <a:pt x="311" y="409"/>
                      </a:cubicBezTo>
                      <a:cubicBezTo>
                        <a:pt x="287" y="442"/>
                        <a:pt x="312" y="508"/>
                        <a:pt x="312" y="508"/>
                      </a:cubicBezTo>
                      <a:cubicBezTo>
                        <a:pt x="312" y="508"/>
                        <a:pt x="363" y="517"/>
                        <a:pt x="392" y="489"/>
                      </a:cubicBezTo>
                      <a:cubicBezTo>
                        <a:pt x="392" y="489"/>
                        <a:pt x="432" y="447"/>
                        <a:pt x="408" y="353"/>
                      </a:cubicBez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1" name="Freeform 1089">
                  <a:extLst>
                    <a:ext uri="{FF2B5EF4-FFF2-40B4-BE49-F238E27FC236}">
                      <a16:creationId xmlns:a16="http://schemas.microsoft.com/office/drawing/2014/main" id="{5D8DFFC6-63C2-41B4-93CA-A83D07C04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58628" y="5123699"/>
                  <a:ext cx="415557" cy="477694"/>
                </a:xfrm>
                <a:custGeom>
                  <a:avLst/>
                  <a:gdLst>
                    <a:gd name="T0" fmla="*/ 911 w 1040"/>
                    <a:gd name="T1" fmla="*/ 687 h 1195"/>
                    <a:gd name="T2" fmla="*/ 866 w 1040"/>
                    <a:gd name="T3" fmla="*/ 433 h 1195"/>
                    <a:gd name="T4" fmla="*/ 1040 w 1040"/>
                    <a:gd name="T5" fmla="*/ 409 h 1195"/>
                    <a:gd name="T6" fmla="*/ 920 w 1040"/>
                    <a:gd name="T7" fmla="*/ 173 h 1195"/>
                    <a:gd name="T8" fmla="*/ 656 w 1040"/>
                    <a:gd name="T9" fmla="*/ 0 h 1195"/>
                    <a:gd name="T10" fmla="*/ 520 w 1040"/>
                    <a:gd name="T11" fmla="*/ 166 h 1195"/>
                    <a:gd name="T12" fmla="*/ 520 w 1040"/>
                    <a:gd name="T13" fmla="*/ 166 h 1195"/>
                    <a:gd name="T14" fmla="*/ 520 w 1040"/>
                    <a:gd name="T15" fmla="*/ 166 h 1195"/>
                    <a:gd name="T16" fmla="*/ 385 w 1040"/>
                    <a:gd name="T17" fmla="*/ 0 h 1195"/>
                    <a:gd name="T18" fmla="*/ 121 w 1040"/>
                    <a:gd name="T19" fmla="*/ 173 h 1195"/>
                    <a:gd name="T20" fmla="*/ 1 w 1040"/>
                    <a:gd name="T21" fmla="*/ 409 h 1195"/>
                    <a:gd name="T22" fmla="*/ 174 w 1040"/>
                    <a:gd name="T23" fmla="*/ 433 h 1195"/>
                    <a:gd name="T24" fmla="*/ 130 w 1040"/>
                    <a:gd name="T25" fmla="*/ 687 h 1195"/>
                    <a:gd name="T26" fmla="*/ 107 w 1040"/>
                    <a:gd name="T27" fmla="*/ 1151 h 1195"/>
                    <a:gd name="T28" fmla="*/ 520 w 1040"/>
                    <a:gd name="T29" fmla="*/ 1195 h 1195"/>
                    <a:gd name="T30" fmla="*/ 520 w 1040"/>
                    <a:gd name="T31" fmla="*/ 1195 h 1195"/>
                    <a:gd name="T32" fmla="*/ 520 w 1040"/>
                    <a:gd name="T33" fmla="*/ 1195 h 1195"/>
                    <a:gd name="T34" fmla="*/ 934 w 1040"/>
                    <a:gd name="T35" fmla="*/ 1151 h 1195"/>
                    <a:gd name="T36" fmla="*/ 911 w 1040"/>
                    <a:gd name="T37" fmla="*/ 687 h 1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40" h="1195">
                      <a:moveTo>
                        <a:pt x="911" y="687"/>
                      </a:moveTo>
                      <a:cubicBezTo>
                        <a:pt x="937" y="553"/>
                        <a:pt x="866" y="433"/>
                        <a:pt x="866" y="433"/>
                      </a:cubicBezTo>
                      <a:cubicBezTo>
                        <a:pt x="924" y="425"/>
                        <a:pt x="982" y="417"/>
                        <a:pt x="1040" y="409"/>
                      </a:cubicBezTo>
                      <a:cubicBezTo>
                        <a:pt x="1040" y="409"/>
                        <a:pt x="1006" y="297"/>
                        <a:pt x="920" y="173"/>
                      </a:cubicBezTo>
                      <a:cubicBezTo>
                        <a:pt x="835" y="51"/>
                        <a:pt x="716" y="79"/>
                        <a:pt x="656" y="0"/>
                      </a:cubicBezTo>
                      <a:cubicBezTo>
                        <a:pt x="612" y="55"/>
                        <a:pt x="566" y="111"/>
                        <a:pt x="520" y="166"/>
                      </a:cubicBezTo>
                      <a:lnTo>
                        <a:pt x="520" y="166"/>
                      </a:lnTo>
                      <a:lnTo>
                        <a:pt x="520" y="166"/>
                      </a:lnTo>
                      <a:cubicBezTo>
                        <a:pt x="474" y="111"/>
                        <a:pt x="429" y="55"/>
                        <a:pt x="385" y="0"/>
                      </a:cubicBezTo>
                      <a:cubicBezTo>
                        <a:pt x="325" y="79"/>
                        <a:pt x="206" y="51"/>
                        <a:pt x="121" y="173"/>
                      </a:cubicBezTo>
                      <a:cubicBezTo>
                        <a:pt x="35" y="297"/>
                        <a:pt x="0" y="409"/>
                        <a:pt x="1" y="409"/>
                      </a:cubicBezTo>
                      <a:cubicBezTo>
                        <a:pt x="58" y="417"/>
                        <a:pt x="116" y="425"/>
                        <a:pt x="174" y="433"/>
                      </a:cubicBezTo>
                      <a:cubicBezTo>
                        <a:pt x="174" y="433"/>
                        <a:pt x="104" y="553"/>
                        <a:pt x="130" y="687"/>
                      </a:cubicBezTo>
                      <a:cubicBezTo>
                        <a:pt x="153" y="820"/>
                        <a:pt x="104" y="1151"/>
                        <a:pt x="107" y="1151"/>
                      </a:cubicBezTo>
                      <a:cubicBezTo>
                        <a:pt x="107" y="1151"/>
                        <a:pt x="293" y="1190"/>
                        <a:pt x="520" y="1195"/>
                      </a:cubicBezTo>
                      <a:lnTo>
                        <a:pt x="520" y="1195"/>
                      </a:lnTo>
                      <a:lnTo>
                        <a:pt x="520" y="1195"/>
                      </a:lnTo>
                      <a:cubicBezTo>
                        <a:pt x="747" y="1190"/>
                        <a:pt x="934" y="1151"/>
                        <a:pt x="934" y="1151"/>
                      </a:cubicBezTo>
                      <a:cubicBezTo>
                        <a:pt x="936" y="1151"/>
                        <a:pt x="888" y="820"/>
                        <a:pt x="911" y="687"/>
                      </a:cubicBez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  <p:sp>
              <p:nvSpPr>
                <p:cNvPr id="42" name="Freeform 1196">
                  <a:extLst>
                    <a:ext uri="{FF2B5EF4-FFF2-40B4-BE49-F238E27FC236}">
                      <a16:creationId xmlns:a16="http://schemas.microsoft.com/office/drawing/2014/main" id="{16CDCB47-790D-46DC-BF1F-D2028B390C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697480" y="5609191"/>
                  <a:ext cx="333999" cy="54372"/>
                </a:xfrm>
                <a:custGeom>
                  <a:avLst/>
                  <a:gdLst>
                    <a:gd name="T0" fmla="*/ 829 w 838"/>
                    <a:gd name="T1" fmla="*/ 9 h 134"/>
                    <a:gd name="T2" fmla="*/ 801 w 838"/>
                    <a:gd name="T3" fmla="*/ 49 h 134"/>
                    <a:gd name="T4" fmla="*/ 792 w 838"/>
                    <a:gd name="T5" fmla="*/ 134 h 134"/>
                    <a:gd name="T6" fmla="*/ 837 w 838"/>
                    <a:gd name="T7" fmla="*/ 67 h 134"/>
                    <a:gd name="T8" fmla="*/ 835 w 838"/>
                    <a:gd name="T9" fmla="*/ 0 h 134"/>
                    <a:gd name="T10" fmla="*/ 829 w 838"/>
                    <a:gd name="T11" fmla="*/ 9 h 134"/>
                    <a:gd name="T12" fmla="*/ 37 w 838"/>
                    <a:gd name="T13" fmla="*/ 49 h 134"/>
                    <a:gd name="T14" fmla="*/ 45 w 838"/>
                    <a:gd name="T15" fmla="*/ 134 h 134"/>
                    <a:gd name="T16" fmla="*/ 0 w 838"/>
                    <a:gd name="T17" fmla="*/ 67 h 134"/>
                    <a:gd name="T18" fmla="*/ 3 w 838"/>
                    <a:gd name="T19" fmla="*/ 0 h 134"/>
                    <a:gd name="T20" fmla="*/ 9 w 838"/>
                    <a:gd name="T21" fmla="*/ 9 h 134"/>
                    <a:gd name="T22" fmla="*/ 37 w 838"/>
                    <a:gd name="T23" fmla="*/ 49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38" h="134">
                      <a:moveTo>
                        <a:pt x="829" y="9"/>
                      </a:moveTo>
                      <a:cubicBezTo>
                        <a:pt x="829" y="9"/>
                        <a:pt x="804" y="32"/>
                        <a:pt x="801" y="49"/>
                      </a:cubicBezTo>
                      <a:cubicBezTo>
                        <a:pt x="799" y="67"/>
                        <a:pt x="779" y="134"/>
                        <a:pt x="792" y="134"/>
                      </a:cubicBezTo>
                      <a:cubicBezTo>
                        <a:pt x="820" y="134"/>
                        <a:pt x="838" y="67"/>
                        <a:pt x="837" y="67"/>
                      </a:cubicBezTo>
                      <a:cubicBezTo>
                        <a:pt x="837" y="45"/>
                        <a:pt x="837" y="22"/>
                        <a:pt x="835" y="0"/>
                      </a:cubicBezTo>
                      <a:cubicBezTo>
                        <a:pt x="833" y="3"/>
                        <a:pt x="831" y="6"/>
                        <a:pt x="829" y="9"/>
                      </a:cubicBezTo>
                      <a:moveTo>
                        <a:pt x="37" y="49"/>
                      </a:moveTo>
                      <a:cubicBezTo>
                        <a:pt x="39" y="67"/>
                        <a:pt x="59" y="134"/>
                        <a:pt x="45" y="134"/>
                      </a:cubicBezTo>
                      <a:cubicBezTo>
                        <a:pt x="18" y="134"/>
                        <a:pt x="0" y="67"/>
                        <a:pt x="0" y="67"/>
                      </a:cubicBezTo>
                      <a:cubicBezTo>
                        <a:pt x="0" y="45"/>
                        <a:pt x="1" y="22"/>
                        <a:pt x="3" y="0"/>
                      </a:cubicBezTo>
                      <a:cubicBezTo>
                        <a:pt x="5" y="3"/>
                        <a:pt x="7" y="6"/>
                        <a:pt x="9" y="9"/>
                      </a:cubicBezTo>
                      <a:cubicBezTo>
                        <a:pt x="9" y="9"/>
                        <a:pt x="34" y="32"/>
                        <a:pt x="37" y="49"/>
                      </a:cubicBezTo>
                    </a:path>
                  </a:pathLst>
                </a:custGeom>
                <a:solidFill>
                  <a:srgbClr val="F9D9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2891"/>
                </a:p>
              </p:txBody>
            </p:sp>
          </p:grpSp>
        </p:grp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66154543-E0ED-4E43-8837-7065D233C6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0543" y="2339259"/>
            <a:ext cx="2421591" cy="228705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ECA3DF6-71ED-440C-88C1-B766115A04BF}"/>
              </a:ext>
            </a:extLst>
          </p:cNvPr>
          <p:cNvSpPr txBox="1"/>
          <p:nvPr/>
        </p:nvSpPr>
        <p:spPr>
          <a:xfrm>
            <a:off x="10311620" y="2182494"/>
            <a:ext cx="1616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Global MASLD ~25% 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483A73-05C3-467B-BB61-287768B66811}"/>
              </a:ext>
            </a:extLst>
          </p:cNvPr>
          <p:cNvGrpSpPr/>
          <p:nvPr/>
        </p:nvGrpSpPr>
        <p:grpSpPr>
          <a:xfrm>
            <a:off x="6307747" y="4805992"/>
            <a:ext cx="4481267" cy="1311681"/>
            <a:chOff x="9529077" y="4833259"/>
            <a:chExt cx="4481267" cy="1311681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168E93D-B2D9-407B-AAB8-E70CCF4AF17A}"/>
                </a:ext>
              </a:extLst>
            </p:cNvPr>
            <p:cNvSpPr txBox="1"/>
            <p:nvPr/>
          </p:nvSpPr>
          <p:spPr>
            <a:xfrm>
              <a:off x="11040035" y="4944611"/>
              <a:ext cx="297030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altLang="en-US" dirty="0"/>
                <a:t>Primary biliary cirrhosis, autoimmune hepatitis, hemochromatosis</a:t>
              </a:r>
            </a:p>
            <a:p>
              <a:r>
                <a:rPr lang="en-GB" altLang="en-US" dirty="0"/>
                <a:t>Wilson’s disease, other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4CC3213-B36B-4752-B810-E1FDFDC37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9077" y="4852001"/>
              <a:ext cx="387839" cy="1003913"/>
            </a:xfrm>
            <a:prstGeom prst="rect">
              <a:avLst/>
            </a:prstGeom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3DEEB4-4CE7-4EA3-B5E9-37D0A10C4B4A}"/>
                </a:ext>
              </a:extLst>
            </p:cNvPr>
            <p:cNvGrpSpPr/>
            <p:nvPr/>
          </p:nvGrpSpPr>
          <p:grpSpPr>
            <a:xfrm>
              <a:off x="10128369" y="4833259"/>
              <a:ext cx="779469" cy="991155"/>
              <a:chOff x="10216294" y="4778682"/>
              <a:chExt cx="779469" cy="991155"/>
            </a:xfrm>
          </p:grpSpPr>
          <p:grpSp>
            <p:nvGrpSpPr>
              <p:cNvPr id="53" name="Group 8">
                <a:extLst>
                  <a:ext uri="{FF2B5EF4-FFF2-40B4-BE49-F238E27FC236}">
                    <a16:creationId xmlns:a16="http://schemas.microsoft.com/office/drawing/2014/main" id="{E778BAAC-27AA-4403-90F4-5B9BD1CF0F1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216294" y="4778682"/>
                <a:ext cx="779469" cy="520699"/>
                <a:chOff x="1440" y="1200"/>
                <a:chExt cx="2879" cy="1923"/>
              </a:xfrm>
            </p:grpSpPr>
            <p:sp>
              <p:nvSpPr>
                <p:cNvPr id="54" name="Freeform 6">
                  <a:extLst>
                    <a:ext uri="{FF2B5EF4-FFF2-40B4-BE49-F238E27FC236}">
                      <a16:creationId xmlns:a16="http://schemas.microsoft.com/office/drawing/2014/main" id="{1B53ED08-57EE-4E89-8C71-43321EC3FBD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13" y="1378"/>
                  <a:ext cx="327" cy="1051"/>
                </a:xfrm>
                <a:custGeom>
                  <a:avLst/>
                  <a:gdLst>
                    <a:gd name="T0" fmla="*/ 49 w 72"/>
                    <a:gd name="T1" fmla="*/ 34 h 230"/>
                    <a:gd name="T2" fmla="*/ 72 w 72"/>
                    <a:gd name="T3" fmla="*/ 23 h 230"/>
                    <a:gd name="T4" fmla="*/ 30 w 72"/>
                    <a:gd name="T5" fmla="*/ 13 h 230"/>
                    <a:gd name="T6" fmla="*/ 0 w 72"/>
                    <a:gd name="T7" fmla="*/ 0 h 230"/>
                    <a:gd name="T8" fmla="*/ 1 w 72"/>
                    <a:gd name="T9" fmla="*/ 2 h 230"/>
                    <a:gd name="T10" fmla="*/ 21 w 72"/>
                    <a:gd name="T11" fmla="*/ 51 h 230"/>
                    <a:gd name="T12" fmla="*/ 15 w 72"/>
                    <a:gd name="T13" fmla="*/ 138 h 230"/>
                    <a:gd name="T14" fmla="*/ 18 w 72"/>
                    <a:gd name="T15" fmla="*/ 185 h 230"/>
                    <a:gd name="T16" fmla="*/ 13 w 72"/>
                    <a:gd name="T17" fmla="*/ 226 h 230"/>
                    <a:gd name="T18" fmla="*/ 9 w 72"/>
                    <a:gd name="T19" fmla="*/ 230 h 230"/>
                    <a:gd name="T20" fmla="*/ 27 w 72"/>
                    <a:gd name="T21" fmla="*/ 223 h 230"/>
                    <a:gd name="T22" fmla="*/ 40 w 72"/>
                    <a:gd name="T23" fmla="*/ 225 h 230"/>
                    <a:gd name="T24" fmla="*/ 33 w 72"/>
                    <a:gd name="T25" fmla="*/ 207 h 230"/>
                    <a:gd name="T26" fmla="*/ 29 w 72"/>
                    <a:gd name="T27" fmla="*/ 165 h 230"/>
                    <a:gd name="T28" fmla="*/ 32 w 72"/>
                    <a:gd name="T29" fmla="*/ 72 h 230"/>
                    <a:gd name="T30" fmla="*/ 49 w 72"/>
                    <a:gd name="T31" fmla="*/ 34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2" h="230">
                      <a:moveTo>
                        <a:pt x="49" y="34"/>
                      </a:moveTo>
                      <a:cubicBezTo>
                        <a:pt x="55" y="28"/>
                        <a:pt x="63" y="25"/>
                        <a:pt x="72" y="23"/>
                      </a:cubicBezTo>
                      <a:cubicBezTo>
                        <a:pt x="58" y="21"/>
                        <a:pt x="43" y="18"/>
                        <a:pt x="30" y="13"/>
                      </a:cubicBezTo>
                      <a:cubicBezTo>
                        <a:pt x="16" y="8"/>
                        <a:pt x="7" y="4"/>
                        <a:pt x="0" y="0"/>
                      </a:cubicBezTo>
                      <a:cubicBezTo>
                        <a:pt x="0" y="1"/>
                        <a:pt x="1" y="2"/>
                        <a:pt x="1" y="2"/>
                      </a:cubicBezTo>
                      <a:cubicBezTo>
                        <a:pt x="11" y="15"/>
                        <a:pt x="19" y="29"/>
                        <a:pt x="21" y="51"/>
                      </a:cubicBezTo>
                      <a:cubicBezTo>
                        <a:pt x="23" y="74"/>
                        <a:pt x="16" y="116"/>
                        <a:pt x="15" y="138"/>
                      </a:cubicBezTo>
                      <a:cubicBezTo>
                        <a:pt x="15" y="161"/>
                        <a:pt x="18" y="170"/>
                        <a:pt x="18" y="185"/>
                      </a:cubicBezTo>
                      <a:cubicBezTo>
                        <a:pt x="17" y="199"/>
                        <a:pt x="25" y="214"/>
                        <a:pt x="13" y="226"/>
                      </a:cubicBezTo>
                      <a:cubicBezTo>
                        <a:pt x="12" y="227"/>
                        <a:pt x="10" y="229"/>
                        <a:pt x="9" y="230"/>
                      </a:cubicBezTo>
                      <a:cubicBezTo>
                        <a:pt x="16" y="226"/>
                        <a:pt x="22" y="223"/>
                        <a:pt x="27" y="223"/>
                      </a:cubicBezTo>
                      <a:cubicBezTo>
                        <a:pt x="30" y="223"/>
                        <a:pt x="35" y="224"/>
                        <a:pt x="40" y="225"/>
                      </a:cubicBezTo>
                      <a:cubicBezTo>
                        <a:pt x="35" y="220"/>
                        <a:pt x="35" y="214"/>
                        <a:pt x="33" y="207"/>
                      </a:cubicBezTo>
                      <a:cubicBezTo>
                        <a:pt x="29" y="196"/>
                        <a:pt x="29" y="188"/>
                        <a:pt x="29" y="165"/>
                      </a:cubicBezTo>
                      <a:cubicBezTo>
                        <a:pt x="29" y="143"/>
                        <a:pt x="29" y="94"/>
                        <a:pt x="32" y="72"/>
                      </a:cubicBezTo>
                      <a:cubicBezTo>
                        <a:pt x="35" y="50"/>
                        <a:pt x="40" y="43"/>
                        <a:pt x="49" y="34"/>
                      </a:cubicBezTo>
                      <a:close/>
                    </a:path>
                  </a:pathLst>
                </a:custGeom>
                <a:solidFill>
                  <a:srgbClr val="EAEAE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>
                      <a:solidFill>
                        <a:srgbClr val="FF66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5" name="Freeform 4">
                  <a:extLst>
                    <a:ext uri="{FF2B5EF4-FFF2-40B4-BE49-F238E27FC236}">
                      <a16:creationId xmlns:a16="http://schemas.microsoft.com/office/drawing/2014/main" id="{AF79B8B4-D176-46DC-9873-5C490D6D1F3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440" y="1200"/>
                  <a:ext cx="1687" cy="1923"/>
                </a:xfrm>
                <a:custGeom>
                  <a:avLst/>
                  <a:gdLst>
                    <a:gd name="T0" fmla="*/ 309 w 369"/>
                    <a:gd name="T1" fmla="*/ 17 h 421"/>
                    <a:gd name="T2" fmla="*/ 226 w 369"/>
                    <a:gd name="T3" fmla="*/ 2 h 421"/>
                    <a:gd name="T4" fmla="*/ 138 w 369"/>
                    <a:gd name="T5" fmla="*/ 27 h 421"/>
                    <a:gd name="T6" fmla="*/ 80 w 369"/>
                    <a:gd name="T7" fmla="*/ 72 h 421"/>
                    <a:gd name="T8" fmla="*/ 31 w 369"/>
                    <a:gd name="T9" fmla="*/ 147 h 421"/>
                    <a:gd name="T10" fmla="*/ 7 w 369"/>
                    <a:gd name="T11" fmla="*/ 238 h 421"/>
                    <a:gd name="T12" fmla="*/ 5 w 369"/>
                    <a:gd name="T13" fmla="*/ 365 h 421"/>
                    <a:gd name="T14" fmla="*/ 4 w 369"/>
                    <a:gd name="T15" fmla="*/ 407 h 421"/>
                    <a:gd name="T16" fmla="*/ 28 w 369"/>
                    <a:gd name="T17" fmla="*/ 421 h 421"/>
                    <a:gd name="T18" fmla="*/ 79 w 369"/>
                    <a:gd name="T19" fmla="*/ 407 h 421"/>
                    <a:gd name="T20" fmla="*/ 138 w 369"/>
                    <a:gd name="T21" fmla="*/ 365 h 421"/>
                    <a:gd name="T22" fmla="*/ 211 w 369"/>
                    <a:gd name="T23" fmla="*/ 324 h 421"/>
                    <a:gd name="T24" fmla="*/ 290 w 369"/>
                    <a:gd name="T25" fmla="*/ 298 h 421"/>
                    <a:gd name="T26" fmla="*/ 357 w 369"/>
                    <a:gd name="T27" fmla="*/ 265 h 421"/>
                    <a:gd name="T28" fmla="*/ 362 w 369"/>
                    <a:gd name="T29" fmla="*/ 224 h 421"/>
                    <a:gd name="T30" fmla="*/ 359 w 369"/>
                    <a:gd name="T31" fmla="*/ 177 h 421"/>
                    <a:gd name="T32" fmla="*/ 365 w 369"/>
                    <a:gd name="T33" fmla="*/ 90 h 421"/>
                    <a:gd name="T34" fmla="*/ 345 w 369"/>
                    <a:gd name="T35" fmla="*/ 41 h 421"/>
                    <a:gd name="T36" fmla="*/ 309 w 369"/>
                    <a:gd name="T37" fmla="*/ 17 h 4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69" h="421">
                      <a:moveTo>
                        <a:pt x="309" y="17"/>
                      </a:moveTo>
                      <a:cubicBezTo>
                        <a:pt x="289" y="11"/>
                        <a:pt x="254" y="0"/>
                        <a:pt x="226" y="2"/>
                      </a:cubicBezTo>
                      <a:cubicBezTo>
                        <a:pt x="198" y="3"/>
                        <a:pt x="163" y="15"/>
                        <a:pt x="138" y="27"/>
                      </a:cubicBezTo>
                      <a:cubicBezTo>
                        <a:pt x="114" y="39"/>
                        <a:pt x="98" y="52"/>
                        <a:pt x="80" y="72"/>
                      </a:cubicBezTo>
                      <a:cubicBezTo>
                        <a:pt x="61" y="92"/>
                        <a:pt x="43" y="120"/>
                        <a:pt x="31" y="147"/>
                      </a:cubicBezTo>
                      <a:cubicBezTo>
                        <a:pt x="18" y="175"/>
                        <a:pt x="11" y="202"/>
                        <a:pt x="7" y="238"/>
                      </a:cubicBezTo>
                      <a:cubicBezTo>
                        <a:pt x="3" y="274"/>
                        <a:pt x="6" y="336"/>
                        <a:pt x="5" y="365"/>
                      </a:cubicBezTo>
                      <a:cubicBezTo>
                        <a:pt x="5" y="393"/>
                        <a:pt x="0" y="397"/>
                        <a:pt x="4" y="407"/>
                      </a:cubicBezTo>
                      <a:cubicBezTo>
                        <a:pt x="7" y="416"/>
                        <a:pt x="16" y="421"/>
                        <a:pt x="28" y="421"/>
                      </a:cubicBezTo>
                      <a:cubicBezTo>
                        <a:pt x="40" y="421"/>
                        <a:pt x="61" y="416"/>
                        <a:pt x="79" y="407"/>
                      </a:cubicBezTo>
                      <a:cubicBezTo>
                        <a:pt x="97" y="398"/>
                        <a:pt x="116" y="379"/>
                        <a:pt x="138" y="365"/>
                      </a:cubicBezTo>
                      <a:cubicBezTo>
                        <a:pt x="160" y="352"/>
                        <a:pt x="186" y="335"/>
                        <a:pt x="211" y="324"/>
                      </a:cubicBezTo>
                      <a:cubicBezTo>
                        <a:pt x="237" y="312"/>
                        <a:pt x="266" y="307"/>
                        <a:pt x="290" y="298"/>
                      </a:cubicBezTo>
                      <a:cubicBezTo>
                        <a:pt x="314" y="288"/>
                        <a:pt x="345" y="278"/>
                        <a:pt x="357" y="265"/>
                      </a:cubicBezTo>
                      <a:cubicBezTo>
                        <a:pt x="369" y="253"/>
                        <a:pt x="361" y="238"/>
                        <a:pt x="362" y="224"/>
                      </a:cubicBezTo>
                      <a:cubicBezTo>
                        <a:pt x="362" y="209"/>
                        <a:pt x="359" y="200"/>
                        <a:pt x="359" y="177"/>
                      </a:cubicBezTo>
                      <a:cubicBezTo>
                        <a:pt x="360" y="155"/>
                        <a:pt x="367" y="113"/>
                        <a:pt x="365" y="90"/>
                      </a:cubicBezTo>
                      <a:cubicBezTo>
                        <a:pt x="363" y="68"/>
                        <a:pt x="355" y="54"/>
                        <a:pt x="345" y="41"/>
                      </a:cubicBezTo>
                      <a:cubicBezTo>
                        <a:pt x="336" y="29"/>
                        <a:pt x="317" y="22"/>
                        <a:pt x="309" y="17"/>
                      </a:cubicBezTo>
                    </a:path>
                  </a:pathLst>
                </a:custGeom>
                <a:gradFill flip="none" rotWithShape="1">
                  <a:gsLst>
                    <a:gs pos="46000">
                      <a:srgbClr val="B8916B"/>
                    </a:gs>
                    <a:gs pos="100000">
                      <a:srgbClr val="E7001D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6350">
                  <a:solidFill>
                    <a:srgbClr val="E7001D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6" name="Freeform 5">
                  <a:extLst>
                    <a:ext uri="{FF2B5EF4-FFF2-40B4-BE49-F238E27FC236}">
                      <a16:creationId xmlns:a16="http://schemas.microsoft.com/office/drawing/2014/main" id="{CEB85DEA-EA93-4EED-9E43-076696A362D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45" y="1468"/>
                  <a:ext cx="1174" cy="974"/>
                </a:xfrm>
                <a:custGeom>
                  <a:avLst/>
                  <a:gdLst>
                    <a:gd name="T0" fmla="*/ 20 w 257"/>
                    <a:gd name="T1" fmla="*/ 14 h 213"/>
                    <a:gd name="T2" fmla="*/ 3 w 257"/>
                    <a:gd name="T3" fmla="*/ 52 h 213"/>
                    <a:gd name="T4" fmla="*/ 0 w 257"/>
                    <a:gd name="T5" fmla="*/ 145 h 213"/>
                    <a:gd name="T6" fmla="*/ 4 w 257"/>
                    <a:gd name="T7" fmla="*/ 187 h 213"/>
                    <a:gd name="T8" fmla="*/ 22 w 257"/>
                    <a:gd name="T9" fmla="*/ 210 h 213"/>
                    <a:gd name="T10" fmla="*/ 98 w 257"/>
                    <a:gd name="T11" fmla="*/ 203 h 213"/>
                    <a:gd name="T12" fmla="*/ 180 w 257"/>
                    <a:gd name="T13" fmla="*/ 149 h 213"/>
                    <a:gd name="T14" fmla="*/ 235 w 257"/>
                    <a:gd name="T15" fmla="*/ 88 h 213"/>
                    <a:gd name="T16" fmla="*/ 257 w 257"/>
                    <a:gd name="T17" fmla="*/ 37 h 213"/>
                    <a:gd name="T18" fmla="*/ 236 w 257"/>
                    <a:gd name="T19" fmla="*/ 17 h 213"/>
                    <a:gd name="T20" fmla="*/ 162 w 257"/>
                    <a:gd name="T21" fmla="*/ 3 h 213"/>
                    <a:gd name="T22" fmla="*/ 110 w 257"/>
                    <a:gd name="T23" fmla="*/ 6 h 213"/>
                    <a:gd name="T24" fmla="*/ 55 w 257"/>
                    <a:gd name="T25" fmla="*/ 1 h 213"/>
                    <a:gd name="T26" fmla="*/ 20 w 257"/>
                    <a:gd name="T27" fmla="*/ 14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7" h="213">
                      <a:moveTo>
                        <a:pt x="20" y="14"/>
                      </a:moveTo>
                      <a:cubicBezTo>
                        <a:pt x="11" y="23"/>
                        <a:pt x="6" y="30"/>
                        <a:pt x="3" y="52"/>
                      </a:cubicBezTo>
                      <a:cubicBezTo>
                        <a:pt x="0" y="74"/>
                        <a:pt x="0" y="123"/>
                        <a:pt x="0" y="145"/>
                      </a:cubicBezTo>
                      <a:cubicBezTo>
                        <a:pt x="0" y="168"/>
                        <a:pt x="0" y="176"/>
                        <a:pt x="4" y="187"/>
                      </a:cubicBezTo>
                      <a:cubicBezTo>
                        <a:pt x="7" y="198"/>
                        <a:pt x="6" y="207"/>
                        <a:pt x="22" y="210"/>
                      </a:cubicBezTo>
                      <a:cubicBezTo>
                        <a:pt x="38" y="212"/>
                        <a:pt x="72" y="213"/>
                        <a:pt x="98" y="203"/>
                      </a:cubicBezTo>
                      <a:cubicBezTo>
                        <a:pt x="125" y="193"/>
                        <a:pt x="157" y="168"/>
                        <a:pt x="180" y="149"/>
                      </a:cubicBezTo>
                      <a:cubicBezTo>
                        <a:pt x="202" y="130"/>
                        <a:pt x="222" y="107"/>
                        <a:pt x="235" y="88"/>
                      </a:cubicBezTo>
                      <a:cubicBezTo>
                        <a:pt x="248" y="69"/>
                        <a:pt x="257" y="49"/>
                        <a:pt x="257" y="37"/>
                      </a:cubicBezTo>
                      <a:cubicBezTo>
                        <a:pt x="257" y="25"/>
                        <a:pt x="252" y="23"/>
                        <a:pt x="236" y="17"/>
                      </a:cubicBezTo>
                      <a:cubicBezTo>
                        <a:pt x="220" y="11"/>
                        <a:pt x="183" y="4"/>
                        <a:pt x="162" y="3"/>
                      </a:cubicBezTo>
                      <a:cubicBezTo>
                        <a:pt x="142" y="1"/>
                        <a:pt x="128" y="6"/>
                        <a:pt x="110" y="6"/>
                      </a:cubicBezTo>
                      <a:cubicBezTo>
                        <a:pt x="92" y="6"/>
                        <a:pt x="70" y="0"/>
                        <a:pt x="55" y="1"/>
                      </a:cubicBezTo>
                      <a:cubicBezTo>
                        <a:pt x="40" y="3"/>
                        <a:pt x="28" y="6"/>
                        <a:pt x="20" y="14"/>
                      </a:cubicBezTo>
                    </a:path>
                  </a:pathLst>
                </a:custGeom>
                <a:gradFill flip="none" rotWithShape="1">
                  <a:gsLst>
                    <a:gs pos="46000">
                      <a:srgbClr val="B8916B"/>
                    </a:gs>
                    <a:gs pos="100000">
                      <a:srgbClr val="E7001D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6350">
                  <a:solidFill>
                    <a:srgbClr val="E7001D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9D656CC7-0B65-4E43-838F-9D7BF94B1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79804" y="5111464"/>
                <a:ext cx="515959" cy="658373"/>
              </a:xfrm>
              <a:prstGeom prst="rect">
                <a:avLst/>
              </a:prstGeom>
            </p:spPr>
          </p:pic>
        </p:grp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657E2409-58A3-4EAD-90A1-A1AEC4A604E2}"/>
              </a:ext>
            </a:extLst>
          </p:cNvPr>
          <p:cNvSpPr txBox="1"/>
          <p:nvPr/>
        </p:nvSpPr>
        <p:spPr>
          <a:xfrm>
            <a:off x="4778417" y="3169882"/>
            <a:ext cx="1776534" cy="406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400" b="1" dirty="0"/>
              <a:t>~1.5 </a:t>
            </a:r>
            <a:r>
              <a:rPr lang="en-US" sz="2400" b="1" dirty="0" err="1"/>
              <a:t>mld</a:t>
            </a:r>
            <a:endParaRPr lang="en-US" sz="24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0DB632-97B8-48D8-B7D8-920EB226202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2769" t="43102" r="42801"/>
          <a:stretch/>
        </p:blipFill>
        <p:spPr>
          <a:xfrm>
            <a:off x="5260125" y="2422947"/>
            <a:ext cx="942233" cy="8221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3544A8B-64DB-47E3-B471-7C4BBF49073C}"/>
              </a:ext>
            </a:extLst>
          </p:cNvPr>
          <p:cNvSpPr txBox="1"/>
          <p:nvPr/>
        </p:nvSpPr>
        <p:spPr>
          <a:xfrm>
            <a:off x="4454439" y="202034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dirty="0"/>
              <a:t>Global population ~8 </a:t>
            </a:r>
            <a:r>
              <a:rPr lang="en-US" dirty="0" err="1"/>
              <a:t>mld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51BF8B-97D2-4494-A28A-6696BE08AC6E}"/>
              </a:ext>
            </a:extLst>
          </p:cNvPr>
          <p:cNvSpPr txBox="1"/>
          <p:nvPr/>
        </p:nvSpPr>
        <p:spPr>
          <a:xfrm>
            <a:off x="5393347" y="263722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dirty="0"/>
              <a:t>CLD</a:t>
            </a:r>
          </a:p>
        </p:txBody>
      </p:sp>
    </p:spTree>
    <p:extLst>
      <p:ext uri="{BB962C8B-B14F-4D97-AF65-F5344CB8AC3E}">
        <p14:creationId xmlns:p14="http://schemas.microsoft.com/office/powerpoint/2010/main" val="3927566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1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2EAAA0-A42F-4A70-8566-BE71F398A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tabolicky</a:t>
            </a:r>
            <a:r>
              <a:rPr lang="en-US" dirty="0"/>
              <a:t> </a:t>
            </a:r>
            <a:r>
              <a:rPr lang="en-US" dirty="0" err="1"/>
              <a:t>asociovaná</a:t>
            </a:r>
            <a:r>
              <a:rPr lang="en-US" dirty="0"/>
              <a:t> </a:t>
            </a:r>
            <a:r>
              <a:rPr lang="en-US" dirty="0" err="1"/>
              <a:t>steatotická</a:t>
            </a:r>
            <a:r>
              <a:rPr lang="en-US" dirty="0"/>
              <a:t> </a:t>
            </a:r>
            <a:r>
              <a:rPr lang="en-US" dirty="0" err="1"/>
              <a:t>nemoc</a:t>
            </a:r>
            <a:r>
              <a:rPr lang="en-US" dirty="0"/>
              <a:t> </a:t>
            </a:r>
            <a:r>
              <a:rPr lang="en-US" dirty="0" err="1"/>
              <a:t>jater</a:t>
            </a:r>
            <a:r>
              <a:rPr lang="en-US" dirty="0"/>
              <a:t> (MASLD): </a:t>
            </a:r>
            <a:r>
              <a:rPr lang="en-US" dirty="0" err="1"/>
              <a:t>Celosvětová</a:t>
            </a:r>
            <a:r>
              <a:rPr lang="en-US" dirty="0"/>
              <a:t> </a:t>
            </a:r>
            <a:r>
              <a:rPr lang="en-US" dirty="0" err="1"/>
              <a:t>kriz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742B2E-D2A2-4F0D-A857-D3CD05077A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Younossi</a:t>
            </a:r>
            <a:r>
              <a:rPr lang="en-US" dirty="0"/>
              <a:t>, Z. et al. Nat Rev Gastro </a:t>
            </a:r>
            <a:r>
              <a:rPr lang="en-US" dirty="0" err="1"/>
              <a:t>Hepat</a:t>
            </a:r>
            <a:r>
              <a:rPr lang="en-US" dirty="0"/>
              <a:t>. 2018;15:11–20</a:t>
            </a:r>
          </a:p>
          <a:p>
            <a:r>
              <a:rPr lang="en-US" dirty="0"/>
              <a:t>Estes C, et al. Hepatology . 2018;67:123-33.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CB2745DA-14F2-4AA3-944D-6448EC2E0E16}"/>
              </a:ext>
            </a:extLst>
          </p:cNvPr>
          <p:cNvGrpSpPr/>
          <p:nvPr/>
        </p:nvGrpSpPr>
        <p:grpSpPr>
          <a:xfrm>
            <a:off x="591598" y="2236436"/>
            <a:ext cx="2705038" cy="1926429"/>
            <a:chOff x="639698" y="3709346"/>
            <a:chExt cx="2705038" cy="1926429"/>
          </a:xfrm>
        </p:grpSpPr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1D6006E7-F3F1-4E14-86AE-715C3B4215D0}"/>
                </a:ext>
              </a:extLst>
            </p:cNvPr>
            <p:cNvSpPr txBox="1"/>
            <p:nvPr/>
          </p:nvSpPr>
          <p:spPr>
            <a:xfrm>
              <a:off x="639698" y="3709346"/>
              <a:ext cx="270503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FLD prevalence (%)</a:t>
              </a: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D0B5873A-C376-4F95-9E23-E0F08981903B}"/>
                </a:ext>
              </a:extLst>
            </p:cNvPr>
            <p:cNvSpPr txBox="1"/>
            <p:nvPr/>
          </p:nvSpPr>
          <p:spPr>
            <a:xfrm>
              <a:off x="941464" y="3973782"/>
              <a:ext cx="1719340" cy="16619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.0–19.9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.0–29.9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≥3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not availabl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E922D835-1748-4EAB-9EF8-C738DCF06E27}"/>
                </a:ext>
              </a:extLst>
            </p:cNvPr>
            <p:cNvSpPr/>
            <p:nvPr/>
          </p:nvSpPr>
          <p:spPr>
            <a:xfrm>
              <a:off x="661418" y="4043226"/>
              <a:ext cx="156868" cy="156868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4AA892D6-3E73-41D2-956E-5796A3761D39}"/>
                </a:ext>
              </a:extLst>
            </p:cNvPr>
            <p:cNvSpPr/>
            <p:nvPr/>
          </p:nvSpPr>
          <p:spPr>
            <a:xfrm>
              <a:off x="661418" y="4312280"/>
              <a:ext cx="156868" cy="156868"/>
            </a:xfrm>
            <a:prstGeom prst="rect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3D39AB24-51EB-46DF-831F-0DEF3395C5FF}"/>
                </a:ext>
              </a:extLst>
            </p:cNvPr>
            <p:cNvSpPr/>
            <p:nvPr/>
          </p:nvSpPr>
          <p:spPr>
            <a:xfrm>
              <a:off x="661418" y="4581334"/>
              <a:ext cx="156868" cy="156868"/>
            </a:xfrm>
            <a:prstGeom prst="rect">
              <a:avLst/>
            </a:prstGeom>
            <a:solidFill>
              <a:srgbClr val="7A16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796EA78B-F381-4FD3-802E-5A0B03AEE8EA}"/>
                </a:ext>
              </a:extLst>
            </p:cNvPr>
            <p:cNvSpPr/>
            <p:nvPr/>
          </p:nvSpPr>
          <p:spPr>
            <a:xfrm>
              <a:off x="661418" y="4850389"/>
              <a:ext cx="156868" cy="156868"/>
            </a:xfrm>
            <a:prstGeom prst="rect">
              <a:avLst/>
            </a:prstGeom>
            <a:solidFill>
              <a:srgbClr val="E700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F07FCA7E-1A17-4995-97FA-72683367A31C}"/>
                </a:ext>
              </a:extLst>
            </p:cNvPr>
            <p:cNvSpPr/>
            <p:nvPr/>
          </p:nvSpPr>
          <p:spPr>
            <a:xfrm>
              <a:off x="661418" y="5129227"/>
              <a:ext cx="156868" cy="156868"/>
            </a:xfrm>
            <a:prstGeom prst="rect">
              <a:avLst/>
            </a:prstGeom>
            <a:solidFill>
              <a:srgbClr val="BE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2" name="TextBox 191">
            <a:extLst>
              <a:ext uri="{FF2B5EF4-FFF2-40B4-BE49-F238E27FC236}">
                <a16:creationId xmlns:a16="http://schemas.microsoft.com/office/drawing/2014/main" id="{E0AB256E-D394-490A-B777-AE11E9BBAC36}"/>
              </a:ext>
            </a:extLst>
          </p:cNvPr>
          <p:cNvSpPr txBox="1"/>
          <p:nvPr/>
        </p:nvSpPr>
        <p:spPr>
          <a:xfrm>
            <a:off x="5478082" y="6986570"/>
            <a:ext cx="86130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ounoss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Z. et al. Nat Ret Gastro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pa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8;15:11–20 / Estes C, et al. Hepatology . 2018;67:123-33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AEE84D57-2E91-4133-A39F-C4553D757278}"/>
              </a:ext>
            </a:extLst>
          </p:cNvPr>
          <p:cNvGrpSpPr/>
          <p:nvPr/>
        </p:nvGrpSpPr>
        <p:grpSpPr>
          <a:xfrm>
            <a:off x="2660804" y="1482188"/>
            <a:ext cx="8963348" cy="4649081"/>
            <a:chOff x="2660804" y="1482188"/>
            <a:chExt cx="8963348" cy="464908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165C657-2D72-4955-A188-1BF161AC1538}"/>
                </a:ext>
              </a:extLst>
            </p:cNvPr>
            <p:cNvGrpSpPr/>
            <p:nvPr/>
          </p:nvGrpSpPr>
          <p:grpSpPr>
            <a:xfrm>
              <a:off x="2660804" y="1772116"/>
              <a:ext cx="8963348" cy="4359153"/>
              <a:chOff x="2660804" y="1772116"/>
              <a:chExt cx="8963348" cy="4359153"/>
            </a:xfrm>
          </p:grpSpPr>
          <p:sp>
            <p:nvSpPr>
              <p:cNvPr id="11" name="Freeform 8">
                <a:extLst>
                  <a:ext uri="{FF2B5EF4-FFF2-40B4-BE49-F238E27FC236}">
                    <a16:creationId xmlns:a16="http://schemas.microsoft.com/office/drawing/2014/main" id="{D047B0DA-20D9-4920-BD6D-979CBD1FB7D8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>
              <a:xfrm>
                <a:off x="3423494" y="1797962"/>
                <a:ext cx="2188250" cy="1696174"/>
              </a:xfrm>
              <a:custGeom>
                <a:avLst/>
                <a:gdLst/>
                <a:ahLst/>
                <a:cxnLst/>
                <a:rect l="l" t="t" r="r" b="b"/>
                <a:pathLst>
                  <a:path w="2039347" h="1580755">
                    <a:moveTo>
                      <a:pt x="1776972" y="1428715"/>
                    </a:moveTo>
                    <a:lnTo>
                      <a:pt x="1785059" y="1442843"/>
                    </a:lnTo>
                    <a:lnTo>
                      <a:pt x="1801799" y="1446730"/>
                    </a:lnTo>
                    <a:lnTo>
                      <a:pt x="1823202" y="1445940"/>
                    </a:lnTo>
                    <a:lnTo>
                      <a:pt x="1811849" y="1457781"/>
                    </a:lnTo>
                    <a:lnTo>
                      <a:pt x="1803299" y="1459661"/>
                    </a:lnTo>
                    <a:lnTo>
                      <a:pt x="1774019" y="1447402"/>
                    </a:lnTo>
                    <a:lnTo>
                      <a:pt x="1768253" y="1437693"/>
                    </a:lnTo>
                    <a:close/>
                    <a:moveTo>
                      <a:pt x="1773317" y="1342184"/>
                    </a:moveTo>
                    <a:lnTo>
                      <a:pt x="1803669" y="1349726"/>
                    </a:lnTo>
                    <a:lnTo>
                      <a:pt x="1827276" y="1362244"/>
                    </a:lnTo>
                    <a:lnTo>
                      <a:pt x="1827952" y="1367722"/>
                    </a:lnTo>
                    <a:lnTo>
                      <a:pt x="1816713" y="1368255"/>
                    </a:lnTo>
                    <a:lnTo>
                      <a:pt x="1786796" y="1358890"/>
                    </a:lnTo>
                    <a:lnTo>
                      <a:pt x="1765333" y="1344717"/>
                    </a:lnTo>
                    <a:close/>
                    <a:moveTo>
                      <a:pt x="291751" y="1317567"/>
                    </a:moveTo>
                    <a:lnTo>
                      <a:pt x="315984" y="1324190"/>
                    </a:lnTo>
                    <a:lnTo>
                      <a:pt x="330147" y="1328786"/>
                    </a:lnTo>
                    <a:lnTo>
                      <a:pt x="351844" y="1331990"/>
                    </a:lnTo>
                    <a:lnTo>
                      <a:pt x="359693" y="1342401"/>
                    </a:lnTo>
                    <a:lnTo>
                      <a:pt x="371101" y="1356657"/>
                    </a:lnTo>
                    <a:lnTo>
                      <a:pt x="394143" y="1368991"/>
                    </a:lnTo>
                    <a:lnTo>
                      <a:pt x="403665" y="1385407"/>
                    </a:lnTo>
                    <a:lnTo>
                      <a:pt x="392057" y="1389526"/>
                    </a:lnTo>
                    <a:lnTo>
                      <a:pt x="354152" y="1376060"/>
                    </a:lnTo>
                    <a:lnTo>
                      <a:pt x="347228" y="1365486"/>
                    </a:lnTo>
                    <a:lnTo>
                      <a:pt x="326569" y="1355018"/>
                    </a:lnTo>
                    <a:lnTo>
                      <a:pt x="322414" y="1346463"/>
                    </a:lnTo>
                    <a:lnTo>
                      <a:pt x="298654" y="1341046"/>
                    </a:lnTo>
                    <a:lnTo>
                      <a:pt x="289762" y="1324597"/>
                    </a:lnTo>
                    <a:close/>
                    <a:moveTo>
                      <a:pt x="1964955" y="1291235"/>
                    </a:moveTo>
                    <a:lnTo>
                      <a:pt x="1975665" y="1292581"/>
                    </a:lnTo>
                    <a:lnTo>
                      <a:pt x="1971205" y="1300896"/>
                    </a:lnTo>
                    <a:lnTo>
                      <a:pt x="1958883" y="1320109"/>
                    </a:lnTo>
                    <a:lnTo>
                      <a:pt x="1943606" y="1346544"/>
                    </a:lnTo>
                    <a:lnTo>
                      <a:pt x="1958673" y="1336367"/>
                    </a:lnTo>
                    <a:lnTo>
                      <a:pt x="1974176" y="1342828"/>
                    </a:lnTo>
                    <a:lnTo>
                      <a:pt x="1966076" y="1353305"/>
                    </a:lnTo>
                    <a:lnTo>
                      <a:pt x="1986556" y="1361513"/>
                    </a:lnTo>
                    <a:lnTo>
                      <a:pt x="1997206" y="1354218"/>
                    </a:lnTo>
                    <a:lnTo>
                      <a:pt x="2020225" y="1363421"/>
                    </a:lnTo>
                    <a:lnTo>
                      <a:pt x="2013081" y="1385207"/>
                    </a:lnTo>
                    <a:lnTo>
                      <a:pt x="2029236" y="1380135"/>
                    </a:lnTo>
                    <a:lnTo>
                      <a:pt x="2032179" y="1395838"/>
                    </a:lnTo>
                    <a:lnTo>
                      <a:pt x="2039347" y="1414116"/>
                    </a:lnTo>
                    <a:lnTo>
                      <a:pt x="2029628" y="1439783"/>
                    </a:lnTo>
                    <a:lnTo>
                      <a:pt x="2019188" y="1440862"/>
                    </a:lnTo>
                    <a:lnTo>
                      <a:pt x="2004012" y="1435379"/>
                    </a:lnTo>
                    <a:lnTo>
                      <a:pt x="2009022" y="1411488"/>
                    </a:lnTo>
                    <a:lnTo>
                      <a:pt x="2002591" y="1407758"/>
                    </a:lnTo>
                    <a:lnTo>
                      <a:pt x="1975808" y="1433113"/>
                    </a:lnTo>
                    <a:lnTo>
                      <a:pt x="1962035" y="1432102"/>
                    </a:lnTo>
                    <a:lnTo>
                      <a:pt x="1978337" y="1418391"/>
                    </a:lnTo>
                    <a:lnTo>
                      <a:pt x="1956188" y="1411272"/>
                    </a:lnTo>
                    <a:lnTo>
                      <a:pt x="1931387" y="1413024"/>
                    </a:lnTo>
                    <a:lnTo>
                      <a:pt x="1886588" y="1412129"/>
                    </a:lnTo>
                    <a:lnTo>
                      <a:pt x="1883045" y="1403431"/>
                    </a:lnTo>
                    <a:lnTo>
                      <a:pt x="1897424" y="1393053"/>
                    </a:lnTo>
                    <a:lnTo>
                      <a:pt x="1887382" y="1385017"/>
                    </a:lnTo>
                    <a:lnTo>
                      <a:pt x="1906767" y="1367110"/>
                    </a:lnTo>
                    <a:lnTo>
                      <a:pt x="1930614" y="1319159"/>
                    </a:lnTo>
                    <a:lnTo>
                      <a:pt x="1944927" y="1301803"/>
                    </a:lnTo>
                    <a:close/>
                    <a:moveTo>
                      <a:pt x="180455" y="1211995"/>
                    </a:moveTo>
                    <a:lnTo>
                      <a:pt x="191304" y="1216116"/>
                    </a:lnTo>
                    <a:lnTo>
                      <a:pt x="213464" y="1213580"/>
                    </a:lnTo>
                    <a:lnTo>
                      <a:pt x="206551" y="1249324"/>
                    </a:lnTo>
                    <a:lnTo>
                      <a:pt x="226643" y="1274329"/>
                    </a:lnTo>
                    <a:lnTo>
                      <a:pt x="217438" y="1274269"/>
                    </a:lnTo>
                    <a:lnTo>
                      <a:pt x="203528" y="1260079"/>
                    </a:lnTo>
                    <a:lnTo>
                      <a:pt x="194998" y="1245715"/>
                    </a:lnTo>
                    <a:lnTo>
                      <a:pt x="183350" y="1235947"/>
                    </a:lnTo>
                    <a:lnTo>
                      <a:pt x="179078" y="1222094"/>
                    </a:lnTo>
                    <a:close/>
                    <a:moveTo>
                      <a:pt x="1409622" y="935386"/>
                    </a:moveTo>
                    <a:lnTo>
                      <a:pt x="1419072" y="936170"/>
                    </a:lnTo>
                    <a:lnTo>
                      <a:pt x="1424939" y="943504"/>
                    </a:lnTo>
                    <a:lnTo>
                      <a:pt x="1415898" y="962191"/>
                    </a:lnTo>
                    <a:lnTo>
                      <a:pt x="1405694" y="959179"/>
                    </a:lnTo>
                    <a:lnTo>
                      <a:pt x="1399633" y="948575"/>
                    </a:lnTo>
                    <a:lnTo>
                      <a:pt x="1400712" y="946113"/>
                    </a:lnTo>
                    <a:close/>
                    <a:moveTo>
                      <a:pt x="1332963" y="916360"/>
                    </a:moveTo>
                    <a:lnTo>
                      <a:pt x="1364666" y="916704"/>
                    </a:lnTo>
                    <a:lnTo>
                      <a:pt x="1364176" y="923698"/>
                    </a:lnTo>
                    <a:lnTo>
                      <a:pt x="1337161" y="943484"/>
                    </a:lnTo>
                    <a:lnTo>
                      <a:pt x="1320864" y="942660"/>
                    </a:lnTo>
                    <a:lnTo>
                      <a:pt x="1315808" y="932976"/>
                    </a:lnTo>
                    <a:close/>
                    <a:moveTo>
                      <a:pt x="1272177" y="811682"/>
                    </a:moveTo>
                    <a:lnTo>
                      <a:pt x="1288856" y="814776"/>
                    </a:lnTo>
                    <a:lnTo>
                      <a:pt x="1293138" y="831394"/>
                    </a:lnTo>
                    <a:lnTo>
                      <a:pt x="1304951" y="825580"/>
                    </a:lnTo>
                    <a:lnTo>
                      <a:pt x="1318371" y="835452"/>
                    </a:lnTo>
                    <a:lnTo>
                      <a:pt x="1343648" y="848295"/>
                    </a:lnTo>
                    <a:lnTo>
                      <a:pt x="1370090" y="859895"/>
                    </a:lnTo>
                    <a:lnTo>
                      <a:pt x="1372135" y="877479"/>
                    </a:lnTo>
                    <a:lnTo>
                      <a:pt x="1389125" y="874610"/>
                    </a:lnTo>
                    <a:lnTo>
                      <a:pt x="1405604" y="886799"/>
                    </a:lnTo>
                    <a:lnTo>
                      <a:pt x="1385117" y="898307"/>
                    </a:lnTo>
                    <a:lnTo>
                      <a:pt x="1349197" y="889520"/>
                    </a:lnTo>
                    <a:lnTo>
                      <a:pt x="1336233" y="872972"/>
                    </a:lnTo>
                    <a:lnTo>
                      <a:pt x="1313344" y="892520"/>
                    </a:lnTo>
                    <a:lnTo>
                      <a:pt x="1280497" y="911353"/>
                    </a:lnTo>
                    <a:lnTo>
                      <a:pt x="1272572" y="890049"/>
                    </a:lnTo>
                    <a:lnTo>
                      <a:pt x="1241290" y="893561"/>
                    </a:lnTo>
                    <a:lnTo>
                      <a:pt x="1261354" y="875408"/>
                    </a:lnTo>
                    <a:lnTo>
                      <a:pt x="1264306" y="846195"/>
                    </a:lnTo>
                    <a:close/>
                    <a:moveTo>
                      <a:pt x="1502742" y="712505"/>
                    </a:moveTo>
                    <a:lnTo>
                      <a:pt x="1520763" y="723515"/>
                    </a:lnTo>
                    <a:lnTo>
                      <a:pt x="1521020" y="740432"/>
                    </a:lnTo>
                    <a:lnTo>
                      <a:pt x="1518420" y="745844"/>
                    </a:lnTo>
                    <a:lnTo>
                      <a:pt x="1503419" y="757399"/>
                    </a:lnTo>
                    <a:lnTo>
                      <a:pt x="1477544" y="759354"/>
                    </a:lnTo>
                    <a:lnTo>
                      <a:pt x="1471784" y="740194"/>
                    </a:lnTo>
                    <a:lnTo>
                      <a:pt x="1481588" y="718026"/>
                    </a:lnTo>
                    <a:close/>
                    <a:moveTo>
                      <a:pt x="987466" y="637088"/>
                    </a:moveTo>
                    <a:lnTo>
                      <a:pt x="1011954" y="648791"/>
                    </a:lnTo>
                    <a:lnTo>
                      <a:pt x="1025803" y="656186"/>
                    </a:lnTo>
                    <a:lnTo>
                      <a:pt x="1032728" y="663962"/>
                    </a:lnTo>
                    <a:lnTo>
                      <a:pt x="1046802" y="679520"/>
                    </a:lnTo>
                    <a:lnTo>
                      <a:pt x="1032448" y="693683"/>
                    </a:lnTo>
                    <a:lnTo>
                      <a:pt x="1001336" y="681451"/>
                    </a:lnTo>
                    <a:lnTo>
                      <a:pt x="982537" y="685873"/>
                    </a:lnTo>
                    <a:lnTo>
                      <a:pt x="951015" y="667635"/>
                    </a:lnTo>
                    <a:lnTo>
                      <a:pt x="971328" y="654955"/>
                    </a:lnTo>
                    <a:close/>
                    <a:moveTo>
                      <a:pt x="1056933" y="562116"/>
                    </a:moveTo>
                    <a:lnTo>
                      <a:pt x="1087375" y="569001"/>
                    </a:lnTo>
                    <a:lnTo>
                      <a:pt x="1110729" y="587828"/>
                    </a:lnTo>
                    <a:lnTo>
                      <a:pt x="1142088" y="635110"/>
                    </a:lnTo>
                    <a:lnTo>
                      <a:pt x="1121607" y="655368"/>
                    </a:lnTo>
                    <a:lnTo>
                      <a:pt x="1164537" y="663651"/>
                    </a:lnTo>
                    <a:lnTo>
                      <a:pt x="1164435" y="705003"/>
                    </a:lnTo>
                    <a:lnTo>
                      <a:pt x="1195282" y="673388"/>
                    </a:lnTo>
                    <a:lnTo>
                      <a:pt x="1222877" y="699388"/>
                    </a:lnTo>
                    <a:lnTo>
                      <a:pt x="1216002" y="728940"/>
                    </a:lnTo>
                    <a:lnTo>
                      <a:pt x="1238331" y="755453"/>
                    </a:lnTo>
                    <a:lnTo>
                      <a:pt x="1262431" y="727037"/>
                    </a:lnTo>
                    <a:lnTo>
                      <a:pt x="1279269" y="692575"/>
                    </a:lnTo>
                    <a:lnTo>
                      <a:pt x="1280531" y="647882"/>
                    </a:lnTo>
                    <a:lnTo>
                      <a:pt x="1313335" y="651039"/>
                    </a:lnTo>
                    <a:lnTo>
                      <a:pt x="1347456" y="657079"/>
                    </a:lnTo>
                    <a:lnTo>
                      <a:pt x="1378437" y="677316"/>
                    </a:lnTo>
                    <a:lnTo>
                      <a:pt x="1379827" y="697357"/>
                    </a:lnTo>
                    <a:lnTo>
                      <a:pt x="1362650" y="718664"/>
                    </a:lnTo>
                    <a:lnTo>
                      <a:pt x="1378925" y="739837"/>
                    </a:lnTo>
                    <a:lnTo>
                      <a:pt x="1375988" y="758884"/>
                    </a:lnTo>
                    <a:lnTo>
                      <a:pt x="1330791" y="785961"/>
                    </a:lnTo>
                    <a:lnTo>
                      <a:pt x="1298686" y="791886"/>
                    </a:lnTo>
                    <a:lnTo>
                      <a:pt x="1274818" y="780306"/>
                    </a:lnTo>
                    <a:lnTo>
                      <a:pt x="1267936" y="799584"/>
                    </a:lnTo>
                    <a:lnTo>
                      <a:pt x="1245688" y="831566"/>
                    </a:lnTo>
                    <a:lnTo>
                      <a:pt x="1238952" y="847961"/>
                    </a:lnTo>
                    <a:lnTo>
                      <a:pt x="1212183" y="873079"/>
                    </a:lnTo>
                    <a:lnTo>
                      <a:pt x="1179141" y="875522"/>
                    </a:lnTo>
                    <a:lnTo>
                      <a:pt x="1160916" y="891041"/>
                    </a:lnTo>
                    <a:lnTo>
                      <a:pt x="1159391" y="914692"/>
                    </a:lnTo>
                    <a:lnTo>
                      <a:pt x="1132537" y="919215"/>
                    </a:lnTo>
                    <a:lnTo>
                      <a:pt x="1104294" y="948283"/>
                    </a:lnTo>
                    <a:lnTo>
                      <a:pt x="1079260" y="988038"/>
                    </a:lnTo>
                    <a:lnTo>
                      <a:pt x="1070309" y="1015452"/>
                    </a:lnTo>
                    <a:lnTo>
                      <a:pt x="1069032" y="1055228"/>
                    </a:lnTo>
                    <a:lnTo>
                      <a:pt x="1102954" y="1060880"/>
                    </a:lnTo>
                    <a:lnTo>
                      <a:pt x="1113351" y="1092369"/>
                    </a:lnTo>
                    <a:lnTo>
                      <a:pt x="1124144" y="1117565"/>
                    </a:lnTo>
                    <a:lnTo>
                      <a:pt x="1156445" y="1111029"/>
                    </a:lnTo>
                    <a:lnTo>
                      <a:pt x="1199336" y="1125327"/>
                    </a:lnTo>
                    <a:lnTo>
                      <a:pt x="1222413" y="1137807"/>
                    </a:lnTo>
                    <a:lnTo>
                      <a:pt x="1238930" y="1153228"/>
                    </a:lnTo>
                    <a:lnTo>
                      <a:pt x="1267853" y="1162166"/>
                    </a:lnTo>
                    <a:lnTo>
                      <a:pt x="1292306" y="1175778"/>
                    </a:lnTo>
                    <a:lnTo>
                      <a:pt x="1330422" y="1177637"/>
                    </a:lnTo>
                    <a:lnTo>
                      <a:pt x="1355529" y="1180744"/>
                    </a:lnTo>
                    <a:lnTo>
                      <a:pt x="1351758" y="1208429"/>
                    </a:lnTo>
                    <a:lnTo>
                      <a:pt x="1358941" y="1240168"/>
                    </a:lnTo>
                    <a:lnTo>
                      <a:pt x="1375659" y="1275026"/>
                    </a:lnTo>
                    <a:lnTo>
                      <a:pt x="1410003" y="1304220"/>
                    </a:lnTo>
                    <a:lnTo>
                      <a:pt x="1427774" y="1294250"/>
                    </a:lnTo>
                    <a:lnTo>
                      <a:pt x="1440264" y="1262494"/>
                    </a:lnTo>
                    <a:lnTo>
                      <a:pt x="1428208" y="1212900"/>
                    </a:lnTo>
                    <a:lnTo>
                      <a:pt x="1411926" y="1196146"/>
                    </a:lnTo>
                    <a:lnTo>
                      <a:pt x="1448878" y="1181125"/>
                    </a:lnTo>
                    <a:lnTo>
                      <a:pt x="1475034" y="1158483"/>
                    </a:lnTo>
                    <a:lnTo>
                      <a:pt x="1487827" y="1135756"/>
                    </a:lnTo>
                    <a:lnTo>
                      <a:pt x="1485938" y="1113746"/>
                    </a:lnTo>
                    <a:lnTo>
                      <a:pt x="1470263" y="1085467"/>
                    </a:lnTo>
                    <a:lnTo>
                      <a:pt x="1442227" y="1060120"/>
                    </a:lnTo>
                    <a:lnTo>
                      <a:pt x="1469467" y="1024336"/>
                    </a:lnTo>
                    <a:lnTo>
                      <a:pt x="1459404" y="992958"/>
                    </a:lnTo>
                    <a:lnTo>
                      <a:pt x="1451691" y="937749"/>
                    </a:lnTo>
                    <a:lnTo>
                      <a:pt x="1467761" y="929466"/>
                    </a:lnTo>
                    <a:lnTo>
                      <a:pt x="1507335" y="939225"/>
                    </a:lnTo>
                    <a:lnTo>
                      <a:pt x="1531065" y="942703"/>
                    </a:lnTo>
                    <a:lnTo>
                      <a:pt x="1550184" y="933299"/>
                    </a:lnTo>
                    <a:lnTo>
                      <a:pt x="1571682" y="945417"/>
                    </a:lnTo>
                    <a:lnTo>
                      <a:pt x="1600108" y="966002"/>
                    </a:lnTo>
                    <a:lnTo>
                      <a:pt x="1607111" y="979677"/>
                    </a:lnTo>
                    <a:lnTo>
                      <a:pt x="1648273" y="982337"/>
                    </a:lnTo>
                    <a:lnTo>
                      <a:pt x="1647583" y="1011612"/>
                    </a:lnTo>
                    <a:lnTo>
                      <a:pt x="1655256" y="1054939"/>
                    </a:lnTo>
                    <a:lnTo>
                      <a:pt x="1676339" y="1060239"/>
                    </a:lnTo>
                    <a:lnTo>
                      <a:pt x="1693069" y="1080102"/>
                    </a:lnTo>
                    <a:lnTo>
                      <a:pt x="1726492" y="1061382"/>
                    </a:lnTo>
                    <a:lnTo>
                      <a:pt x="1748573" y="1023713"/>
                    </a:lnTo>
                    <a:lnTo>
                      <a:pt x="1763846" y="1007651"/>
                    </a:lnTo>
                    <a:lnTo>
                      <a:pt x="1781822" y="1038403"/>
                    </a:lnTo>
                    <a:lnTo>
                      <a:pt x="1811885" y="1081611"/>
                    </a:lnTo>
                    <a:lnTo>
                      <a:pt x="1837410" y="1121514"/>
                    </a:lnTo>
                    <a:lnTo>
                      <a:pt x="1828128" y="1142131"/>
                    </a:lnTo>
                    <a:lnTo>
                      <a:pt x="1858831" y="1160492"/>
                    </a:lnTo>
                    <a:lnTo>
                      <a:pt x="1879580" y="1178950"/>
                    </a:lnTo>
                    <a:lnTo>
                      <a:pt x="1916386" y="1187256"/>
                    </a:lnTo>
                    <a:lnTo>
                      <a:pt x="1931203" y="1197463"/>
                    </a:lnTo>
                    <a:lnTo>
                      <a:pt x="1940351" y="1224329"/>
                    </a:lnTo>
                    <a:lnTo>
                      <a:pt x="1958327" y="1228520"/>
                    </a:lnTo>
                    <a:lnTo>
                      <a:pt x="1967601" y="1240378"/>
                    </a:lnTo>
                    <a:lnTo>
                      <a:pt x="1969285" y="1275374"/>
                    </a:lnTo>
                    <a:lnTo>
                      <a:pt x="1952532" y="1286973"/>
                    </a:lnTo>
                    <a:lnTo>
                      <a:pt x="1935965" y="1297752"/>
                    </a:lnTo>
                    <a:lnTo>
                      <a:pt x="1897926" y="1308622"/>
                    </a:lnTo>
                    <a:lnTo>
                      <a:pt x="1868882" y="1333569"/>
                    </a:lnTo>
                    <a:lnTo>
                      <a:pt x="1829859" y="1338469"/>
                    </a:lnTo>
                    <a:lnTo>
                      <a:pt x="1780489" y="1332111"/>
                    </a:lnTo>
                    <a:lnTo>
                      <a:pt x="1745846" y="1331893"/>
                    </a:lnTo>
                    <a:lnTo>
                      <a:pt x="1721939" y="1333986"/>
                    </a:lnTo>
                    <a:lnTo>
                      <a:pt x="1702613" y="1355570"/>
                    </a:lnTo>
                    <a:lnTo>
                      <a:pt x="1673186" y="1368816"/>
                    </a:lnTo>
                    <a:lnTo>
                      <a:pt x="1639890" y="1407975"/>
                    </a:lnTo>
                    <a:lnTo>
                      <a:pt x="1613322" y="1434954"/>
                    </a:lnTo>
                    <a:lnTo>
                      <a:pt x="1632928" y="1430170"/>
                    </a:lnTo>
                    <a:lnTo>
                      <a:pt x="1669981" y="1391621"/>
                    </a:lnTo>
                    <a:lnTo>
                      <a:pt x="1718398" y="1366885"/>
                    </a:lnTo>
                    <a:lnTo>
                      <a:pt x="1752934" y="1363910"/>
                    </a:lnTo>
                    <a:lnTo>
                      <a:pt x="1773368" y="1378512"/>
                    </a:lnTo>
                    <a:lnTo>
                      <a:pt x="1751568" y="1398384"/>
                    </a:lnTo>
                    <a:lnTo>
                      <a:pt x="1758883" y="1429969"/>
                    </a:lnTo>
                    <a:lnTo>
                      <a:pt x="1766416" y="1451860"/>
                    </a:lnTo>
                    <a:lnTo>
                      <a:pt x="1796398" y="1466257"/>
                    </a:lnTo>
                    <a:lnTo>
                      <a:pt x="1834544" y="1462093"/>
                    </a:lnTo>
                    <a:lnTo>
                      <a:pt x="1857686" y="1429533"/>
                    </a:lnTo>
                    <a:lnTo>
                      <a:pt x="1859291" y="1450584"/>
                    </a:lnTo>
                    <a:lnTo>
                      <a:pt x="1874196" y="1461038"/>
                    </a:lnTo>
                    <a:lnTo>
                      <a:pt x="1845643" y="1479844"/>
                    </a:lnTo>
                    <a:lnTo>
                      <a:pt x="1794519" y="1496818"/>
                    </a:lnTo>
                    <a:lnTo>
                      <a:pt x="1771624" y="1508301"/>
                    </a:lnTo>
                    <a:lnTo>
                      <a:pt x="1745829" y="1528629"/>
                    </a:lnTo>
                    <a:lnTo>
                      <a:pt x="1728301" y="1526563"/>
                    </a:lnTo>
                    <a:lnTo>
                      <a:pt x="1727417" y="1502642"/>
                    </a:lnTo>
                    <a:lnTo>
                      <a:pt x="1767494" y="1479078"/>
                    </a:lnTo>
                    <a:lnTo>
                      <a:pt x="1730549" y="1480014"/>
                    </a:lnTo>
                    <a:lnTo>
                      <a:pt x="1704895" y="1483495"/>
                    </a:lnTo>
                    <a:lnTo>
                      <a:pt x="1689801" y="1467298"/>
                    </a:lnTo>
                    <a:lnTo>
                      <a:pt x="1689821" y="1427830"/>
                    </a:lnTo>
                    <a:lnTo>
                      <a:pt x="1679573" y="1419406"/>
                    </a:lnTo>
                    <a:lnTo>
                      <a:pt x="1664095" y="1424369"/>
                    </a:lnTo>
                    <a:lnTo>
                      <a:pt x="1656426" y="1416687"/>
                    </a:lnTo>
                    <a:lnTo>
                      <a:pt x="1638820" y="1438692"/>
                    </a:lnTo>
                    <a:lnTo>
                      <a:pt x="1631779" y="1461193"/>
                    </a:lnTo>
                    <a:lnTo>
                      <a:pt x="1623585" y="1474267"/>
                    </a:lnTo>
                    <a:lnTo>
                      <a:pt x="1613778" y="1478700"/>
                    </a:lnTo>
                    <a:lnTo>
                      <a:pt x="1606388" y="1480137"/>
                    </a:lnTo>
                    <a:lnTo>
                      <a:pt x="1604078" y="1487188"/>
                    </a:lnTo>
                    <a:lnTo>
                      <a:pt x="1561542" y="1487212"/>
                    </a:lnTo>
                    <a:lnTo>
                      <a:pt x="1526476" y="1487408"/>
                    </a:lnTo>
                    <a:lnTo>
                      <a:pt x="1516061" y="1492655"/>
                    </a:lnTo>
                    <a:lnTo>
                      <a:pt x="1491667" y="1513089"/>
                    </a:lnTo>
                    <a:lnTo>
                      <a:pt x="1488782" y="1515290"/>
                    </a:lnTo>
                    <a:lnTo>
                      <a:pt x="1481394" y="1526278"/>
                    </a:lnTo>
                    <a:lnTo>
                      <a:pt x="1460208" y="1526271"/>
                    </a:lnTo>
                    <a:lnTo>
                      <a:pt x="1437532" y="1526382"/>
                    </a:lnTo>
                    <a:lnTo>
                      <a:pt x="1427112" y="1530847"/>
                    </a:lnTo>
                    <a:lnTo>
                      <a:pt x="1430844" y="1536359"/>
                    </a:lnTo>
                    <a:lnTo>
                      <a:pt x="1432922" y="1544901"/>
                    </a:lnTo>
                    <a:lnTo>
                      <a:pt x="1432475" y="1547735"/>
                    </a:lnTo>
                    <a:lnTo>
                      <a:pt x="1402281" y="1561599"/>
                    </a:lnTo>
                    <a:lnTo>
                      <a:pt x="1378499" y="1565967"/>
                    </a:lnTo>
                    <a:lnTo>
                      <a:pt x="1351687" y="1580755"/>
                    </a:lnTo>
                    <a:lnTo>
                      <a:pt x="1345898" y="1580755"/>
                    </a:lnTo>
                    <a:lnTo>
                      <a:pt x="1338056" y="1576395"/>
                    </a:lnTo>
                    <a:lnTo>
                      <a:pt x="1335467" y="1572439"/>
                    </a:lnTo>
                    <a:lnTo>
                      <a:pt x="1335974" y="1569547"/>
                    </a:lnTo>
                    <a:lnTo>
                      <a:pt x="1341053" y="1559825"/>
                    </a:lnTo>
                    <a:lnTo>
                      <a:pt x="1351901" y="1544481"/>
                    </a:lnTo>
                    <a:lnTo>
                      <a:pt x="1358650" y="1527902"/>
                    </a:lnTo>
                    <a:lnTo>
                      <a:pt x="1354031" y="1503355"/>
                    </a:lnTo>
                    <a:lnTo>
                      <a:pt x="1349110" y="1477490"/>
                    </a:lnTo>
                    <a:lnTo>
                      <a:pt x="1325060" y="1464017"/>
                    </a:lnTo>
                    <a:lnTo>
                      <a:pt x="1327906" y="1458897"/>
                    </a:lnTo>
                    <a:lnTo>
                      <a:pt x="1324522" y="1455371"/>
                    </a:lnTo>
                    <a:lnTo>
                      <a:pt x="1318183" y="1455371"/>
                    </a:lnTo>
                    <a:lnTo>
                      <a:pt x="1313541" y="1450793"/>
                    </a:lnTo>
                    <a:lnTo>
                      <a:pt x="1312381" y="1443938"/>
                    </a:lnTo>
                    <a:lnTo>
                      <a:pt x="1307890" y="1446935"/>
                    </a:lnTo>
                    <a:lnTo>
                      <a:pt x="1301699" y="1446042"/>
                    </a:lnTo>
                    <a:lnTo>
                      <a:pt x="1303111" y="1443171"/>
                    </a:lnTo>
                    <a:lnTo>
                      <a:pt x="1297675" y="1440317"/>
                    </a:lnTo>
                    <a:lnTo>
                      <a:pt x="1295439" y="1432674"/>
                    </a:lnTo>
                    <a:lnTo>
                      <a:pt x="1277521" y="1423341"/>
                    </a:lnTo>
                    <a:lnTo>
                      <a:pt x="1258832" y="1413595"/>
                    </a:lnTo>
                    <a:lnTo>
                      <a:pt x="1236262" y="1402238"/>
                    </a:lnTo>
                    <a:lnTo>
                      <a:pt x="1214603" y="1391534"/>
                    </a:lnTo>
                    <a:lnTo>
                      <a:pt x="1193949" y="1399888"/>
                    </a:lnTo>
                    <a:lnTo>
                      <a:pt x="1186399" y="1400177"/>
                    </a:lnTo>
                    <a:lnTo>
                      <a:pt x="1158007" y="1392507"/>
                    </a:lnTo>
                    <a:lnTo>
                      <a:pt x="1139310" y="1396345"/>
                    </a:lnTo>
                    <a:lnTo>
                      <a:pt x="1116920" y="1387184"/>
                    </a:lnTo>
                    <a:lnTo>
                      <a:pt x="1093356" y="1382466"/>
                    </a:lnTo>
                    <a:lnTo>
                      <a:pt x="1077238" y="1380642"/>
                    </a:lnTo>
                    <a:lnTo>
                      <a:pt x="1070062" y="1375614"/>
                    </a:lnTo>
                    <a:lnTo>
                      <a:pt x="1065963" y="1359239"/>
                    </a:lnTo>
                    <a:lnTo>
                      <a:pt x="1058149" y="1359382"/>
                    </a:lnTo>
                    <a:lnTo>
                      <a:pt x="1058081" y="1370853"/>
                    </a:lnTo>
                    <a:lnTo>
                      <a:pt x="1010307" y="1370832"/>
                    </a:lnTo>
                    <a:lnTo>
                      <a:pt x="931335" y="1370853"/>
                    </a:lnTo>
                    <a:lnTo>
                      <a:pt x="852894" y="1370857"/>
                    </a:lnTo>
                    <a:lnTo>
                      <a:pt x="783606" y="1370853"/>
                    </a:lnTo>
                    <a:lnTo>
                      <a:pt x="714358" y="1370853"/>
                    </a:lnTo>
                    <a:lnTo>
                      <a:pt x="646264" y="1370853"/>
                    </a:lnTo>
                    <a:lnTo>
                      <a:pt x="575904" y="1370853"/>
                    </a:lnTo>
                    <a:lnTo>
                      <a:pt x="553213" y="1370853"/>
                    </a:lnTo>
                    <a:lnTo>
                      <a:pt x="484685" y="1370853"/>
                    </a:lnTo>
                    <a:lnTo>
                      <a:pt x="419131" y="1370853"/>
                    </a:lnTo>
                    <a:lnTo>
                      <a:pt x="416033" y="1370777"/>
                    </a:lnTo>
                    <a:lnTo>
                      <a:pt x="371344" y="1341360"/>
                    </a:lnTo>
                    <a:lnTo>
                      <a:pt x="354854" y="1328312"/>
                    </a:lnTo>
                    <a:lnTo>
                      <a:pt x="313052" y="1315743"/>
                    </a:lnTo>
                    <a:lnTo>
                      <a:pt x="300191" y="1288661"/>
                    </a:lnTo>
                    <a:lnTo>
                      <a:pt x="303479" y="1269710"/>
                    </a:lnTo>
                    <a:lnTo>
                      <a:pt x="273945" y="1256478"/>
                    </a:lnTo>
                    <a:lnTo>
                      <a:pt x="269896" y="1231226"/>
                    </a:lnTo>
                    <a:lnTo>
                      <a:pt x="241972" y="1208260"/>
                    </a:lnTo>
                    <a:lnTo>
                      <a:pt x="241484" y="1191828"/>
                    </a:lnTo>
                    <a:lnTo>
                      <a:pt x="254320" y="1176345"/>
                    </a:lnTo>
                    <a:lnTo>
                      <a:pt x="253679" y="1155936"/>
                    </a:lnTo>
                    <a:lnTo>
                      <a:pt x="214438" y="1135170"/>
                    </a:lnTo>
                    <a:lnTo>
                      <a:pt x="190833" y="1097467"/>
                    </a:lnTo>
                    <a:lnTo>
                      <a:pt x="176403" y="1073437"/>
                    </a:lnTo>
                    <a:lnTo>
                      <a:pt x="155270" y="1058204"/>
                    </a:lnTo>
                    <a:lnTo>
                      <a:pt x="139715" y="1044280"/>
                    </a:lnTo>
                    <a:lnTo>
                      <a:pt x="127462" y="1026566"/>
                    </a:lnTo>
                    <a:lnTo>
                      <a:pt x="104289" y="1037675"/>
                    </a:lnTo>
                    <a:lnTo>
                      <a:pt x="81835" y="1056715"/>
                    </a:lnTo>
                    <a:lnTo>
                      <a:pt x="61328" y="1034312"/>
                    </a:lnTo>
                    <a:lnTo>
                      <a:pt x="45214" y="1019257"/>
                    </a:lnTo>
                    <a:lnTo>
                      <a:pt x="22732" y="1009687"/>
                    </a:lnTo>
                    <a:lnTo>
                      <a:pt x="0" y="1008663"/>
                    </a:lnTo>
                    <a:lnTo>
                      <a:pt x="122" y="801732"/>
                    </a:lnTo>
                    <a:lnTo>
                      <a:pt x="273" y="654875"/>
                    </a:lnTo>
                    <a:lnTo>
                      <a:pt x="43333" y="664738"/>
                    </a:lnTo>
                    <a:lnTo>
                      <a:pt x="79669" y="684284"/>
                    </a:lnTo>
                    <a:lnTo>
                      <a:pt x="103738" y="687999"/>
                    </a:lnTo>
                    <a:lnTo>
                      <a:pt x="124001" y="671094"/>
                    </a:lnTo>
                    <a:lnTo>
                      <a:pt x="151957" y="658342"/>
                    </a:lnTo>
                    <a:lnTo>
                      <a:pt x="186244" y="663337"/>
                    </a:lnTo>
                    <a:lnTo>
                      <a:pt x="220819" y="645311"/>
                    </a:lnTo>
                    <a:lnTo>
                      <a:pt x="258597" y="635010"/>
                    </a:lnTo>
                    <a:lnTo>
                      <a:pt x="274455" y="652112"/>
                    </a:lnTo>
                    <a:lnTo>
                      <a:pt x="291678" y="642491"/>
                    </a:lnTo>
                    <a:lnTo>
                      <a:pt x="296835" y="622948"/>
                    </a:lnTo>
                    <a:lnTo>
                      <a:pt x="312786" y="627390"/>
                    </a:lnTo>
                    <a:lnTo>
                      <a:pt x="351814" y="664348"/>
                    </a:lnTo>
                    <a:lnTo>
                      <a:pt x="382548" y="636472"/>
                    </a:lnTo>
                    <a:lnTo>
                      <a:pt x="385668" y="667649"/>
                    </a:lnTo>
                    <a:lnTo>
                      <a:pt x="414028" y="660950"/>
                    </a:lnTo>
                    <a:lnTo>
                      <a:pt x="422743" y="648976"/>
                    </a:lnTo>
                    <a:lnTo>
                      <a:pt x="450702" y="651351"/>
                    </a:lnTo>
                    <a:lnTo>
                      <a:pt x="486004" y="668539"/>
                    </a:lnTo>
                    <a:lnTo>
                      <a:pt x="540022" y="683424"/>
                    </a:lnTo>
                    <a:lnTo>
                      <a:pt x="571789" y="690280"/>
                    </a:lnTo>
                    <a:lnTo>
                      <a:pt x="594400" y="687682"/>
                    </a:lnTo>
                    <a:lnTo>
                      <a:pt x="625537" y="708046"/>
                    </a:lnTo>
                    <a:lnTo>
                      <a:pt x="593061" y="727784"/>
                    </a:lnTo>
                    <a:lnTo>
                      <a:pt x="634786" y="736254"/>
                    </a:lnTo>
                    <a:lnTo>
                      <a:pt x="697092" y="731599"/>
                    </a:lnTo>
                    <a:lnTo>
                      <a:pt x="716754" y="724677"/>
                    </a:lnTo>
                    <a:lnTo>
                      <a:pt x="741360" y="748307"/>
                    </a:lnTo>
                    <a:lnTo>
                      <a:pt x="766470" y="728387"/>
                    </a:lnTo>
                    <a:lnTo>
                      <a:pt x="742912" y="711531"/>
                    </a:lnTo>
                    <a:lnTo>
                      <a:pt x="757818" y="697829"/>
                    </a:lnTo>
                    <a:lnTo>
                      <a:pt x="785914" y="695977"/>
                    </a:lnTo>
                    <a:lnTo>
                      <a:pt x="804381" y="691953"/>
                    </a:lnTo>
                    <a:lnTo>
                      <a:pt x="823012" y="701549"/>
                    </a:lnTo>
                    <a:lnTo>
                      <a:pt x="846208" y="723212"/>
                    </a:lnTo>
                    <a:lnTo>
                      <a:pt x="871986" y="720046"/>
                    </a:lnTo>
                    <a:lnTo>
                      <a:pt x="912769" y="737880"/>
                    </a:lnTo>
                    <a:lnTo>
                      <a:pt x="948602" y="731617"/>
                    </a:lnTo>
                    <a:lnTo>
                      <a:pt x="982274" y="732566"/>
                    </a:lnTo>
                    <a:lnTo>
                      <a:pt x="979610" y="707845"/>
                    </a:lnTo>
                    <a:lnTo>
                      <a:pt x="1000133" y="700850"/>
                    </a:lnTo>
                    <a:lnTo>
                      <a:pt x="1035902" y="714411"/>
                    </a:lnTo>
                    <a:lnTo>
                      <a:pt x="1035764" y="751754"/>
                    </a:lnTo>
                    <a:lnTo>
                      <a:pt x="1050455" y="720326"/>
                    </a:lnTo>
                    <a:lnTo>
                      <a:pt x="1069023" y="721393"/>
                    </a:lnTo>
                    <a:lnTo>
                      <a:pt x="1079461" y="681086"/>
                    </a:lnTo>
                    <a:lnTo>
                      <a:pt x="1054733" y="655953"/>
                    </a:lnTo>
                    <a:lnTo>
                      <a:pt x="1027790" y="639313"/>
                    </a:lnTo>
                    <a:lnTo>
                      <a:pt x="1029641" y="593079"/>
                    </a:lnTo>
                    <a:close/>
                    <a:moveTo>
                      <a:pt x="595734" y="501226"/>
                    </a:moveTo>
                    <a:lnTo>
                      <a:pt x="619323" y="509777"/>
                    </a:lnTo>
                    <a:lnTo>
                      <a:pt x="607800" y="530371"/>
                    </a:lnTo>
                    <a:lnTo>
                      <a:pt x="659167" y="517098"/>
                    </a:lnTo>
                    <a:lnTo>
                      <a:pt x="691266" y="539196"/>
                    </a:lnTo>
                    <a:lnTo>
                      <a:pt x="717351" y="516846"/>
                    </a:lnTo>
                    <a:lnTo>
                      <a:pt x="738444" y="531220"/>
                    </a:lnTo>
                    <a:lnTo>
                      <a:pt x="757330" y="573677"/>
                    </a:lnTo>
                    <a:lnTo>
                      <a:pt x="768926" y="555872"/>
                    </a:lnTo>
                    <a:lnTo>
                      <a:pt x="752528" y="511186"/>
                    </a:lnTo>
                    <a:lnTo>
                      <a:pt x="772839" y="504711"/>
                    </a:lnTo>
                    <a:lnTo>
                      <a:pt x="795780" y="511783"/>
                    </a:lnTo>
                    <a:lnTo>
                      <a:pt x="821636" y="529504"/>
                    </a:lnTo>
                    <a:lnTo>
                      <a:pt x="836123" y="571645"/>
                    </a:lnTo>
                    <a:lnTo>
                      <a:pt x="843280" y="601605"/>
                    </a:lnTo>
                    <a:lnTo>
                      <a:pt x="882045" y="622368"/>
                    </a:lnTo>
                    <a:lnTo>
                      <a:pt x="923700" y="642017"/>
                    </a:lnTo>
                    <a:lnTo>
                      <a:pt x="921195" y="660101"/>
                    </a:lnTo>
                    <a:lnTo>
                      <a:pt x="883296" y="663391"/>
                    </a:lnTo>
                    <a:lnTo>
                      <a:pt x="898020" y="679036"/>
                    </a:lnTo>
                    <a:lnTo>
                      <a:pt x="890243" y="693852"/>
                    </a:lnTo>
                    <a:lnTo>
                      <a:pt x="848468" y="687517"/>
                    </a:lnTo>
                    <a:lnTo>
                      <a:pt x="808766" y="676587"/>
                    </a:lnTo>
                    <a:lnTo>
                      <a:pt x="781932" y="679053"/>
                    </a:lnTo>
                    <a:lnTo>
                      <a:pt x="738595" y="692758"/>
                    </a:lnTo>
                    <a:lnTo>
                      <a:pt x="680100" y="698787"/>
                    </a:lnTo>
                    <a:lnTo>
                      <a:pt x="639035" y="702578"/>
                    </a:lnTo>
                    <a:lnTo>
                      <a:pt x="626529" y="683579"/>
                    </a:lnTo>
                    <a:lnTo>
                      <a:pt x="595020" y="672523"/>
                    </a:lnTo>
                    <a:lnTo>
                      <a:pt x="574524" y="677065"/>
                    </a:lnTo>
                    <a:lnTo>
                      <a:pt x="546085" y="644672"/>
                    </a:lnTo>
                    <a:lnTo>
                      <a:pt x="561442" y="640273"/>
                    </a:lnTo>
                    <a:lnTo>
                      <a:pt x="597072" y="633202"/>
                    </a:lnTo>
                    <a:lnTo>
                      <a:pt x="629612" y="635065"/>
                    </a:lnTo>
                    <a:lnTo>
                      <a:pt x="659742" y="627840"/>
                    </a:lnTo>
                    <a:lnTo>
                      <a:pt x="615103" y="618099"/>
                    </a:lnTo>
                    <a:lnTo>
                      <a:pt x="565778" y="621422"/>
                    </a:lnTo>
                    <a:lnTo>
                      <a:pt x="533048" y="620582"/>
                    </a:lnTo>
                    <a:lnTo>
                      <a:pt x="520870" y="605132"/>
                    </a:lnTo>
                    <a:lnTo>
                      <a:pt x="574405" y="588232"/>
                    </a:lnTo>
                    <a:lnTo>
                      <a:pt x="538799" y="588825"/>
                    </a:lnTo>
                    <a:lnTo>
                      <a:pt x="498489" y="577619"/>
                    </a:lnTo>
                    <a:lnTo>
                      <a:pt x="517863" y="545388"/>
                    </a:lnTo>
                    <a:lnTo>
                      <a:pt x="533934" y="528045"/>
                    </a:lnTo>
                    <a:close/>
                    <a:moveTo>
                      <a:pt x="824924" y="486734"/>
                    </a:moveTo>
                    <a:lnTo>
                      <a:pt x="842467" y="496544"/>
                    </a:lnTo>
                    <a:lnTo>
                      <a:pt x="822154" y="525678"/>
                    </a:lnTo>
                    <a:lnTo>
                      <a:pt x="786145" y="494764"/>
                    </a:lnTo>
                    <a:lnTo>
                      <a:pt x="793993" y="488521"/>
                    </a:lnTo>
                    <a:close/>
                    <a:moveTo>
                      <a:pt x="1399843" y="481375"/>
                    </a:moveTo>
                    <a:lnTo>
                      <a:pt x="1452670" y="486201"/>
                    </a:lnTo>
                    <a:lnTo>
                      <a:pt x="1492475" y="510606"/>
                    </a:lnTo>
                    <a:lnTo>
                      <a:pt x="1494520" y="522768"/>
                    </a:lnTo>
                    <a:lnTo>
                      <a:pt x="1469982" y="521488"/>
                    </a:lnTo>
                    <a:lnTo>
                      <a:pt x="1445117" y="520560"/>
                    </a:lnTo>
                    <a:lnTo>
                      <a:pt x="1419851" y="526458"/>
                    </a:lnTo>
                    <a:lnTo>
                      <a:pt x="1413167" y="523798"/>
                    </a:lnTo>
                    <a:lnTo>
                      <a:pt x="1387770" y="500401"/>
                    </a:lnTo>
                    <a:lnTo>
                      <a:pt x="1388744" y="484355"/>
                    </a:lnTo>
                    <a:close/>
                    <a:moveTo>
                      <a:pt x="1273509" y="479397"/>
                    </a:moveTo>
                    <a:lnTo>
                      <a:pt x="1256520" y="508186"/>
                    </a:lnTo>
                    <a:lnTo>
                      <a:pt x="1274705" y="535549"/>
                    </a:lnTo>
                    <a:lnTo>
                      <a:pt x="1296039" y="500086"/>
                    </a:lnTo>
                    <a:lnTo>
                      <a:pt x="1354542" y="481767"/>
                    </a:lnTo>
                    <a:lnTo>
                      <a:pt x="1394141" y="527581"/>
                    </a:lnTo>
                    <a:lnTo>
                      <a:pt x="1390705" y="556027"/>
                    </a:lnTo>
                    <a:lnTo>
                      <a:pt x="1436369" y="543465"/>
                    </a:lnTo>
                    <a:lnTo>
                      <a:pt x="1458206" y="526133"/>
                    </a:lnTo>
                    <a:lnTo>
                      <a:pt x="1509421" y="548170"/>
                    </a:lnTo>
                    <a:lnTo>
                      <a:pt x="1541211" y="568701"/>
                    </a:lnTo>
                    <a:lnTo>
                      <a:pt x="1544200" y="587312"/>
                    </a:lnTo>
                    <a:lnTo>
                      <a:pt x="1587063" y="577690"/>
                    </a:lnTo>
                    <a:lnTo>
                      <a:pt x="1611120" y="604677"/>
                    </a:lnTo>
                    <a:lnTo>
                      <a:pt x="1666840" y="621230"/>
                    </a:lnTo>
                    <a:lnTo>
                      <a:pt x="1686947" y="637981"/>
                    </a:lnTo>
                    <a:lnTo>
                      <a:pt x="1708782" y="676340"/>
                    </a:lnTo>
                    <a:lnTo>
                      <a:pt x="1666400" y="695165"/>
                    </a:lnTo>
                    <a:lnTo>
                      <a:pt x="1720766" y="721261"/>
                    </a:lnTo>
                    <a:lnTo>
                      <a:pt x="1757411" y="729962"/>
                    </a:lnTo>
                    <a:lnTo>
                      <a:pt x="1790589" y="765978"/>
                    </a:lnTo>
                    <a:lnTo>
                      <a:pt x="1826897" y="768554"/>
                    </a:lnTo>
                    <a:lnTo>
                      <a:pt x="1819714" y="795606"/>
                    </a:lnTo>
                    <a:lnTo>
                      <a:pt x="1779198" y="839616"/>
                    </a:lnTo>
                    <a:lnTo>
                      <a:pt x="1750797" y="823532"/>
                    </a:lnTo>
                    <a:lnTo>
                      <a:pt x="1714502" y="786865"/>
                    </a:lnTo>
                    <a:lnTo>
                      <a:pt x="1684638" y="791678"/>
                    </a:lnTo>
                    <a:lnTo>
                      <a:pt x="1681723" y="813543"/>
                    </a:lnTo>
                    <a:lnTo>
                      <a:pt x="1705998" y="835496"/>
                    </a:lnTo>
                    <a:lnTo>
                      <a:pt x="1737334" y="852707"/>
                    </a:lnTo>
                    <a:lnTo>
                      <a:pt x="1746842" y="862582"/>
                    </a:lnTo>
                    <a:lnTo>
                      <a:pt x="1761864" y="898975"/>
                    </a:lnTo>
                    <a:lnTo>
                      <a:pt x="1753914" y="925017"/>
                    </a:lnTo>
                    <a:lnTo>
                      <a:pt x="1724801" y="915238"/>
                    </a:lnTo>
                    <a:lnTo>
                      <a:pt x="1666906" y="886077"/>
                    </a:lnTo>
                    <a:lnTo>
                      <a:pt x="1699534" y="917449"/>
                    </a:lnTo>
                    <a:lnTo>
                      <a:pt x="1723572" y="939165"/>
                    </a:lnTo>
                    <a:lnTo>
                      <a:pt x="1727328" y="951622"/>
                    </a:lnTo>
                    <a:lnTo>
                      <a:pt x="1664733" y="937372"/>
                    </a:lnTo>
                    <a:lnTo>
                      <a:pt x="1615196" y="916482"/>
                    </a:lnTo>
                    <a:lnTo>
                      <a:pt x="1587221" y="898796"/>
                    </a:lnTo>
                    <a:lnTo>
                      <a:pt x="1595279" y="888484"/>
                    </a:lnTo>
                    <a:lnTo>
                      <a:pt x="1560839" y="869571"/>
                    </a:lnTo>
                    <a:lnTo>
                      <a:pt x="1527228" y="851564"/>
                    </a:lnTo>
                    <a:lnTo>
                      <a:pt x="1527595" y="862346"/>
                    </a:lnTo>
                    <a:lnTo>
                      <a:pt x="1460852" y="868256"/>
                    </a:lnTo>
                    <a:lnTo>
                      <a:pt x="1441325" y="855518"/>
                    </a:lnTo>
                    <a:lnTo>
                      <a:pt x="1456529" y="827942"/>
                    </a:lnTo>
                    <a:lnTo>
                      <a:pt x="1499901" y="827271"/>
                    </a:lnTo>
                    <a:lnTo>
                      <a:pt x="1547417" y="822446"/>
                    </a:lnTo>
                    <a:lnTo>
                      <a:pt x="1539705" y="808907"/>
                    </a:lnTo>
                    <a:lnTo>
                      <a:pt x="1547760" y="789842"/>
                    </a:lnTo>
                    <a:lnTo>
                      <a:pt x="1577623" y="752098"/>
                    </a:lnTo>
                    <a:lnTo>
                      <a:pt x="1571278" y="734725"/>
                    </a:lnTo>
                    <a:lnTo>
                      <a:pt x="1562378" y="721171"/>
                    </a:lnTo>
                    <a:lnTo>
                      <a:pt x="1527023" y="701813"/>
                    </a:lnTo>
                    <a:lnTo>
                      <a:pt x="1480262" y="688133"/>
                    </a:lnTo>
                    <a:lnTo>
                      <a:pt x="1495045" y="677895"/>
                    </a:lnTo>
                    <a:lnTo>
                      <a:pt x="1470607" y="652512"/>
                    </a:lnTo>
                    <a:lnTo>
                      <a:pt x="1450265" y="650171"/>
                    </a:lnTo>
                    <a:lnTo>
                      <a:pt x="1432062" y="636121"/>
                    </a:lnTo>
                    <a:lnTo>
                      <a:pt x="1419708" y="648306"/>
                    </a:lnTo>
                    <a:lnTo>
                      <a:pt x="1377859" y="653594"/>
                    </a:lnTo>
                    <a:lnTo>
                      <a:pt x="1293855" y="644398"/>
                    </a:lnTo>
                    <a:lnTo>
                      <a:pt x="1245029" y="632260"/>
                    </a:lnTo>
                    <a:lnTo>
                      <a:pt x="1207595" y="625994"/>
                    </a:lnTo>
                    <a:lnTo>
                      <a:pt x="1188397" y="611314"/>
                    </a:lnTo>
                    <a:lnTo>
                      <a:pt x="1212535" y="592089"/>
                    </a:lnTo>
                    <a:lnTo>
                      <a:pt x="1179747" y="591904"/>
                    </a:lnTo>
                    <a:lnTo>
                      <a:pt x="1172430" y="548542"/>
                    </a:lnTo>
                    <a:lnTo>
                      <a:pt x="1190171" y="509423"/>
                    </a:lnTo>
                    <a:lnTo>
                      <a:pt x="1213908" y="491293"/>
                    </a:lnTo>
                    <a:close/>
                    <a:moveTo>
                      <a:pt x="938112" y="477598"/>
                    </a:moveTo>
                    <a:lnTo>
                      <a:pt x="965639" y="487029"/>
                    </a:lnTo>
                    <a:lnTo>
                      <a:pt x="1006816" y="481362"/>
                    </a:lnTo>
                    <a:lnTo>
                      <a:pt x="1012817" y="494318"/>
                    </a:lnTo>
                    <a:lnTo>
                      <a:pt x="991267" y="515552"/>
                    </a:lnTo>
                    <a:lnTo>
                      <a:pt x="1026205" y="534421"/>
                    </a:lnTo>
                    <a:lnTo>
                      <a:pt x="1022050" y="573287"/>
                    </a:lnTo>
                    <a:lnTo>
                      <a:pt x="984202" y="589773"/>
                    </a:lnTo>
                    <a:lnTo>
                      <a:pt x="961969" y="586227"/>
                    </a:lnTo>
                    <a:lnTo>
                      <a:pt x="945997" y="569938"/>
                    </a:lnTo>
                    <a:lnTo>
                      <a:pt x="888632" y="536601"/>
                    </a:lnTo>
                    <a:lnTo>
                      <a:pt x="889094" y="522609"/>
                    </a:lnTo>
                    <a:lnTo>
                      <a:pt x="936220" y="528048"/>
                    </a:lnTo>
                    <a:lnTo>
                      <a:pt x="910791" y="499210"/>
                    </a:lnTo>
                    <a:close/>
                    <a:moveTo>
                      <a:pt x="1073209" y="464482"/>
                    </a:moveTo>
                    <a:lnTo>
                      <a:pt x="1121305" y="466059"/>
                    </a:lnTo>
                    <a:lnTo>
                      <a:pt x="1165398" y="477021"/>
                    </a:lnTo>
                    <a:lnTo>
                      <a:pt x="1130909" y="516621"/>
                    </a:lnTo>
                    <a:lnTo>
                      <a:pt x="1103386" y="525153"/>
                    </a:lnTo>
                    <a:lnTo>
                      <a:pt x="1078625" y="557636"/>
                    </a:lnTo>
                    <a:lnTo>
                      <a:pt x="1052292" y="556028"/>
                    </a:lnTo>
                    <a:lnTo>
                      <a:pt x="1037891" y="517764"/>
                    </a:lnTo>
                    <a:lnTo>
                      <a:pt x="1038248" y="495768"/>
                    </a:lnTo>
                    <a:lnTo>
                      <a:pt x="1050308" y="476765"/>
                    </a:lnTo>
                    <a:close/>
                    <a:moveTo>
                      <a:pt x="449187" y="450229"/>
                    </a:moveTo>
                    <a:lnTo>
                      <a:pt x="482151" y="459662"/>
                    </a:lnTo>
                    <a:lnTo>
                      <a:pt x="541108" y="462181"/>
                    </a:lnTo>
                    <a:lnTo>
                      <a:pt x="563526" y="475253"/>
                    </a:lnTo>
                    <a:lnTo>
                      <a:pt x="588308" y="494087"/>
                    </a:lnTo>
                    <a:lnTo>
                      <a:pt x="559290" y="505289"/>
                    </a:lnTo>
                    <a:lnTo>
                      <a:pt x="502690" y="536166"/>
                    </a:lnTo>
                    <a:lnTo>
                      <a:pt x="474067" y="566434"/>
                    </a:lnTo>
                    <a:lnTo>
                      <a:pt x="474067" y="585071"/>
                    </a:lnTo>
                    <a:lnTo>
                      <a:pt x="413309" y="605450"/>
                    </a:lnTo>
                    <a:lnTo>
                      <a:pt x="401126" y="586923"/>
                    </a:lnTo>
                    <a:lnTo>
                      <a:pt x="347829" y="564344"/>
                    </a:lnTo>
                    <a:lnTo>
                      <a:pt x="357731" y="546065"/>
                    </a:lnTo>
                    <a:lnTo>
                      <a:pt x="373720" y="514140"/>
                    </a:lnTo>
                    <a:lnTo>
                      <a:pt x="393740" y="484945"/>
                    </a:lnTo>
                    <a:lnTo>
                      <a:pt x="371170" y="457331"/>
                    </a:lnTo>
                    <a:close/>
                    <a:moveTo>
                      <a:pt x="1065196" y="394840"/>
                    </a:moveTo>
                    <a:lnTo>
                      <a:pt x="1085349" y="411219"/>
                    </a:lnTo>
                    <a:lnTo>
                      <a:pt x="1093774" y="425879"/>
                    </a:lnTo>
                    <a:lnTo>
                      <a:pt x="1081213" y="443683"/>
                    </a:lnTo>
                    <a:lnTo>
                      <a:pt x="1047702" y="440274"/>
                    </a:lnTo>
                    <a:lnTo>
                      <a:pt x="1019720" y="428294"/>
                    </a:lnTo>
                    <a:lnTo>
                      <a:pt x="1032008" y="407433"/>
                    </a:lnTo>
                    <a:close/>
                    <a:moveTo>
                      <a:pt x="980963" y="343845"/>
                    </a:moveTo>
                    <a:lnTo>
                      <a:pt x="998608" y="366044"/>
                    </a:lnTo>
                    <a:lnTo>
                      <a:pt x="999327" y="390322"/>
                    </a:lnTo>
                    <a:lnTo>
                      <a:pt x="988811" y="424956"/>
                    </a:lnTo>
                    <a:lnTo>
                      <a:pt x="950754" y="429685"/>
                    </a:lnTo>
                    <a:lnTo>
                      <a:pt x="925942" y="422306"/>
                    </a:lnTo>
                    <a:lnTo>
                      <a:pt x="926420" y="395144"/>
                    </a:lnTo>
                    <a:lnTo>
                      <a:pt x="888584" y="398749"/>
                    </a:lnTo>
                    <a:lnTo>
                      <a:pt x="887120" y="362228"/>
                    </a:lnTo>
                    <a:lnTo>
                      <a:pt x="911952" y="363718"/>
                    </a:lnTo>
                    <a:lnTo>
                      <a:pt x="946720" y="347391"/>
                    </a:lnTo>
                    <a:lnTo>
                      <a:pt x="979186" y="350166"/>
                    </a:lnTo>
                    <a:close/>
                    <a:moveTo>
                      <a:pt x="725181" y="340268"/>
                    </a:moveTo>
                    <a:lnTo>
                      <a:pt x="749015" y="345852"/>
                    </a:lnTo>
                    <a:lnTo>
                      <a:pt x="756798" y="368655"/>
                    </a:lnTo>
                    <a:lnTo>
                      <a:pt x="765846" y="385517"/>
                    </a:lnTo>
                    <a:lnTo>
                      <a:pt x="786401" y="377615"/>
                    </a:lnTo>
                    <a:lnTo>
                      <a:pt x="810590" y="379669"/>
                    </a:lnTo>
                    <a:lnTo>
                      <a:pt x="814653" y="402690"/>
                    </a:lnTo>
                    <a:lnTo>
                      <a:pt x="800607" y="424712"/>
                    </a:lnTo>
                    <a:lnTo>
                      <a:pt x="722437" y="431868"/>
                    </a:lnTo>
                    <a:lnTo>
                      <a:pt x="664198" y="451684"/>
                    </a:lnTo>
                    <a:lnTo>
                      <a:pt x="629095" y="452717"/>
                    </a:lnTo>
                    <a:lnTo>
                      <a:pt x="626151" y="437825"/>
                    </a:lnTo>
                    <a:lnTo>
                      <a:pt x="674097" y="417439"/>
                    </a:lnTo>
                    <a:lnTo>
                      <a:pt x="569810" y="422950"/>
                    </a:lnTo>
                    <a:lnTo>
                      <a:pt x="537535" y="414670"/>
                    </a:lnTo>
                    <a:lnTo>
                      <a:pt x="569029" y="368781"/>
                    </a:lnTo>
                    <a:lnTo>
                      <a:pt x="590753" y="355428"/>
                    </a:lnTo>
                    <a:lnTo>
                      <a:pt x="655715" y="371522"/>
                    </a:lnTo>
                    <a:lnTo>
                      <a:pt x="696718" y="399432"/>
                    </a:lnTo>
                    <a:lnTo>
                      <a:pt x="737046" y="402984"/>
                    </a:lnTo>
                    <a:lnTo>
                      <a:pt x="704034" y="357775"/>
                    </a:lnTo>
                    <a:close/>
                    <a:moveTo>
                      <a:pt x="1021470" y="322456"/>
                    </a:moveTo>
                    <a:lnTo>
                      <a:pt x="1069044" y="325549"/>
                    </a:lnTo>
                    <a:lnTo>
                      <a:pt x="1094670" y="341130"/>
                    </a:lnTo>
                    <a:lnTo>
                      <a:pt x="1140117" y="341023"/>
                    </a:lnTo>
                    <a:lnTo>
                      <a:pt x="1160042" y="356829"/>
                    </a:lnTo>
                    <a:lnTo>
                      <a:pt x="1154783" y="374716"/>
                    </a:lnTo>
                    <a:lnTo>
                      <a:pt x="1181269" y="385410"/>
                    </a:lnTo>
                    <a:lnTo>
                      <a:pt x="1195930" y="396577"/>
                    </a:lnTo>
                    <a:lnTo>
                      <a:pt x="1227064" y="398637"/>
                    </a:lnTo>
                    <a:lnTo>
                      <a:pt x="1260744" y="402554"/>
                    </a:lnTo>
                    <a:lnTo>
                      <a:pt x="1297435" y="392400"/>
                    </a:lnTo>
                    <a:lnTo>
                      <a:pt x="1344436" y="388399"/>
                    </a:lnTo>
                    <a:lnTo>
                      <a:pt x="1381943" y="391706"/>
                    </a:lnTo>
                    <a:lnTo>
                      <a:pt x="1406665" y="409341"/>
                    </a:lnTo>
                    <a:lnTo>
                      <a:pt x="1411826" y="428502"/>
                    </a:lnTo>
                    <a:lnTo>
                      <a:pt x="1397426" y="440711"/>
                    </a:lnTo>
                    <a:lnTo>
                      <a:pt x="1363008" y="450523"/>
                    </a:lnTo>
                    <a:lnTo>
                      <a:pt x="1333461" y="444977"/>
                    </a:lnTo>
                    <a:lnTo>
                      <a:pt x="1267247" y="452000"/>
                    </a:lnTo>
                    <a:lnTo>
                      <a:pt x="1219860" y="452807"/>
                    </a:lnTo>
                    <a:lnTo>
                      <a:pt x="1182596" y="447191"/>
                    </a:lnTo>
                    <a:lnTo>
                      <a:pt x="1121249" y="432431"/>
                    </a:lnTo>
                    <a:lnTo>
                      <a:pt x="1113266" y="407014"/>
                    </a:lnTo>
                    <a:lnTo>
                      <a:pt x="1110459" y="383766"/>
                    </a:lnTo>
                    <a:lnTo>
                      <a:pt x="1087286" y="363056"/>
                    </a:lnTo>
                    <a:lnTo>
                      <a:pt x="1039536" y="357222"/>
                    </a:lnTo>
                    <a:lnTo>
                      <a:pt x="1012785" y="342347"/>
                    </a:lnTo>
                    <a:close/>
                    <a:moveTo>
                      <a:pt x="572432" y="298724"/>
                    </a:moveTo>
                    <a:lnTo>
                      <a:pt x="569265" y="336266"/>
                    </a:lnTo>
                    <a:lnTo>
                      <a:pt x="551485" y="352976"/>
                    </a:lnTo>
                    <a:lnTo>
                      <a:pt x="529918" y="355317"/>
                    </a:lnTo>
                    <a:lnTo>
                      <a:pt x="487009" y="375702"/>
                    </a:lnTo>
                    <a:lnTo>
                      <a:pt x="450061" y="382946"/>
                    </a:lnTo>
                    <a:lnTo>
                      <a:pt x="418786" y="372699"/>
                    </a:lnTo>
                    <a:lnTo>
                      <a:pt x="457966" y="336869"/>
                    </a:lnTo>
                    <a:lnTo>
                      <a:pt x="505369" y="305280"/>
                    </a:lnTo>
                    <a:lnTo>
                      <a:pt x="540773" y="305963"/>
                    </a:lnTo>
                    <a:close/>
                    <a:moveTo>
                      <a:pt x="1028599" y="289355"/>
                    </a:moveTo>
                    <a:lnTo>
                      <a:pt x="1075081" y="290080"/>
                    </a:lnTo>
                    <a:lnTo>
                      <a:pt x="1091283" y="299264"/>
                    </a:lnTo>
                    <a:lnTo>
                      <a:pt x="1088528" y="304897"/>
                    </a:lnTo>
                    <a:lnTo>
                      <a:pt x="1078011" y="306307"/>
                    </a:lnTo>
                    <a:lnTo>
                      <a:pt x="1034753" y="303169"/>
                    </a:lnTo>
                    <a:close/>
                    <a:moveTo>
                      <a:pt x="686325" y="273498"/>
                    </a:moveTo>
                    <a:lnTo>
                      <a:pt x="718872" y="281317"/>
                    </a:lnTo>
                    <a:lnTo>
                      <a:pt x="711197" y="296169"/>
                    </a:lnTo>
                    <a:lnTo>
                      <a:pt x="668165" y="310339"/>
                    </a:lnTo>
                    <a:lnTo>
                      <a:pt x="633931" y="294429"/>
                    </a:lnTo>
                    <a:lnTo>
                      <a:pt x="652621" y="278589"/>
                    </a:lnTo>
                    <a:close/>
                    <a:moveTo>
                      <a:pt x="680888" y="238296"/>
                    </a:moveTo>
                    <a:lnTo>
                      <a:pt x="693268" y="240617"/>
                    </a:lnTo>
                    <a:lnTo>
                      <a:pt x="723288" y="250898"/>
                    </a:lnTo>
                    <a:lnTo>
                      <a:pt x="695169" y="260749"/>
                    </a:lnTo>
                    <a:lnTo>
                      <a:pt x="656834" y="260700"/>
                    </a:lnTo>
                    <a:lnTo>
                      <a:pt x="657208" y="253500"/>
                    </a:lnTo>
                    <a:close/>
                    <a:moveTo>
                      <a:pt x="977916" y="237177"/>
                    </a:moveTo>
                    <a:lnTo>
                      <a:pt x="1007803" y="239214"/>
                    </a:lnTo>
                    <a:lnTo>
                      <a:pt x="1021256" y="242583"/>
                    </a:lnTo>
                    <a:lnTo>
                      <a:pt x="1048843" y="260175"/>
                    </a:lnTo>
                    <a:lnTo>
                      <a:pt x="1042587" y="278295"/>
                    </a:lnTo>
                    <a:lnTo>
                      <a:pt x="1008435" y="288563"/>
                    </a:lnTo>
                    <a:lnTo>
                      <a:pt x="989635" y="277002"/>
                    </a:lnTo>
                    <a:lnTo>
                      <a:pt x="979743" y="258169"/>
                    </a:lnTo>
                    <a:close/>
                    <a:moveTo>
                      <a:pt x="819562" y="215127"/>
                    </a:moveTo>
                    <a:lnTo>
                      <a:pt x="864874" y="222148"/>
                    </a:lnTo>
                    <a:lnTo>
                      <a:pt x="927292" y="240820"/>
                    </a:lnTo>
                    <a:lnTo>
                      <a:pt x="944950" y="264883"/>
                    </a:lnTo>
                    <a:lnTo>
                      <a:pt x="953935" y="285735"/>
                    </a:lnTo>
                    <a:lnTo>
                      <a:pt x="916241" y="280188"/>
                    </a:lnTo>
                    <a:lnTo>
                      <a:pt x="878249" y="263954"/>
                    </a:lnTo>
                    <a:lnTo>
                      <a:pt x="826860" y="262088"/>
                    </a:lnTo>
                    <a:lnTo>
                      <a:pt x="849151" y="247074"/>
                    </a:lnTo>
                    <a:lnTo>
                      <a:pt x="821241" y="234808"/>
                    </a:lnTo>
                    <a:close/>
                    <a:moveTo>
                      <a:pt x="1121540" y="111281"/>
                    </a:moveTo>
                    <a:lnTo>
                      <a:pt x="1151015" y="140220"/>
                    </a:lnTo>
                    <a:lnTo>
                      <a:pt x="1189861" y="151698"/>
                    </a:lnTo>
                    <a:lnTo>
                      <a:pt x="1227717" y="161787"/>
                    </a:lnTo>
                    <a:lnTo>
                      <a:pt x="1245952" y="196531"/>
                    </a:lnTo>
                    <a:lnTo>
                      <a:pt x="1273782" y="213304"/>
                    </a:lnTo>
                    <a:lnTo>
                      <a:pt x="1242084" y="228619"/>
                    </a:lnTo>
                    <a:lnTo>
                      <a:pt x="1199432" y="266768"/>
                    </a:lnTo>
                    <a:lnTo>
                      <a:pt x="1158599" y="270375"/>
                    </a:lnTo>
                    <a:lnTo>
                      <a:pt x="1110764" y="263949"/>
                    </a:lnTo>
                    <a:lnTo>
                      <a:pt x="1085962" y="243337"/>
                    </a:lnTo>
                    <a:lnTo>
                      <a:pt x="1086318" y="224801"/>
                    </a:lnTo>
                    <a:lnTo>
                      <a:pt x="1104565" y="211070"/>
                    </a:lnTo>
                    <a:lnTo>
                      <a:pt x="1062352" y="211464"/>
                    </a:lnTo>
                    <a:lnTo>
                      <a:pt x="1036912" y="194182"/>
                    </a:lnTo>
                    <a:lnTo>
                      <a:pt x="1022288" y="170389"/>
                    </a:lnTo>
                    <a:lnTo>
                      <a:pt x="1038290" y="146722"/>
                    </a:lnTo>
                    <a:lnTo>
                      <a:pt x="1054286" y="130308"/>
                    </a:lnTo>
                    <a:lnTo>
                      <a:pt x="1077946" y="126521"/>
                    </a:lnTo>
                    <a:lnTo>
                      <a:pt x="1067859" y="114062"/>
                    </a:lnTo>
                    <a:close/>
                    <a:moveTo>
                      <a:pt x="1573460" y="0"/>
                    </a:moveTo>
                    <a:lnTo>
                      <a:pt x="1623451" y="3682"/>
                    </a:lnTo>
                    <a:lnTo>
                      <a:pt x="1673443" y="7357"/>
                    </a:lnTo>
                    <a:lnTo>
                      <a:pt x="1735135" y="11882"/>
                    </a:lnTo>
                    <a:lnTo>
                      <a:pt x="1784702" y="19254"/>
                    </a:lnTo>
                    <a:lnTo>
                      <a:pt x="1826943" y="34785"/>
                    </a:lnTo>
                    <a:lnTo>
                      <a:pt x="1825930" y="49933"/>
                    </a:lnTo>
                    <a:lnTo>
                      <a:pt x="1769606" y="74286"/>
                    </a:lnTo>
                    <a:lnTo>
                      <a:pt x="1713759" y="85540"/>
                    </a:lnTo>
                    <a:lnTo>
                      <a:pt x="1692889" y="97902"/>
                    </a:lnTo>
                    <a:lnTo>
                      <a:pt x="1743146" y="97618"/>
                    </a:lnTo>
                    <a:lnTo>
                      <a:pt x="1688678" y="130702"/>
                    </a:lnTo>
                    <a:lnTo>
                      <a:pt x="1651060" y="145945"/>
                    </a:lnTo>
                    <a:lnTo>
                      <a:pt x="1611581" y="189216"/>
                    </a:lnTo>
                    <a:lnTo>
                      <a:pt x="1563967" y="197879"/>
                    </a:lnTo>
                    <a:lnTo>
                      <a:pt x="1549259" y="208478"/>
                    </a:lnTo>
                    <a:lnTo>
                      <a:pt x="1479370" y="214017"/>
                    </a:lnTo>
                    <a:lnTo>
                      <a:pt x="1511190" y="220485"/>
                    </a:lnTo>
                    <a:lnTo>
                      <a:pt x="1495234" y="229656"/>
                    </a:lnTo>
                    <a:lnTo>
                      <a:pt x="1514324" y="254751"/>
                    </a:lnTo>
                    <a:lnTo>
                      <a:pt x="1492393" y="271996"/>
                    </a:lnTo>
                    <a:lnTo>
                      <a:pt x="1456731" y="286114"/>
                    </a:lnTo>
                    <a:lnTo>
                      <a:pt x="1445786" y="305458"/>
                    </a:lnTo>
                    <a:lnTo>
                      <a:pt x="1413544" y="320101"/>
                    </a:lnTo>
                    <a:lnTo>
                      <a:pt x="1416772" y="331112"/>
                    </a:lnTo>
                    <a:lnTo>
                      <a:pt x="1456215" y="329235"/>
                    </a:lnTo>
                    <a:lnTo>
                      <a:pt x="1456717" y="341050"/>
                    </a:lnTo>
                    <a:lnTo>
                      <a:pt x="1395037" y="369775"/>
                    </a:lnTo>
                    <a:lnTo>
                      <a:pt x="1334719" y="356616"/>
                    </a:lnTo>
                    <a:lnTo>
                      <a:pt x="1266915" y="364021"/>
                    </a:lnTo>
                    <a:lnTo>
                      <a:pt x="1232564" y="358245"/>
                    </a:lnTo>
                    <a:lnTo>
                      <a:pt x="1188922" y="355738"/>
                    </a:lnTo>
                    <a:lnTo>
                      <a:pt x="1186027" y="332626"/>
                    </a:lnTo>
                    <a:lnTo>
                      <a:pt x="1228700" y="321630"/>
                    </a:lnTo>
                    <a:lnTo>
                      <a:pt x="1217329" y="286110"/>
                    </a:lnTo>
                    <a:lnTo>
                      <a:pt x="1231410" y="282617"/>
                    </a:lnTo>
                    <a:lnTo>
                      <a:pt x="1293125" y="303976"/>
                    </a:lnTo>
                    <a:lnTo>
                      <a:pt x="1261648" y="272144"/>
                    </a:lnTo>
                    <a:lnTo>
                      <a:pt x="1224210" y="262517"/>
                    </a:lnTo>
                    <a:lnTo>
                      <a:pt x="1242906" y="242946"/>
                    </a:lnTo>
                    <a:lnTo>
                      <a:pt x="1283838" y="230791"/>
                    </a:lnTo>
                    <a:lnTo>
                      <a:pt x="1290387" y="212863"/>
                    </a:lnTo>
                    <a:lnTo>
                      <a:pt x="1257786" y="192551"/>
                    </a:lnTo>
                    <a:lnTo>
                      <a:pt x="1247988" y="165427"/>
                    </a:lnTo>
                    <a:lnTo>
                      <a:pt x="1311081" y="167711"/>
                    </a:lnTo>
                    <a:lnTo>
                      <a:pt x="1329310" y="173442"/>
                    </a:lnTo>
                    <a:lnTo>
                      <a:pt x="1365330" y="154096"/>
                    </a:lnTo>
                    <a:lnTo>
                      <a:pt x="1313354" y="147918"/>
                    </a:lnTo>
                    <a:lnTo>
                      <a:pt x="1232588" y="151327"/>
                    </a:lnTo>
                    <a:lnTo>
                      <a:pt x="1191785" y="133096"/>
                    </a:lnTo>
                    <a:lnTo>
                      <a:pt x="1172549" y="111139"/>
                    </a:lnTo>
                    <a:lnTo>
                      <a:pt x="1145592" y="95055"/>
                    </a:lnTo>
                    <a:lnTo>
                      <a:pt x="1140533" y="76151"/>
                    </a:lnTo>
                    <a:lnTo>
                      <a:pt x="1174858" y="65498"/>
                    </a:lnTo>
                    <a:lnTo>
                      <a:pt x="1201812" y="63676"/>
                    </a:lnTo>
                    <a:lnTo>
                      <a:pt x="1247101" y="54563"/>
                    </a:lnTo>
                    <a:lnTo>
                      <a:pt x="1281038" y="33436"/>
                    </a:lnTo>
                    <a:lnTo>
                      <a:pt x="1309660" y="36414"/>
                    </a:lnTo>
                    <a:lnTo>
                      <a:pt x="1334590" y="52285"/>
                    </a:lnTo>
                    <a:lnTo>
                      <a:pt x="1352132" y="21552"/>
                    </a:lnTo>
                    <a:lnTo>
                      <a:pt x="1382601" y="12345"/>
                    </a:lnTo>
                    <a:lnTo>
                      <a:pt x="1423997" y="5954"/>
                    </a:lnTo>
                    <a:lnTo>
                      <a:pt x="1494553" y="3550"/>
                    </a:lnTo>
                    <a:lnTo>
                      <a:pt x="1506814" y="9802"/>
                    </a:lnTo>
                    <a:close/>
                  </a:path>
                </a:pathLst>
              </a:custGeom>
              <a:solidFill>
                <a:srgbClr val="BECDD7"/>
              </a:solidFill>
              <a:ln w="3175" cap="rnd"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A2E75DE3-98FA-4E3A-9301-0C97CBA86A7D}"/>
                  </a:ext>
                </a:extLst>
              </p:cNvPr>
              <p:cNvGrpSpPr/>
              <p:nvPr/>
            </p:nvGrpSpPr>
            <p:grpSpPr>
              <a:xfrm>
                <a:off x="2660804" y="1917778"/>
                <a:ext cx="8963348" cy="4213491"/>
                <a:chOff x="2660804" y="1917778"/>
                <a:chExt cx="8963348" cy="4213491"/>
              </a:xfrm>
            </p:grpSpPr>
            <p:sp>
              <p:nvSpPr>
                <p:cNvPr id="6" name="Freeform 3">
                  <a:extLst>
                    <a:ext uri="{FF2B5EF4-FFF2-40B4-BE49-F238E27FC236}">
                      <a16:creationId xmlns:a16="http://schemas.microsoft.com/office/drawing/2014/main" id="{38283732-F2A3-4F3B-A0A8-689CD2E1294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56"/>
                  </p:custDataLst>
                </p:nvPr>
              </p:nvSpPr>
              <p:spPr>
                <a:xfrm>
                  <a:off x="5097378" y="5139391"/>
                  <a:ext cx="490088" cy="9793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6739" h="912706">
                      <a:moveTo>
                        <a:pt x="110368" y="829995"/>
                      </a:moveTo>
                      <a:lnTo>
                        <a:pt x="119232" y="844463"/>
                      </a:lnTo>
                      <a:lnTo>
                        <a:pt x="130773" y="868050"/>
                      </a:lnTo>
                      <a:lnTo>
                        <a:pt x="160781" y="887087"/>
                      </a:lnTo>
                      <a:lnTo>
                        <a:pt x="193096" y="895063"/>
                      </a:lnTo>
                      <a:lnTo>
                        <a:pt x="182709" y="911097"/>
                      </a:lnTo>
                      <a:lnTo>
                        <a:pt x="160781" y="912706"/>
                      </a:lnTo>
                      <a:lnTo>
                        <a:pt x="149010" y="901361"/>
                      </a:lnTo>
                      <a:lnTo>
                        <a:pt x="135102" y="900503"/>
                      </a:lnTo>
                      <a:lnTo>
                        <a:pt x="110383" y="900486"/>
                      </a:lnTo>
                      <a:close/>
                      <a:moveTo>
                        <a:pt x="164858" y="0"/>
                      </a:moveTo>
                      <a:lnTo>
                        <a:pt x="195061" y="5897"/>
                      </a:lnTo>
                      <a:lnTo>
                        <a:pt x="208631" y="23421"/>
                      </a:lnTo>
                      <a:lnTo>
                        <a:pt x="217637" y="3905"/>
                      </a:lnTo>
                      <a:lnTo>
                        <a:pt x="243960" y="4906"/>
                      </a:lnTo>
                      <a:lnTo>
                        <a:pt x="247686" y="10093"/>
                      </a:lnTo>
                      <a:lnTo>
                        <a:pt x="290123" y="49799"/>
                      </a:lnTo>
                      <a:lnTo>
                        <a:pt x="308995" y="53516"/>
                      </a:lnTo>
                      <a:lnTo>
                        <a:pt x="337198" y="71606"/>
                      </a:lnTo>
                      <a:lnTo>
                        <a:pt x="360972" y="81206"/>
                      </a:lnTo>
                      <a:lnTo>
                        <a:pt x="364285" y="92068"/>
                      </a:lnTo>
                      <a:lnTo>
                        <a:pt x="341560" y="129675"/>
                      </a:lnTo>
                      <a:lnTo>
                        <a:pt x="364837" y="136442"/>
                      </a:lnTo>
                      <a:lnTo>
                        <a:pt x="390760" y="140240"/>
                      </a:lnTo>
                      <a:lnTo>
                        <a:pt x="409015" y="136241"/>
                      </a:lnTo>
                      <a:lnTo>
                        <a:pt x="429953" y="117223"/>
                      </a:lnTo>
                      <a:lnTo>
                        <a:pt x="433727" y="95410"/>
                      </a:lnTo>
                      <a:lnTo>
                        <a:pt x="445158" y="90688"/>
                      </a:lnTo>
                      <a:lnTo>
                        <a:pt x="456739" y="104928"/>
                      </a:lnTo>
                      <a:lnTo>
                        <a:pt x="456268" y="124703"/>
                      </a:lnTo>
                      <a:lnTo>
                        <a:pt x="436833" y="138405"/>
                      </a:lnTo>
                      <a:lnTo>
                        <a:pt x="421331" y="148551"/>
                      </a:lnTo>
                      <a:lnTo>
                        <a:pt x="395280" y="172842"/>
                      </a:lnTo>
                      <a:lnTo>
                        <a:pt x="364482" y="207196"/>
                      </a:lnTo>
                      <a:lnTo>
                        <a:pt x="358716" y="227495"/>
                      </a:lnTo>
                      <a:lnTo>
                        <a:pt x="352541" y="253724"/>
                      </a:lnTo>
                      <a:lnTo>
                        <a:pt x="352767" y="279313"/>
                      </a:lnTo>
                      <a:lnTo>
                        <a:pt x="347759" y="285056"/>
                      </a:lnTo>
                      <a:lnTo>
                        <a:pt x="345971" y="301779"/>
                      </a:lnTo>
                      <a:lnTo>
                        <a:pt x="344393" y="315344"/>
                      </a:lnTo>
                      <a:lnTo>
                        <a:pt x="373699" y="337713"/>
                      </a:lnTo>
                      <a:lnTo>
                        <a:pt x="370548" y="355821"/>
                      </a:lnTo>
                      <a:lnTo>
                        <a:pt x="384972" y="367316"/>
                      </a:lnTo>
                      <a:lnTo>
                        <a:pt x="383799" y="380248"/>
                      </a:lnTo>
                      <a:lnTo>
                        <a:pt x="361619" y="414438"/>
                      </a:lnTo>
                      <a:lnTo>
                        <a:pt x="327395" y="428845"/>
                      </a:lnTo>
                      <a:lnTo>
                        <a:pt x="281100" y="434456"/>
                      </a:lnTo>
                      <a:lnTo>
                        <a:pt x="255744" y="431741"/>
                      </a:lnTo>
                      <a:lnTo>
                        <a:pt x="260596" y="447852"/>
                      </a:lnTo>
                      <a:lnTo>
                        <a:pt x="255869" y="468189"/>
                      </a:lnTo>
                      <a:lnTo>
                        <a:pt x="260129" y="481967"/>
                      </a:lnTo>
                      <a:lnTo>
                        <a:pt x="246283" y="491617"/>
                      </a:lnTo>
                      <a:lnTo>
                        <a:pt x="222631" y="495411"/>
                      </a:lnTo>
                      <a:lnTo>
                        <a:pt x="200435" y="485413"/>
                      </a:lnTo>
                      <a:lnTo>
                        <a:pt x="191526" y="492594"/>
                      </a:lnTo>
                      <a:lnTo>
                        <a:pt x="194745" y="520021"/>
                      </a:lnTo>
                      <a:lnTo>
                        <a:pt x="210330" y="528379"/>
                      </a:lnTo>
                      <a:lnTo>
                        <a:pt x="222967" y="519624"/>
                      </a:lnTo>
                      <a:lnTo>
                        <a:pt x="229843" y="534060"/>
                      </a:lnTo>
                      <a:lnTo>
                        <a:pt x="208589" y="542721"/>
                      </a:lnTo>
                      <a:lnTo>
                        <a:pt x="190054" y="560148"/>
                      </a:lnTo>
                      <a:lnTo>
                        <a:pt x="186660" y="588565"/>
                      </a:lnTo>
                      <a:lnTo>
                        <a:pt x="181203" y="603806"/>
                      </a:lnTo>
                      <a:lnTo>
                        <a:pt x="159397" y="603887"/>
                      </a:lnTo>
                      <a:lnTo>
                        <a:pt x="141304" y="618547"/>
                      </a:lnTo>
                      <a:lnTo>
                        <a:pt x="134685" y="640147"/>
                      </a:lnTo>
                      <a:lnTo>
                        <a:pt x="157386" y="661402"/>
                      </a:lnTo>
                      <a:lnTo>
                        <a:pt x="179454" y="667302"/>
                      </a:lnTo>
                      <a:lnTo>
                        <a:pt x="171512" y="693635"/>
                      </a:lnTo>
                      <a:lnTo>
                        <a:pt x="144249" y="710326"/>
                      </a:lnTo>
                      <a:lnTo>
                        <a:pt x="129248" y="745359"/>
                      </a:lnTo>
                      <a:lnTo>
                        <a:pt x="108181" y="757257"/>
                      </a:lnTo>
                      <a:lnTo>
                        <a:pt x="98722" y="771452"/>
                      </a:lnTo>
                      <a:lnTo>
                        <a:pt x="106177" y="803218"/>
                      </a:lnTo>
                      <a:lnTo>
                        <a:pt x="121540" y="821100"/>
                      </a:lnTo>
                      <a:lnTo>
                        <a:pt x="111810" y="819534"/>
                      </a:lnTo>
                      <a:lnTo>
                        <a:pt x="90416" y="814684"/>
                      </a:lnTo>
                      <a:lnTo>
                        <a:pt x="34638" y="810552"/>
                      </a:lnTo>
                      <a:lnTo>
                        <a:pt x="25068" y="792617"/>
                      </a:lnTo>
                      <a:lnTo>
                        <a:pt x="25517" y="769765"/>
                      </a:lnTo>
                      <a:lnTo>
                        <a:pt x="10149" y="771723"/>
                      </a:lnTo>
                      <a:lnTo>
                        <a:pt x="2017" y="760723"/>
                      </a:lnTo>
                      <a:lnTo>
                        <a:pt x="0" y="728828"/>
                      </a:lnTo>
                      <a:lnTo>
                        <a:pt x="17708" y="715713"/>
                      </a:lnTo>
                      <a:lnTo>
                        <a:pt x="25028" y="696910"/>
                      </a:lnTo>
                      <a:lnTo>
                        <a:pt x="22346" y="682017"/>
                      </a:lnTo>
                      <a:lnTo>
                        <a:pt x="34582" y="657061"/>
                      </a:lnTo>
                      <a:lnTo>
                        <a:pt x="43013" y="618800"/>
                      </a:lnTo>
                      <a:lnTo>
                        <a:pt x="40536" y="602005"/>
                      </a:lnTo>
                      <a:lnTo>
                        <a:pt x="50612" y="596607"/>
                      </a:lnTo>
                      <a:lnTo>
                        <a:pt x="48142" y="585902"/>
                      </a:lnTo>
                      <a:lnTo>
                        <a:pt x="37435" y="580225"/>
                      </a:lnTo>
                      <a:lnTo>
                        <a:pt x="45043" y="568374"/>
                      </a:lnTo>
                      <a:lnTo>
                        <a:pt x="34624" y="557708"/>
                      </a:lnTo>
                      <a:lnTo>
                        <a:pt x="29235" y="525485"/>
                      </a:lnTo>
                      <a:lnTo>
                        <a:pt x="38516" y="519837"/>
                      </a:lnTo>
                      <a:lnTo>
                        <a:pt x="34617" y="486226"/>
                      </a:lnTo>
                      <a:lnTo>
                        <a:pt x="40041" y="458271"/>
                      </a:lnTo>
                      <a:lnTo>
                        <a:pt x="46209" y="434121"/>
                      </a:lnTo>
                      <a:lnTo>
                        <a:pt x="60032" y="424346"/>
                      </a:lnTo>
                      <a:lnTo>
                        <a:pt x="53016" y="398208"/>
                      </a:lnTo>
                      <a:lnTo>
                        <a:pt x="52941" y="373796"/>
                      </a:lnTo>
                      <a:lnTo>
                        <a:pt x="70417" y="356551"/>
                      </a:lnTo>
                      <a:lnTo>
                        <a:pt x="69880" y="334614"/>
                      </a:lnTo>
                      <a:lnTo>
                        <a:pt x="83054" y="309155"/>
                      </a:lnTo>
                      <a:lnTo>
                        <a:pt x="83113" y="285332"/>
                      </a:lnTo>
                      <a:lnTo>
                        <a:pt x="77120" y="280619"/>
                      </a:lnTo>
                      <a:lnTo>
                        <a:pt x="66486" y="236367"/>
                      </a:lnTo>
                      <a:lnTo>
                        <a:pt x="80707" y="210235"/>
                      </a:lnTo>
                      <a:lnTo>
                        <a:pt x="78524" y="185788"/>
                      </a:lnTo>
                      <a:lnTo>
                        <a:pt x="86775" y="162977"/>
                      </a:lnTo>
                      <a:lnTo>
                        <a:pt x="101891" y="139561"/>
                      </a:lnTo>
                      <a:lnTo>
                        <a:pt x="118181" y="124104"/>
                      </a:lnTo>
                      <a:lnTo>
                        <a:pt x="111273" y="114378"/>
                      </a:lnTo>
                      <a:lnTo>
                        <a:pt x="116093" y="106415"/>
                      </a:lnTo>
                      <a:lnTo>
                        <a:pt x="115362" y="65405"/>
                      </a:lnTo>
                      <a:lnTo>
                        <a:pt x="140504" y="53333"/>
                      </a:lnTo>
                      <a:lnTo>
                        <a:pt x="148426" y="27998"/>
                      </a:lnTo>
                      <a:lnTo>
                        <a:pt x="145623" y="21910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" name="Freeform 4">
                  <a:extLst>
                    <a:ext uri="{FF2B5EF4-FFF2-40B4-BE49-F238E27FC236}">
                      <a16:creationId xmlns:a16="http://schemas.microsoft.com/office/drawing/2014/main" id="{4DEB7941-706B-42DA-BFA1-51512DE0244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57"/>
                  </p:custDataLst>
                </p:nvPr>
              </p:nvSpPr>
              <p:spPr>
                <a:xfrm>
                  <a:off x="4959555" y="3903842"/>
                  <a:ext cx="49040" cy="879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703" h="81965">
                      <a:moveTo>
                        <a:pt x="18215" y="45210"/>
                      </a:moveTo>
                      <a:lnTo>
                        <a:pt x="25160" y="46201"/>
                      </a:lnTo>
                      <a:lnTo>
                        <a:pt x="33239" y="66564"/>
                      </a:lnTo>
                      <a:lnTo>
                        <a:pt x="33362" y="80750"/>
                      </a:lnTo>
                      <a:lnTo>
                        <a:pt x="27699" y="81965"/>
                      </a:lnTo>
                      <a:lnTo>
                        <a:pt x="21835" y="67882"/>
                      </a:lnTo>
                      <a:lnTo>
                        <a:pt x="13192" y="60792"/>
                      </a:lnTo>
                      <a:close/>
                      <a:moveTo>
                        <a:pt x="10849" y="4219"/>
                      </a:moveTo>
                      <a:lnTo>
                        <a:pt x="26083" y="4963"/>
                      </a:lnTo>
                      <a:lnTo>
                        <a:pt x="26776" y="11407"/>
                      </a:lnTo>
                      <a:lnTo>
                        <a:pt x="1615" y="15369"/>
                      </a:lnTo>
                      <a:lnTo>
                        <a:pt x="0" y="6203"/>
                      </a:lnTo>
                      <a:close/>
                      <a:moveTo>
                        <a:pt x="27468" y="0"/>
                      </a:moveTo>
                      <a:lnTo>
                        <a:pt x="45703" y="11160"/>
                      </a:lnTo>
                      <a:lnTo>
                        <a:pt x="41721" y="28733"/>
                      </a:lnTo>
                      <a:lnTo>
                        <a:pt x="37477" y="25570"/>
                      </a:lnTo>
                      <a:lnTo>
                        <a:pt x="37855" y="12646"/>
                      </a:lnTo>
                      <a:lnTo>
                        <a:pt x="27514" y="285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" name="Freeform 5">
                  <a:extLst>
                    <a:ext uri="{FF2B5EF4-FFF2-40B4-BE49-F238E27FC236}">
                      <a16:creationId xmlns:a16="http://schemas.microsoft.com/office/drawing/2014/main" id="{76A76E5E-ECA1-4230-A69D-95EB7641701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58"/>
                  </p:custDataLst>
                </p:nvPr>
              </p:nvSpPr>
              <p:spPr>
                <a:xfrm>
                  <a:off x="4705704" y="4126682"/>
                  <a:ext cx="27799" cy="666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5907" h="62101">
                      <a:moveTo>
                        <a:pt x="1986" y="16492"/>
                      </a:moveTo>
                      <a:lnTo>
                        <a:pt x="1805" y="12987"/>
                      </a:lnTo>
                      <a:lnTo>
                        <a:pt x="4599" y="11890"/>
                      </a:lnTo>
                      <a:lnTo>
                        <a:pt x="8789" y="14709"/>
                      </a:lnTo>
                      <a:lnTo>
                        <a:pt x="17058" y="314"/>
                      </a:lnTo>
                      <a:lnTo>
                        <a:pt x="21445" y="0"/>
                      </a:lnTo>
                      <a:lnTo>
                        <a:pt x="21531" y="3502"/>
                      </a:lnTo>
                      <a:lnTo>
                        <a:pt x="25906" y="3611"/>
                      </a:lnTo>
                      <a:lnTo>
                        <a:pt x="25521" y="10099"/>
                      </a:lnTo>
                      <a:lnTo>
                        <a:pt x="21784" y="20401"/>
                      </a:lnTo>
                      <a:lnTo>
                        <a:pt x="23804" y="24081"/>
                      </a:lnTo>
                      <a:lnTo>
                        <a:pt x="21385" y="32587"/>
                      </a:lnTo>
                      <a:lnTo>
                        <a:pt x="22842" y="34859"/>
                      </a:lnTo>
                      <a:lnTo>
                        <a:pt x="20167" y="46850"/>
                      </a:lnTo>
                      <a:lnTo>
                        <a:pt x="15633" y="53138"/>
                      </a:lnTo>
                      <a:lnTo>
                        <a:pt x="11464" y="53892"/>
                      </a:lnTo>
                      <a:lnTo>
                        <a:pt x="6890" y="62093"/>
                      </a:lnTo>
                      <a:lnTo>
                        <a:pt x="0" y="62100"/>
                      </a:lnTo>
                      <a:lnTo>
                        <a:pt x="1807" y="3534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" name="Freeform 6">
                  <a:extLst>
                    <a:ext uri="{FF2B5EF4-FFF2-40B4-BE49-F238E27FC236}">
                      <a16:creationId xmlns:a16="http://schemas.microsoft.com/office/drawing/2014/main" id="{C6E7689F-2109-4E30-9438-C2FF24BF8F7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59"/>
                  </p:custDataLst>
                </p:nvPr>
              </p:nvSpPr>
              <p:spPr>
                <a:xfrm>
                  <a:off x="5192115" y="4832610"/>
                  <a:ext cx="299498" cy="33386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79118" h="311147">
                      <a:moveTo>
                        <a:pt x="155669" y="290812"/>
                      </a:moveTo>
                      <a:lnTo>
                        <a:pt x="129346" y="289811"/>
                      </a:lnTo>
                      <a:lnTo>
                        <a:pt x="120340" y="309327"/>
                      </a:lnTo>
                      <a:lnTo>
                        <a:pt x="106770" y="291803"/>
                      </a:lnTo>
                      <a:lnTo>
                        <a:pt x="76567" y="285906"/>
                      </a:lnTo>
                      <a:lnTo>
                        <a:pt x="57332" y="307816"/>
                      </a:lnTo>
                      <a:lnTo>
                        <a:pt x="40678" y="311146"/>
                      </a:lnTo>
                      <a:lnTo>
                        <a:pt x="31635" y="277734"/>
                      </a:lnTo>
                      <a:lnTo>
                        <a:pt x="19234" y="250695"/>
                      </a:lnTo>
                      <a:lnTo>
                        <a:pt x="26504" y="227471"/>
                      </a:lnTo>
                      <a:lnTo>
                        <a:pt x="14395" y="217336"/>
                      </a:lnTo>
                      <a:lnTo>
                        <a:pt x="11315" y="200101"/>
                      </a:lnTo>
                      <a:lnTo>
                        <a:pt x="0" y="183898"/>
                      </a:lnTo>
                      <a:lnTo>
                        <a:pt x="14561" y="158262"/>
                      </a:lnTo>
                      <a:lnTo>
                        <a:pt x="4632" y="138360"/>
                      </a:lnTo>
                      <a:lnTo>
                        <a:pt x="9928" y="130415"/>
                      </a:lnTo>
                      <a:lnTo>
                        <a:pt x="5792" y="121662"/>
                      </a:lnTo>
                      <a:lnTo>
                        <a:pt x="14809" y="109883"/>
                      </a:lnTo>
                      <a:lnTo>
                        <a:pt x="15262" y="89858"/>
                      </a:lnTo>
                      <a:lnTo>
                        <a:pt x="16397" y="73350"/>
                      </a:lnTo>
                      <a:lnTo>
                        <a:pt x="21360" y="65413"/>
                      </a:lnTo>
                      <a:lnTo>
                        <a:pt x="1402" y="27753"/>
                      </a:lnTo>
                      <a:lnTo>
                        <a:pt x="18565" y="29730"/>
                      </a:lnTo>
                      <a:lnTo>
                        <a:pt x="30450" y="29220"/>
                      </a:lnTo>
                      <a:lnTo>
                        <a:pt x="35599" y="22157"/>
                      </a:lnTo>
                      <a:lnTo>
                        <a:pt x="55782" y="12701"/>
                      </a:lnTo>
                      <a:lnTo>
                        <a:pt x="67944" y="3947"/>
                      </a:lnTo>
                      <a:lnTo>
                        <a:pt x="98148" y="0"/>
                      </a:lnTo>
                      <a:lnTo>
                        <a:pt x="95691" y="17475"/>
                      </a:lnTo>
                      <a:lnTo>
                        <a:pt x="98529" y="26448"/>
                      </a:lnTo>
                      <a:lnTo>
                        <a:pt x="96674" y="42115"/>
                      </a:lnTo>
                      <a:lnTo>
                        <a:pt x="121740" y="63085"/>
                      </a:lnTo>
                      <a:lnTo>
                        <a:pt x="147589" y="66954"/>
                      </a:lnTo>
                      <a:lnTo>
                        <a:pt x="156671" y="75718"/>
                      </a:lnTo>
                      <a:lnTo>
                        <a:pt x="172274" y="80369"/>
                      </a:lnTo>
                      <a:lnTo>
                        <a:pt x="181828" y="87191"/>
                      </a:lnTo>
                      <a:lnTo>
                        <a:pt x="196348" y="86960"/>
                      </a:lnTo>
                      <a:lnTo>
                        <a:pt x="209755" y="93931"/>
                      </a:lnTo>
                      <a:lnTo>
                        <a:pt x="210773" y="107536"/>
                      </a:lnTo>
                      <a:lnTo>
                        <a:pt x="215272" y="114416"/>
                      </a:lnTo>
                      <a:lnTo>
                        <a:pt x="215576" y="124589"/>
                      </a:lnTo>
                      <a:lnTo>
                        <a:pt x="208840" y="124983"/>
                      </a:lnTo>
                      <a:lnTo>
                        <a:pt x="217717" y="152517"/>
                      </a:lnTo>
                      <a:lnTo>
                        <a:pt x="261970" y="153495"/>
                      </a:lnTo>
                      <a:lnTo>
                        <a:pt x="258581" y="167192"/>
                      </a:lnTo>
                      <a:lnTo>
                        <a:pt x="261057" y="176565"/>
                      </a:lnTo>
                      <a:lnTo>
                        <a:pt x="273665" y="183242"/>
                      </a:lnTo>
                      <a:lnTo>
                        <a:pt x="279117" y="198051"/>
                      </a:lnTo>
                      <a:lnTo>
                        <a:pt x="275017" y="216862"/>
                      </a:lnTo>
                      <a:lnTo>
                        <a:pt x="268693" y="227349"/>
                      </a:lnTo>
                      <a:lnTo>
                        <a:pt x="270913" y="241019"/>
                      </a:lnTo>
                      <a:lnTo>
                        <a:pt x="263697" y="245985"/>
                      </a:lnTo>
                      <a:lnTo>
                        <a:pt x="263303" y="238581"/>
                      </a:lnTo>
                      <a:lnTo>
                        <a:pt x="241800" y="226317"/>
                      </a:lnTo>
                      <a:lnTo>
                        <a:pt x="220367" y="225978"/>
                      </a:lnTo>
                      <a:lnTo>
                        <a:pt x="180140" y="232951"/>
                      </a:lnTo>
                      <a:lnTo>
                        <a:pt x="169069" y="254089"/>
                      </a:lnTo>
                      <a:lnTo>
                        <a:pt x="168486" y="267047"/>
                      </a:lnTo>
                      <a:lnTo>
                        <a:pt x="159395" y="295999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" name="Freeform 7">
                  <a:extLst>
                    <a:ext uri="{FF2B5EF4-FFF2-40B4-BE49-F238E27FC236}">
                      <a16:creationId xmlns:a16="http://schemas.microsoft.com/office/drawing/2014/main" id="{80680C48-8047-4CF2-8CBB-CB140EB1505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0"/>
                  </p:custDataLst>
                </p:nvPr>
              </p:nvSpPr>
              <p:spPr>
                <a:xfrm>
                  <a:off x="5083216" y="4460059"/>
                  <a:ext cx="972326" cy="99922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06163" h="931228">
                      <a:moveTo>
                        <a:pt x="377681" y="840301"/>
                      </a:moveTo>
                      <a:lnTo>
                        <a:pt x="408479" y="805947"/>
                      </a:lnTo>
                      <a:lnTo>
                        <a:pt x="434530" y="781656"/>
                      </a:lnTo>
                      <a:lnTo>
                        <a:pt x="450032" y="771510"/>
                      </a:lnTo>
                      <a:lnTo>
                        <a:pt x="469467" y="757808"/>
                      </a:lnTo>
                      <a:lnTo>
                        <a:pt x="469938" y="738033"/>
                      </a:lnTo>
                      <a:lnTo>
                        <a:pt x="458357" y="723793"/>
                      </a:lnTo>
                      <a:lnTo>
                        <a:pt x="446926" y="728515"/>
                      </a:lnTo>
                      <a:lnTo>
                        <a:pt x="451458" y="714307"/>
                      </a:lnTo>
                      <a:lnTo>
                        <a:pt x="454585" y="699790"/>
                      </a:lnTo>
                      <a:lnTo>
                        <a:pt x="454597" y="686333"/>
                      </a:lnTo>
                      <a:lnTo>
                        <a:pt x="446290" y="681900"/>
                      </a:lnTo>
                      <a:lnTo>
                        <a:pt x="437632" y="685850"/>
                      </a:lnTo>
                      <a:lnTo>
                        <a:pt x="429026" y="684766"/>
                      </a:lnTo>
                      <a:lnTo>
                        <a:pt x="426328" y="675369"/>
                      </a:lnTo>
                      <a:lnTo>
                        <a:pt x="424180" y="653064"/>
                      </a:lnTo>
                      <a:lnTo>
                        <a:pt x="419857" y="645815"/>
                      </a:lnTo>
                      <a:lnTo>
                        <a:pt x="404268" y="639254"/>
                      </a:lnTo>
                      <a:lnTo>
                        <a:pt x="394846" y="644001"/>
                      </a:lnTo>
                      <a:lnTo>
                        <a:pt x="370479" y="639349"/>
                      </a:lnTo>
                      <a:lnTo>
                        <a:pt x="372013" y="606559"/>
                      </a:lnTo>
                      <a:lnTo>
                        <a:pt x="365187" y="593184"/>
                      </a:lnTo>
                      <a:lnTo>
                        <a:pt x="372403" y="588218"/>
                      </a:lnTo>
                      <a:lnTo>
                        <a:pt x="370183" y="574548"/>
                      </a:lnTo>
                      <a:lnTo>
                        <a:pt x="376507" y="564061"/>
                      </a:lnTo>
                      <a:lnTo>
                        <a:pt x="380607" y="545250"/>
                      </a:lnTo>
                      <a:lnTo>
                        <a:pt x="375155" y="530441"/>
                      </a:lnTo>
                      <a:lnTo>
                        <a:pt x="362547" y="523764"/>
                      </a:lnTo>
                      <a:lnTo>
                        <a:pt x="360071" y="514391"/>
                      </a:lnTo>
                      <a:lnTo>
                        <a:pt x="363460" y="500694"/>
                      </a:lnTo>
                      <a:lnTo>
                        <a:pt x="319207" y="499716"/>
                      </a:lnTo>
                      <a:lnTo>
                        <a:pt x="310330" y="472182"/>
                      </a:lnTo>
                      <a:lnTo>
                        <a:pt x="317066" y="471788"/>
                      </a:lnTo>
                      <a:lnTo>
                        <a:pt x="316762" y="461615"/>
                      </a:lnTo>
                      <a:lnTo>
                        <a:pt x="312263" y="454735"/>
                      </a:lnTo>
                      <a:lnTo>
                        <a:pt x="311245" y="441130"/>
                      </a:lnTo>
                      <a:lnTo>
                        <a:pt x="297838" y="434159"/>
                      </a:lnTo>
                      <a:lnTo>
                        <a:pt x="283318" y="434390"/>
                      </a:lnTo>
                      <a:lnTo>
                        <a:pt x="273764" y="427568"/>
                      </a:lnTo>
                      <a:lnTo>
                        <a:pt x="258161" y="422917"/>
                      </a:lnTo>
                      <a:lnTo>
                        <a:pt x="249079" y="414153"/>
                      </a:lnTo>
                      <a:lnTo>
                        <a:pt x="223230" y="410284"/>
                      </a:lnTo>
                      <a:lnTo>
                        <a:pt x="198164" y="389314"/>
                      </a:lnTo>
                      <a:lnTo>
                        <a:pt x="200019" y="373647"/>
                      </a:lnTo>
                      <a:lnTo>
                        <a:pt x="197181" y="364674"/>
                      </a:lnTo>
                      <a:lnTo>
                        <a:pt x="199638" y="347199"/>
                      </a:lnTo>
                      <a:lnTo>
                        <a:pt x="169434" y="351146"/>
                      </a:lnTo>
                      <a:lnTo>
                        <a:pt x="157272" y="359900"/>
                      </a:lnTo>
                      <a:lnTo>
                        <a:pt x="137089" y="369356"/>
                      </a:lnTo>
                      <a:lnTo>
                        <a:pt x="131940" y="376419"/>
                      </a:lnTo>
                      <a:lnTo>
                        <a:pt x="120055" y="376929"/>
                      </a:lnTo>
                      <a:lnTo>
                        <a:pt x="102892" y="374952"/>
                      </a:lnTo>
                      <a:lnTo>
                        <a:pt x="89872" y="378975"/>
                      </a:lnTo>
                      <a:lnTo>
                        <a:pt x="79371" y="376293"/>
                      </a:lnTo>
                      <a:lnTo>
                        <a:pt x="80913" y="340867"/>
                      </a:lnTo>
                      <a:lnTo>
                        <a:pt x="61973" y="354598"/>
                      </a:lnTo>
                      <a:lnTo>
                        <a:pt x="41603" y="353995"/>
                      </a:lnTo>
                      <a:lnTo>
                        <a:pt x="32874" y="341567"/>
                      </a:lnTo>
                      <a:lnTo>
                        <a:pt x="17555" y="340217"/>
                      </a:lnTo>
                      <a:lnTo>
                        <a:pt x="22433" y="330223"/>
                      </a:lnTo>
                      <a:lnTo>
                        <a:pt x="9606" y="316075"/>
                      </a:lnTo>
                      <a:lnTo>
                        <a:pt x="0" y="295156"/>
                      </a:lnTo>
                      <a:lnTo>
                        <a:pt x="6090" y="290913"/>
                      </a:lnTo>
                      <a:lnTo>
                        <a:pt x="6065" y="281114"/>
                      </a:lnTo>
                      <a:lnTo>
                        <a:pt x="20018" y="274421"/>
                      </a:lnTo>
                      <a:lnTo>
                        <a:pt x="17717" y="261890"/>
                      </a:lnTo>
                      <a:lnTo>
                        <a:pt x="23607" y="253831"/>
                      </a:lnTo>
                      <a:lnTo>
                        <a:pt x="25283" y="243027"/>
                      </a:lnTo>
                      <a:lnTo>
                        <a:pt x="51678" y="227280"/>
                      </a:lnTo>
                      <a:lnTo>
                        <a:pt x="70596" y="222830"/>
                      </a:lnTo>
                      <a:lnTo>
                        <a:pt x="73691" y="219354"/>
                      </a:lnTo>
                      <a:lnTo>
                        <a:pt x="94491" y="220439"/>
                      </a:lnTo>
                      <a:lnTo>
                        <a:pt x="104868" y="157092"/>
                      </a:lnTo>
                      <a:lnTo>
                        <a:pt x="105413" y="147080"/>
                      </a:lnTo>
                      <a:lnTo>
                        <a:pt x="101799" y="133861"/>
                      </a:lnTo>
                      <a:lnTo>
                        <a:pt x="91559" y="125440"/>
                      </a:lnTo>
                      <a:lnTo>
                        <a:pt x="91677" y="108668"/>
                      </a:lnTo>
                      <a:lnTo>
                        <a:pt x="104676" y="104865"/>
                      </a:lnTo>
                      <a:lnTo>
                        <a:pt x="109292" y="107255"/>
                      </a:lnTo>
                      <a:lnTo>
                        <a:pt x="110072" y="98413"/>
                      </a:lnTo>
                      <a:lnTo>
                        <a:pt x="96547" y="96026"/>
                      </a:lnTo>
                      <a:lnTo>
                        <a:pt x="96261" y="81580"/>
                      </a:lnTo>
                      <a:lnTo>
                        <a:pt x="141235" y="82095"/>
                      </a:lnTo>
                      <a:lnTo>
                        <a:pt x="148870" y="74136"/>
                      </a:lnTo>
                      <a:lnTo>
                        <a:pt x="155283" y="81459"/>
                      </a:lnTo>
                      <a:lnTo>
                        <a:pt x="159783" y="95078"/>
                      </a:lnTo>
                      <a:lnTo>
                        <a:pt x="164139" y="92233"/>
                      </a:lnTo>
                      <a:lnTo>
                        <a:pt x="176847" y="104443"/>
                      </a:lnTo>
                      <a:lnTo>
                        <a:pt x="194794" y="102947"/>
                      </a:lnTo>
                      <a:lnTo>
                        <a:pt x="199262" y="95883"/>
                      </a:lnTo>
                      <a:lnTo>
                        <a:pt x="216428" y="90493"/>
                      </a:lnTo>
                      <a:lnTo>
                        <a:pt x="225932" y="86704"/>
                      </a:lnTo>
                      <a:lnTo>
                        <a:pt x="228614" y="76925"/>
                      </a:lnTo>
                      <a:lnTo>
                        <a:pt x="245102" y="70355"/>
                      </a:lnTo>
                      <a:lnTo>
                        <a:pt x="243854" y="65501"/>
                      </a:lnTo>
                      <a:lnTo>
                        <a:pt x="224300" y="63516"/>
                      </a:lnTo>
                      <a:lnTo>
                        <a:pt x="221095" y="48968"/>
                      </a:lnTo>
                      <a:lnTo>
                        <a:pt x="222026" y="33475"/>
                      </a:lnTo>
                      <a:lnTo>
                        <a:pt x="211695" y="27482"/>
                      </a:lnTo>
                      <a:lnTo>
                        <a:pt x="216021" y="25354"/>
                      </a:lnTo>
                      <a:lnTo>
                        <a:pt x="233109" y="28312"/>
                      </a:lnTo>
                      <a:lnTo>
                        <a:pt x="251464" y="34091"/>
                      </a:lnTo>
                      <a:lnTo>
                        <a:pt x="258127" y="28626"/>
                      </a:lnTo>
                      <a:lnTo>
                        <a:pt x="274726" y="25038"/>
                      </a:lnTo>
                      <a:lnTo>
                        <a:pt x="300545" y="16382"/>
                      </a:lnTo>
                      <a:lnTo>
                        <a:pt x="308986" y="7553"/>
                      </a:lnTo>
                      <a:lnTo>
                        <a:pt x="305930" y="1024"/>
                      </a:lnTo>
                      <a:lnTo>
                        <a:pt x="317930" y="0"/>
                      </a:lnTo>
                      <a:lnTo>
                        <a:pt x="323302" y="5333"/>
                      </a:lnTo>
                      <a:lnTo>
                        <a:pt x="320301" y="15491"/>
                      </a:lnTo>
                      <a:lnTo>
                        <a:pt x="328232" y="18994"/>
                      </a:lnTo>
                      <a:lnTo>
                        <a:pt x="333526" y="29739"/>
                      </a:lnTo>
                      <a:lnTo>
                        <a:pt x="327124" y="37883"/>
                      </a:lnTo>
                      <a:lnTo>
                        <a:pt x="323451" y="57552"/>
                      </a:lnTo>
                      <a:lnTo>
                        <a:pt x="329360" y="69230"/>
                      </a:lnTo>
                      <a:lnTo>
                        <a:pt x="331033" y="79915"/>
                      </a:lnTo>
                      <a:lnTo>
                        <a:pt x="345233" y="90748"/>
                      </a:lnTo>
                      <a:lnTo>
                        <a:pt x="356563" y="91893"/>
                      </a:lnTo>
                      <a:lnTo>
                        <a:pt x="359115" y="87371"/>
                      </a:lnTo>
                      <a:lnTo>
                        <a:pt x="366409" y="86373"/>
                      </a:lnTo>
                      <a:lnTo>
                        <a:pt x="376854" y="82323"/>
                      </a:lnTo>
                      <a:lnTo>
                        <a:pt x="384359" y="76183"/>
                      </a:lnTo>
                      <a:lnTo>
                        <a:pt x="397127" y="78141"/>
                      </a:lnTo>
                      <a:lnTo>
                        <a:pt x="402743" y="77314"/>
                      </a:lnTo>
                      <a:lnTo>
                        <a:pt x="415293" y="79205"/>
                      </a:lnTo>
                      <a:lnTo>
                        <a:pt x="417373" y="74486"/>
                      </a:lnTo>
                      <a:lnTo>
                        <a:pt x="413501" y="69895"/>
                      </a:lnTo>
                      <a:lnTo>
                        <a:pt x="415809" y="63208"/>
                      </a:lnTo>
                      <a:lnTo>
                        <a:pt x="425125" y="65260"/>
                      </a:lnTo>
                      <a:lnTo>
                        <a:pt x="436024" y="62899"/>
                      </a:lnTo>
                      <a:lnTo>
                        <a:pt x="449246" y="67793"/>
                      </a:lnTo>
                      <a:lnTo>
                        <a:pt x="459326" y="72557"/>
                      </a:lnTo>
                      <a:lnTo>
                        <a:pt x="466471" y="66295"/>
                      </a:lnTo>
                      <a:lnTo>
                        <a:pt x="471634" y="67260"/>
                      </a:lnTo>
                      <a:lnTo>
                        <a:pt x="474782" y="73761"/>
                      </a:lnTo>
                      <a:lnTo>
                        <a:pt x="485835" y="72111"/>
                      </a:lnTo>
                      <a:lnTo>
                        <a:pt x="494681" y="63338"/>
                      </a:lnTo>
                      <a:lnTo>
                        <a:pt x="501769" y="46327"/>
                      </a:lnTo>
                      <a:lnTo>
                        <a:pt x="515423" y="25175"/>
                      </a:lnTo>
                      <a:lnTo>
                        <a:pt x="523286" y="24082"/>
                      </a:lnTo>
                      <a:lnTo>
                        <a:pt x="528996" y="36868"/>
                      </a:lnTo>
                      <a:lnTo>
                        <a:pt x="541943" y="77267"/>
                      </a:lnTo>
                      <a:lnTo>
                        <a:pt x="554288" y="81079"/>
                      </a:lnTo>
                      <a:lnTo>
                        <a:pt x="554911" y="97016"/>
                      </a:lnTo>
                      <a:lnTo>
                        <a:pt x="537549" y="116019"/>
                      </a:lnTo>
                      <a:lnTo>
                        <a:pt x="544729" y="122976"/>
                      </a:lnTo>
                      <a:lnTo>
                        <a:pt x="585531" y="126601"/>
                      </a:lnTo>
                      <a:lnTo>
                        <a:pt x="586363" y="149739"/>
                      </a:lnTo>
                      <a:lnTo>
                        <a:pt x="603896" y="134591"/>
                      </a:lnTo>
                      <a:lnTo>
                        <a:pt x="632942" y="142888"/>
                      </a:lnTo>
                      <a:lnTo>
                        <a:pt x="671280" y="156987"/>
                      </a:lnTo>
                      <a:lnTo>
                        <a:pt x="682546" y="170518"/>
                      </a:lnTo>
                      <a:lnTo>
                        <a:pt x="678761" y="183303"/>
                      </a:lnTo>
                      <a:lnTo>
                        <a:pt x="705601" y="176184"/>
                      </a:lnTo>
                      <a:lnTo>
                        <a:pt x="750523" y="188401"/>
                      </a:lnTo>
                      <a:lnTo>
                        <a:pt x="785009" y="187501"/>
                      </a:lnTo>
                      <a:lnTo>
                        <a:pt x="819132" y="206625"/>
                      </a:lnTo>
                      <a:lnTo>
                        <a:pt x="848611" y="232530"/>
                      </a:lnTo>
                      <a:lnTo>
                        <a:pt x="866392" y="239204"/>
                      </a:lnTo>
                      <a:lnTo>
                        <a:pt x="886131" y="240133"/>
                      </a:lnTo>
                      <a:lnTo>
                        <a:pt x="894496" y="247433"/>
                      </a:lnTo>
                      <a:lnTo>
                        <a:pt x="902330" y="276931"/>
                      </a:lnTo>
                      <a:lnTo>
                        <a:pt x="906162" y="290964"/>
                      </a:lnTo>
                      <a:lnTo>
                        <a:pt x="896970" y="329375"/>
                      </a:lnTo>
                      <a:lnTo>
                        <a:pt x="885227" y="344574"/>
                      </a:lnTo>
                      <a:lnTo>
                        <a:pt x="852691" y="377031"/>
                      </a:lnTo>
                      <a:lnTo>
                        <a:pt x="837985" y="403472"/>
                      </a:lnTo>
                      <a:lnTo>
                        <a:pt x="820897" y="423797"/>
                      </a:lnTo>
                      <a:lnTo>
                        <a:pt x="815126" y="424255"/>
                      </a:lnTo>
                      <a:lnTo>
                        <a:pt x="808678" y="441540"/>
                      </a:lnTo>
                      <a:lnTo>
                        <a:pt x="810316" y="485722"/>
                      </a:lnTo>
                      <a:lnTo>
                        <a:pt x="803881" y="522260"/>
                      </a:lnTo>
                      <a:lnTo>
                        <a:pt x="801428" y="537947"/>
                      </a:lnTo>
                      <a:lnTo>
                        <a:pt x="794130" y="547352"/>
                      </a:lnTo>
                      <a:lnTo>
                        <a:pt x="790037" y="579320"/>
                      </a:lnTo>
                      <a:lnTo>
                        <a:pt x="766633" y="610699"/>
                      </a:lnTo>
                      <a:lnTo>
                        <a:pt x="762709" y="635647"/>
                      </a:lnTo>
                      <a:lnTo>
                        <a:pt x="744026" y="646148"/>
                      </a:lnTo>
                      <a:lnTo>
                        <a:pt x="738621" y="660707"/>
                      </a:lnTo>
                      <a:lnTo>
                        <a:pt x="713544" y="660649"/>
                      </a:lnTo>
                      <a:lnTo>
                        <a:pt x="677233" y="670004"/>
                      </a:lnTo>
                      <a:lnTo>
                        <a:pt x="660975" y="680856"/>
                      </a:lnTo>
                      <a:lnTo>
                        <a:pt x="635123" y="687994"/>
                      </a:lnTo>
                      <a:lnTo>
                        <a:pt x="607958" y="707503"/>
                      </a:lnTo>
                      <a:lnTo>
                        <a:pt x="588419" y="731914"/>
                      </a:lnTo>
                      <a:lnTo>
                        <a:pt x="585059" y="750375"/>
                      </a:lnTo>
                      <a:lnTo>
                        <a:pt x="588897" y="764077"/>
                      </a:lnTo>
                      <a:lnTo>
                        <a:pt x="584585" y="789253"/>
                      </a:lnTo>
                      <a:lnTo>
                        <a:pt x="579347" y="801467"/>
                      </a:lnTo>
                      <a:lnTo>
                        <a:pt x="563215" y="815284"/>
                      </a:lnTo>
                      <a:lnTo>
                        <a:pt x="537604" y="859784"/>
                      </a:lnTo>
                      <a:lnTo>
                        <a:pt x="517306" y="880004"/>
                      </a:lnTo>
                      <a:lnTo>
                        <a:pt x="501613" y="891975"/>
                      </a:lnTo>
                      <a:lnTo>
                        <a:pt x="491087" y="916442"/>
                      </a:lnTo>
                      <a:lnTo>
                        <a:pt x="475817" y="931227"/>
                      </a:lnTo>
                      <a:lnTo>
                        <a:pt x="469425" y="916582"/>
                      </a:lnTo>
                      <a:lnTo>
                        <a:pt x="479604" y="904361"/>
                      </a:lnTo>
                      <a:lnTo>
                        <a:pt x="466254" y="886899"/>
                      </a:lnTo>
                      <a:lnTo>
                        <a:pt x="448145" y="872774"/>
                      </a:lnTo>
                      <a:lnTo>
                        <a:pt x="424392" y="856466"/>
                      </a:lnTo>
                      <a:lnTo>
                        <a:pt x="415811" y="857207"/>
                      </a:lnTo>
                      <a:lnTo>
                        <a:pt x="392664" y="837605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Freeform 9">
                  <a:extLst>
                    <a:ext uri="{FF2B5EF4-FFF2-40B4-BE49-F238E27FC236}">
                      <a16:creationId xmlns:a16="http://schemas.microsoft.com/office/drawing/2014/main" id="{913FFE28-540F-4267-BBC1-F581E175E5B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1"/>
                  </p:custDataLst>
                </p:nvPr>
              </p:nvSpPr>
              <p:spPr>
                <a:xfrm>
                  <a:off x="5042171" y="5029934"/>
                  <a:ext cx="215097" cy="11013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460" h="1026393">
                      <a:moveTo>
                        <a:pt x="145391" y="928332"/>
                      </a:moveTo>
                      <a:lnTo>
                        <a:pt x="161818" y="932003"/>
                      </a:lnTo>
                      <a:lnTo>
                        <a:pt x="161833" y="1002494"/>
                      </a:lnTo>
                      <a:lnTo>
                        <a:pt x="186552" y="1002511"/>
                      </a:lnTo>
                      <a:lnTo>
                        <a:pt x="200460" y="1003369"/>
                      </a:lnTo>
                      <a:lnTo>
                        <a:pt x="192817" y="1016364"/>
                      </a:lnTo>
                      <a:lnTo>
                        <a:pt x="173022" y="1026393"/>
                      </a:lnTo>
                      <a:lnTo>
                        <a:pt x="161680" y="1025364"/>
                      </a:lnTo>
                      <a:lnTo>
                        <a:pt x="148012" y="1022747"/>
                      </a:lnTo>
                      <a:lnTo>
                        <a:pt x="131255" y="1013055"/>
                      </a:lnTo>
                      <a:lnTo>
                        <a:pt x="107073" y="1008406"/>
                      </a:lnTo>
                      <a:lnTo>
                        <a:pt x="78030" y="990533"/>
                      </a:lnTo>
                      <a:lnTo>
                        <a:pt x="54456" y="973458"/>
                      </a:lnTo>
                      <a:lnTo>
                        <a:pt x="22664" y="938269"/>
                      </a:lnTo>
                      <a:lnTo>
                        <a:pt x="41694" y="944826"/>
                      </a:lnTo>
                      <a:lnTo>
                        <a:pt x="74100" y="965808"/>
                      </a:lnTo>
                      <a:lnTo>
                        <a:pt x="104718" y="977158"/>
                      </a:lnTo>
                      <a:lnTo>
                        <a:pt x="116627" y="962669"/>
                      </a:lnTo>
                      <a:lnTo>
                        <a:pt x="124113" y="941194"/>
                      </a:lnTo>
                      <a:close/>
                      <a:moveTo>
                        <a:pt x="139741" y="0"/>
                      </a:moveTo>
                      <a:lnTo>
                        <a:pt x="151056" y="16203"/>
                      </a:lnTo>
                      <a:lnTo>
                        <a:pt x="154136" y="33438"/>
                      </a:lnTo>
                      <a:lnTo>
                        <a:pt x="166245" y="43573"/>
                      </a:lnTo>
                      <a:lnTo>
                        <a:pt x="158975" y="66797"/>
                      </a:lnTo>
                      <a:lnTo>
                        <a:pt x="171376" y="93836"/>
                      </a:lnTo>
                      <a:lnTo>
                        <a:pt x="180419" y="127248"/>
                      </a:lnTo>
                      <a:lnTo>
                        <a:pt x="197073" y="123918"/>
                      </a:lnTo>
                      <a:lnTo>
                        <a:pt x="199876" y="130006"/>
                      </a:lnTo>
                      <a:lnTo>
                        <a:pt x="191954" y="155341"/>
                      </a:lnTo>
                      <a:lnTo>
                        <a:pt x="166812" y="167413"/>
                      </a:lnTo>
                      <a:lnTo>
                        <a:pt x="167543" y="208423"/>
                      </a:lnTo>
                      <a:lnTo>
                        <a:pt x="162723" y="216386"/>
                      </a:lnTo>
                      <a:lnTo>
                        <a:pt x="169631" y="226112"/>
                      </a:lnTo>
                      <a:lnTo>
                        <a:pt x="153341" y="241569"/>
                      </a:lnTo>
                      <a:lnTo>
                        <a:pt x="138225" y="264985"/>
                      </a:lnTo>
                      <a:lnTo>
                        <a:pt x="129974" y="287796"/>
                      </a:lnTo>
                      <a:lnTo>
                        <a:pt x="132157" y="312243"/>
                      </a:lnTo>
                      <a:lnTo>
                        <a:pt x="117936" y="338375"/>
                      </a:lnTo>
                      <a:lnTo>
                        <a:pt x="128570" y="382627"/>
                      </a:lnTo>
                      <a:lnTo>
                        <a:pt x="134563" y="387340"/>
                      </a:lnTo>
                      <a:lnTo>
                        <a:pt x="134504" y="411163"/>
                      </a:lnTo>
                      <a:lnTo>
                        <a:pt x="121330" y="436622"/>
                      </a:lnTo>
                      <a:lnTo>
                        <a:pt x="121867" y="458559"/>
                      </a:lnTo>
                      <a:lnTo>
                        <a:pt x="104391" y="475804"/>
                      </a:lnTo>
                      <a:lnTo>
                        <a:pt x="104466" y="500216"/>
                      </a:lnTo>
                      <a:lnTo>
                        <a:pt x="111482" y="526354"/>
                      </a:lnTo>
                      <a:lnTo>
                        <a:pt x="97659" y="536129"/>
                      </a:lnTo>
                      <a:lnTo>
                        <a:pt x="91491" y="560279"/>
                      </a:lnTo>
                      <a:lnTo>
                        <a:pt x="86067" y="588234"/>
                      </a:lnTo>
                      <a:lnTo>
                        <a:pt x="89966" y="621845"/>
                      </a:lnTo>
                      <a:lnTo>
                        <a:pt x="80685" y="627493"/>
                      </a:lnTo>
                      <a:lnTo>
                        <a:pt x="86074" y="659716"/>
                      </a:lnTo>
                      <a:lnTo>
                        <a:pt x="96493" y="670382"/>
                      </a:lnTo>
                      <a:lnTo>
                        <a:pt x="88885" y="682233"/>
                      </a:lnTo>
                      <a:lnTo>
                        <a:pt x="99592" y="687910"/>
                      </a:lnTo>
                      <a:lnTo>
                        <a:pt x="102062" y="698615"/>
                      </a:lnTo>
                      <a:lnTo>
                        <a:pt x="91986" y="704013"/>
                      </a:lnTo>
                      <a:lnTo>
                        <a:pt x="94463" y="720808"/>
                      </a:lnTo>
                      <a:lnTo>
                        <a:pt x="86032" y="759069"/>
                      </a:lnTo>
                      <a:lnTo>
                        <a:pt x="73796" y="784025"/>
                      </a:lnTo>
                      <a:lnTo>
                        <a:pt x="76478" y="798918"/>
                      </a:lnTo>
                      <a:lnTo>
                        <a:pt x="69158" y="817721"/>
                      </a:lnTo>
                      <a:lnTo>
                        <a:pt x="51450" y="830836"/>
                      </a:lnTo>
                      <a:lnTo>
                        <a:pt x="53467" y="862731"/>
                      </a:lnTo>
                      <a:lnTo>
                        <a:pt x="61599" y="873731"/>
                      </a:lnTo>
                      <a:lnTo>
                        <a:pt x="76967" y="871773"/>
                      </a:lnTo>
                      <a:lnTo>
                        <a:pt x="76518" y="894625"/>
                      </a:lnTo>
                      <a:lnTo>
                        <a:pt x="86088" y="912560"/>
                      </a:lnTo>
                      <a:lnTo>
                        <a:pt x="141866" y="916692"/>
                      </a:lnTo>
                      <a:lnTo>
                        <a:pt x="163260" y="921542"/>
                      </a:lnTo>
                      <a:lnTo>
                        <a:pt x="142722" y="921310"/>
                      </a:lnTo>
                      <a:lnTo>
                        <a:pt x="131608" y="928942"/>
                      </a:lnTo>
                      <a:lnTo>
                        <a:pt x="110780" y="940194"/>
                      </a:lnTo>
                      <a:lnTo>
                        <a:pt x="107058" y="969529"/>
                      </a:lnTo>
                      <a:lnTo>
                        <a:pt x="97284" y="970262"/>
                      </a:lnTo>
                      <a:lnTo>
                        <a:pt x="71243" y="960010"/>
                      </a:lnTo>
                      <a:lnTo>
                        <a:pt x="44818" y="938193"/>
                      </a:lnTo>
                      <a:lnTo>
                        <a:pt x="16103" y="920406"/>
                      </a:lnTo>
                      <a:lnTo>
                        <a:pt x="8872" y="900867"/>
                      </a:lnTo>
                      <a:lnTo>
                        <a:pt x="15413" y="882926"/>
                      </a:lnTo>
                      <a:lnTo>
                        <a:pt x="3800" y="862718"/>
                      </a:lnTo>
                      <a:lnTo>
                        <a:pt x="839" y="811635"/>
                      </a:lnTo>
                      <a:lnTo>
                        <a:pt x="10655" y="783243"/>
                      </a:lnTo>
                      <a:lnTo>
                        <a:pt x="35035" y="760652"/>
                      </a:lnTo>
                      <a:lnTo>
                        <a:pt x="0" y="752175"/>
                      </a:lnTo>
                      <a:lnTo>
                        <a:pt x="21980" y="726647"/>
                      </a:lnTo>
                      <a:lnTo>
                        <a:pt x="29838" y="679287"/>
                      </a:lnTo>
                      <a:lnTo>
                        <a:pt x="55491" y="689256"/>
                      </a:lnTo>
                      <a:lnTo>
                        <a:pt x="67553" y="631064"/>
                      </a:lnTo>
                      <a:lnTo>
                        <a:pt x="52062" y="623680"/>
                      </a:lnTo>
                      <a:lnTo>
                        <a:pt x="44850" y="658515"/>
                      </a:lnTo>
                      <a:lnTo>
                        <a:pt x="30294" y="654564"/>
                      </a:lnTo>
                      <a:lnTo>
                        <a:pt x="37542" y="614740"/>
                      </a:lnTo>
                      <a:lnTo>
                        <a:pt x="45410" y="563924"/>
                      </a:lnTo>
                      <a:lnTo>
                        <a:pt x="56016" y="545383"/>
                      </a:lnTo>
                      <a:lnTo>
                        <a:pt x="49369" y="519101"/>
                      </a:lnTo>
                      <a:lnTo>
                        <a:pt x="47465" y="489019"/>
                      </a:lnTo>
                      <a:lnTo>
                        <a:pt x="57191" y="488155"/>
                      </a:lnTo>
                      <a:lnTo>
                        <a:pt x="71354" y="445511"/>
                      </a:lnTo>
                      <a:lnTo>
                        <a:pt x="87313" y="403778"/>
                      </a:lnTo>
                      <a:lnTo>
                        <a:pt x="97084" y="365330"/>
                      </a:lnTo>
                      <a:lnTo>
                        <a:pt x="91769" y="327065"/>
                      </a:lnTo>
                      <a:lnTo>
                        <a:pt x="98662" y="306154"/>
                      </a:lnTo>
                      <a:lnTo>
                        <a:pt x="95897" y="275067"/>
                      </a:lnTo>
                      <a:lnTo>
                        <a:pt x="109394" y="244537"/>
                      </a:lnTo>
                      <a:lnTo>
                        <a:pt x="113553" y="196597"/>
                      </a:lnTo>
                      <a:lnTo>
                        <a:pt x="120962" y="145662"/>
                      </a:lnTo>
                      <a:lnTo>
                        <a:pt x="128181" y="91395"/>
                      </a:lnTo>
                      <a:lnTo>
                        <a:pt x="126492" y="51997"/>
                      </a:lnTo>
                      <a:lnTo>
                        <a:pt x="121687" y="18299"/>
                      </a:lnTo>
                      <a:lnTo>
                        <a:pt x="133555" y="12211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" name="Freeform 10">
                  <a:extLst>
                    <a:ext uri="{FF2B5EF4-FFF2-40B4-BE49-F238E27FC236}">
                      <a16:creationId xmlns:a16="http://schemas.microsoft.com/office/drawing/2014/main" id="{5E2D035B-E9FA-4F99-958E-B364573F998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2"/>
                  </p:custDataLst>
                </p:nvPr>
              </p:nvSpPr>
              <p:spPr>
                <a:xfrm>
                  <a:off x="4959284" y="4280464"/>
                  <a:ext cx="300057" cy="41613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79639" h="387815">
                      <a:moveTo>
                        <a:pt x="83507" y="292050"/>
                      </a:moveTo>
                      <a:lnTo>
                        <a:pt x="73622" y="286583"/>
                      </a:lnTo>
                      <a:lnTo>
                        <a:pt x="62292" y="278937"/>
                      </a:lnTo>
                      <a:lnTo>
                        <a:pt x="55735" y="282610"/>
                      </a:lnTo>
                      <a:lnTo>
                        <a:pt x="36147" y="279407"/>
                      </a:lnTo>
                      <a:lnTo>
                        <a:pt x="30523" y="269476"/>
                      </a:lnTo>
                      <a:lnTo>
                        <a:pt x="26219" y="269845"/>
                      </a:lnTo>
                      <a:lnTo>
                        <a:pt x="3132" y="256663"/>
                      </a:lnTo>
                      <a:lnTo>
                        <a:pt x="0" y="249496"/>
                      </a:lnTo>
                      <a:lnTo>
                        <a:pt x="8613" y="247763"/>
                      </a:lnTo>
                      <a:lnTo>
                        <a:pt x="7590" y="236195"/>
                      </a:lnTo>
                      <a:lnTo>
                        <a:pt x="13003" y="227830"/>
                      </a:lnTo>
                      <a:lnTo>
                        <a:pt x="24454" y="226281"/>
                      </a:lnTo>
                      <a:lnTo>
                        <a:pt x="34174" y="211763"/>
                      </a:lnTo>
                      <a:lnTo>
                        <a:pt x="43009" y="199638"/>
                      </a:lnTo>
                      <a:lnTo>
                        <a:pt x="34501" y="194137"/>
                      </a:lnTo>
                      <a:lnTo>
                        <a:pt x="38856" y="180715"/>
                      </a:lnTo>
                      <a:lnTo>
                        <a:pt x="33648" y="159544"/>
                      </a:lnTo>
                      <a:lnTo>
                        <a:pt x="38597" y="153464"/>
                      </a:lnTo>
                      <a:lnTo>
                        <a:pt x="34954" y="133867"/>
                      </a:lnTo>
                      <a:lnTo>
                        <a:pt x="25607" y="121513"/>
                      </a:lnTo>
                      <a:lnTo>
                        <a:pt x="28566" y="110232"/>
                      </a:lnTo>
                      <a:lnTo>
                        <a:pt x="36005" y="111899"/>
                      </a:lnTo>
                      <a:lnTo>
                        <a:pt x="40357" y="104997"/>
                      </a:lnTo>
                      <a:lnTo>
                        <a:pt x="34998" y="91311"/>
                      </a:lnTo>
                      <a:lnTo>
                        <a:pt x="37800" y="87911"/>
                      </a:lnTo>
                      <a:lnTo>
                        <a:pt x="49726" y="88650"/>
                      </a:lnTo>
                      <a:lnTo>
                        <a:pt x="67045" y="72409"/>
                      </a:lnTo>
                      <a:lnTo>
                        <a:pt x="76550" y="69931"/>
                      </a:lnTo>
                      <a:lnTo>
                        <a:pt x="76779" y="62227"/>
                      </a:lnTo>
                      <a:lnTo>
                        <a:pt x="81032" y="42523"/>
                      </a:lnTo>
                      <a:lnTo>
                        <a:pt x="94271" y="31687"/>
                      </a:lnTo>
                      <a:lnTo>
                        <a:pt x="108816" y="31243"/>
                      </a:lnTo>
                      <a:lnTo>
                        <a:pt x="110652" y="26372"/>
                      </a:lnTo>
                      <a:lnTo>
                        <a:pt x="128713" y="28323"/>
                      </a:lnTo>
                      <a:lnTo>
                        <a:pt x="146878" y="16516"/>
                      </a:lnTo>
                      <a:lnTo>
                        <a:pt x="155872" y="11284"/>
                      </a:lnTo>
                      <a:lnTo>
                        <a:pt x="167046" y="0"/>
                      </a:lnTo>
                      <a:lnTo>
                        <a:pt x="175223" y="1436"/>
                      </a:lnTo>
                      <a:lnTo>
                        <a:pt x="181280" y="7598"/>
                      </a:lnTo>
                      <a:lnTo>
                        <a:pt x="176799" y="15479"/>
                      </a:lnTo>
                      <a:lnTo>
                        <a:pt x="161972" y="19400"/>
                      </a:lnTo>
                      <a:lnTo>
                        <a:pt x="156117" y="31088"/>
                      </a:lnTo>
                      <a:lnTo>
                        <a:pt x="147182" y="37785"/>
                      </a:lnTo>
                      <a:lnTo>
                        <a:pt x="140473" y="46458"/>
                      </a:lnTo>
                      <a:lnTo>
                        <a:pt x="137650" y="63094"/>
                      </a:lnTo>
                      <a:lnTo>
                        <a:pt x="131248" y="76711"/>
                      </a:lnTo>
                      <a:lnTo>
                        <a:pt x="143164" y="78269"/>
                      </a:lnTo>
                      <a:lnTo>
                        <a:pt x="146124" y="88963"/>
                      </a:lnTo>
                      <a:lnTo>
                        <a:pt x="151216" y="94078"/>
                      </a:lnTo>
                      <a:lnTo>
                        <a:pt x="153039" y="103433"/>
                      </a:lnTo>
                      <a:lnTo>
                        <a:pt x="150298" y="112028"/>
                      </a:lnTo>
                      <a:lnTo>
                        <a:pt x="151110" y="116872"/>
                      </a:lnTo>
                      <a:lnTo>
                        <a:pt x="156791" y="118806"/>
                      </a:lnTo>
                      <a:lnTo>
                        <a:pt x="162289" y="126898"/>
                      </a:lnTo>
                      <a:lnTo>
                        <a:pt x="191972" y="124668"/>
                      </a:lnTo>
                      <a:lnTo>
                        <a:pt x="205381" y="127623"/>
                      </a:lnTo>
                      <a:lnTo>
                        <a:pt x="221627" y="147569"/>
                      </a:lnTo>
                      <a:lnTo>
                        <a:pt x="230957" y="145091"/>
                      </a:lnTo>
                      <a:lnTo>
                        <a:pt x="247582" y="146332"/>
                      </a:lnTo>
                      <a:lnTo>
                        <a:pt x="260739" y="143689"/>
                      </a:lnTo>
                      <a:lnTo>
                        <a:pt x="268902" y="147671"/>
                      </a:lnTo>
                      <a:lnTo>
                        <a:pt x="264745" y="160144"/>
                      </a:lnTo>
                      <a:lnTo>
                        <a:pt x="259594" y="167916"/>
                      </a:lnTo>
                      <a:lnTo>
                        <a:pt x="257786" y="184509"/>
                      </a:lnTo>
                      <a:lnTo>
                        <a:pt x="262429" y="199873"/>
                      </a:lnTo>
                      <a:lnTo>
                        <a:pt x="268991" y="206740"/>
                      </a:lnTo>
                      <a:lnTo>
                        <a:pt x="269785" y="211914"/>
                      </a:lnTo>
                      <a:lnTo>
                        <a:pt x="258088" y="223415"/>
                      </a:lnTo>
                      <a:lnTo>
                        <a:pt x="266463" y="228506"/>
                      </a:lnTo>
                      <a:lnTo>
                        <a:pt x="272598" y="236581"/>
                      </a:lnTo>
                      <a:lnTo>
                        <a:pt x="279638" y="259608"/>
                      </a:lnTo>
                      <a:lnTo>
                        <a:pt x="275282" y="262453"/>
                      </a:lnTo>
                      <a:lnTo>
                        <a:pt x="270782" y="248834"/>
                      </a:lnTo>
                      <a:lnTo>
                        <a:pt x="264369" y="241511"/>
                      </a:lnTo>
                      <a:lnTo>
                        <a:pt x="256734" y="249470"/>
                      </a:lnTo>
                      <a:lnTo>
                        <a:pt x="211760" y="248955"/>
                      </a:lnTo>
                      <a:lnTo>
                        <a:pt x="212046" y="263401"/>
                      </a:lnTo>
                      <a:lnTo>
                        <a:pt x="225571" y="265788"/>
                      </a:lnTo>
                      <a:lnTo>
                        <a:pt x="224791" y="274630"/>
                      </a:lnTo>
                      <a:lnTo>
                        <a:pt x="220175" y="272240"/>
                      </a:lnTo>
                      <a:lnTo>
                        <a:pt x="207176" y="276043"/>
                      </a:lnTo>
                      <a:lnTo>
                        <a:pt x="207058" y="292815"/>
                      </a:lnTo>
                      <a:lnTo>
                        <a:pt x="217298" y="301236"/>
                      </a:lnTo>
                      <a:lnTo>
                        <a:pt x="220912" y="314455"/>
                      </a:lnTo>
                      <a:lnTo>
                        <a:pt x="220367" y="324467"/>
                      </a:lnTo>
                      <a:lnTo>
                        <a:pt x="209990" y="387814"/>
                      </a:lnTo>
                      <a:lnTo>
                        <a:pt x="198440" y="375524"/>
                      </a:lnTo>
                      <a:lnTo>
                        <a:pt x="191546" y="374976"/>
                      </a:lnTo>
                      <a:lnTo>
                        <a:pt x="206434" y="351460"/>
                      </a:lnTo>
                      <a:lnTo>
                        <a:pt x="188758" y="340644"/>
                      </a:lnTo>
                      <a:lnTo>
                        <a:pt x="174905" y="342628"/>
                      </a:lnTo>
                      <a:lnTo>
                        <a:pt x="166569" y="338633"/>
                      </a:lnTo>
                      <a:lnTo>
                        <a:pt x="153850" y="344740"/>
                      </a:lnTo>
                      <a:lnTo>
                        <a:pt x="136662" y="341847"/>
                      </a:lnTo>
                      <a:lnTo>
                        <a:pt x="123064" y="317638"/>
                      </a:lnTo>
                      <a:lnTo>
                        <a:pt x="112379" y="311689"/>
                      </a:lnTo>
                      <a:lnTo>
                        <a:pt x="105011" y="300793"/>
                      </a:lnTo>
                      <a:lnTo>
                        <a:pt x="89661" y="289861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Freeform 11">
                  <a:extLst>
                    <a:ext uri="{FF2B5EF4-FFF2-40B4-BE49-F238E27FC236}">
                      <a16:creationId xmlns:a16="http://schemas.microsoft.com/office/drawing/2014/main" id="{58248DB5-2690-4F56-AB67-66D326C3F37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3"/>
                  </p:custDataLst>
                </p:nvPr>
              </p:nvSpPr>
              <p:spPr>
                <a:xfrm>
                  <a:off x="4787126" y="4311103"/>
                  <a:ext cx="84102" cy="748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8379" h="69713">
                      <a:moveTo>
                        <a:pt x="68693" y="69712"/>
                      </a:moveTo>
                      <a:lnTo>
                        <a:pt x="56167" y="64555"/>
                      </a:lnTo>
                      <a:lnTo>
                        <a:pt x="51481" y="59675"/>
                      </a:lnTo>
                      <a:lnTo>
                        <a:pt x="54139" y="55638"/>
                      </a:lnTo>
                      <a:lnTo>
                        <a:pt x="53300" y="50498"/>
                      </a:lnTo>
                      <a:lnTo>
                        <a:pt x="46901" y="44926"/>
                      </a:lnTo>
                      <a:lnTo>
                        <a:pt x="37817" y="40350"/>
                      </a:lnTo>
                      <a:lnTo>
                        <a:pt x="29871" y="37364"/>
                      </a:lnTo>
                      <a:lnTo>
                        <a:pt x="28355" y="30549"/>
                      </a:lnTo>
                      <a:lnTo>
                        <a:pt x="22300" y="26384"/>
                      </a:lnTo>
                      <a:lnTo>
                        <a:pt x="23784" y="33160"/>
                      </a:lnTo>
                      <a:lnTo>
                        <a:pt x="19178" y="38727"/>
                      </a:lnTo>
                      <a:lnTo>
                        <a:pt x="13902" y="32262"/>
                      </a:lnTo>
                      <a:lnTo>
                        <a:pt x="6485" y="29960"/>
                      </a:lnTo>
                      <a:lnTo>
                        <a:pt x="3331" y="25262"/>
                      </a:lnTo>
                      <a:lnTo>
                        <a:pt x="3463" y="18161"/>
                      </a:lnTo>
                      <a:lnTo>
                        <a:pt x="6519" y="10810"/>
                      </a:lnTo>
                      <a:lnTo>
                        <a:pt x="0" y="7519"/>
                      </a:lnTo>
                      <a:lnTo>
                        <a:pt x="5291" y="3007"/>
                      </a:lnTo>
                      <a:lnTo>
                        <a:pt x="8769" y="0"/>
                      </a:lnTo>
                      <a:lnTo>
                        <a:pt x="23977" y="6187"/>
                      </a:lnTo>
                      <a:lnTo>
                        <a:pt x="29284" y="3142"/>
                      </a:lnTo>
                      <a:lnTo>
                        <a:pt x="36605" y="5091"/>
                      </a:lnTo>
                      <a:lnTo>
                        <a:pt x="40431" y="9896"/>
                      </a:lnTo>
                      <a:lnTo>
                        <a:pt x="47243" y="11451"/>
                      </a:lnTo>
                      <a:lnTo>
                        <a:pt x="52770" y="6503"/>
                      </a:lnTo>
                      <a:lnTo>
                        <a:pt x="58617" y="19185"/>
                      </a:lnTo>
                      <a:lnTo>
                        <a:pt x="67541" y="28570"/>
                      </a:lnTo>
                      <a:lnTo>
                        <a:pt x="78378" y="38515"/>
                      </a:lnTo>
                      <a:lnTo>
                        <a:pt x="69452" y="40595"/>
                      </a:lnTo>
                      <a:lnTo>
                        <a:pt x="69585" y="49964"/>
                      </a:lnTo>
                      <a:lnTo>
                        <a:pt x="74385" y="53422"/>
                      </a:lnTo>
                      <a:lnTo>
                        <a:pt x="70935" y="56177"/>
                      </a:lnTo>
                      <a:lnTo>
                        <a:pt x="71833" y="60386"/>
                      </a:lnTo>
                      <a:lnTo>
                        <a:pt x="69908" y="6510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Freeform 12">
                  <a:extLst>
                    <a:ext uri="{FF2B5EF4-FFF2-40B4-BE49-F238E27FC236}">
                      <a16:creationId xmlns:a16="http://schemas.microsoft.com/office/drawing/2014/main" id="{BEEA99AA-55B2-414E-86A4-7EA16616BEB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4"/>
                  </p:custDataLst>
                </p:nvPr>
              </p:nvSpPr>
              <p:spPr>
                <a:xfrm>
                  <a:off x="4811072" y="4005430"/>
                  <a:ext cx="267419" cy="864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9222" h="80557">
                      <a:moveTo>
                        <a:pt x="62479" y="0"/>
                      </a:moveTo>
                      <a:lnTo>
                        <a:pt x="82416" y="1736"/>
                      </a:lnTo>
                      <a:lnTo>
                        <a:pt x="100552" y="2011"/>
                      </a:lnTo>
                      <a:lnTo>
                        <a:pt x="122232" y="10296"/>
                      </a:lnTo>
                      <a:lnTo>
                        <a:pt x="131420" y="19185"/>
                      </a:lnTo>
                      <a:lnTo>
                        <a:pt x="152980" y="16444"/>
                      </a:lnTo>
                      <a:lnTo>
                        <a:pt x="161155" y="22144"/>
                      </a:lnTo>
                      <a:lnTo>
                        <a:pt x="180703" y="37140"/>
                      </a:lnTo>
                      <a:lnTo>
                        <a:pt x="195074" y="48036"/>
                      </a:lnTo>
                      <a:lnTo>
                        <a:pt x="202673" y="47704"/>
                      </a:lnTo>
                      <a:lnTo>
                        <a:pt x="216439" y="52624"/>
                      </a:lnTo>
                      <a:lnTo>
                        <a:pt x="214758" y="59408"/>
                      </a:lnTo>
                      <a:lnTo>
                        <a:pt x="231774" y="60400"/>
                      </a:lnTo>
                      <a:lnTo>
                        <a:pt x="249221" y="70248"/>
                      </a:lnTo>
                      <a:lnTo>
                        <a:pt x="246483" y="75877"/>
                      </a:lnTo>
                      <a:lnTo>
                        <a:pt x="231134" y="78924"/>
                      </a:lnTo>
                      <a:lnTo>
                        <a:pt x="215598" y="80117"/>
                      </a:lnTo>
                      <a:lnTo>
                        <a:pt x="199694" y="78217"/>
                      </a:lnTo>
                      <a:lnTo>
                        <a:pt x="166644" y="80556"/>
                      </a:lnTo>
                      <a:lnTo>
                        <a:pt x="182118" y="67152"/>
                      </a:lnTo>
                      <a:lnTo>
                        <a:pt x="172711" y="60901"/>
                      </a:lnTo>
                      <a:lnTo>
                        <a:pt x="157831" y="59291"/>
                      </a:lnTo>
                      <a:lnTo>
                        <a:pt x="149855" y="52335"/>
                      </a:lnTo>
                      <a:lnTo>
                        <a:pt x="144383" y="38584"/>
                      </a:lnTo>
                      <a:lnTo>
                        <a:pt x="131338" y="39526"/>
                      </a:lnTo>
                      <a:lnTo>
                        <a:pt x="109814" y="33041"/>
                      </a:lnTo>
                      <a:lnTo>
                        <a:pt x="102888" y="27963"/>
                      </a:lnTo>
                      <a:lnTo>
                        <a:pt x="72802" y="24208"/>
                      </a:lnTo>
                      <a:lnTo>
                        <a:pt x="64745" y="19478"/>
                      </a:lnTo>
                      <a:lnTo>
                        <a:pt x="73401" y="13414"/>
                      </a:lnTo>
                      <a:lnTo>
                        <a:pt x="50759" y="12171"/>
                      </a:lnTo>
                      <a:lnTo>
                        <a:pt x="34173" y="24778"/>
                      </a:lnTo>
                      <a:lnTo>
                        <a:pt x="24609" y="25116"/>
                      </a:lnTo>
                      <a:lnTo>
                        <a:pt x="21300" y="31026"/>
                      </a:lnTo>
                      <a:lnTo>
                        <a:pt x="9877" y="33672"/>
                      </a:lnTo>
                      <a:lnTo>
                        <a:pt x="0" y="31378"/>
                      </a:lnTo>
                      <a:lnTo>
                        <a:pt x="12184" y="23896"/>
                      </a:lnTo>
                      <a:lnTo>
                        <a:pt x="17186" y="15143"/>
                      </a:lnTo>
                      <a:lnTo>
                        <a:pt x="27623" y="9742"/>
                      </a:lnTo>
                      <a:lnTo>
                        <a:pt x="39411" y="5003"/>
                      </a:lnTo>
                      <a:lnTo>
                        <a:pt x="56887" y="2674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Freeform 13">
                  <a:extLst>
                    <a:ext uri="{FF2B5EF4-FFF2-40B4-BE49-F238E27FC236}">
                      <a16:creationId xmlns:a16="http://schemas.microsoft.com/office/drawing/2014/main" id="{523001D8-53F3-474D-A50D-6B42909423E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5"/>
                  </p:custDataLst>
                </p:nvPr>
              </p:nvSpPr>
              <p:spPr>
                <a:xfrm>
                  <a:off x="5133796" y="4091109"/>
                  <a:ext cx="89839" cy="5862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3726" h="54639">
                      <a:moveTo>
                        <a:pt x="5372" y="4090"/>
                      </a:moveTo>
                      <a:lnTo>
                        <a:pt x="8259" y="0"/>
                      </a:lnTo>
                      <a:lnTo>
                        <a:pt x="26277" y="111"/>
                      </a:lnTo>
                      <a:lnTo>
                        <a:pt x="39950" y="6286"/>
                      </a:lnTo>
                      <a:lnTo>
                        <a:pt x="46034" y="5684"/>
                      </a:lnTo>
                      <a:lnTo>
                        <a:pt x="50225" y="14184"/>
                      </a:lnTo>
                      <a:lnTo>
                        <a:pt x="62854" y="13707"/>
                      </a:lnTo>
                      <a:lnTo>
                        <a:pt x="62110" y="20840"/>
                      </a:lnTo>
                      <a:lnTo>
                        <a:pt x="72380" y="21703"/>
                      </a:lnTo>
                      <a:lnTo>
                        <a:pt x="83725" y="30472"/>
                      </a:lnTo>
                      <a:lnTo>
                        <a:pt x="75152" y="40187"/>
                      </a:lnTo>
                      <a:lnTo>
                        <a:pt x="64173" y="34998"/>
                      </a:lnTo>
                      <a:lnTo>
                        <a:pt x="53578" y="35999"/>
                      </a:lnTo>
                      <a:lnTo>
                        <a:pt x="45984" y="34863"/>
                      </a:lnTo>
                      <a:lnTo>
                        <a:pt x="41823" y="39215"/>
                      </a:lnTo>
                      <a:lnTo>
                        <a:pt x="32961" y="40684"/>
                      </a:lnTo>
                      <a:lnTo>
                        <a:pt x="29449" y="34897"/>
                      </a:lnTo>
                      <a:lnTo>
                        <a:pt x="21817" y="38322"/>
                      </a:lnTo>
                      <a:lnTo>
                        <a:pt x="12578" y="54638"/>
                      </a:lnTo>
                      <a:lnTo>
                        <a:pt x="6635" y="50853"/>
                      </a:lnTo>
                      <a:lnTo>
                        <a:pt x="5466" y="44006"/>
                      </a:lnTo>
                      <a:lnTo>
                        <a:pt x="5941" y="37527"/>
                      </a:lnTo>
                      <a:lnTo>
                        <a:pt x="0" y="30360"/>
                      </a:lnTo>
                      <a:lnTo>
                        <a:pt x="5627" y="26333"/>
                      </a:lnTo>
                      <a:lnTo>
                        <a:pt x="7392" y="17139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Freeform 14">
                  <a:extLst>
                    <a:ext uri="{FF2B5EF4-FFF2-40B4-BE49-F238E27FC236}">
                      <a16:creationId xmlns:a16="http://schemas.microsoft.com/office/drawing/2014/main" id="{2EF7A1F5-CAE9-42FA-AEA3-047CA792AED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6"/>
                  </p:custDataLst>
                </p:nvPr>
              </p:nvSpPr>
              <p:spPr>
                <a:xfrm>
                  <a:off x="4910322" y="4555867"/>
                  <a:ext cx="142022" cy="1571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2358" h="146440">
                      <a:moveTo>
                        <a:pt x="15354" y="110500"/>
                      </a:moveTo>
                      <a:lnTo>
                        <a:pt x="27641" y="93234"/>
                      </a:lnTo>
                      <a:lnTo>
                        <a:pt x="22649" y="83148"/>
                      </a:lnTo>
                      <a:lnTo>
                        <a:pt x="13826" y="93873"/>
                      </a:lnTo>
                      <a:lnTo>
                        <a:pt x="0" y="83751"/>
                      </a:lnTo>
                      <a:lnTo>
                        <a:pt x="4685" y="77242"/>
                      </a:lnTo>
                      <a:lnTo>
                        <a:pt x="787" y="56287"/>
                      </a:lnTo>
                      <a:lnTo>
                        <a:pt x="8873" y="52806"/>
                      </a:lnTo>
                      <a:lnTo>
                        <a:pt x="13121" y="38426"/>
                      </a:lnTo>
                      <a:lnTo>
                        <a:pt x="21856" y="23560"/>
                      </a:lnTo>
                      <a:lnTo>
                        <a:pt x="20247" y="14140"/>
                      </a:lnTo>
                      <a:lnTo>
                        <a:pt x="32893" y="9188"/>
                      </a:lnTo>
                      <a:lnTo>
                        <a:pt x="48762" y="0"/>
                      </a:lnTo>
                      <a:lnTo>
                        <a:pt x="71849" y="13182"/>
                      </a:lnTo>
                      <a:lnTo>
                        <a:pt x="76153" y="12813"/>
                      </a:lnTo>
                      <a:lnTo>
                        <a:pt x="81777" y="22744"/>
                      </a:lnTo>
                      <a:lnTo>
                        <a:pt x="101365" y="25947"/>
                      </a:lnTo>
                      <a:lnTo>
                        <a:pt x="107922" y="22274"/>
                      </a:lnTo>
                      <a:lnTo>
                        <a:pt x="119252" y="29920"/>
                      </a:lnTo>
                      <a:lnTo>
                        <a:pt x="129137" y="35387"/>
                      </a:lnTo>
                      <a:lnTo>
                        <a:pt x="132357" y="52916"/>
                      </a:lnTo>
                      <a:lnTo>
                        <a:pt x="125172" y="67926"/>
                      </a:lnTo>
                      <a:lnTo>
                        <a:pt x="100003" y="92106"/>
                      </a:lnTo>
                      <a:lnTo>
                        <a:pt x="72245" y="101216"/>
                      </a:lnTo>
                      <a:lnTo>
                        <a:pt x="58101" y="121322"/>
                      </a:lnTo>
                      <a:lnTo>
                        <a:pt x="53733" y="136923"/>
                      </a:lnTo>
                      <a:lnTo>
                        <a:pt x="40682" y="146439"/>
                      </a:lnTo>
                      <a:lnTo>
                        <a:pt x="30995" y="134759"/>
                      </a:lnTo>
                      <a:lnTo>
                        <a:pt x="21671" y="132259"/>
                      </a:lnTo>
                      <a:lnTo>
                        <a:pt x="12130" y="134100"/>
                      </a:lnTo>
                      <a:lnTo>
                        <a:pt x="11506" y="125627"/>
                      </a:lnTo>
                      <a:lnTo>
                        <a:pt x="18091" y="120122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Freeform 15">
                  <a:extLst>
                    <a:ext uri="{FF2B5EF4-FFF2-40B4-BE49-F238E27FC236}">
                      <a16:creationId xmlns:a16="http://schemas.microsoft.com/office/drawing/2014/main" id="{09C11863-2F8A-4E34-8C4A-375C15FC13E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7"/>
                  </p:custDataLst>
                </p:nvPr>
              </p:nvSpPr>
              <p:spPr>
                <a:xfrm>
                  <a:off x="4631397" y="4144096"/>
                  <a:ext cx="99178" cy="1036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2429" h="96620">
                      <a:moveTo>
                        <a:pt x="49251" y="96619"/>
                      </a:moveTo>
                      <a:lnTo>
                        <a:pt x="37408" y="92516"/>
                      </a:lnTo>
                      <a:lnTo>
                        <a:pt x="23009" y="92091"/>
                      </a:lnTo>
                      <a:lnTo>
                        <a:pt x="12453" y="87423"/>
                      </a:lnTo>
                      <a:lnTo>
                        <a:pt x="34" y="77705"/>
                      </a:lnTo>
                      <a:lnTo>
                        <a:pt x="600" y="70837"/>
                      </a:lnTo>
                      <a:lnTo>
                        <a:pt x="3278" y="65305"/>
                      </a:lnTo>
                      <a:lnTo>
                        <a:pt x="0" y="60893"/>
                      </a:lnTo>
                      <a:lnTo>
                        <a:pt x="11109" y="41619"/>
                      </a:lnTo>
                      <a:lnTo>
                        <a:pt x="40735" y="41548"/>
                      </a:lnTo>
                      <a:lnTo>
                        <a:pt x="41327" y="33481"/>
                      </a:lnTo>
                      <a:lnTo>
                        <a:pt x="37587" y="32043"/>
                      </a:lnTo>
                      <a:lnTo>
                        <a:pt x="35026" y="26903"/>
                      </a:lnTo>
                      <a:lnTo>
                        <a:pt x="26489" y="21421"/>
                      </a:lnTo>
                      <a:lnTo>
                        <a:pt x="17896" y="13494"/>
                      </a:lnTo>
                      <a:lnTo>
                        <a:pt x="28322" y="13435"/>
                      </a:lnTo>
                      <a:lnTo>
                        <a:pt x="28339" y="41"/>
                      </a:lnTo>
                      <a:lnTo>
                        <a:pt x="49889" y="0"/>
                      </a:lnTo>
                      <a:lnTo>
                        <a:pt x="71237" y="262"/>
                      </a:lnTo>
                      <a:lnTo>
                        <a:pt x="71058" y="19116"/>
                      </a:lnTo>
                      <a:lnTo>
                        <a:pt x="69251" y="45870"/>
                      </a:lnTo>
                      <a:lnTo>
                        <a:pt x="76141" y="45863"/>
                      </a:lnTo>
                      <a:lnTo>
                        <a:pt x="83667" y="50142"/>
                      </a:lnTo>
                      <a:lnTo>
                        <a:pt x="85657" y="46617"/>
                      </a:lnTo>
                      <a:lnTo>
                        <a:pt x="92428" y="49637"/>
                      </a:lnTo>
                      <a:lnTo>
                        <a:pt x="81910" y="58654"/>
                      </a:lnTo>
                      <a:lnTo>
                        <a:pt x="70966" y="65262"/>
                      </a:lnTo>
                      <a:lnTo>
                        <a:pt x="69341" y="69795"/>
                      </a:lnTo>
                      <a:lnTo>
                        <a:pt x="71180" y="74424"/>
                      </a:lnTo>
                      <a:lnTo>
                        <a:pt x="66384" y="80407"/>
                      </a:lnTo>
                      <a:lnTo>
                        <a:pt x="60982" y="81857"/>
                      </a:lnTo>
                      <a:lnTo>
                        <a:pt x="62208" y="84631"/>
                      </a:lnTo>
                      <a:lnTo>
                        <a:pt x="57875" y="87234"/>
                      </a:lnTo>
                      <a:lnTo>
                        <a:pt x="49964" y="9317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Freeform 16">
                  <a:extLst>
                    <a:ext uri="{FF2B5EF4-FFF2-40B4-BE49-F238E27FC236}">
                      <a16:creationId xmlns:a16="http://schemas.microsoft.com/office/drawing/2014/main" id="{4C0F5243-EEE7-4A21-89CE-56906244792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8"/>
                  </p:custDataLst>
                </p:nvPr>
              </p:nvSpPr>
              <p:spPr>
                <a:xfrm>
                  <a:off x="5394722" y="4382364"/>
                  <a:ext cx="120644" cy="1763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2435" h="164303">
                      <a:moveTo>
                        <a:pt x="38133" y="0"/>
                      </a:moveTo>
                      <a:lnTo>
                        <a:pt x="53289" y="8547"/>
                      </a:lnTo>
                      <a:lnTo>
                        <a:pt x="67571" y="23672"/>
                      </a:lnTo>
                      <a:lnTo>
                        <a:pt x="68220" y="35616"/>
                      </a:lnTo>
                      <a:lnTo>
                        <a:pt x="76917" y="36165"/>
                      </a:lnTo>
                      <a:lnTo>
                        <a:pt x="89286" y="47473"/>
                      </a:lnTo>
                      <a:lnTo>
                        <a:pt x="98399" y="55538"/>
                      </a:lnTo>
                      <a:lnTo>
                        <a:pt x="94710" y="76365"/>
                      </a:lnTo>
                      <a:lnTo>
                        <a:pt x="80698" y="82403"/>
                      </a:lnTo>
                      <a:lnTo>
                        <a:pt x="81946" y="87858"/>
                      </a:lnTo>
                      <a:lnTo>
                        <a:pt x="77688" y="99789"/>
                      </a:lnTo>
                      <a:lnTo>
                        <a:pt x="87916" y="116574"/>
                      </a:lnTo>
                      <a:lnTo>
                        <a:pt x="95306" y="116601"/>
                      </a:lnTo>
                      <a:lnTo>
                        <a:pt x="98337" y="129644"/>
                      </a:lnTo>
                      <a:lnTo>
                        <a:pt x="112434" y="149723"/>
                      </a:lnTo>
                      <a:lnTo>
                        <a:pt x="106818" y="150550"/>
                      </a:lnTo>
                      <a:lnTo>
                        <a:pt x="94050" y="148592"/>
                      </a:lnTo>
                      <a:lnTo>
                        <a:pt x="86545" y="154732"/>
                      </a:lnTo>
                      <a:lnTo>
                        <a:pt x="76100" y="158782"/>
                      </a:lnTo>
                      <a:lnTo>
                        <a:pt x="68806" y="159780"/>
                      </a:lnTo>
                      <a:lnTo>
                        <a:pt x="66254" y="164302"/>
                      </a:lnTo>
                      <a:lnTo>
                        <a:pt x="54924" y="163157"/>
                      </a:lnTo>
                      <a:lnTo>
                        <a:pt x="40724" y="152324"/>
                      </a:lnTo>
                      <a:lnTo>
                        <a:pt x="39051" y="141639"/>
                      </a:lnTo>
                      <a:lnTo>
                        <a:pt x="33142" y="129961"/>
                      </a:lnTo>
                      <a:lnTo>
                        <a:pt x="36815" y="110292"/>
                      </a:lnTo>
                      <a:lnTo>
                        <a:pt x="43217" y="102148"/>
                      </a:lnTo>
                      <a:lnTo>
                        <a:pt x="37923" y="91403"/>
                      </a:lnTo>
                      <a:lnTo>
                        <a:pt x="29992" y="87900"/>
                      </a:lnTo>
                      <a:lnTo>
                        <a:pt x="32993" y="77742"/>
                      </a:lnTo>
                      <a:lnTo>
                        <a:pt x="27621" y="72409"/>
                      </a:lnTo>
                      <a:lnTo>
                        <a:pt x="15621" y="73433"/>
                      </a:lnTo>
                      <a:lnTo>
                        <a:pt x="0" y="55864"/>
                      </a:lnTo>
                      <a:lnTo>
                        <a:pt x="6253" y="49488"/>
                      </a:lnTo>
                      <a:lnTo>
                        <a:pt x="5793" y="38786"/>
                      </a:lnTo>
                      <a:lnTo>
                        <a:pt x="19997" y="35064"/>
                      </a:lnTo>
                      <a:lnTo>
                        <a:pt x="25729" y="30719"/>
                      </a:lnTo>
                      <a:lnTo>
                        <a:pt x="17828" y="22110"/>
                      </a:lnTo>
                      <a:lnTo>
                        <a:pt x="19845" y="13646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Freeform 17">
                  <a:extLst>
                    <a:ext uri="{FF2B5EF4-FFF2-40B4-BE49-F238E27FC236}">
                      <a16:creationId xmlns:a16="http://schemas.microsoft.com/office/drawing/2014/main" id="{5BF09981-7E3A-4824-A3A5-99EAB421E23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9"/>
                  </p:custDataLst>
                </p:nvPr>
              </p:nvSpPr>
              <p:spPr>
                <a:xfrm>
                  <a:off x="4702628" y="4190308"/>
                  <a:ext cx="153714" cy="7638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3254" h="71186">
                      <a:moveTo>
                        <a:pt x="47011" y="71185"/>
                      </a:moveTo>
                      <a:lnTo>
                        <a:pt x="43024" y="63840"/>
                      </a:lnTo>
                      <a:lnTo>
                        <a:pt x="36013" y="61798"/>
                      </a:lnTo>
                      <a:lnTo>
                        <a:pt x="37620" y="52383"/>
                      </a:lnTo>
                      <a:lnTo>
                        <a:pt x="34481" y="49836"/>
                      </a:lnTo>
                      <a:lnTo>
                        <a:pt x="29730" y="48158"/>
                      </a:lnTo>
                      <a:lnTo>
                        <a:pt x="19604" y="50961"/>
                      </a:lnTo>
                      <a:lnTo>
                        <a:pt x="18745" y="47793"/>
                      </a:lnTo>
                      <a:lnTo>
                        <a:pt x="11778" y="44019"/>
                      </a:lnTo>
                      <a:lnTo>
                        <a:pt x="6805" y="39321"/>
                      </a:lnTo>
                      <a:lnTo>
                        <a:pt x="0" y="37340"/>
                      </a:lnTo>
                      <a:lnTo>
                        <a:pt x="4796" y="31357"/>
                      </a:lnTo>
                      <a:lnTo>
                        <a:pt x="2957" y="26728"/>
                      </a:lnTo>
                      <a:lnTo>
                        <a:pt x="4582" y="22195"/>
                      </a:lnTo>
                      <a:lnTo>
                        <a:pt x="15526" y="15587"/>
                      </a:lnTo>
                      <a:lnTo>
                        <a:pt x="26044" y="6570"/>
                      </a:lnTo>
                      <a:lnTo>
                        <a:pt x="28441" y="7494"/>
                      </a:lnTo>
                      <a:lnTo>
                        <a:pt x="33504" y="3336"/>
                      </a:lnTo>
                      <a:lnTo>
                        <a:pt x="40109" y="2996"/>
                      </a:lnTo>
                      <a:lnTo>
                        <a:pt x="42250" y="4925"/>
                      </a:lnTo>
                      <a:lnTo>
                        <a:pt x="45832" y="3750"/>
                      </a:lnTo>
                      <a:lnTo>
                        <a:pt x="56555" y="5884"/>
                      </a:lnTo>
                      <a:lnTo>
                        <a:pt x="67225" y="5266"/>
                      </a:lnTo>
                      <a:lnTo>
                        <a:pt x="74651" y="2650"/>
                      </a:lnTo>
                      <a:lnTo>
                        <a:pt x="77358" y="0"/>
                      </a:lnTo>
                      <a:lnTo>
                        <a:pt x="84713" y="1225"/>
                      </a:lnTo>
                      <a:lnTo>
                        <a:pt x="90237" y="2832"/>
                      </a:lnTo>
                      <a:lnTo>
                        <a:pt x="96275" y="2278"/>
                      </a:lnTo>
                      <a:lnTo>
                        <a:pt x="100862" y="224"/>
                      </a:lnTo>
                      <a:lnTo>
                        <a:pt x="111405" y="3507"/>
                      </a:lnTo>
                      <a:lnTo>
                        <a:pt x="115068" y="4029"/>
                      </a:lnTo>
                      <a:lnTo>
                        <a:pt x="122113" y="8450"/>
                      </a:lnTo>
                      <a:lnTo>
                        <a:pt x="128786" y="13748"/>
                      </a:lnTo>
                      <a:lnTo>
                        <a:pt x="137179" y="17367"/>
                      </a:lnTo>
                      <a:lnTo>
                        <a:pt x="143253" y="23860"/>
                      </a:lnTo>
                      <a:lnTo>
                        <a:pt x="135341" y="23378"/>
                      </a:lnTo>
                      <a:lnTo>
                        <a:pt x="132142" y="26592"/>
                      </a:lnTo>
                      <a:lnTo>
                        <a:pt x="124129" y="29673"/>
                      </a:lnTo>
                      <a:lnTo>
                        <a:pt x="118298" y="29689"/>
                      </a:lnTo>
                      <a:lnTo>
                        <a:pt x="113197" y="32687"/>
                      </a:lnTo>
                      <a:lnTo>
                        <a:pt x="108575" y="31621"/>
                      </a:lnTo>
                      <a:lnTo>
                        <a:pt x="104640" y="28018"/>
                      </a:lnTo>
                      <a:lnTo>
                        <a:pt x="102229" y="28705"/>
                      </a:lnTo>
                      <a:lnTo>
                        <a:pt x="99267" y="34338"/>
                      </a:lnTo>
                      <a:lnTo>
                        <a:pt x="97053" y="34134"/>
                      </a:lnTo>
                      <a:lnTo>
                        <a:pt x="96669" y="38983"/>
                      </a:lnTo>
                      <a:lnTo>
                        <a:pt x="88612" y="45467"/>
                      </a:lnTo>
                      <a:lnTo>
                        <a:pt x="84359" y="48265"/>
                      </a:lnTo>
                      <a:lnTo>
                        <a:pt x="81990" y="51183"/>
                      </a:lnTo>
                      <a:lnTo>
                        <a:pt x="75181" y="46428"/>
                      </a:lnTo>
                      <a:lnTo>
                        <a:pt x="70198" y="52705"/>
                      </a:lnTo>
                      <a:lnTo>
                        <a:pt x="65384" y="52537"/>
                      </a:lnTo>
                      <a:lnTo>
                        <a:pt x="59974" y="53093"/>
                      </a:lnTo>
                      <a:lnTo>
                        <a:pt x="60465" y="64649"/>
                      </a:lnTo>
                      <a:lnTo>
                        <a:pt x="57078" y="64858"/>
                      </a:lnTo>
                      <a:lnTo>
                        <a:pt x="54187" y="7022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1B307EF7-3FAB-4A68-A304-2CB13D00630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0"/>
                  </p:custDataLst>
                </p:nvPr>
              </p:nvSpPr>
              <p:spPr>
                <a:xfrm>
                  <a:off x="5071555" y="4090316"/>
                  <a:ext cx="70173" cy="4837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5398" h="45079">
                      <a:moveTo>
                        <a:pt x="29274" y="0"/>
                      </a:moveTo>
                      <a:lnTo>
                        <a:pt x="43357" y="1061"/>
                      </a:lnTo>
                      <a:lnTo>
                        <a:pt x="63377" y="4829"/>
                      </a:lnTo>
                      <a:lnTo>
                        <a:pt x="65397" y="17878"/>
                      </a:lnTo>
                      <a:lnTo>
                        <a:pt x="63632" y="27072"/>
                      </a:lnTo>
                      <a:lnTo>
                        <a:pt x="58005" y="31099"/>
                      </a:lnTo>
                      <a:lnTo>
                        <a:pt x="63946" y="38266"/>
                      </a:lnTo>
                      <a:lnTo>
                        <a:pt x="63471" y="44745"/>
                      </a:lnTo>
                      <a:lnTo>
                        <a:pt x="48140" y="40692"/>
                      </a:lnTo>
                      <a:lnTo>
                        <a:pt x="37246" y="42346"/>
                      </a:lnTo>
                      <a:lnTo>
                        <a:pt x="23163" y="40622"/>
                      </a:lnTo>
                      <a:lnTo>
                        <a:pt x="12363" y="45078"/>
                      </a:lnTo>
                      <a:lnTo>
                        <a:pt x="0" y="37649"/>
                      </a:lnTo>
                      <a:lnTo>
                        <a:pt x="2034" y="29952"/>
                      </a:lnTo>
                      <a:lnTo>
                        <a:pt x="23279" y="33269"/>
                      </a:lnTo>
                      <a:lnTo>
                        <a:pt x="40697" y="35184"/>
                      </a:lnTo>
                      <a:lnTo>
                        <a:pt x="49008" y="29868"/>
                      </a:lnTo>
                      <a:lnTo>
                        <a:pt x="38464" y="19511"/>
                      </a:lnTo>
                      <a:lnTo>
                        <a:pt x="38639" y="10364"/>
                      </a:lnTo>
                      <a:lnTo>
                        <a:pt x="24075" y="662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Freeform 19">
                  <a:extLst>
                    <a:ext uri="{FF2B5EF4-FFF2-40B4-BE49-F238E27FC236}">
                      <a16:creationId xmlns:a16="http://schemas.microsoft.com/office/drawing/2014/main" id="{52B4C8F7-3A5A-4C29-8621-2718E549D2E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1"/>
                  </p:custDataLst>
                </p:nvPr>
              </p:nvSpPr>
              <p:spPr>
                <a:xfrm>
                  <a:off x="4975463" y="4126061"/>
                  <a:ext cx="52956" cy="2105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9353" h="19625">
                      <a:moveTo>
                        <a:pt x="17730" y="805"/>
                      </a:moveTo>
                      <a:lnTo>
                        <a:pt x="33265" y="2945"/>
                      </a:lnTo>
                      <a:lnTo>
                        <a:pt x="45528" y="8674"/>
                      </a:lnTo>
                      <a:lnTo>
                        <a:pt x="49352" y="15201"/>
                      </a:lnTo>
                      <a:lnTo>
                        <a:pt x="33127" y="15644"/>
                      </a:lnTo>
                      <a:lnTo>
                        <a:pt x="26115" y="19624"/>
                      </a:lnTo>
                      <a:lnTo>
                        <a:pt x="13197" y="15802"/>
                      </a:lnTo>
                      <a:lnTo>
                        <a:pt x="0" y="7118"/>
                      </a:lnTo>
                      <a:lnTo>
                        <a:pt x="2770" y="1664"/>
                      </a:lnTo>
                      <a:lnTo>
                        <a:pt x="12473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Freeform 20">
                  <a:extLst>
                    <a:ext uri="{FF2B5EF4-FFF2-40B4-BE49-F238E27FC236}">
                      <a16:creationId xmlns:a16="http://schemas.microsoft.com/office/drawing/2014/main" id="{44D23DA8-7CE5-4F7D-A690-5B26A6C3FF2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2"/>
                  </p:custDataLst>
                </p:nvPr>
              </p:nvSpPr>
              <p:spPr>
                <a:xfrm>
                  <a:off x="4014709" y="3749880"/>
                  <a:ext cx="750864" cy="47759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9770" h="445097">
                      <a:moveTo>
                        <a:pt x="461371" y="172445"/>
                      </a:moveTo>
                      <a:lnTo>
                        <a:pt x="452414" y="194057"/>
                      </a:lnTo>
                      <a:lnTo>
                        <a:pt x="448377" y="211705"/>
                      </a:lnTo>
                      <a:lnTo>
                        <a:pt x="446690" y="244390"/>
                      </a:lnTo>
                      <a:lnTo>
                        <a:pt x="444466" y="256253"/>
                      </a:lnTo>
                      <a:lnTo>
                        <a:pt x="448467" y="269474"/>
                      </a:lnTo>
                      <a:lnTo>
                        <a:pt x="455625" y="281265"/>
                      </a:lnTo>
                      <a:lnTo>
                        <a:pt x="460233" y="299968"/>
                      </a:lnTo>
                      <a:lnTo>
                        <a:pt x="475554" y="317865"/>
                      </a:lnTo>
                      <a:lnTo>
                        <a:pt x="480943" y="331544"/>
                      </a:lnTo>
                      <a:lnTo>
                        <a:pt x="489973" y="343324"/>
                      </a:lnTo>
                      <a:lnTo>
                        <a:pt x="514483" y="349663"/>
                      </a:lnTo>
                      <a:lnTo>
                        <a:pt x="524024" y="359645"/>
                      </a:lnTo>
                      <a:lnTo>
                        <a:pt x="544269" y="352979"/>
                      </a:lnTo>
                      <a:lnTo>
                        <a:pt x="561871" y="350567"/>
                      </a:lnTo>
                      <a:lnTo>
                        <a:pt x="579154" y="346274"/>
                      </a:lnTo>
                      <a:lnTo>
                        <a:pt x="593684" y="342175"/>
                      </a:lnTo>
                      <a:lnTo>
                        <a:pt x="608365" y="332412"/>
                      </a:lnTo>
                      <a:lnTo>
                        <a:pt x="613865" y="318429"/>
                      </a:lnTo>
                      <a:lnTo>
                        <a:pt x="615760" y="298232"/>
                      </a:lnTo>
                      <a:lnTo>
                        <a:pt x="619750" y="291188"/>
                      </a:lnTo>
                      <a:lnTo>
                        <a:pt x="635384" y="284870"/>
                      </a:lnTo>
                      <a:lnTo>
                        <a:pt x="659793" y="279268"/>
                      </a:lnTo>
                      <a:lnTo>
                        <a:pt x="680232" y="280110"/>
                      </a:lnTo>
                      <a:lnTo>
                        <a:pt x="694232" y="278064"/>
                      </a:lnTo>
                      <a:lnTo>
                        <a:pt x="699769" y="283185"/>
                      </a:lnTo>
                      <a:lnTo>
                        <a:pt x="698986" y="294803"/>
                      </a:lnTo>
                      <a:lnTo>
                        <a:pt x="686582" y="309110"/>
                      </a:lnTo>
                      <a:lnTo>
                        <a:pt x="681094" y="323727"/>
                      </a:lnTo>
                      <a:lnTo>
                        <a:pt x="685348" y="327902"/>
                      </a:lnTo>
                      <a:lnTo>
                        <a:pt x="681890" y="338252"/>
                      </a:lnTo>
                      <a:lnTo>
                        <a:pt x="676105" y="356892"/>
                      </a:lnTo>
                      <a:lnTo>
                        <a:pt x="670254" y="350763"/>
                      </a:lnTo>
                      <a:lnTo>
                        <a:pt x="665421" y="351161"/>
                      </a:lnTo>
                      <a:lnTo>
                        <a:pt x="661034" y="351475"/>
                      </a:lnTo>
                      <a:lnTo>
                        <a:pt x="652765" y="365870"/>
                      </a:lnTo>
                      <a:lnTo>
                        <a:pt x="648575" y="363051"/>
                      </a:lnTo>
                      <a:lnTo>
                        <a:pt x="645781" y="364148"/>
                      </a:lnTo>
                      <a:lnTo>
                        <a:pt x="645962" y="367653"/>
                      </a:lnTo>
                      <a:lnTo>
                        <a:pt x="624614" y="367391"/>
                      </a:lnTo>
                      <a:lnTo>
                        <a:pt x="603064" y="367432"/>
                      </a:lnTo>
                      <a:lnTo>
                        <a:pt x="603047" y="380826"/>
                      </a:lnTo>
                      <a:lnTo>
                        <a:pt x="592621" y="380885"/>
                      </a:lnTo>
                      <a:lnTo>
                        <a:pt x="601214" y="388812"/>
                      </a:lnTo>
                      <a:lnTo>
                        <a:pt x="609751" y="394294"/>
                      </a:lnTo>
                      <a:lnTo>
                        <a:pt x="612312" y="399434"/>
                      </a:lnTo>
                      <a:lnTo>
                        <a:pt x="616052" y="400872"/>
                      </a:lnTo>
                      <a:lnTo>
                        <a:pt x="615460" y="408939"/>
                      </a:lnTo>
                      <a:lnTo>
                        <a:pt x="585834" y="409010"/>
                      </a:lnTo>
                      <a:lnTo>
                        <a:pt x="574725" y="428284"/>
                      </a:lnTo>
                      <a:lnTo>
                        <a:pt x="578003" y="432696"/>
                      </a:lnTo>
                      <a:lnTo>
                        <a:pt x="575325" y="438228"/>
                      </a:lnTo>
                      <a:lnTo>
                        <a:pt x="574759" y="445096"/>
                      </a:lnTo>
                      <a:lnTo>
                        <a:pt x="548636" y="419684"/>
                      </a:lnTo>
                      <a:lnTo>
                        <a:pt x="536733" y="412002"/>
                      </a:lnTo>
                      <a:lnTo>
                        <a:pt x="517886" y="405827"/>
                      </a:lnTo>
                      <a:lnTo>
                        <a:pt x="504992" y="407548"/>
                      </a:lnTo>
                      <a:lnTo>
                        <a:pt x="486453" y="416452"/>
                      </a:lnTo>
                      <a:lnTo>
                        <a:pt x="474818" y="418783"/>
                      </a:lnTo>
                      <a:lnTo>
                        <a:pt x="458518" y="412549"/>
                      </a:lnTo>
                      <a:lnTo>
                        <a:pt x="441219" y="408045"/>
                      </a:lnTo>
                      <a:lnTo>
                        <a:pt x="419645" y="397175"/>
                      </a:lnTo>
                      <a:lnTo>
                        <a:pt x="402340" y="393851"/>
                      </a:lnTo>
                      <a:lnTo>
                        <a:pt x="376208" y="382813"/>
                      </a:lnTo>
                      <a:lnTo>
                        <a:pt x="356897" y="371446"/>
                      </a:lnTo>
                      <a:lnTo>
                        <a:pt x="351070" y="365087"/>
                      </a:lnTo>
                      <a:lnTo>
                        <a:pt x="338153" y="363665"/>
                      </a:lnTo>
                      <a:lnTo>
                        <a:pt x="314543" y="356118"/>
                      </a:lnTo>
                      <a:lnTo>
                        <a:pt x="304928" y="345223"/>
                      </a:lnTo>
                      <a:lnTo>
                        <a:pt x="280126" y="331646"/>
                      </a:lnTo>
                      <a:lnTo>
                        <a:pt x="268561" y="316524"/>
                      </a:lnTo>
                      <a:lnTo>
                        <a:pt x="263059" y="304813"/>
                      </a:lnTo>
                      <a:lnTo>
                        <a:pt x="270760" y="302464"/>
                      </a:lnTo>
                      <a:lnTo>
                        <a:pt x="268385" y="295598"/>
                      </a:lnTo>
                      <a:lnTo>
                        <a:pt x="273692" y="289345"/>
                      </a:lnTo>
                      <a:lnTo>
                        <a:pt x="273806" y="280997"/>
                      </a:lnTo>
                      <a:lnTo>
                        <a:pt x="266019" y="270140"/>
                      </a:lnTo>
                      <a:lnTo>
                        <a:pt x="263936" y="260501"/>
                      </a:lnTo>
                      <a:lnTo>
                        <a:pt x="256196" y="248251"/>
                      </a:lnTo>
                      <a:lnTo>
                        <a:pt x="235854" y="224039"/>
                      </a:lnTo>
                      <a:lnTo>
                        <a:pt x="212645" y="204932"/>
                      </a:lnTo>
                      <a:lnTo>
                        <a:pt x="201417" y="189629"/>
                      </a:lnTo>
                      <a:lnTo>
                        <a:pt x="181605" y="179580"/>
                      </a:lnTo>
                      <a:lnTo>
                        <a:pt x="177360" y="173558"/>
                      </a:lnTo>
                      <a:lnTo>
                        <a:pt x="180879" y="158286"/>
                      </a:lnTo>
                      <a:lnTo>
                        <a:pt x="169111" y="152510"/>
                      </a:lnTo>
                      <a:lnTo>
                        <a:pt x="155486" y="140451"/>
                      </a:lnTo>
                      <a:lnTo>
                        <a:pt x="149732" y="123079"/>
                      </a:lnTo>
                      <a:lnTo>
                        <a:pt x="137316" y="121049"/>
                      </a:lnTo>
                      <a:lnTo>
                        <a:pt x="123912" y="107883"/>
                      </a:lnTo>
                      <a:lnTo>
                        <a:pt x="113095" y="95687"/>
                      </a:lnTo>
                      <a:lnTo>
                        <a:pt x="112088" y="87836"/>
                      </a:lnTo>
                      <a:lnTo>
                        <a:pt x="99675" y="68819"/>
                      </a:lnTo>
                      <a:lnTo>
                        <a:pt x="91499" y="49421"/>
                      </a:lnTo>
                      <a:lnTo>
                        <a:pt x="91848" y="39656"/>
                      </a:lnTo>
                      <a:lnTo>
                        <a:pt x="75155" y="29546"/>
                      </a:lnTo>
                      <a:lnTo>
                        <a:pt x="67449" y="30658"/>
                      </a:lnTo>
                      <a:lnTo>
                        <a:pt x="54275" y="23622"/>
                      </a:lnTo>
                      <a:lnTo>
                        <a:pt x="50576" y="33988"/>
                      </a:lnTo>
                      <a:lnTo>
                        <a:pt x="54395" y="46202"/>
                      </a:lnTo>
                      <a:lnTo>
                        <a:pt x="56642" y="65240"/>
                      </a:lnTo>
                      <a:lnTo>
                        <a:pt x="64558" y="75654"/>
                      </a:lnTo>
                      <a:lnTo>
                        <a:pt x="81687" y="92995"/>
                      </a:lnTo>
                      <a:lnTo>
                        <a:pt x="85492" y="98905"/>
                      </a:lnTo>
                      <a:lnTo>
                        <a:pt x="89002" y="100696"/>
                      </a:lnTo>
                      <a:lnTo>
                        <a:pt x="92048" y="109301"/>
                      </a:lnTo>
                      <a:lnTo>
                        <a:pt x="96150" y="108953"/>
                      </a:lnTo>
                      <a:lnTo>
                        <a:pt x="100783" y="125065"/>
                      </a:lnTo>
                      <a:lnTo>
                        <a:pt x="107793" y="131405"/>
                      </a:lnTo>
                      <a:lnTo>
                        <a:pt x="112709" y="140212"/>
                      </a:lnTo>
                      <a:lnTo>
                        <a:pt x="127215" y="152841"/>
                      </a:lnTo>
                      <a:lnTo>
                        <a:pt x="134874" y="175834"/>
                      </a:lnTo>
                      <a:lnTo>
                        <a:pt x="141727" y="186621"/>
                      </a:lnTo>
                      <a:lnTo>
                        <a:pt x="148139" y="198136"/>
                      </a:lnTo>
                      <a:lnTo>
                        <a:pt x="149408" y="211063"/>
                      </a:lnTo>
                      <a:lnTo>
                        <a:pt x="160538" y="211871"/>
                      </a:lnTo>
                      <a:lnTo>
                        <a:pt x="169794" y="222979"/>
                      </a:lnTo>
                      <a:lnTo>
                        <a:pt x="178168" y="233871"/>
                      </a:lnTo>
                      <a:lnTo>
                        <a:pt x="177607" y="238233"/>
                      </a:lnTo>
                      <a:lnTo>
                        <a:pt x="167893" y="247169"/>
                      </a:lnTo>
                      <a:lnTo>
                        <a:pt x="163803" y="247052"/>
                      </a:lnTo>
                      <a:lnTo>
                        <a:pt x="157717" y="232255"/>
                      </a:lnTo>
                      <a:lnTo>
                        <a:pt x="142611" y="218343"/>
                      </a:lnTo>
                      <a:lnTo>
                        <a:pt x="125967" y="206512"/>
                      </a:lnTo>
                      <a:lnTo>
                        <a:pt x="114161" y="200285"/>
                      </a:lnTo>
                      <a:lnTo>
                        <a:pt x="114924" y="182302"/>
                      </a:lnTo>
                      <a:lnTo>
                        <a:pt x="111421" y="168940"/>
                      </a:lnTo>
                      <a:lnTo>
                        <a:pt x="100421" y="161280"/>
                      </a:lnTo>
                      <a:lnTo>
                        <a:pt x="84554" y="150229"/>
                      </a:lnTo>
                      <a:lnTo>
                        <a:pt x="81506" y="153420"/>
                      </a:lnTo>
                      <a:lnTo>
                        <a:pt x="75684" y="146958"/>
                      </a:lnTo>
                      <a:lnTo>
                        <a:pt x="61447" y="140949"/>
                      </a:lnTo>
                      <a:lnTo>
                        <a:pt x="47842" y="126499"/>
                      </a:lnTo>
                      <a:lnTo>
                        <a:pt x="49524" y="124617"/>
                      </a:lnTo>
                      <a:lnTo>
                        <a:pt x="59032" y="126031"/>
                      </a:lnTo>
                      <a:lnTo>
                        <a:pt x="67596" y="116710"/>
                      </a:lnTo>
                      <a:lnTo>
                        <a:pt x="68458" y="105425"/>
                      </a:lnTo>
                      <a:lnTo>
                        <a:pt x="50688" y="87518"/>
                      </a:lnTo>
                      <a:lnTo>
                        <a:pt x="37143" y="80547"/>
                      </a:lnTo>
                      <a:lnTo>
                        <a:pt x="28632" y="64782"/>
                      </a:lnTo>
                      <a:lnTo>
                        <a:pt x="20069" y="48162"/>
                      </a:lnTo>
                      <a:lnTo>
                        <a:pt x="9377" y="27807"/>
                      </a:lnTo>
                      <a:lnTo>
                        <a:pt x="0" y="4768"/>
                      </a:lnTo>
                      <a:lnTo>
                        <a:pt x="26232" y="2788"/>
                      </a:lnTo>
                      <a:lnTo>
                        <a:pt x="55546" y="0"/>
                      </a:lnTo>
                      <a:lnTo>
                        <a:pt x="53385" y="5027"/>
                      </a:lnTo>
                      <a:lnTo>
                        <a:pt x="88240" y="17493"/>
                      </a:lnTo>
                      <a:lnTo>
                        <a:pt x="140900" y="35485"/>
                      </a:lnTo>
                      <a:lnTo>
                        <a:pt x="186803" y="35302"/>
                      </a:lnTo>
                      <a:lnTo>
                        <a:pt x="205109" y="35294"/>
                      </a:lnTo>
                      <a:lnTo>
                        <a:pt x="205154" y="24764"/>
                      </a:lnTo>
                      <a:lnTo>
                        <a:pt x="245142" y="24773"/>
                      </a:lnTo>
                      <a:lnTo>
                        <a:pt x="253560" y="33823"/>
                      </a:lnTo>
                      <a:lnTo>
                        <a:pt x="265363" y="41874"/>
                      </a:lnTo>
                      <a:lnTo>
                        <a:pt x="279079" y="53047"/>
                      </a:lnTo>
                      <a:lnTo>
                        <a:pt x="286734" y="66276"/>
                      </a:lnTo>
                      <a:lnTo>
                        <a:pt x="292476" y="80154"/>
                      </a:lnTo>
                      <a:lnTo>
                        <a:pt x="304409" y="87756"/>
                      </a:lnTo>
                      <a:lnTo>
                        <a:pt x="323568" y="95296"/>
                      </a:lnTo>
                      <a:lnTo>
                        <a:pt x="338110" y="75412"/>
                      </a:lnTo>
                      <a:lnTo>
                        <a:pt x="356982" y="74926"/>
                      </a:lnTo>
                      <a:lnTo>
                        <a:pt x="373251" y="84971"/>
                      </a:lnTo>
                      <a:lnTo>
                        <a:pt x="384833" y="102167"/>
                      </a:lnTo>
                      <a:lnTo>
                        <a:pt x="392816" y="116835"/>
                      </a:lnTo>
                      <a:lnTo>
                        <a:pt x="406435" y="131051"/>
                      </a:lnTo>
                      <a:lnTo>
                        <a:pt x="411513" y="148448"/>
                      </a:lnTo>
                      <a:lnTo>
                        <a:pt x="417976" y="160091"/>
                      </a:lnTo>
                      <a:lnTo>
                        <a:pt x="435981" y="167754"/>
                      </a:lnTo>
                      <a:lnTo>
                        <a:pt x="452369" y="173185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Freeform 21">
                  <a:extLst>
                    <a:ext uri="{FF2B5EF4-FFF2-40B4-BE49-F238E27FC236}">
                      <a16:creationId xmlns:a16="http://schemas.microsoft.com/office/drawing/2014/main" id="{A3CF2118-E5FD-4092-83E1-D2F8EC5EE38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3"/>
                  </p:custDataLst>
                </p:nvPr>
              </p:nvSpPr>
              <p:spPr>
                <a:xfrm>
                  <a:off x="4744358" y="4215393"/>
                  <a:ext cx="111984" cy="1079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4364" h="100649">
                      <a:moveTo>
                        <a:pt x="45149" y="92204"/>
                      </a:moveTo>
                      <a:lnTo>
                        <a:pt x="37163" y="84842"/>
                      </a:lnTo>
                      <a:lnTo>
                        <a:pt x="26375" y="75406"/>
                      </a:lnTo>
                      <a:lnTo>
                        <a:pt x="21294" y="67515"/>
                      </a:lnTo>
                      <a:lnTo>
                        <a:pt x="11564" y="60152"/>
                      </a:lnTo>
                      <a:lnTo>
                        <a:pt x="0" y="49561"/>
                      </a:lnTo>
                      <a:lnTo>
                        <a:pt x="2563" y="45932"/>
                      </a:lnTo>
                      <a:lnTo>
                        <a:pt x="6373" y="49465"/>
                      </a:lnTo>
                      <a:lnTo>
                        <a:pt x="8121" y="47807"/>
                      </a:lnTo>
                      <a:lnTo>
                        <a:pt x="15297" y="46842"/>
                      </a:lnTo>
                      <a:lnTo>
                        <a:pt x="18188" y="41480"/>
                      </a:lnTo>
                      <a:lnTo>
                        <a:pt x="21575" y="41271"/>
                      </a:lnTo>
                      <a:lnTo>
                        <a:pt x="21084" y="29715"/>
                      </a:lnTo>
                      <a:lnTo>
                        <a:pt x="26494" y="29159"/>
                      </a:lnTo>
                      <a:lnTo>
                        <a:pt x="31308" y="29327"/>
                      </a:lnTo>
                      <a:lnTo>
                        <a:pt x="36291" y="23050"/>
                      </a:lnTo>
                      <a:lnTo>
                        <a:pt x="43100" y="27805"/>
                      </a:lnTo>
                      <a:lnTo>
                        <a:pt x="45469" y="24887"/>
                      </a:lnTo>
                      <a:lnTo>
                        <a:pt x="49722" y="22089"/>
                      </a:lnTo>
                      <a:lnTo>
                        <a:pt x="57779" y="15605"/>
                      </a:lnTo>
                      <a:lnTo>
                        <a:pt x="58163" y="10756"/>
                      </a:lnTo>
                      <a:lnTo>
                        <a:pt x="60377" y="10960"/>
                      </a:lnTo>
                      <a:lnTo>
                        <a:pt x="63339" y="5327"/>
                      </a:lnTo>
                      <a:lnTo>
                        <a:pt x="65750" y="4640"/>
                      </a:lnTo>
                      <a:lnTo>
                        <a:pt x="69685" y="8243"/>
                      </a:lnTo>
                      <a:lnTo>
                        <a:pt x="74307" y="9309"/>
                      </a:lnTo>
                      <a:lnTo>
                        <a:pt x="79408" y="6311"/>
                      </a:lnTo>
                      <a:lnTo>
                        <a:pt x="85239" y="6295"/>
                      </a:lnTo>
                      <a:lnTo>
                        <a:pt x="93252" y="3214"/>
                      </a:lnTo>
                      <a:lnTo>
                        <a:pt x="96451" y="0"/>
                      </a:lnTo>
                      <a:lnTo>
                        <a:pt x="104363" y="482"/>
                      </a:lnTo>
                      <a:lnTo>
                        <a:pt x="102378" y="2747"/>
                      </a:lnTo>
                      <a:lnTo>
                        <a:pt x="101202" y="8012"/>
                      </a:lnTo>
                      <a:lnTo>
                        <a:pt x="103557" y="16634"/>
                      </a:lnTo>
                      <a:lnTo>
                        <a:pt x="98240" y="24652"/>
                      </a:lnTo>
                      <a:lnTo>
                        <a:pt x="95762" y="34115"/>
                      </a:lnTo>
                      <a:lnTo>
                        <a:pt x="95015" y="44465"/>
                      </a:lnTo>
                      <a:lnTo>
                        <a:pt x="96254" y="50514"/>
                      </a:lnTo>
                      <a:lnTo>
                        <a:pt x="96836" y="61070"/>
                      </a:lnTo>
                      <a:lnTo>
                        <a:pt x="93309" y="63372"/>
                      </a:lnTo>
                      <a:lnTo>
                        <a:pt x="91151" y="73388"/>
                      </a:lnTo>
                      <a:lnTo>
                        <a:pt x="92738" y="79567"/>
                      </a:lnTo>
                      <a:lnTo>
                        <a:pt x="88015" y="85547"/>
                      </a:lnTo>
                      <a:lnTo>
                        <a:pt x="89089" y="91863"/>
                      </a:lnTo>
                      <a:lnTo>
                        <a:pt x="92628" y="95700"/>
                      </a:lnTo>
                      <a:lnTo>
                        <a:pt x="87101" y="100648"/>
                      </a:lnTo>
                      <a:lnTo>
                        <a:pt x="80289" y="99093"/>
                      </a:lnTo>
                      <a:lnTo>
                        <a:pt x="76463" y="94288"/>
                      </a:lnTo>
                      <a:lnTo>
                        <a:pt x="69142" y="92339"/>
                      </a:lnTo>
                      <a:lnTo>
                        <a:pt x="63835" y="95384"/>
                      </a:lnTo>
                      <a:lnTo>
                        <a:pt x="48627" y="8919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Freeform 22">
                  <a:extLst>
                    <a:ext uri="{FF2B5EF4-FFF2-40B4-BE49-F238E27FC236}">
                      <a16:creationId xmlns:a16="http://schemas.microsoft.com/office/drawing/2014/main" id="{D2E306F8-979B-460B-95EF-422C099C473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4"/>
                  </p:custDataLst>
                </p:nvPr>
              </p:nvSpPr>
              <p:spPr>
                <a:xfrm>
                  <a:off x="4860834" y="4351293"/>
                  <a:ext cx="141754" cy="5963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2108" h="55579">
                      <a:moveTo>
                        <a:pt x="117357" y="55503"/>
                      </a:moveTo>
                      <a:lnTo>
                        <a:pt x="109662" y="48809"/>
                      </a:lnTo>
                      <a:lnTo>
                        <a:pt x="104718" y="36275"/>
                      </a:lnTo>
                      <a:lnTo>
                        <a:pt x="110420" y="30068"/>
                      </a:lnTo>
                      <a:lnTo>
                        <a:pt x="104572" y="28476"/>
                      </a:lnTo>
                      <a:lnTo>
                        <a:pt x="100264" y="20794"/>
                      </a:lnTo>
                      <a:lnTo>
                        <a:pt x="88764" y="14328"/>
                      </a:lnTo>
                      <a:lnTo>
                        <a:pt x="78664" y="15811"/>
                      </a:lnTo>
                      <a:lnTo>
                        <a:pt x="73985" y="23901"/>
                      </a:lnTo>
                      <a:lnTo>
                        <a:pt x="64662" y="29740"/>
                      </a:lnTo>
                      <a:lnTo>
                        <a:pt x="59626" y="30551"/>
                      </a:lnTo>
                      <a:lnTo>
                        <a:pt x="57363" y="35386"/>
                      </a:lnTo>
                      <a:lnTo>
                        <a:pt x="68373" y="47990"/>
                      </a:lnTo>
                      <a:lnTo>
                        <a:pt x="62072" y="50956"/>
                      </a:lnTo>
                      <a:lnTo>
                        <a:pt x="58737" y="54394"/>
                      </a:lnTo>
                      <a:lnTo>
                        <a:pt x="47998" y="55578"/>
                      </a:lnTo>
                      <a:lnTo>
                        <a:pt x="44001" y="41712"/>
                      </a:lnTo>
                      <a:lnTo>
                        <a:pt x="40997" y="45660"/>
                      </a:lnTo>
                      <a:lnTo>
                        <a:pt x="33384" y="44297"/>
                      </a:lnTo>
                      <a:lnTo>
                        <a:pt x="28726" y="34953"/>
                      </a:lnTo>
                      <a:lnTo>
                        <a:pt x="19259" y="33410"/>
                      </a:lnTo>
                      <a:lnTo>
                        <a:pt x="13269" y="30691"/>
                      </a:lnTo>
                      <a:lnTo>
                        <a:pt x="3363" y="30726"/>
                      </a:lnTo>
                      <a:lnTo>
                        <a:pt x="2651" y="35769"/>
                      </a:lnTo>
                      <a:lnTo>
                        <a:pt x="0" y="32256"/>
                      </a:lnTo>
                      <a:lnTo>
                        <a:pt x="1215" y="27644"/>
                      </a:lnTo>
                      <a:lnTo>
                        <a:pt x="3140" y="22930"/>
                      </a:lnTo>
                      <a:lnTo>
                        <a:pt x="2242" y="18721"/>
                      </a:lnTo>
                      <a:lnTo>
                        <a:pt x="5692" y="15966"/>
                      </a:lnTo>
                      <a:lnTo>
                        <a:pt x="892" y="12508"/>
                      </a:lnTo>
                      <a:lnTo>
                        <a:pt x="759" y="3139"/>
                      </a:lnTo>
                      <a:lnTo>
                        <a:pt x="9685" y="1059"/>
                      </a:lnTo>
                      <a:lnTo>
                        <a:pt x="17974" y="9410"/>
                      </a:lnTo>
                      <a:lnTo>
                        <a:pt x="17501" y="14341"/>
                      </a:lnTo>
                      <a:lnTo>
                        <a:pt x="26712" y="15387"/>
                      </a:lnTo>
                      <a:lnTo>
                        <a:pt x="28891" y="13494"/>
                      </a:lnTo>
                      <a:lnTo>
                        <a:pt x="35236" y="19210"/>
                      </a:lnTo>
                      <a:lnTo>
                        <a:pt x="46592" y="17529"/>
                      </a:lnTo>
                      <a:lnTo>
                        <a:pt x="56411" y="11653"/>
                      </a:lnTo>
                      <a:lnTo>
                        <a:pt x="70430" y="6959"/>
                      </a:lnTo>
                      <a:lnTo>
                        <a:pt x="78308" y="0"/>
                      </a:lnTo>
                      <a:lnTo>
                        <a:pt x="91052" y="1366"/>
                      </a:lnTo>
                      <a:lnTo>
                        <a:pt x="90192" y="3657"/>
                      </a:lnTo>
                      <a:lnTo>
                        <a:pt x="103062" y="4452"/>
                      </a:lnTo>
                      <a:lnTo>
                        <a:pt x="113333" y="8473"/>
                      </a:lnTo>
                      <a:lnTo>
                        <a:pt x="120867" y="15474"/>
                      </a:lnTo>
                      <a:lnTo>
                        <a:pt x="129550" y="21901"/>
                      </a:lnTo>
                      <a:lnTo>
                        <a:pt x="126748" y="25301"/>
                      </a:lnTo>
                      <a:lnTo>
                        <a:pt x="132107" y="38987"/>
                      </a:lnTo>
                      <a:lnTo>
                        <a:pt x="127755" y="45889"/>
                      </a:lnTo>
                      <a:lnTo>
                        <a:pt x="120316" y="4422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Freeform 23">
                  <a:extLst>
                    <a:ext uri="{FF2B5EF4-FFF2-40B4-BE49-F238E27FC236}">
                      <a16:creationId xmlns:a16="http://schemas.microsoft.com/office/drawing/2014/main" id="{96447D2A-129F-47F3-847F-D9A739E6910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5"/>
                  </p:custDataLst>
                </p:nvPr>
              </p:nvSpPr>
              <p:spPr>
                <a:xfrm>
                  <a:off x="4899344" y="4591489"/>
                  <a:ext cx="315692" cy="45808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4210" h="426911">
                      <a:moveTo>
                        <a:pt x="272849" y="408611"/>
                      </a:moveTo>
                      <a:lnTo>
                        <a:pt x="266663" y="420822"/>
                      </a:lnTo>
                      <a:lnTo>
                        <a:pt x="254795" y="426910"/>
                      </a:lnTo>
                      <a:lnTo>
                        <a:pt x="231651" y="413224"/>
                      </a:lnTo>
                      <a:lnTo>
                        <a:pt x="229647" y="403460"/>
                      </a:lnTo>
                      <a:lnTo>
                        <a:pt x="183886" y="379625"/>
                      </a:lnTo>
                      <a:lnTo>
                        <a:pt x="142491" y="353751"/>
                      </a:lnTo>
                      <a:lnTo>
                        <a:pt x="124687" y="339207"/>
                      </a:lnTo>
                      <a:lnTo>
                        <a:pt x="115124" y="319755"/>
                      </a:lnTo>
                      <a:lnTo>
                        <a:pt x="118915" y="312981"/>
                      </a:lnTo>
                      <a:lnTo>
                        <a:pt x="99365" y="282192"/>
                      </a:lnTo>
                      <a:lnTo>
                        <a:pt x="76607" y="239068"/>
                      </a:lnTo>
                      <a:lnTo>
                        <a:pt x="54798" y="192708"/>
                      </a:lnTo>
                      <a:lnTo>
                        <a:pt x="45358" y="182120"/>
                      </a:lnTo>
                      <a:lnTo>
                        <a:pt x="38095" y="165024"/>
                      </a:lnTo>
                      <a:lnTo>
                        <a:pt x="20162" y="149889"/>
                      </a:lnTo>
                      <a:lnTo>
                        <a:pt x="3715" y="140508"/>
                      </a:lnTo>
                      <a:lnTo>
                        <a:pt x="11186" y="130171"/>
                      </a:lnTo>
                      <a:lnTo>
                        <a:pt x="0" y="108096"/>
                      </a:lnTo>
                      <a:lnTo>
                        <a:pt x="7185" y="91900"/>
                      </a:lnTo>
                      <a:lnTo>
                        <a:pt x="25584" y="77302"/>
                      </a:lnTo>
                      <a:lnTo>
                        <a:pt x="28321" y="86924"/>
                      </a:lnTo>
                      <a:lnTo>
                        <a:pt x="21736" y="92429"/>
                      </a:lnTo>
                      <a:lnTo>
                        <a:pt x="22360" y="100902"/>
                      </a:lnTo>
                      <a:lnTo>
                        <a:pt x="31901" y="99061"/>
                      </a:lnTo>
                      <a:lnTo>
                        <a:pt x="41225" y="101561"/>
                      </a:lnTo>
                      <a:lnTo>
                        <a:pt x="50912" y="113241"/>
                      </a:lnTo>
                      <a:lnTo>
                        <a:pt x="63963" y="103725"/>
                      </a:lnTo>
                      <a:lnTo>
                        <a:pt x="68331" y="88124"/>
                      </a:lnTo>
                      <a:lnTo>
                        <a:pt x="82475" y="68018"/>
                      </a:lnTo>
                      <a:lnTo>
                        <a:pt x="110233" y="58908"/>
                      </a:lnTo>
                      <a:lnTo>
                        <a:pt x="135402" y="34728"/>
                      </a:lnTo>
                      <a:lnTo>
                        <a:pt x="142587" y="19718"/>
                      </a:lnTo>
                      <a:lnTo>
                        <a:pt x="139367" y="2189"/>
                      </a:lnTo>
                      <a:lnTo>
                        <a:pt x="145521" y="0"/>
                      </a:lnTo>
                      <a:lnTo>
                        <a:pt x="160871" y="10932"/>
                      </a:lnTo>
                      <a:lnTo>
                        <a:pt x="168239" y="21828"/>
                      </a:lnTo>
                      <a:lnTo>
                        <a:pt x="178924" y="27777"/>
                      </a:lnTo>
                      <a:lnTo>
                        <a:pt x="192522" y="51986"/>
                      </a:lnTo>
                      <a:lnTo>
                        <a:pt x="209710" y="54879"/>
                      </a:lnTo>
                      <a:lnTo>
                        <a:pt x="222429" y="48772"/>
                      </a:lnTo>
                      <a:lnTo>
                        <a:pt x="230765" y="52767"/>
                      </a:lnTo>
                      <a:lnTo>
                        <a:pt x="244618" y="50783"/>
                      </a:lnTo>
                      <a:lnTo>
                        <a:pt x="262294" y="61599"/>
                      </a:lnTo>
                      <a:lnTo>
                        <a:pt x="247406" y="85115"/>
                      </a:lnTo>
                      <a:lnTo>
                        <a:pt x="254300" y="85663"/>
                      </a:lnTo>
                      <a:lnTo>
                        <a:pt x="265850" y="97953"/>
                      </a:lnTo>
                      <a:lnTo>
                        <a:pt x="245050" y="96868"/>
                      </a:lnTo>
                      <a:lnTo>
                        <a:pt x="241955" y="100344"/>
                      </a:lnTo>
                      <a:lnTo>
                        <a:pt x="223037" y="104794"/>
                      </a:lnTo>
                      <a:lnTo>
                        <a:pt x="196642" y="120541"/>
                      </a:lnTo>
                      <a:lnTo>
                        <a:pt x="194966" y="131345"/>
                      </a:lnTo>
                      <a:lnTo>
                        <a:pt x="189076" y="139404"/>
                      </a:lnTo>
                      <a:lnTo>
                        <a:pt x="191377" y="151935"/>
                      </a:lnTo>
                      <a:lnTo>
                        <a:pt x="177424" y="158628"/>
                      </a:lnTo>
                      <a:lnTo>
                        <a:pt x="177449" y="168427"/>
                      </a:lnTo>
                      <a:lnTo>
                        <a:pt x="171359" y="172670"/>
                      </a:lnTo>
                      <a:lnTo>
                        <a:pt x="180965" y="193589"/>
                      </a:lnTo>
                      <a:lnTo>
                        <a:pt x="193792" y="207737"/>
                      </a:lnTo>
                      <a:lnTo>
                        <a:pt x="188914" y="217731"/>
                      </a:lnTo>
                      <a:lnTo>
                        <a:pt x="204233" y="219081"/>
                      </a:lnTo>
                      <a:lnTo>
                        <a:pt x="212962" y="231509"/>
                      </a:lnTo>
                      <a:lnTo>
                        <a:pt x="233332" y="232112"/>
                      </a:lnTo>
                      <a:lnTo>
                        <a:pt x="252272" y="218381"/>
                      </a:lnTo>
                      <a:lnTo>
                        <a:pt x="250730" y="253807"/>
                      </a:lnTo>
                      <a:lnTo>
                        <a:pt x="261231" y="256489"/>
                      </a:lnTo>
                      <a:lnTo>
                        <a:pt x="274251" y="252466"/>
                      </a:lnTo>
                      <a:lnTo>
                        <a:pt x="294209" y="290126"/>
                      </a:lnTo>
                      <a:lnTo>
                        <a:pt x="289246" y="298063"/>
                      </a:lnTo>
                      <a:lnTo>
                        <a:pt x="288111" y="314571"/>
                      </a:lnTo>
                      <a:lnTo>
                        <a:pt x="287658" y="334596"/>
                      </a:lnTo>
                      <a:lnTo>
                        <a:pt x="278641" y="346375"/>
                      </a:lnTo>
                      <a:lnTo>
                        <a:pt x="282777" y="355128"/>
                      </a:lnTo>
                      <a:lnTo>
                        <a:pt x="277481" y="363073"/>
                      </a:lnTo>
                      <a:lnTo>
                        <a:pt x="287410" y="382975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Freeform 24">
                  <a:extLst>
                    <a:ext uri="{FF2B5EF4-FFF2-40B4-BE49-F238E27FC236}">
                      <a16:creationId xmlns:a16="http://schemas.microsoft.com/office/drawing/2014/main" id="{B88BC245-9780-44E5-A39E-FE0E7FAAF73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6"/>
                  </p:custDataLst>
                </p:nvPr>
              </p:nvSpPr>
              <p:spPr>
                <a:xfrm>
                  <a:off x="5363149" y="5075088"/>
                  <a:ext cx="207857" cy="21478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93713" h="200169">
                      <a:moveTo>
                        <a:pt x="0" y="70021"/>
                      </a:moveTo>
                      <a:lnTo>
                        <a:pt x="9091" y="41069"/>
                      </a:lnTo>
                      <a:lnTo>
                        <a:pt x="9674" y="28111"/>
                      </a:lnTo>
                      <a:lnTo>
                        <a:pt x="20745" y="6973"/>
                      </a:lnTo>
                      <a:lnTo>
                        <a:pt x="60972" y="0"/>
                      </a:lnTo>
                      <a:lnTo>
                        <a:pt x="82405" y="339"/>
                      </a:lnTo>
                      <a:lnTo>
                        <a:pt x="103908" y="12603"/>
                      </a:lnTo>
                      <a:lnTo>
                        <a:pt x="104302" y="20007"/>
                      </a:lnTo>
                      <a:lnTo>
                        <a:pt x="111128" y="33382"/>
                      </a:lnTo>
                      <a:lnTo>
                        <a:pt x="109594" y="66172"/>
                      </a:lnTo>
                      <a:lnTo>
                        <a:pt x="133961" y="70824"/>
                      </a:lnTo>
                      <a:lnTo>
                        <a:pt x="143383" y="66077"/>
                      </a:lnTo>
                      <a:lnTo>
                        <a:pt x="158972" y="72638"/>
                      </a:lnTo>
                      <a:lnTo>
                        <a:pt x="163295" y="79887"/>
                      </a:lnTo>
                      <a:lnTo>
                        <a:pt x="165443" y="102192"/>
                      </a:lnTo>
                      <a:lnTo>
                        <a:pt x="168141" y="111589"/>
                      </a:lnTo>
                      <a:lnTo>
                        <a:pt x="176747" y="112673"/>
                      </a:lnTo>
                      <a:lnTo>
                        <a:pt x="185405" y="108723"/>
                      </a:lnTo>
                      <a:lnTo>
                        <a:pt x="193712" y="113156"/>
                      </a:lnTo>
                      <a:lnTo>
                        <a:pt x="193700" y="126613"/>
                      </a:lnTo>
                      <a:lnTo>
                        <a:pt x="190573" y="141130"/>
                      </a:lnTo>
                      <a:lnTo>
                        <a:pt x="186041" y="155338"/>
                      </a:lnTo>
                      <a:lnTo>
                        <a:pt x="182267" y="177151"/>
                      </a:lnTo>
                      <a:lnTo>
                        <a:pt x="161329" y="196169"/>
                      </a:lnTo>
                      <a:lnTo>
                        <a:pt x="143074" y="200168"/>
                      </a:lnTo>
                      <a:lnTo>
                        <a:pt x="117151" y="196370"/>
                      </a:lnTo>
                      <a:lnTo>
                        <a:pt x="93874" y="189603"/>
                      </a:lnTo>
                      <a:lnTo>
                        <a:pt x="116599" y="151996"/>
                      </a:lnTo>
                      <a:lnTo>
                        <a:pt x="113286" y="141134"/>
                      </a:lnTo>
                      <a:lnTo>
                        <a:pt x="89512" y="131534"/>
                      </a:lnTo>
                      <a:lnTo>
                        <a:pt x="61309" y="113444"/>
                      </a:lnTo>
                      <a:lnTo>
                        <a:pt x="42437" y="109727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Freeform 25">
                  <a:extLst>
                    <a:ext uri="{FF2B5EF4-FFF2-40B4-BE49-F238E27FC236}">
                      <a16:creationId xmlns:a16="http://schemas.microsoft.com/office/drawing/2014/main" id="{EBD4AD95-E321-4ACD-9F2B-701098748DE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7"/>
                  </p:custDataLst>
                </p:nvPr>
              </p:nvSpPr>
              <p:spPr>
                <a:xfrm>
                  <a:off x="4684244" y="4230375"/>
                  <a:ext cx="58752" cy="3217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4754" h="29988">
                      <a:moveTo>
                        <a:pt x="53146" y="24458"/>
                      </a:moveTo>
                      <a:lnTo>
                        <a:pt x="50584" y="29987"/>
                      </a:lnTo>
                      <a:lnTo>
                        <a:pt x="37215" y="29637"/>
                      </a:lnTo>
                      <a:lnTo>
                        <a:pt x="28907" y="27388"/>
                      </a:lnTo>
                      <a:lnTo>
                        <a:pt x="19362" y="22718"/>
                      </a:lnTo>
                      <a:lnTo>
                        <a:pt x="6536" y="21259"/>
                      </a:lnTo>
                      <a:lnTo>
                        <a:pt x="0" y="16212"/>
                      </a:lnTo>
                      <a:lnTo>
                        <a:pt x="713" y="12763"/>
                      </a:lnTo>
                      <a:lnTo>
                        <a:pt x="8624" y="6827"/>
                      </a:lnTo>
                      <a:lnTo>
                        <a:pt x="12957" y="4224"/>
                      </a:lnTo>
                      <a:lnTo>
                        <a:pt x="11731" y="1450"/>
                      </a:lnTo>
                      <a:lnTo>
                        <a:pt x="17133" y="0"/>
                      </a:lnTo>
                      <a:lnTo>
                        <a:pt x="23938" y="1981"/>
                      </a:lnTo>
                      <a:lnTo>
                        <a:pt x="28911" y="6679"/>
                      </a:lnTo>
                      <a:lnTo>
                        <a:pt x="35878" y="10453"/>
                      </a:lnTo>
                      <a:lnTo>
                        <a:pt x="36737" y="13621"/>
                      </a:lnTo>
                      <a:lnTo>
                        <a:pt x="46863" y="10818"/>
                      </a:lnTo>
                      <a:lnTo>
                        <a:pt x="51614" y="12496"/>
                      </a:lnTo>
                      <a:lnTo>
                        <a:pt x="54753" y="1504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26">
                  <a:extLst>
                    <a:ext uri="{FF2B5EF4-FFF2-40B4-BE49-F238E27FC236}">
                      <a16:creationId xmlns:a16="http://schemas.microsoft.com/office/drawing/2014/main" id="{4036C48C-3032-4AAD-9780-9F7092303A0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8"/>
                  </p:custDataLst>
                </p:nvPr>
              </p:nvSpPr>
              <p:spPr>
                <a:xfrm>
                  <a:off x="5478082" y="4440660"/>
                  <a:ext cx="101219" cy="10438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4331" h="97285">
                      <a:moveTo>
                        <a:pt x="20711" y="1208"/>
                      </a:moveTo>
                      <a:lnTo>
                        <a:pt x="48366" y="5846"/>
                      </a:lnTo>
                      <a:lnTo>
                        <a:pt x="50849" y="1672"/>
                      </a:lnTo>
                      <a:lnTo>
                        <a:pt x="69512" y="0"/>
                      </a:lnTo>
                      <a:lnTo>
                        <a:pt x="94330" y="6225"/>
                      </a:lnTo>
                      <a:lnTo>
                        <a:pt x="82314" y="26126"/>
                      </a:lnTo>
                      <a:lnTo>
                        <a:pt x="84139" y="41950"/>
                      </a:lnTo>
                      <a:lnTo>
                        <a:pt x="93202" y="55649"/>
                      </a:lnTo>
                      <a:lnTo>
                        <a:pt x="89167" y="65592"/>
                      </a:lnTo>
                      <a:lnTo>
                        <a:pt x="87137" y="76158"/>
                      </a:lnTo>
                      <a:lnTo>
                        <a:pt x="81249" y="85872"/>
                      </a:lnTo>
                      <a:lnTo>
                        <a:pt x="68027" y="80978"/>
                      </a:lnTo>
                      <a:lnTo>
                        <a:pt x="57128" y="83339"/>
                      </a:lnTo>
                      <a:lnTo>
                        <a:pt x="47812" y="81287"/>
                      </a:lnTo>
                      <a:lnTo>
                        <a:pt x="45504" y="87974"/>
                      </a:lnTo>
                      <a:lnTo>
                        <a:pt x="49376" y="92565"/>
                      </a:lnTo>
                      <a:lnTo>
                        <a:pt x="47296" y="97284"/>
                      </a:lnTo>
                      <a:lnTo>
                        <a:pt x="34746" y="95393"/>
                      </a:lnTo>
                      <a:lnTo>
                        <a:pt x="20649" y="75314"/>
                      </a:lnTo>
                      <a:lnTo>
                        <a:pt x="17618" y="62271"/>
                      </a:lnTo>
                      <a:lnTo>
                        <a:pt x="10228" y="62244"/>
                      </a:lnTo>
                      <a:lnTo>
                        <a:pt x="0" y="45459"/>
                      </a:lnTo>
                      <a:lnTo>
                        <a:pt x="4258" y="33528"/>
                      </a:lnTo>
                      <a:lnTo>
                        <a:pt x="3010" y="28073"/>
                      </a:lnTo>
                      <a:lnTo>
                        <a:pt x="17022" y="22035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Freeform 27">
                  <a:extLst>
                    <a:ext uri="{FF2B5EF4-FFF2-40B4-BE49-F238E27FC236}">
                      <a16:creationId xmlns:a16="http://schemas.microsoft.com/office/drawing/2014/main" id="{FEB452A7-4301-4A10-88A5-3137EACC48D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9"/>
                  </p:custDataLst>
                </p:nvPr>
              </p:nvSpPr>
              <p:spPr>
                <a:xfrm>
                  <a:off x="5381354" y="4319302"/>
                  <a:ext cx="26131" cy="222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353" h="20765">
                      <a:moveTo>
                        <a:pt x="6232" y="3035"/>
                      </a:moveTo>
                      <a:lnTo>
                        <a:pt x="19505" y="0"/>
                      </a:lnTo>
                      <a:lnTo>
                        <a:pt x="24352" y="817"/>
                      </a:lnTo>
                      <a:lnTo>
                        <a:pt x="23429" y="18200"/>
                      </a:lnTo>
                      <a:lnTo>
                        <a:pt x="4155" y="20764"/>
                      </a:lnTo>
                      <a:lnTo>
                        <a:pt x="0" y="18666"/>
                      </a:lnTo>
                      <a:lnTo>
                        <a:pt x="6694" y="1225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form 28">
                  <a:extLst>
                    <a:ext uri="{FF2B5EF4-FFF2-40B4-BE49-F238E27FC236}">
                      <a16:creationId xmlns:a16="http://schemas.microsoft.com/office/drawing/2014/main" id="{FDD20C05-57E0-428B-905F-D2DEA5153D9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0"/>
                  </p:custDataLst>
                </p:nvPr>
              </p:nvSpPr>
              <p:spPr>
                <a:xfrm>
                  <a:off x="5468611" y="5358823"/>
                  <a:ext cx="129229" cy="13352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0435" h="124438">
                      <a:moveTo>
                        <a:pt x="18511" y="2696"/>
                      </a:moveTo>
                      <a:lnTo>
                        <a:pt x="33494" y="0"/>
                      </a:lnTo>
                      <a:lnTo>
                        <a:pt x="56641" y="19602"/>
                      </a:lnTo>
                      <a:lnTo>
                        <a:pt x="65222" y="18861"/>
                      </a:lnTo>
                      <a:lnTo>
                        <a:pt x="88975" y="35169"/>
                      </a:lnTo>
                      <a:lnTo>
                        <a:pt x="107084" y="49294"/>
                      </a:lnTo>
                      <a:lnTo>
                        <a:pt x="120434" y="66756"/>
                      </a:lnTo>
                      <a:lnTo>
                        <a:pt x="110255" y="78977"/>
                      </a:lnTo>
                      <a:lnTo>
                        <a:pt x="116647" y="93622"/>
                      </a:lnTo>
                      <a:lnTo>
                        <a:pt x="106657" y="109941"/>
                      </a:lnTo>
                      <a:lnTo>
                        <a:pt x="80587" y="124437"/>
                      </a:lnTo>
                      <a:lnTo>
                        <a:pt x="63547" y="119215"/>
                      </a:lnTo>
                      <a:lnTo>
                        <a:pt x="51054" y="122013"/>
                      </a:lnTo>
                      <a:lnTo>
                        <a:pt x="29717" y="110817"/>
                      </a:lnTo>
                      <a:lnTo>
                        <a:pt x="14063" y="111653"/>
                      </a:lnTo>
                      <a:lnTo>
                        <a:pt x="0" y="97279"/>
                      </a:lnTo>
                      <a:lnTo>
                        <a:pt x="1788" y="80556"/>
                      </a:lnTo>
                      <a:lnTo>
                        <a:pt x="6796" y="74813"/>
                      </a:lnTo>
                      <a:lnTo>
                        <a:pt x="6570" y="49224"/>
                      </a:lnTo>
                      <a:lnTo>
                        <a:pt x="12745" y="22995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Freeform 29">
                  <a:extLst>
                    <a:ext uri="{FF2B5EF4-FFF2-40B4-BE49-F238E27FC236}">
                      <a16:creationId xmlns:a16="http://schemas.microsoft.com/office/drawing/2014/main" id="{5572C413-7156-42A5-8BE8-EDB6E3FC0D7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1"/>
                  </p:custDataLst>
                </p:nvPr>
              </p:nvSpPr>
              <p:spPr>
                <a:xfrm>
                  <a:off x="2660804" y="2426929"/>
                  <a:ext cx="2630371" cy="1713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1383" h="1597290">
                      <a:moveTo>
                        <a:pt x="2416535" y="1583598"/>
                      </a:moveTo>
                      <a:lnTo>
                        <a:pt x="2435423" y="1583737"/>
                      </a:lnTo>
                      <a:lnTo>
                        <a:pt x="2447221" y="1585840"/>
                      </a:lnTo>
                      <a:lnTo>
                        <a:pt x="2451383" y="1590580"/>
                      </a:lnTo>
                      <a:lnTo>
                        <a:pt x="2445470" y="1596590"/>
                      </a:lnTo>
                      <a:lnTo>
                        <a:pt x="2428094" y="1596449"/>
                      </a:lnTo>
                      <a:lnTo>
                        <a:pt x="2414608" y="1597290"/>
                      </a:lnTo>
                      <a:lnTo>
                        <a:pt x="2413263" y="1587086"/>
                      </a:lnTo>
                      <a:close/>
                      <a:moveTo>
                        <a:pt x="367708" y="1541755"/>
                      </a:moveTo>
                      <a:lnTo>
                        <a:pt x="369463" y="1542200"/>
                      </a:lnTo>
                      <a:lnTo>
                        <a:pt x="378301" y="1546260"/>
                      </a:lnTo>
                      <a:lnTo>
                        <a:pt x="382401" y="1548343"/>
                      </a:lnTo>
                      <a:lnTo>
                        <a:pt x="386147" y="1551558"/>
                      </a:lnTo>
                      <a:lnTo>
                        <a:pt x="392029" y="1559961"/>
                      </a:lnTo>
                      <a:lnTo>
                        <a:pt x="391474" y="1561289"/>
                      </a:lnTo>
                      <a:lnTo>
                        <a:pt x="382455" y="1566404"/>
                      </a:lnTo>
                      <a:lnTo>
                        <a:pt x="375070" y="1570144"/>
                      </a:lnTo>
                      <a:lnTo>
                        <a:pt x="371699" y="1574145"/>
                      </a:lnTo>
                      <a:lnTo>
                        <a:pt x="365963" y="1570720"/>
                      </a:lnTo>
                      <a:lnTo>
                        <a:pt x="366623" y="1564030"/>
                      </a:lnTo>
                      <a:lnTo>
                        <a:pt x="362805" y="1555304"/>
                      </a:lnTo>
                      <a:lnTo>
                        <a:pt x="363954" y="1552635"/>
                      </a:lnTo>
                      <a:lnTo>
                        <a:pt x="367962" y="1548720"/>
                      </a:lnTo>
                      <a:lnTo>
                        <a:pt x="366369" y="1543997"/>
                      </a:lnTo>
                      <a:close/>
                      <a:moveTo>
                        <a:pt x="350361" y="1523812"/>
                      </a:moveTo>
                      <a:lnTo>
                        <a:pt x="358566" y="1526104"/>
                      </a:lnTo>
                      <a:lnTo>
                        <a:pt x="364601" y="1529800"/>
                      </a:lnTo>
                      <a:lnTo>
                        <a:pt x="362672" y="1532692"/>
                      </a:lnTo>
                      <a:lnTo>
                        <a:pt x="354934" y="1534414"/>
                      </a:lnTo>
                      <a:lnTo>
                        <a:pt x="350958" y="1529343"/>
                      </a:lnTo>
                      <a:lnTo>
                        <a:pt x="348305" y="1527385"/>
                      </a:lnTo>
                      <a:lnTo>
                        <a:pt x="348099" y="1525879"/>
                      </a:lnTo>
                      <a:close/>
                      <a:moveTo>
                        <a:pt x="335641" y="1518816"/>
                      </a:moveTo>
                      <a:lnTo>
                        <a:pt x="346999" y="1519848"/>
                      </a:lnTo>
                      <a:lnTo>
                        <a:pt x="346281" y="1522456"/>
                      </a:lnTo>
                      <a:lnTo>
                        <a:pt x="333912" y="1521755"/>
                      </a:lnTo>
                      <a:close/>
                      <a:moveTo>
                        <a:pt x="317754" y="1506800"/>
                      </a:moveTo>
                      <a:lnTo>
                        <a:pt x="319683" y="1508353"/>
                      </a:lnTo>
                      <a:lnTo>
                        <a:pt x="326349" y="1516340"/>
                      </a:lnTo>
                      <a:lnTo>
                        <a:pt x="325098" y="1517734"/>
                      </a:lnTo>
                      <a:lnTo>
                        <a:pt x="323446" y="1517424"/>
                      </a:lnTo>
                      <a:lnTo>
                        <a:pt x="315412" y="1516575"/>
                      </a:lnTo>
                      <a:lnTo>
                        <a:pt x="312477" y="1511098"/>
                      </a:lnTo>
                      <a:lnTo>
                        <a:pt x="311580" y="1510132"/>
                      </a:lnTo>
                      <a:close/>
                      <a:moveTo>
                        <a:pt x="281491" y="1494228"/>
                      </a:moveTo>
                      <a:lnTo>
                        <a:pt x="286812" y="1494742"/>
                      </a:lnTo>
                      <a:lnTo>
                        <a:pt x="287287" y="1500386"/>
                      </a:lnTo>
                      <a:lnTo>
                        <a:pt x="284549" y="1502783"/>
                      </a:lnTo>
                      <a:lnTo>
                        <a:pt x="276775" y="1498368"/>
                      </a:lnTo>
                      <a:lnTo>
                        <a:pt x="277969" y="1496602"/>
                      </a:lnTo>
                      <a:close/>
                      <a:moveTo>
                        <a:pt x="1776755" y="773070"/>
                      </a:moveTo>
                      <a:lnTo>
                        <a:pt x="1780854" y="789445"/>
                      </a:lnTo>
                      <a:lnTo>
                        <a:pt x="1788030" y="794473"/>
                      </a:lnTo>
                      <a:lnTo>
                        <a:pt x="1804148" y="796297"/>
                      </a:lnTo>
                      <a:lnTo>
                        <a:pt x="1827712" y="801015"/>
                      </a:lnTo>
                      <a:lnTo>
                        <a:pt x="1850102" y="810176"/>
                      </a:lnTo>
                      <a:lnTo>
                        <a:pt x="1868799" y="806338"/>
                      </a:lnTo>
                      <a:lnTo>
                        <a:pt x="1897191" y="814008"/>
                      </a:lnTo>
                      <a:lnTo>
                        <a:pt x="1904741" y="813719"/>
                      </a:lnTo>
                      <a:lnTo>
                        <a:pt x="1925395" y="805365"/>
                      </a:lnTo>
                      <a:lnTo>
                        <a:pt x="1947054" y="816069"/>
                      </a:lnTo>
                      <a:lnTo>
                        <a:pt x="1969624" y="827426"/>
                      </a:lnTo>
                      <a:lnTo>
                        <a:pt x="1988313" y="837172"/>
                      </a:lnTo>
                      <a:lnTo>
                        <a:pt x="2006231" y="846505"/>
                      </a:lnTo>
                      <a:lnTo>
                        <a:pt x="2008467" y="854148"/>
                      </a:lnTo>
                      <a:lnTo>
                        <a:pt x="2013903" y="857002"/>
                      </a:lnTo>
                      <a:lnTo>
                        <a:pt x="2012491" y="859873"/>
                      </a:lnTo>
                      <a:lnTo>
                        <a:pt x="2018682" y="860766"/>
                      </a:lnTo>
                      <a:lnTo>
                        <a:pt x="2023173" y="857769"/>
                      </a:lnTo>
                      <a:lnTo>
                        <a:pt x="2024333" y="864624"/>
                      </a:lnTo>
                      <a:lnTo>
                        <a:pt x="2028975" y="869202"/>
                      </a:lnTo>
                      <a:lnTo>
                        <a:pt x="2035314" y="869202"/>
                      </a:lnTo>
                      <a:lnTo>
                        <a:pt x="2038698" y="872728"/>
                      </a:lnTo>
                      <a:lnTo>
                        <a:pt x="2035852" y="877848"/>
                      </a:lnTo>
                      <a:lnTo>
                        <a:pt x="2059902" y="891321"/>
                      </a:lnTo>
                      <a:lnTo>
                        <a:pt x="2064823" y="917186"/>
                      </a:lnTo>
                      <a:lnTo>
                        <a:pt x="2069442" y="941733"/>
                      </a:lnTo>
                      <a:lnTo>
                        <a:pt x="2062693" y="958312"/>
                      </a:lnTo>
                      <a:lnTo>
                        <a:pt x="2051845" y="973656"/>
                      </a:lnTo>
                      <a:lnTo>
                        <a:pt x="2046766" y="983378"/>
                      </a:lnTo>
                      <a:lnTo>
                        <a:pt x="2046259" y="986270"/>
                      </a:lnTo>
                      <a:lnTo>
                        <a:pt x="2048848" y="990226"/>
                      </a:lnTo>
                      <a:lnTo>
                        <a:pt x="2056690" y="994586"/>
                      </a:lnTo>
                      <a:lnTo>
                        <a:pt x="2062479" y="994586"/>
                      </a:lnTo>
                      <a:lnTo>
                        <a:pt x="2089291" y="979798"/>
                      </a:lnTo>
                      <a:lnTo>
                        <a:pt x="2113073" y="975430"/>
                      </a:lnTo>
                      <a:lnTo>
                        <a:pt x="2143267" y="961566"/>
                      </a:lnTo>
                      <a:lnTo>
                        <a:pt x="2143714" y="958732"/>
                      </a:lnTo>
                      <a:lnTo>
                        <a:pt x="2141636" y="950190"/>
                      </a:lnTo>
                      <a:lnTo>
                        <a:pt x="2137904" y="944678"/>
                      </a:lnTo>
                      <a:lnTo>
                        <a:pt x="2148324" y="940213"/>
                      </a:lnTo>
                      <a:lnTo>
                        <a:pt x="2171000" y="940102"/>
                      </a:lnTo>
                      <a:lnTo>
                        <a:pt x="2192186" y="940109"/>
                      </a:lnTo>
                      <a:lnTo>
                        <a:pt x="2199574" y="929121"/>
                      </a:lnTo>
                      <a:lnTo>
                        <a:pt x="2202459" y="926920"/>
                      </a:lnTo>
                      <a:lnTo>
                        <a:pt x="2226853" y="906486"/>
                      </a:lnTo>
                      <a:lnTo>
                        <a:pt x="2237268" y="901239"/>
                      </a:lnTo>
                      <a:lnTo>
                        <a:pt x="2272334" y="901043"/>
                      </a:lnTo>
                      <a:lnTo>
                        <a:pt x="2314870" y="901019"/>
                      </a:lnTo>
                      <a:lnTo>
                        <a:pt x="2317180" y="893968"/>
                      </a:lnTo>
                      <a:lnTo>
                        <a:pt x="2324570" y="892531"/>
                      </a:lnTo>
                      <a:lnTo>
                        <a:pt x="2334377" y="888098"/>
                      </a:lnTo>
                      <a:lnTo>
                        <a:pt x="2342571" y="875024"/>
                      </a:lnTo>
                      <a:lnTo>
                        <a:pt x="2349612" y="852523"/>
                      </a:lnTo>
                      <a:lnTo>
                        <a:pt x="2367218" y="830518"/>
                      </a:lnTo>
                      <a:lnTo>
                        <a:pt x="2374887" y="838200"/>
                      </a:lnTo>
                      <a:lnTo>
                        <a:pt x="2390365" y="833237"/>
                      </a:lnTo>
                      <a:lnTo>
                        <a:pt x="2400613" y="841661"/>
                      </a:lnTo>
                      <a:lnTo>
                        <a:pt x="2400593" y="881129"/>
                      </a:lnTo>
                      <a:lnTo>
                        <a:pt x="2415687" y="897326"/>
                      </a:lnTo>
                      <a:lnTo>
                        <a:pt x="2419675" y="906678"/>
                      </a:lnTo>
                      <a:lnTo>
                        <a:pt x="2395026" y="920441"/>
                      </a:lnTo>
                      <a:lnTo>
                        <a:pt x="2371309" y="930207"/>
                      </a:lnTo>
                      <a:lnTo>
                        <a:pt x="2346930" y="938553"/>
                      </a:lnTo>
                      <a:lnTo>
                        <a:pt x="2334712" y="955227"/>
                      </a:lnTo>
                      <a:lnTo>
                        <a:pt x="2330801" y="961519"/>
                      </a:lnTo>
                      <a:lnTo>
                        <a:pt x="2330568" y="976298"/>
                      </a:lnTo>
                      <a:lnTo>
                        <a:pt x="2338185" y="990995"/>
                      </a:lnTo>
                      <a:lnTo>
                        <a:pt x="2347765" y="991687"/>
                      </a:lnTo>
                      <a:lnTo>
                        <a:pt x="2345341" y="981575"/>
                      </a:lnTo>
                      <a:lnTo>
                        <a:pt x="2352266" y="987734"/>
                      </a:lnTo>
                      <a:lnTo>
                        <a:pt x="2350418" y="995634"/>
                      </a:lnTo>
                      <a:lnTo>
                        <a:pt x="2334838" y="1000110"/>
                      </a:lnTo>
                      <a:lnTo>
                        <a:pt x="2323750" y="999574"/>
                      </a:lnTo>
                      <a:lnTo>
                        <a:pt x="2306677" y="1004382"/>
                      </a:lnTo>
                      <a:lnTo>
                        <a:pt x="2296636" y="1005759"/>
                      </a:lnTo>
                      <a:lnTo>
                        <a:pt x="2283216" y="1007117"/>
                      </a:lnTo>
                      <a:lnTo>
                        <a:pt x="2263974" y="1015074"/>
                      </a:lnTo>
                      <a:lnTo>
                        <a:pt x="2297877" y="1009899"/>
                      </a:lnTo>
                      <a:lnTo>
                        <a:pt x="2304715" y="1015104"/>
                      </a:lnTo>
                      <a:lnTo>
                        <a:pt x="2272400" y="1023326"/>
                      </a:lnTo>
                      <a:lnTo>
                        <a:pt x="2257696" y="1023380"/>
                      </a:lnTo>
                      <a:lnTo>
                        <a:pt x="2258381" y="1020019"/>
                      </a:lnTo>
                      <a:lnTo>
                        <a:pt x="2251355" y="1027606"/>
                      </a:lnTo>
                      <a:lnTo>
                        <a:pt x="2258148" y="1028860"/>
                      </a:lnTo>
                      <a:lnTo>
                        <a:pt x="2253163" y="1048425"/>
                      </a:lnTo>
                      <a:lnTo>
                        <a:pt x="2236367" y="1069254"/>
                      </a:lnTo>
                      <a:lnTo>
                        <a:pt x="2234650" y="1062318"/>
                      </a:lnTo>
                      <a:lnTo>
                        <a:pt x="2229581" y="1060911"/>
                      </a:lnTo>
                      <a:lnTo>
                        <a:pt x="2222009" y="1054141"/>
                      </a:lnTo>
                      <a:lnTo>
                        <a:pt x="2226811" y="1068702"/>
                      </a:lnTo>
                      <a:lnTo>
                        <a:pt x="2232540" y="1073499"/>
                      </a:lnTo>
                      <a:lnTo>
                        <a:pt x="2232888" y="1083662"/>
                      </a:lnTo>
                      <a:lnTo>
                        <a:pt x="2225485" y="1094080"/>
                      </a:lnTo>
                      <a:lnTo>
                        <a:pt x="2212495" y="1115387"/>
                      </a:lnTo>
                      <a:lnTo>
                        <a:pt x="2210393" y="1114331"/>
                      </a:lnTo>
                      <a:lnTo>
                        <a:pt x="2217531" y="1096180"/>
                      </a:lnTo>
                      <a:lnTo>
                        <a:pt x="2205740" y="1085942"/>
                      </a:lnTo>
                      <a:lnTo>
                        <a:pt x="2203036" y="1063572"/>
                      </a:lnTo>
                      <a:lnTo>
                        <a:pt x="2198588" y="1075234"/>
                      </a:lnTo>
                      <a:lnTo>
                        <a:pt x="2203513" y="1092267"/>
                      </a:lnTo>
                      <a:lnTo>
                        <a:pt x="2188263" y="1088067"/>
                      </a:lnTo>
                      <a:lnTo>
                        <a:pt x="2204153" y="1096691"/>
                      </a:lnTo>
                      <a:lnTo>
                        <a:pt x="2205143" y="1122041"/>
                      </a:lnTo>
                      <a:lnTo>
                        <a:pt x="2211766" y="1123876"/>
                      </a:lnTo>
                      <a:lnTo>
                        <a:pt x="2214161" y="1133042"/>
                      </a:lnTo>
                      <a:lnTo>
                        <a:pt x="2217405" y="1159407"/>
                      </a:lnTo>
                      <a:lnTo>
                        <a:pt x="2202732" y="1178836"/>
                      </a:lnTo>
                      <a:lnTo>
                        <a:pt x="2178854" y="1186569"/>
                      </a:lnTo>
                      <a:lnTo>
                        <a:pt x="2163681" y="1201815"/>
                      </a:lnTo>
                      <a:lnTo>
                        <a:pt x="2152154" y="1203478"/>
                      </a:lnTo>
                      <a:lnTo>
                        <a:pt x="2140467" y="1212991"/>
                      </a:lnTo>
                      <a:lnTo>
                        <a:pt x="2137168" y="1221658"/>
                      </a:lnTo>
                      <a:lnTo>
                        <a:pt x="2111829" y="1238365"/>
                      </a:lnTo>
                      <a:lnTo>
                        <a:pt x="2098818" y="1250572"/>
                      </a:lnTo>
                      <a:lnTo>
                        <a:pt x="2087939" y="1265718"/>
                      </a:lnTo>
                      <a:lnTo>
                        <a:pt x="2084382" y="1283795"/>
                      </a:lnTo>
                      <a:lnTo>
                        <a:pt x="2088460" y="1301384"/>
                      </a:lnTo>
                      <a:lnTo>
                        <a:pt x="2096163" y="1322949"/>
                      </a:lnTo>
                      <a:lnTo>
                        <a:pt x="2106422" y="1340707"/>
                      </a:lnTo>
                      <a:lnTo>
                        <a:pt x="2106551" y="1351512"/>
                      </a:lnTo>
                      <a:lnTo>
                        <a:pt x="2117479" y="1380385"/>
                      </a:lnTo>
                      <a:lnTo>
                        <a:pt x="2116753" y="1397082"/>
                      </a:lnTo>
                      <a:lnTo>
                        <a:pt x="2115748" y="1406687"/>
                      </a:lnTo>
                      <a:lnTo>
                        <a:pt x="2109989" y="1421726"/>
                      </a:lnTo>
                      <a:lnTo>
                        <a:pt x="2103088" y="1424827"/>
                      </a:lnTo>
                      <a:lnTo>
                        <a:pt x="2091729" y="1421846"/>
                      </a:lnTo>
                      <a:lnTo>
                        <a:pt x="2088084" y="1411046"/>
                      </a:lnTo>
                      <a:lnTo>
                        <a:pt x="2079313" y="1405374"/>
                      </a:lnTo>
                      <a:lnTo>
                        <a:pt x="2067079" y="1384105"/>
                      </a:lnTo>
                      <a:lnTo>
                        <a:pt x="2056342" y="1365100"/>
                      </a:lnTo>
                      <a:lnTo>
                        <a:pt x="2052877" y="1355350"/>
                      </a:lnTo>
                      <a:lnTo>
                        <a:pt x="2057615" y="1338757"/>
                      </a:lnTo>
                      <a:lnTo>
                        <a:pt x="2051152" y="1324959"/>
                      </a:lnTo>
                      <a:lnTo>
                        <a:pt x="2033157" y="1303884"/>
                      </a:lnTo>
                      <a:lnTo>
                        <a:pt x="2024146" y="1300007"/>
                      </a:lnTo>
                      <a:lnTo>
                        <a:pt x="2000859" y="1311465"/>
                      </a:lnTo>
                      <a:lnTo>
                        <a:pt x="1996727" y="1310205"/>
                      </a:lnTo>
                      <a:lnTo>
                        <a:pt x="1985526" y="1298424"/>
                      </a:lnTo>
                      <a:lnTo>
                        <a:pt x="1971055" y="1292162"/>
                      </a:lnTo>
                      <a:lnTo>
                        <a:pt x="1944964" y="1295344"/>
                      </a:lnTo>
                      <a:lnTo>
                        <a:pt x="1924479" y="1292545"/>
                      </a:lnTo>
                      <a:lnTo>
                        <a:pt x="1906874" y="1294290"/>
                      </a:lnTo>
                      <a:lnTo>
                        <a:pt x="1897333" y="1298237"/>
                      </a:lnTo>
                      <a:lnTo>
                        <a:pt x="1901490" y="1304954"/>
                      </a:lnTo>
                      <a:lnTo>
                        <a:pt x="1901115" y="1315182"/>
                      </a:lnTo>
                      <a:lnTo>
                        <a:pt x="1906016" y="1320155"/>
                      </a:lnTo>
                      <a:lnTo>
                        <a:pt x="1901617" y="1323461"/>
                      </a:lnTo>
                      <a:lnTo>
                        <a:pt x="1893052" y="1319751"/>
                      </a:lnTo>
                      <a:lnTo>
                        <a:pt x="1884388" y="1324521"/>
                      </a:lnTo>
                      <a:lnTo>
                        <a:pt x="1867640" y="1323740"/>
                      </a:lnTo>
                      <a:lnTo>
                        <a:pt x="1850407" y="1310435"/>
                      </a:lnTo>
                      <a:lnTo>
                        <a:pt x="1830273" y="1313578"/>
                      </a:lnTo>
                      <a:lnTo>
                        <a:pt x="1813484" y="1307742"/>
                      </a:lnTo>
                      <a:lnTo>
                        <a:pt x="1799126" y="1309511"/>
                      </a:lnTo>
                      <a:lnTo>
                        <a:pt x="1779700" y="1315399"/>
                      </a:lnTo>
                      <a:lnTo>
                        <a:pt x="1758689" y="1334030"/>
                      </a:lnTo>
                      <a:lnTo>
                        <a:pt x="1735750" y="1344827"/>
                      </a:lnTo>
                      <a:lnTo>
                        <a:pt x="1723147" y="1356753"/>
                      </a:lnTo>
                      <a:lnTo>
                        <a:pt x="1717838" y="1367963"/>
                      </a:lnTo>
                      <a:lnTo>
                        <a:pt x="1717608" y="1385096"/>
                      </a:lnTo>
                      <a:lnTo>
                        <a:pt x="1718761" y="1396977"/>
                      </a:lnTo>
                      <a:lnTo>
                        <a:pt x="1723147" y="1405374"/>
                      </a:lnTo>
                      <a:lnTo>
                        <a:pt x="1714145" y="1406114"/>
                      </a:lnTo>
                      <a:lnTo>
                        <a:pt x="1697757" y="1400683"/>
                      </a:lnTo>
                      <a:lnTo>
                        <a:pt x="1679752" y="1393020"/>
                      </a:lnTo>
                      <a:lnTo>
                        <a:pt x="1673289" y="1381377"/>
                      </a:lnTo>
                      <a:lnTo>
                        <a:pt x="1668211" y="1363980"/>
                      </a:lnTo>
                      <a:lnTo>
                        <a:pt x="1654592" y="1349764"/>
                      </a:lnTo>
                      <a:lnTo>
                        <a:pt x="1646609" y="1335096"/>
                      </a:lnTo>
                      <a:lnTo>
                        <a:pt x="1635027" y="1317900"/>
                      </a:lnTo>
                      <a:lnTo>
                        <a:pt x="1618758" y="1307855"/>
                      </a:lnTo>
                      <a:lnTo>
                        <a:pt x="1599886" y="1308341"/>
                      </a:lnTo>
                      <a:lnTo>
                        <a:pt x="1585344" y="1328225"/>
                      </a:lnTo>
                      <a:lnTo>
                        <a:pt x="1566185" y="1320685"/>
                      </a:lnTo>
                      <a:lnTo>
                        <a:pt x="1554252" y="1313083"/>
                      </a:lnTo>
                      <a:lnTo>
                        <a:pt x="1548510" y="1299205"/>
                      </a:lnTo>
                      <a:lnTo>
                        <a:pt x="1540855" y="1285976"/>
                      </a:lnTo>
                      <a:lnTo>
                        <a:pt x="1527139" y="1274803"/>
                      </a:lnTo>
                      <a:lnTo>
                        <a:pt x="1515336" y="1266752"/>
                      </a:lnTo>
                      <a:lnTo>
                        <a:pt x="1506918" y="1257702"/>
                      </a:lnTo>
                      <a:lnTo>
                        <a:pt x="1466930" y="1257693"/>
                      </a:lnTo>
                      <a:lnTo>
                        <a:pt x="1466885" y="1268223"/>
                      </a:lnTo>
                      <a:lnTo>
                        <a:pt x="1448579" y="1268231"/>
                      </a:lnTo>
                      <a:lnTo>
                        <a:pt x="1402676" y="1268414"/>
                      </a:lnTo>
                      <a:lnTo>
                        <a:pt x="1350016" y="1250422"/>
                      </a:lnTo>
                      <a:lnTo>
                        <a:pt x="1315161" y="1237956"/>
                      </a:lnTo>
                      <a:lnTo>
                        <a:pt x="1317322" y="1232929"/>
                      </a:lnTo>
                      <a:lnTo>
                        <a:pt x="1288008" y="1235717"/>
                      </a:lnTo>
                      <a:lnTo>
                        <a:pt x="1261776" y="1237697"/>
                      </a:lnTo>
                      <a:lnTo>
                        <a:pt x="1257894" y="1224550"/>
                      </a:lnTo>
                      <a:lnTo>
                        <a:pt x="1242935" y="1209698"/>
                      </a:lnTo>
                      <a:lnTo>
                        <a:pt x="1232165" y="1206599"/>
                      </a:lnTo>
                      <a:lnTo>
                        <a:pt x="1229642" y="1199160"/>
                      </a:lnTo>
                      <a:lnTo>
                        <a:pt x="1216690" y="1197856"/>
                      </a:lnTo>
                      <a:lnTo>
                        <a:pt x="1208430" y="1190826"/>
                      </a:lnTo>
                      <a:lnTo>
                        <a:pt x="1186988" y="1188259"/>
                      </a:lnTo>
                      <a:lnTo>
                        <a:pt x="1181100" y="1184053"/>
                      </a:lnTo>
                      <a:lnTo>
                        <a:pt x="1178296" y="1169731"/>
                      </a:lnTo>
                      <a:lnTo>
                        <a:pt x="1155900" y="1143336"/>
                      </a:lnTo>
                      <a:lnTo>
                        <a:pt x="1136675" y="1106470"/>
                      </a:lnTo>
                      <a:lnTo>
                        <a:pt x="1137493" y="1100287"/>
                      </a:lnTo>
                      <a:lnTo>
                        <a:pt x="1127310" y="1091451"/>
                      </a:lnTo>
                      <a:lnTo>
                        <a:pt x="1109444" y="1068926"/>
                      </a:lnTo>
                      <a:lnTo>
                        <a:pt x="1106259" y="1046857"/>
                      </a:lnTo>
                      <a:lnTo>
                        <a:pt x="1093958" y="1031985"/>
                      </a:lnTo>
                      <a:lnTo>
                        <a:pt x="1099018" y="1009280"/>
                      </a:lnTo>
                      <a:lnTo>
                        <a:pt x="1098214" y="985606"/>
                      </a:lnTo>
                      <a:lnTo>
                        <a:pt x="1090847" y="964292"/>
                      </a:lnTo>
                      <a:lnTo>
                        <a:pt x="1099866" y="937868"/>
                      </a:lnTo>
                      <a:lnTo>
                        <a:pt x="1102673" y="912191"/>
                      </a:lnTo>
                      <a:lnTo>
                        <a:pt x="1105480" y="886279"/>
                      </a:lnTo>
                      <a:lnTo>
                        <a:pt x="1101308" y="847533"/>
                      </a:lnTo>
                      <a:lnTo>
                        <a:pt x="1094014" y="822532"/>
                      </a:lnTo>
                      <a:lnTo>
                        <a:pt x="1087284" y="808865"/>
                      </a:lnTo>
                      <a:lnTo>
                        <a:pt x="1090079" y="803095"/>
                      </a:lnTo>
                      <a:lnTo>
                        <a:pt x="1123459" y="813124"/>
                      </a:lnTo>
                      <a:lnTo>
                        <a:pt x="1135754" y="840797"/>
                      </a:lnTo>
                      <a:lnTo>
                        <a:pt x="1141464" y="833087"/>
                      </a:lnTo>
                      <a:lnTo>
                        <a:pt x="1137771" y="808995"/>
                      </a:lnTo>
                      <a:lnTo>
                        <a:pt x="1129923" y="784684"/>
                      </a:lnTo>
                      <a:lnTo>
                        <a:pt x="1195477" y="784684"/>
                      </a:lnTo>
                      <a:lnTo>
                        <a:pt x="1264005" y="784684"/>
                      </a:lnTo>
                      <a:lnTo>
                        <a:pt x="1286696" y="784684"/>
                      </a:lnTo>
                      <a:lnTo>
                        <a:pt x="1357056" y="784684"/>
                      </a:lnTo>
                      <a:lnTo>
                        <a:pt x="1425150" y="784684"/>
                      </a:lnTo>
                      <a:lnTo>
                        <a:pt x="1494398" y="784684"/>
                      </a:lnTo>
                      <a:lnTo>
                        <a:pt x="1563686" y="784688"/>
                      </a:lnTo>
                      <a:lnTo>
                        <a:pt x="1642127" y="784684"/>
                      </a:lnTo>
                      <a:lnTo>
                        <a:pt x="1721099" y="784663"/>
                      </a:lnTo>
                      <a:lnTo>
                        <a:pt x="1768873" y="784684"/>
                      </a:lnTo>
                      <a:lnTo>
                        <a:pt x="1768941" y="773213"/>
                      </a:lnTo>
                      <a:close/>
                      <a:moveTo>
                        <a:pt x="428469" y="502080"/>
                      </a:moveTo>
                      <a:lnTo>
                        <a:pt x="443795" y="504339"/>
                      </a:lnTo>
                      <a:lnTo>
                        <a:pt x="453574" y="514689"/>
                      </a:lnTo>
                      <a:lnTo>
                        <a:pt x="433603" y="530447"/>
                      </a:lnTo>
                      <a:lnTo>
                        <a:pt x="410549" y="543008"/>
                      </a:lnTo>
                      <a:lnTo>
                        <a:pt x="398746" y="534511"/>
                      </a:lnTo>
                      <a:lnTo>
                        <a:pt x="395178" y="519006"/>
                      </a:lnTo>
                      <a:lnTo>
                        <a:pt x="416142" y="507173"/>
                      </a:lnTo>
                      <a:close/>
                      <a:moveTo>
                        <a:pt x="122876" y="419796"/>
                      </a:moveTo>
                      <a:lnTo>
                        <a:pt x="141189" y="422937"/>
                      </a:lnTo>
                      <a:lnTo>
                        <a:pt x="143388" y="436191"/>
                      </a:lnTo>
                      <a:lnTo>
                        <a:pt x="129225" y="441543"/>
                      </a:lnTo>
                      <a:lnTo>
                        <a:pt x="114092" y="435109"/>
                      </a:lnTo>
                      <a:lnTo>
                        <a:pt x="100083" y="425726"/>
                      </a:lnTo>
                      <a:close/>
                      <a:moveTo>
                        <a:pt x="1372" y="298556"/>
                      </a:moveTo>
                      <a:lnTo>
                        <a:pt x="15619" y="305529"/>
                      </a:lnTo>
                      <a:lnTo>
                        <a:pt x="30007" y="301766"/>
                      </a:lnTo>
                      <a:lnTo>
                        <a:pt x="48672" y="311413"/>
                      </a:lnTo>
                      <a:lnTo>
                        <a:pt x="71595" y="316282"/>
                      </a:lnTo>
                      <a:lnTo>
                        <a:pt x="69690" y="320242"/>
                      </a:lnTo>
                      <a:lnTo>
                        <a:pt x="52205" y="327917"/>
                      </a:lnTo>
                      <a:lnTo>
                        <a:pt x="34637" y="320030"/>
                      </a:lnTo>
                      <a:lnTo>
                        <a:pt x="25846" y="313429"/>
                      </a:lnTo>
                      <a:lnTo>
                        <a:pt x="5495" y="315543"/>
                      </a:lnTo>
                      <a:lnTo>
                        <a:pt x="0" y="312335"/>
                      </a:lnTo>
                      <a:close/>
                      <a:moveTo>
                        <a:pt x="351094" y="0"/>
                      </a:moveTo>
                      <a:lnTo>
                        <a:pt x="386019" y="8900"/>
                      </a:lnTo>
                      <a:lnTo>
                        <a:pt x="402722" y="27896"/>
                      </a:lnTo>
                      <a:lnTo>
                        <a:pt x="412974" y="19771"/>
                      </a:lnTo>
                      <a:lnTo>
                        <a:pt x="451984" y="22293"/>
                      </a:lnTo>
                      <a:lnTo>
                        <a:pt x="450599" y="31930"/>
                      </a:lnTo>
                      <a:lnTo>
                        <a:pt x="485916" y="39023"/>
                      </a:lnTo>
                      <a:lnTo>
                        <a:pt x="509460" y="34853"/>
                      </a:lnTo>
                      <a:lnTo>
                        <a:pt x="558087" y="47998"/>
                      </a:lnTo>
                      <a:lnTo>
                        <a:pt x="602484" y="51892"/>
                      </a:lnTo>
                      <a:lnTo>
                        <a:pt x="620257" y="57266"/>
                      </a:lnTo>
                      <a:lnTo>
                        <a:pt x="650970" y="50547"/>
                      </a:lnTo>
                      <a:lnTo>
                        <a:pt x="685985" y="62955"/>
                      </a:lnTo>
                      <a:lnTo>
                        <a:pt x="711065" y="68706"/>
                      </a:lnTo>
                      <a:lnTo>
                        <a:pt x="710914" y="215563"/>
                      </a:lnTo>
                      <a:lnTo>
                        <a:pt x="710793" y="422493"/>
                      </a:lnTo>
                      <a:lnTo>
                        <a:pt x="733524" y="423518"/>
                      </a:lnTo>
                      <a:lnTo>
                        <a:pt x="756006" y="433088"/>
                      </a:lnTo>
                      <a:lnTo>
                        <a:pt x="772120" y="448143"/>
                      </a:lnTo>
                      <a:lnTo>
                        <a:pt x="792627" y="470546"/>
                      </a:lnTo>
                      <a:lnTo>
                        <a:pt x="815081" y="451506"/>
                      </a:lnTo>
                      <a:lnTo>
                        <a:pt x="838254" y="440397"/>
                      </a:lnTo>
                      <a:lnTo>
                        <a:pt x="850507" y="458111"/>
                      </a:lnTo>
                      <a:lnTo>
                        <a:pt x="866062" y="472035"/>
                      </a:lnTo>
                      <a:lnTo>
                        <a:pt x="887196" y="487267"/>
                      </a:lnTo>
                      <a:lnTo>
                        <a:pt x="901625" y="511298"/>
                      </a:lnTo>
                      <a:lnTo>
                        <a:pt x="925230" y="549001"/>
                      </a:lnTo>
                      <a:lnTo>
                        <a:pt x="964471" y="569767"/>
                      </a:lnTo>
                      <a:lnTo>
                        <a:pt x="965112" y="590176"/>
                      </a:lnTo>
                      <a:lnTo>
                        <a:pt x="952276" y="605660"/>
                      </a:lnTo>
                      <a:lnTo>
                        <a:pt x="939587" y="593591"/>
                      </a:lnTo>
                      <a:lnTo>
                        <a:pt x="919242" y="583312"/>
                      </a:lnTo>
                      <a:lnTo>
                        <a:pt x="912714" y="554963"/>
                      </a:lnTo>
                      <a:lnTo>
                        <a:pt x="882957" y="528362"/>
                      </a:lnTo>
                      <a:lnTo>
                        <a:pt x="870518" y="496919"/>
                      </a:lnTo>
                      <a:lnTo>
                        <a:pt x="848355" y="494750"/>
                      </a:lnTo>
                      <a:lnTo>
                        <a:pt x="811657" y="493928"/>
                      </a:lnTo>
                      <a:lnTo>
                        <a:pt x="784605" y="484244"/>
                      </a:lnTo>
                      <a:lnTo>
                        <a:pt x="736876" y="448977"/>
                      </a:lnTo>
                      <a:lnTo>
                        <a:pt x="714774" y="442468"/>
                      </a:lnTo>
                      <a:lnTo>
                        <a:pt x="674399" y="430173"/>
                      </a:lnTo>
                      <a:lnTo>
                        <a:pt x="642442" y="433117"/>
                      </a:lnTo>
                      <a:lnTo>
                        <a:pt x="597046" y="417211"/>
                      </a:lnTo>
                      <a:lnTo>
                        <a:pt x="569605" y="402359"/>
                      </a:lnTo>
                      <a:lnTo>
                        <a:pt x="543985" y="409750"/>
                      </a:lnTo>
                      <a:lnTo>
                        <a:pt x="548745" y="433836"/>
                      </a:lnTo>
                      <a:lnTo>
                        <a:pt x="535986" y="436047"/>
                      </a:lnTo>
                      <a:lnTo>
                        <a:pt x="509279" y="443219"/>
                      </a:lnTo>
                      <a:lnTo>
                        <a:pt x="488957" y="454777"/>
                      </a:lnTo>
                      <a:lnTo>
                        <a:pt x="463378" y="462021"/>
                      </a:lnTo>
                      <a:lnTo>
                        <a:pt x="460076" y="441868"/>
                      </a:lnTo>
                      <a:lnTo>
                        <a:pt x="470457" y="407908"/>
                      </a:lnTo>
                      <a:lnTo>
                        <a:pt x="494989" y="397143"/>
                      </a:lnTo>
                      <a:lnTo>
                        <a:pt x="488660" y="388331"/>
                      </a:lnTo>
                      <a:lnTo>
                        <a:pt x="459236" y="407860"/>
                      </a:lnTo>
                      <a:lnTo>
                        <a:pt x="443482" y="430960"/>
                      </a:lnTo>
                      <a:lnTo>
                        <a:pt x="410224" y="455390"/>
                      </a:lnTo>
                      <a:lnTo>
                        <a:pt x="427113" y="471912"/>
                      </a:lnTo>
                      <a:lnTo>
                        <a:pt x="405300" y="496137"/>
                      </a:lnTo>
                      <a:lnTo>
                        <a:pt x="380486" y="510135"/>
                      </a:lnTo>
                      <a:lnTo>
                        <a:pt x="357384" y="520281"/>
                      </a:lnTo>
                      <a:lnTo>
                        <a:pt x="351665" y="534932"/>
                      </a:lnTo>
                      <a:lnTo>
                        <a:pt x="315630" y="551900"/>
                      </a:lnTo>
                      <a:lnTo>
                        <a:pt x="308334" y="567221"/>
                      </a:lnTo>
                      <a:lnTo>
                        <a:pt x="281326" y="581085"/>
                      </a:lnTo>
                      <a:lnTo>
                        <a:pt x="265483" y="578597"/>
                      </a:lnTo>
                      <a:lnTo>
                        <a:pt x="243939" y="587606"/>
                      </a:lnTo>
                      <a:lnTo>
                        <a:pt x="220517" y="598563"/>
                      </a:lnTo>
                      <a:lnTo>
                        <a:pt x="201319" y="609274"/>
                      </a:lnTo>
                      <a:lnTo>
                        <a:pt x="161707" y="618382"/>
                      </a:lnTo>
                      <a:lnTo>
                        <a:pt x="158091" y="613026"/>
                      </a:lnTo>
                      <a:lnTo>
                        <a:pt x="183340" y="598073"/>
                      </a:lnTo>
                      <a:lnTo>
                        <a:pt x="205923" y="588144"/>
                      </a:lnTo>
                      <a:lnTo>
                        <a:pt x="230525" y="570444"/>
                      </a:lnTo>
                      <a:lnTo>
                        <a:pt x="259161" y="566769"/>
                      </a:lnTo>
                      <a:lnTo>
                        <a:pt x="270542" y="553391"/>
                      </a:lnTo>
                      <a:lnTo>
                        <a:pt x="302537" y="533721"/>
                      </a:lnTo>
                      <a:lnTo>
                        <a:pt x="307693" y="527104"/>
                      </a:lnTo>
                      <a:lnTo>
                        <a:pt x="324735" y="515390"/>
                      </a:lnTo>
                      <a:lnTo>
                        <a:pt x="328716" y="490026"/>
                      </a:lnTo>
                      <a:lnTo>
                        <a:pt x="340456" y="470075"/>
                      </a:lnTo>
                      <a:lnTo>
                        <a:pt x="313841" y="480336"/>
                      </a:lnTo>
                      <a:lnTo>
                        <a:pt x="306397" y="474520"/>
                      </a:lnTo>
                      <a:lnTo>
                        <a:pt x="293900" y="486799"/>
                      </a:lnTo>
                      <a:lnTo>
                        <a:pt x="278826" y="469651"/>
                      </a:lnTo>
                      <a:lnTo>
                        <a:pt x="272602" y="481797"/>
                      </a:lnTo>
                      <a:lnTo>
                        <a:pt x="263970" y="464904"/>
                      </a:lnTo>
                      <a:lnTo>
                        <a:pt x="240893" y="478476"/>
                      </a:lnTo>
                      <a:lnTo>
                        <a:pt x="226723" y="478448"/>
                      </a:lnTo>
                      <a:lnTo>
                        <a:pt x="224736" y="458235"/>
                      </a:lnTo>
                      <a:lnTo>
                        <a:pt x="228909" y="445691"/>
                      </a:lnTo>
                      <a:lnTo>
                        <a:pt x="214047" y="433443"/>
                      </a:lnTo>
                      <a:lnTo>
                        <a:pt x="184033" y="440044"/>
                      </a:lnTo>
                      <a:lnTo>
                        <a:pt x="164554" y="423842"/>
                      </a:lnTo>
                      <a:lnTo>
                        <a:pt x="148761" y="415512"/>
                      </a:lnTo>
                      <a:lnTo>
                        <a:pt x="148659" y="395729"/>
                      </a:lnTo>
                      <a:lnTo>
                        <a:pt x="130872" y="380728"/>
                      </a:lnTo>
                      <a:lnTo>
                        <a:pt x="139804" y="360321"/>
                      </a:lnTo>
                      <a:lnTo>
                        <a:pt x="158622" y="340329"/>
                      </a:lnTo>
                      <a:lnTo>
                        <a:pt x="166855" y="321775"/>
                      </a:lnTo>
                      <a:lnTo>
                        <a:pt x="185534" y="319121"/>
                      </a:lnTo>
                      <a:lnTo>
                        <a:pt x="201370" y="324928"/>
                      </a:lnTo>
                      <a:lnTo>
                        <a:pt x="219991" y="307367"/>
                      </a:lnTo>
                      <a:lnTo>
                        <a:pt x="236751" y="310512"/>
                      </a:lnTo>
                      <a:lnTo>
                        <a:pt x="254339" y="299158"/>
                      </a:lnTo>
                      <a:lnTo>
                        <a:pt x="250050" y="282336"/>
                      </a:lnTo>
                      <a:lnTo>
                        <a:pt x="237129" y="275669"/>
                      </a:lnTo>
                      <a:lnTo>
                        <a:pt x="254217" y="261308"/>
                      </a:lnTo>
                      <a:lnTo>
                        <a:pt x="240041" y="261732"/>
                      </a:lnTo>
                      <a:lnTo>
                        <a:pt x="215547" y="269850"/>
                      </a:lnTo>
                      <a:lnTo>
                        <a:pt x="208513" y="278049"/>
                      </a:lnTo>
                      <a:lnTo>
                        <a:pt x="190310" y="269860"/>
                      </a:lnTo>
                      <a:lnTo>
                        <a:pt x="157661" y="274031"/>
                      </a:lnTo>
                      <a:lnTo>
                        <a:pt x="123857" y="265112"/>
                      </a:lnTo>
                      <a:lnTo>
                        <a:pt x="114169" y="250061"/>
                      </a:lnTo>
                      <a:lnTo>
                        <a:pt x="84957" y="228125"/>
                      </a:lnTo>
                      <a:lnTo>
                        <a:pt x="117395" y="212189"/>
                      </a:lnTo>
                      <a:lnTo>
                        <a:pt x="168882" y="193430"/>
                      </a:lnTo>
                      <a:lnTo>
                        <a:pt x="187861" y="193430"/>
                      </a:lnTo>
                      <a:lnTo>
                        <a:pt x="184719" y="212614"/>
                      </a:lnTo>
                      <a:lnTo>
                        <a:pt x="233443" y="211126"/>
                      </a:lnTo>
                      <a:lnTo>
                        <a:pt x="214701" y="187289"/>
                      </a:lnTo>
                      <a:lnTo>
                        <a:pt x="186309" y="172496"/>
                      </a:lnTo>
                      <a:lnTo>
                        <a:pt x="169891" y="152913"/>
                      </a:lnTo>
                      <a:lnTo>
                        <a:pt x="147748" y="136060"/>
                      </a:lnTo>
                      <a:lnTo>
                        <a:pt x="116029" y="123476"/>
                      </a:lnTo>
                      <a:lnTo>
                        <a:pt x="128949" y="102436"/>
                      </a:lnTo>
                      <a:lnTo>
                        <a:pt x="169895" y="101124"/>
                      </a:lnTo>
                      <a:lnTo>
                        <a:pt x="199030" y="82645"/>
                      </a:lnTo>
                      <a:lnTo>
                        <a:pt x="204525" y="62703"/>
                      </a:lnTo>
                      <a:lnTo>
                        <a:pt x="228108" y="43045"/>
                      </a:lnTo>
                      <a:lnTo>
                        <a:pt x="250593" y="38286"/>
                      </a:lnTo>
                      <a:lnTo>
                        <a:pt x="294349" y="19702"/>
                      </a:lnTo>
                      <a:lnTo>
                        <a:pt x="315572" y="22514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Freeform 30">
                  <a:extLst>
                    <a:ext uri="{FF2B5EF4-FFF2-40B4-BE49-F238E27FC236}">
                      <a16:creationId xmlns:a16="http://schemas.microsoft.com/office/drawing/2014/main" id="{B8D08EBC-D38C-4FE0-A5D3-991DFFB07D2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2"/>
                  </p:custDataLst>
                </p:nvPr>
              </p:nvSpPr>
              <p:spPr>
                <a:xfrm>
                  <a:off x="5100114" y="4287378"/>
                  <a:ext cx="335525" cy="28475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12694" h="265376">
                      <a:moveTo>
                        <a:pt x="45551" y="9036"/>
                      </a:moveTo>
                      <a:lnTo>
                        <a:pt x="44894" y="14563"/>
                      </a:lnTo>
                      <a:lnTo>
                        <a:pt x="31344" y="17292"/>
                      </a:lnTo>
                      <a:lnTo>
                        <a:pt x="38873" y="27897"/>
                      </a:lnTo>
                      <a:lnTo>
                        <a:pt x="38592" y="40105"/>
                      </a:lnTo>
                      <a:lnTo>
                        <a:pt x="28410" y="53648"/>
                      </a:lnTo>
                      <a:lnTo>
                        <a:pt x="37147" y="72123"/>
                      </a:lnTo>
                      <a:lnTo>
                        <a:pt x="47098" y="70612"/>
                      </a:lnTo>
                      <a:lnTo>
                        <a:pt x="52281" y="53780"/>
                      </a:lnTo>
                      <a:lnTo>
                        <a:pt x="45124" y="45576"/>
                      </a:lnTo>
                      <a:lnTo>
                        <a:pt x="43957" y="27909"/>
                      </a:lnTo>
                      <a:lnTo>
                        <a:pt x="72702" y="18410"/>
                      </a:lnTo>
                      <a:lnTo>
                        <a:pt x="69504" y="7386"/>
                      </a:lnTo>
                      <a:lnTo>
                        <a:pt x="77597" y="0"/>
                      </a:lnTo>
                      <a:lnTo>
                        <a:pt x="85883" y="16443"/>
                      </a:lnTo>
                      <a:lnTo>
                        <a:pt x="102071" y="16823"/>
                      </a:lnTo>
                      <a:lnTo>
                        <a:pt x="117068" y="29852"/>
                      </a:lnTo>
                      <a:lnTo>
                        <a:pt x="117971" y="37581"/>
                      </a:lnTo>
                      <a:lnTo>
                        <a:pt x="138697" y="37786"/>
                      </a:lnTo>
                      <a:lnTo>
                        <a:pt x="163358" y="35388"/>
                      </a:lnTo>
                      <a:lnTo>
                        <a:pt x="176576" y="45836"/>
                      </a:lnTo>
                      <a:lnTo>
                        <a:pt x="194229" y="48717"/>
                      </a:lnTo>
                      <a:lnTo>
                        <a:pt x="207178" y="41432"/>
                      </a:lnTo>
                      <a:lnTo>
                        <a:pt x="207443" y="35556"/>
                      </a:lnTo>
                      <a:lnTo>
                        <a:pt x="236035" y="34149"/>
                      </a:lnTo>
                      <a:lnTo>
                        <a:pt x="263697" y="33824"/>
                      </a:lnTo>
                      <a:lnTo>
                        <a:pt x="244095" y="40717"/>
                      </a:lnTo>
                      <a:lnTo>
                        <a:pt x="251981" y="51724"/>
                      </a:lnTo>
                      <a:lnTo>
                        <a:pt x="270441" y="53475"/>
                      </a:lnTo>
                      <a:lnTo>
                        <a:pt x="287942" y="64929"/>
                      </a:lnTo>
                      <a:lnTo>
                        <a:pt x="291620" y="83569"/>
                      </a:lnTo>
                      <a:lnTo>
                        <a:pt x="303649" y="83044"/>
                      </a:lnTo>
                      <a:lnTo>
                        <a:pt x="312693" y="88523"/>
                      </a:lnTo>
                      <a:lnTo>
                        <a:pt x="294405" y="102169"/>
                      </a:lnTo>
                      <a:lnTo>
                        <a:pt x="292388" y="110633"/>
                      </a:lnTo>
                      <a:lnTo>
                        <a:pt x="300289" y="119242"/>
                      </a:lnTo>
                      <a:lnTo>
                        <a:pt x="294557" y="123587"/>
                      </a:lnTo>
                      <a:lnTo>
                        <a:pt x="280353" y="127309"/>
                      </a:lnTo>
                      <a:lnTo>
                        <a:pt x="280813" y="138011"/>
                      </a:lnTo>
                      <a:lnTo>
                        <a:pt x="274560" y="144387"/>
                      </a:lnTo>
                      <a:lnTo>
                        <a:pt x="290181" y="161956"/>
                      </a:lnTo>
                      <a:lnTo>
                        <a:pt x="293237" y="168485"/>
                      </a:lnTo>
                      <a:lnTo>
                        <a:pt x="284796" y="177314"/>
                      </a:lnTo>
                      <a:lnTo>
                        <a:pt x="258977" y="185970"/>
                      </a:lnTo>
                      <a:lnTo>
                        <a:pt x="242378" y="189558"/>
                      </a:lnTo>
                      <a:lnTo>
                        <a:pt x="235715" y="195023"/>
                      </a:lnTo>
                      <a:lnTo>
                        <a:pt x="217360" y="189244"/>
                      </a:lnTo>
                      <a:lnTo>
                        <a:pt x="200272" y="186286"/>
                      </a:lnTo>
                      <a:lnTo>
                        <a:pt x="195946" y="188414"/>
                      </a:lnTo>
                      <a:lnTo>
                        <a:pt x="206277" y="194407"/>
                      </a:lnTo>
                      <a:lnTo>
                        <a:pt x="205346" y="209900"/>
                      </a:lnTo>
                      <a:lnTo>
                        <a:pt x="208551" y="224448"/>
                      </a:lnTo>
                      <a:lnTo>
                        <a:pt x="228105" y="226433"/>
                      </a:lnTo>
                      <a:lnTo>
                        <a:pt x="229353" y="231287"/>
                      </a:lnTo>
                      <a:lnTo>
                        <a:pt x="212865" y="237857"/>
                      </a:lnTo>
                      <a:lnTo>
                        <a:pt x="210183" y="247636"/>
                      </a:lnTo>
                      <a:lnTo>
                        <a:pt x="200679" y="251425"/>
                      </a:lnTo>
                      <a:lnTo>
                        <a:pt x="183513" y="256815"/>
                      </a:lnTo>
                      <a:lnTo>
                        <a:pt x="179045" y="263879"/>
                      </a:lnTo>
                      <a:lnTo>
                        <a:pt x="161098" y="265375"/>
                      </a:lnTo>
                      <a:lnTo>
                        <a:pt x="148390" y="253165"/>
                      </a:lnTo>
                      <a:lnTo>
                        <a:pt x="141350" y="230138"/>
                      </a:lnTo>
                      <a:lnTo>
                        <a:pt x="135215" y="222063"/>
                      </a:lnTo>
                      <a:lnTo>
                        <a:pt x="126840" y="216972"/>
                      </a:lnTo>
                      <a:lnTo>
                        <a:pt x="138537" y="205471"/>
                      </a:lnTo>
                      <a:lnTo>
                        <a:pt x="137743" y="200297"/>
                      </a:lnTo>
                      <a:lnTo>
                        <a:pt x="131181" y="193430"/>
                      </a:lnTo>
                      <a:lnTo>
                        <a:pt x="126538" y="178066"/>
                      </a:lnTo>
                      <a:lnTo>
                        <a:pt x="128346" y="161473"/>
                      </a:lnTo>
                      <a:lnTo>
                        <a:pt x="133497" y="153701"/>
                      </a:lnTo>
                      <a:lnTo>
                        <a:pt x="137654" y="141228"/>
                      </a:lnTo>
                      <a:lnTo>
                        <a:pt x="129491" y="137246"/>
                      </a:lnTo>
                      <a:lnTo>
                        <a:pt x="116334" y="139889"/>
                      </a:lnTo>
                      <a:lnTo>
                        <a:pt x="99709" y="138648"/>
                      </a:lnTo>
                      <a:lnTo>
                        <a:pt x="90379" y="141126"/>
                      </a:lnTo>
                      <a:lnTo>
                        <a:pt x="74133" y="121180"/>
                      </a:lnTo>
                      <a:lnTo>
                        <a:pt x="60724" y="118225"/>
                      </a:lnTo>
                      <a:lnTo>
                        <a:pt x="31041" y="120455"/>
                      </a:lnTo>
                      <a:lnTo>
                        <a:pt x="25543" y="112363"/>
                      </a:lnTo>
                      <a:lnTo>
                        <a:pt x="19862" y="110429"/>
                      </a:lnTo>
                      <a:lnTo>
                        <a:pt x="19050" y="105585"/>
                      </a:lnTo>
                      <a:lnTo>
                        <a:pt x="21791" y="96990"/>
                      </a:lnTo>
                      <a:lnTo>
                        <a:pt x="19968" y="87635"/>
                      </a:lnTo>
                      <a:lnTo>
                        <a:pt x="14876" y="82520"/>
                      </a:lnTo>
                      <a:lnTo>
                        <a:pt x="11916" y="71826"/>
                      </a:lnTo>
                      <a:lnTo>
                        <a:pt x="0" y="70268"/>
                      </a:lnTo>
                      <a:lnTo>
                        <a:pt x="6402" y="56651"/>
                      </a:lnTo>
                      <a:lnTo>
                        <a:pt x="9225" y="40015"/>
                      </a:lnTo>
                      <a:lnTo>
                        <a:pt x="15934" y="31342"/>
                      </a:lnTo>
                      <a:lnTo>
                        <a:pt x="24869" y="24645"/>
                      </a:lnTo>
                      <a:lnTo>
                        <a:pt x="30724" y="12957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Freeform 31">
                  <a:extLst>
                    <a:ext uri="{FF2B5EF4-FFF2-40B4-BE49-F238E27FC236}">
                      <a16:creationId xmlns:a16="http://schemas.microsoft.com/office/drawing/2014/main" id="{80F9D2BE-E672-45C6-BBE4-B8D7F5E5859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3"/>
                  </p:custDataLst>
                </p:nvPr>
              </p:nvSpPr>
              <p:spPr>
                <a:xfrm>
                  <a:off x="7116108" y="2974233"/>
                  <a:ext cx="113934" cy="102672"/>
                </a:xfrm>
                <a:custGeom>
                  <a:avLst/>
                  <a:gdLst>
                    <a:gd name="connsiteX0" fmla="*/ 98815 w 106181"/>
                    <a:gd name="connsiteY0" fmla="*/ 53343 h 95686"/>
                    <a:gd name="connsiteX1" fmla="*/ 106181 w 106181"/>
                    <a:gd name="connsiteY1" fmla="*/ 69623 h 95686"/>
                    <a:gd name="connsiteX2" fmla="*/ 92331 w 106181"/>
                    <a:gd name="connsiteY2" fmla="*/ 95686 h 95686"/>
                    <a:gd name="connsiteX3" fmla="*/ 68176 w 106181"/>
                    <a:gd name="connsiteY3" fmla="*/ 77541 h 95686"/>
                    <a:gd name="connsiteX4" fmla="*/ 64953 w 106181"/>
                    <a:gd name="connsiteY4" fmla="*/ 64117 h 95686"/>
                    <a:gd name="connsiteX5" fmla="*/ 57476 w 106181"/>
                    <a:gd name="connsiteY5" fmla="*/ 0 h 95686"/>
                    <a:gd name="connsiteX6" fmla="*/ 56694 w 106181"/>
                    <a:gd name="connsiteY6" fmla="*/ 17082 h 95686"/>
                    <a:gd name="connsiteX7" fmla="*/ 49859 w 106181"/>
                    <a:gd name="connsiteY7" fmla="*/ 27836 h 95686"/>
                    <a:gd name="connsiteX8" fmla="*/ 52629 w 106181"/>
                    <a:gd name="connsiteY8" fmla="*/ 37042 h 95686"/>
                    <a:gd name="connsiteX9" fmla="*/ 65144 w 106181"/>
                    <a:gd name="connsiteY9" fmla="*/ 42003 h 95686"/>
                    <a:gd name="connsiteX10" fmla="*/ 59503 w 106181"/>
                    <a:gd name="connsiteY10" fmla="*/ 54321 h 95686"/>
                    <a:gd name="connsiteX11" fmla="*/ 52629 w 106181"/>
                    <a:gd name="connsiteY11" fmla="*/ 50781 h 95686"/>
                    <a:gd name="connsiteX12" fmla="*/ 36009 w 106181"/>
                    <a:gd name="connsiteY12" fmla="*/ 74148 h 95686"/>
                    <a:gd name="connsiteX13" fmla="*/ 42286 w 106181"/>
                    <a:gd name="connsiteY13" fmla="*/ 89820 h 95686"/>
                    <a:gd name="connsiteX14" fmla="*/ 27516 w 106181"/>
                    <a:gd name="connsiteY14" fmla="*/ 94699 h 95686"/>
                    <a:gd name="connsiteX15" fmla="*/ 10070 w 106181"/>
                    <a:gd name="connsiteY15" fmla="*/ 90473 h 95686"/>
                    <a:gd name="connsiteX16" fmla="*/ 700 w 106181"/>
                    <a:gd name="connsiteY16" fmla="*/ 72606 h 95686"/>
                    <a:gd name="connsiteX17" fmla="*/ 0 w 106181"/>
                    <a:gd name="connsiteY17" fmla="*/ 39337 h 95686"/>
                    <a:gd name="connsiteX18" fmla="*/ 3846 w 106181"/>
                    <a:gd name="connsiteY18" fmla="*/ 30471 h 95686"/>
                    <a:gd name="connsiteX19" fmla="*/ 10467 w 106181"/>
                    <a:gd name="connsiteY19" fmla="*/ 20578 h 95686"/>
                    <a:gd name="connsiteX20" fmla="*/ 30803 w 106181"/>
                    <a:gd name="connsiteY20" fmla="*/ 18527 h 95686"/>
                    <a:gd name="connsiteX21" fmla="*/ 38907 w 106181"/>
                    <a:gd name="connsiteY21" fmla="*/ 9385 h 95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06181" h="95686">
                      <a:moveTo>
                        <a:pt x="98815" y="53343"/>
                      </a:moveTo>
                      <a:lnTo>
                        <a:pt x="106181" y="69623"/>
                      </a:lnTo>
                      <a:lnTo>
                        <a:pt x="92331" y="95686"/>
                      </a:lnTo>
                      <a:lnTo>
                        <a:pt x="68176" y="77541"/>
                      </a:lnTo>
                      <a:lnTo>
                        <a:pt x="64953" y="64117"/>
                      </a:lnTo>
                      <a:close/>
                      <a:moveTo>
                        <a:pt x="57476" y="0"/>
                      </a:moveTo>
                      <a:lnTo>
                        <a:pt x="56694" y="17082"/>
                      </a:lnTo>
                      <a:lnTo>
                        <a:pt x="49859" y="27836"/>
                      </a:lnTo>
                      <a:lnTo>
                        <a:pt x="52629" y="37042"/>
                      </a:lnTo>
                      <a:lnTo>
                        <a:pt x="65144" y="42003"/>
                      </a:lnTo>
                      <a:lnTo>
                        <a:pt x="59503" y="54321"/>
                      </a:lnTo>
                      <a:lnTo>
                        <a:pt x="52629" y="50781"/>
                      </a:lnTo>
                      <a:lnTo>
                        <a:pt x="36009" y="74148"/>
                      </a:lnTo>
                      <a:lnTo>
                        <a:pt x="42286" y="89820"/>
                      </a:lnTo>
                      <a:lnTo>
                        <a:pt x="27516" y="94699"/>
                      </a:lnTo>
                      <a:lnTo>
                        <a:pt x="10070" y="90473"/>
                      </a:lnTo>
                      <a:lnTo>
                        <a:pt x="700" y="72606"/>
                      </a:lnTo>
                      <a:lnTo>
                        <a:pt x="0" y="39337"/>
                      </a:lnTo>
                      <a:lnTo>
                        <a:pt x="3846" y="30471"/>
                      </a:lnTo>
                      <a:lnTo>
                        <a:pt x="10467" y="20578"/>
                      </a:lnTo>
                      <a:lnTo>
                        <a:pt x="30803" y="18527"/>
                      </a:lnTo>
                      <a:lnTo>
                        <a:pt x="38907" y="938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32">
                  <a:extLst>
                    <a:ext uri="{FF2B5EF4-FFF2-40B4-BE49-F238E27FC236}">
                      <a16:creationId xmlns:a16="http://schemas.microsoft.com/office/drawing/2014/main" id="{15FBE237-AE50-4277-8F99-007763B85BD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4"/>
                  </p:custDataLst>
                </p:nvPr>
              </p:nvSpPr>
              <p:spPr>
                <a:xfrm>
                  <a:off x="6728188" y="2941642"/>
                  <a:ext cx="229196" cy="296413"/>
                </a:xfrm>
                <a:custGeom>
                  <a:avLst/>
                  <a:gdLst>
                    <a:gd name="connsiteX0" fmla="*/ 19350 w 213600"/>
                    <a:gd name="connsiteY0" fmla="*/ 114098 h 276243"/>
                    <a:gd name="connsiteX1" fmla="*/ 44092 w 213600"/>
                    <a:gd name="connsiteY1" fmla="*/ 133901 h 276243"/>
                    <a:gd name="connsiteX2" fmla="*/ 31722 w 213600"/>
                    <a:gd name="connsiteY2" fmla="*/ 155717 h 276243"/>
                    <a:gd name="connsiteX3" fmla="*/ 14275 w 213600"/>
                    <a:gd name="connsiteY3" fmla="*/ 149192 h 276243"/>
                    <a:gd name="connsiteX4" fmla="*/ 0 w 213600"/>
                    <a:gd name="connsiteY4" fmla="*/ 149628 h 276243"/>
                    <a:gd name="connsiteX5" fmla="*/ 4758 w 213600"/>
                    <a:gd name="connsiteY5" fmla="*/ 132586 h 276243"/>
                    <a:gd name="connsiteX6" fmla="*/ 0 w 213600"/>
                    <a:gd name="connsiteY6" fmla="*/ 115424 h 276243"/>
                    <a:gd name="connsiteX7" fmla="*/ 105422 w 213600"/>
                    <a:gd name="connsiteY7" fmla="*/ 0 h 276243"/>
                    <a:gd name="connsiteX8" fmla="*/ 80751 w 213600"/>
                    <a:gd name="connsiteY8" fmla="*/ 36267 h 276243"/>
                    <a:gd name="connsiteX9" fmla="*/ 104268 w 213600"/>
                    <a:gd name="connsiteY9" fmla="*/ 31707 h 276243"/>
                    <a:gd name="connsiteX10" fmla="*/ 129560 w 213600"/>
                    <a:gd name="connsiteY10" fmla="*/ 31881 h 276243"/>
                    <a:gd name="connsiteX11" fmla="*/ 123542 w 213600"/>
                    <a:gd name="connsiteY11" fmla="*/ 58869 h 276243"/>
                    <a:gd name="connsiteX12" fmla="*/ 102791 w 213600"/>
                    <a:gd name="connsiteY12" fmla="*/ 88196 h 276243"/>
                    <a:gd name="connsiteX13" fmla="*/ 126658 w 213600"/>
                    <a:gd name="connsiteY13" fmla="*/ 90270 h 276243"/>
                    <a:gd name="connsiteX14" fmla="*/ 128489 w 213600"/>
                    <a:gd name="connsiteY14" fmla="*/ 93682 h 276243"/>
                    <a:gd name="connsiteX15" fmla="*/ 149048 w 213600"/>
                    <a:gd name="connsiteY15" fmla="*/ 131655 h 276243"/>
                    <a:gd name="connsiteX16" fmla="*/ 164849 w 213600"/>
                    <a:gd name="connsiteY16" fmla="*/ 136778 h 276243"/>
                    <a:gd name="connsiteX17" fmla="*/ 179055 w 213600"/>
                    <a:gd name="connsiteY17" fmla="*/ 172807 h 276243"/>
                    <a:gd name="connsiteX18" fmla="*/ 185634 w 213600"/>
                    <a:gd name="connsiteY18" fmla="*/ 185174 h 276243"/>
                    <a:gd name="connsiteX19" fmla="*/ 213600 w 213600"/>
                    <a:gd name="connsiteY19" fmla="*/ 191116 h 276243"/>
                    <a:gd name="connsiteX20" fmla="*/ 210794 w 213600"/>
                    <a:gd name="connsiteY20" fmla="*/ 210960 h 276243"/>
                    <a:gd name="connsiteX21" fmla="*/ 199035 w 213600"/>
                    <a:gd name="connsiteY21" fmla="*/ 220006 h 276243"/>
                    <a:gd name="connsiteX22" fmla="*/ 208252 w 213600"/>
                    <a:gd name="connsiteY22" fmla="*/ 235886 h 276243"/>
                    <a:gd name="connsiteX23" fmla="*/ 187489 w 213600"/>
                    <a:gd name="connsiteY23" fmla="*/ 251860 h 276243"/>
                    <a:gd name="connsiteX24" fmla="*/ 156608 w 213600"/>
                    <a:gd name="connsiteY24" fmla="*/ 251579 h 276243"/>
                    <a:gd name="connsiteX25" fmla="*/ 117310 w 213600"/>
                    <a:gd name="connsiteY25" fmla="*/ 259927 h 276243"/>
                    <a:gd name="connsiteX26" fmla="*/ 106547 w 213600"/>
                    <a:gd name="connsiteY26" fmla="*/ 253953 h 276243"/>
                    <a:gd name="connsiteX27" fmla="*/ 91285 w 213600"/>
                    <a:gd name="connsiteY27" fmla="*/ 268149 h 276243"/>
                    <a:gd name="connsiteX28" fmla="*/ 69932 w 213600"/>
                    <a:gd name="connsiteY28" fmla="*/ 264717 h 276243"/>
                    <a:gd name="connsiteX29" fmla="*/ 53716 w 213600"/>
                    <a:gd name="connsiteY29" fmla="*/ 276243 h 276243"/>
                    <a:gd name="connsiteX30" fmla="*/ 41447 w 213600"/>
                    <a:gd name="connsiteY30" fmla="*/ 270223 h 276243"/>
                    <a:gd name="connsiteX31" fmla="*/ 75299 w 213600"/>
                    <a:gd name="connsiteY31" fmla="*/ 238316 h 276243"/>
                    <a:gd name="connsiteX32" fmla="*/ 95962 w 213600"/>
                    <a:gd name="connsiteY32" fmla="*/ 231704 h 276243"/>
                    <a:gd name="connsiteX33" fmla="*/ 95780 w 213600"/>
                    <a:gd name="connsiteY33" fmla="*/ 231678 h 276243"/>
                    <a:gd name="connsiteX34" fmla="*/ 59733 w 213600"/>
                    <a:gd name="connsiteY34" fmla="*/ 226566 h 276243"/>
                    <a:gd name="connsiteX35" fmla="*/ 53202 w 213600"/>
                    <a:gd name="connsiteY35" fmla="*/ 214314 h 276243"/>
                    <a:gd name="connsiteX36" fmla="*/ 77322 w 213600"/>
                    <a:gd name="connsiteY36" fmla="*/ 204729 h 276243"/>
                    <a:gd name="connsiteX37" fmla="*/ 64681 w 213600"/>
                    <a:gd name="connsiteY37" fmla="*/ 187983 h 276243"/>
                    <a:gd name="connsiteX38" fmla="*/ 69067 w 213600"/>
                    <a:gd name="connsiteY38" fmla="*/ 167465 h 276243"/>
                    <a:gd name="connsiteX39" fmla="*/ 103372 w 213600"/>
                    <a:gd name="connsiteY39" fmla="*/ 170309 h 276243"/>
                    <a:gd name="connsiteX40" fmla="*/ 103412 w 213600"/>
                    <a:gd name="connsiteY40" fmla="*/ 170312 h 276243"/>
                    <a:gd name="connsiteX41" fmla="*/ 106807 w 213600"/>
                    <a:gd name="connsiteY41" fmla="*/ 152002 h 276243"/>
                    <a:gd name="connsiteX42" fmla="*/ 91348 w 213600"/>
                    <a:gd name="connsiteY42" fmla="*/ 132423 h 276243"/>
                    <a:gd name="connsiteX43" fmla="*/ 90995 w 213600"/>
                    <a:gd name="connsiteY43" fmla="*/ 131974 h 276243"/>
                    <a:gd name="connsiteX44" fmla="*/ 62969 w 213600"/>
                    <a:gd name="connsiteY44" fmla="*/ 126350 h 276243"/>
                    <a:gd name="connsiteX45" fmla="*/ 57467 w 213600"/>
                    <a:gd name="connsiteY45" fmla="*/ 117674 h 276243"/>
                    <a:gd name="connsiteX46" fmla="*/ 65856 w 213600"/>
                    <a:gd name="connsiteY46" fmla="*/ 103279 h 276243"/>
                    <a:gd name="connsiteX47" fmla="*/ 58265 w 213600"/>
                    <a:gd name="connsiteY47" fmla="*/ 94360 h 276243"/>
                    <a:gd name="connsiteX48" fmla="*/ 45836 w 213600"/>
                    <a:gd name="connsiteY48" fmla="*/ 109646 h 276243"/>
                    <a:gd name="connsiteX49" fmla="*/ 44484 w 213600"/>
                    <a:gd name="connsiteY49" fmla="*/ 78380 h 276243"/>
                    <a:gd name="connsiteX50" fmla="*/ 32828 w 213600"/>
                    <a:gd name="connsiteY50" fmla="*/ 61666 h 276243"/>
                    <a:gd name="connsiteX51" fmla="*/ 41210 w 213600"/>
                    <a:gd name="connsiteY51" fmla="*/ 27410 h 276243"/>
                    <a:gd name="connsiteX52" fmla="*/ 59141 w 213600"/>
                    <a:gd name="connsiteY52" fmla="*/ 169 h 276243"/>
                    <a:gd name="connsiteX53" fmla="*/ 77573 w 213600"/>
                    <a:gd name="connsiteY53" fmla="*/ 2842 h 276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213600" h="276243">
                      <a:moveTo>
                        <a:pt x="19350" y="114098"/>
                      </a:moveTo>
                      <a:lnTo>
                        <a:pt x="44092" y="133901"/>
                      </a:lnTo>
                      <a:lnTo>
                        <a:pt x="31722" y="155717"/>
                      </a:lnTo>
                      <a:lnTo>
                        <a:pt x="14275" y="149192"/>
                      </a:lnTo>
                      <a:lnTo>
                        <a:pt x="0" y="149628"/>
                      </a:lnTo>
                      <a:lnTo>
                        <a:pt x="4758" y="132586"/>
                      </a:lnTo>
                      <a:lnTo>
                        <a:pt x="0" y="115424"/>
                      </a:lnTo>
                      <a:close/>
                      <a:moveTo>
                        <a:pt x="105422" y="0"/>
                      </a:moveTo>
                      <a:lnTo>
                        <a:pt x="80751" y="36267"/>
                      </a:lnTo>
                      <a:lnTo>
                        <a:pt x="104268" y="31707"/>
                      </a:lnTo>
                      <a:lnTo>
                        <a:pt x="129560" y="31881"/>
                      </a:lnTo>
                      <a:lnTo>
                        <a:pt x="123542" y="58869"/>
                      </a:lnTo>
                      <a:lnTo>
                        <a:pt x="102791" y="88196"/>
                      </a:lnTo>
                      <a:lnTo>
                        <a:pt x="126658" y="90270"/>
                      </a:lnTo>
                      <a:lnTo>
                        <a:pt x="128489" y="93682"/>
                      </a:lnTo>
                      <a:lnTo>
                        <a:pt x="149048" y="131655"/>
                      </a:lnTo>
                      <a:lnTo>
                        <a:pt x="164849" y="136778"/>
                      </a:lnTo>
                      <a:lnTo>
                        <a:pt x="179055" y="172807"/>
                      </a:lnTo>
                      <a:lnTo>
                        <a:pt x="185634" y="185174"/>
                      </a:lnTo>
                      <a:lnTo>
                        <a:pt x="213600" y="191116"/>
                      </a:lnTo>
                      <a:lnTo>
                        <a:pt x="210794" y="210960"/>
                      </a:lnTo>
                      <a:lnTo>
                        <a:pt x="199035" y="220006"/>
                      </a:lnTo>
                      <a:lnTo>
                        <a:pt x="208252" y="235886"/>
                      </a:lnTo>
                      <a:lnTo>
                        <a:pt x="187489" y="251860"/>
                      </a:lnTo>
                      <a:lnTo>
                        <a:pt x="156608" y="251579"/>
                      </a:lnTo>
                      <a:lnTo>
                        <a:pt x="117310" y="259927"/>
                      </a:lnTo>
                      <a:lnTo>
                        <a:pt x="106547" y="253953"/>
                      </a:lnTo>
                      <a:lnTo>
                        <a:pt x="91285" y="268149"/>
                      </a:lnTo>
                      <a:lnTo>
                        <a:pt x="69932" y="264717"/>
                      </a:lnTo>
                      <a:lnTo>
                        <a:pt x="53716" y="276243"/>
                      </a:lnTo>
                      <a:lnTo>
                        <a:pt x="41447" y="270223"/>
                      </a:lnTo>
                      <a:lnTo>
                        <a:pt x="75299" y="238316"/>
                      </a:lnTo>
                      <a:lnTo>
                        <a:pt x="95962" y="231704"/>
                      </a:lnTo>
                      <a:lnTo>
                        <a:pt x="95780" y="231678"/>
                      </a:lnTo>
                      <a:lnTo>
                        <a:pt x="59733" y="226566"/>
                      </a:lnTo>
                      <a:lnTo>
                        <a:pt x="53202" y="214314"/>
                      </a:lnTo>
                      <a:lnTo>
                        <a:pt x="77322" y="204729"/>
                      </a:lnTo>
                      <a:lnTo>
                        <a:pt x="64681" y="187983"/>
                      </a:lnTo>
                      <a:lnTo>
                        <a:pt x="69067" y="167465"/>
                      </a:lnTo>
                      <a:lnTo>
                        <a:pt x="103372" y="170309"/>
                      </a:lnTo>
                      <a:lnTo>
                        <a:pt x="103412" y="170312"/>
                      </a:lnTo>
                      <a:lnTo>
                        <a:pt x="106807" y="152002"/>
                      </a:lnTo>
                      <a:lnTo>
                        <a:pt x="91348" y="132423"/>
                      </a:lnTo>
                      <a:lnTo>
                        <a:pt x="90995" y="131974"/>
                      </a:lnTo>
                      <a:lnTo>
                        <a:pt x="62969" y="126350"/>
                      </a:lnTo>
                      <a:lnTo>
                        <a:pt x="57467" y="117674"/>
                      </a:lnTo>
                      <a:lnTo>
                        <a:pt x="65856" y="103279"/>
                      </a:lnTo>
                      <a:lnTo>
                        <a:pt x="58265" y="94360"/>
                      </a:lnTo>
                      <a:lnTo>
                        <a:pt x="45836" y="109646"/>
                      </a:lnTo>
                      <a:lnTo>
                        <a:pt x="44484" y="78380"/>
                      </a:lnTo>
                      <a:lnTo>
                        <a:pt x="32828" y="61666"/>
                      </a:lnTo>
                      <a:lnTo>
                        <a:pt x="41210" y="27410"/>
                      </a:lnTo>
                      <a:lnTo>
                        <a:pt x="59141" y="169"/>
                      </a:lnTo>
                      <a:lnTo>
                        <a:pt x="77573" y="2842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Freeform 33">
                  <a:extLst>
                    <a:ext uri="{FF2B5EF4-FFF2-40B4-BE49-F238E27FC236}">
                      <a16:creationId xmlns:a16="http://schemas.microsoft.com/office/drawing/2014/main" id="{2561E77F-EC42-433C-AC0F-A89967133B7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5"/>
                  </p:custDataLst>
                </p:nvPr>
              </p:nvSpPr>
              <p:spPr>
                <a:xfrm>
                  <a:off x="8414908" y="3587348"/>
                  <a:ext cx="362347" cy="25538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37691" h="238008">
                      <a:moveTo>
                        <a:pt x="15751" y="75342"/>
                      </a:moveTo>
                      <a:lnTo>
                        <a:pt x="39291" y="85295"/>
                      </a:lnTo>
                      <a:lnTo>
                        <a:pt x="56696" y="81800"/>
                      </a:lnTo>
                      <a:lnTo>
                        <a:pt x="61518" y="69897"/>
                      </a:lnTo>
                      <a:lnTo>
                        <a:pt x="79738" y="65927"/>
                      </a:lnTo>
                      <a:lnTo>
                        <a:pt x="92747" y="57907"/>
                      </a:lnTo>
                      <a:lnTo>
                        <a:pt x="97355" y="36724"/>
                      </a:lnTo>
                      <a:lnTo>
                        <a:pt x="116810" y="31581"/>
                      </a:lnTo>
                      <a:lnTo>
                        <a:pt x="120426" y="22095"/>
                      </a:lnTo>
                      <a:lnTo>
                        <a:pt x="131316" y="29223"/>
                      </a:lnTo>
                      <a:lnTo>
                        <a:pt x="138269" y="30049"/>
                      </a:lnTo>
                      <a:lnTo>
                        <a:pt x="151130" y="30226"/>
                      </a:lnTo>
                      <a:lnTo>
                        <a:pt x="168539" y="35842"/>
                      </a:lnTo>
                      <a:lnTo>
                        <a:pt x="175592" y="39080"/>
                      </a:lnTo>
                      <a:lnTo>
                        <a:pt x="192302" y="30540"/>
                      </a:lnTo>
                      <a:lnTo>
                        <a:pt x="200077" y="35679"/>
                      </a:lnTo>
                      <a:lnTo>
                        <a:pt x="207521" y="23487"/>
                      </a:lnTo>
                      <a:lnTo>
                        <a:pt x="221320" y="24041"/>
                      </a:lnTo>
                      <a:lnTo>
                        <a:pt x="224874" y="20120"/>
                      </a:lnTo>
                      <a:lnTo>
                        <a:pt x="227315" y="9334"/>
                      </a:lnTo>
                      <a:lnTo>
                        <a:pt x="237252" y="0"/>
                      </a:lnTo>
                      <a:lnTo>
                        <a:pt x="249747" y="6103"/>
                      </a:lnTo>
                      <a:lnTo>
                        <a:pt x="247238" y="14290"/>
                      </a:lnTo>
                      <a:lnTo>
                        <a:pt x="254220" y="15560"/>
                      </a:lnTo>
                      <a:lnTo>
                        <a:pt x="252068" y="37950"/>
                      </a:lnTo>
                      <a:lnTo>
                        <a:pt x="261208" y="46637"/>
                      </a:lnTo>
                      <a:lnTo>
                        <a:pt x="269250" y="41066"/>
                      </a:lnTo>
                      <a:lnTo>
                        <a:pt x="279495" y="38431"/>
                      </a:lnTo>
                      <a:lnTo>
                        <a:pt x="293879" y="26520"/>
                      </a:lnTo>
                      <a:lnTo>
                        <a:pt x="309775" y="28483"/>
                      </a:lnTo>
                      <a:lnTo>
                        <a:pt x="333580" y="28525"/>
                      </a:lnTo>
                      <a:lnTo>
                        <a:pt x="337690" y="36160"/>
                      </a:lnTo>
                      <a:lnTo>
                        <a:pt x="324253" y="39140"/>
                      </a:lnTo>
                      <a:lnTo>
                        <a:pt x="312519" y="44040"/>
                      </a:lnTo>
                      <a:lnTo>
                        <a:pt x="286031" y="47118"/>
                      </a:lnTo>
                      <a:lnTo>
                        <a:pt x="261246" y="52678"/>
                      </a:lnTo>
                      <a:lnTo>
                        <a:pt x="247767" y="64177"/>
                      </a:lnTo>
                      <a:lnTo>
                        <a:pt x="253225" y="75329"/>
                      </a:lnTo>
                      <a:lnTo>
                        <a:pt x="255863" y="88371"/>
                      </a:lnTo>
                      <a:lnTo>
                        <a:pt x="244367" y="99348"/>
                      </a:lnTo>
                      <a:lnTo>
                        <a:pt x="245330" y="109358"/>
                      </a:lnTo>
                      <a:lnTo>
                        <a:pt x="238983" y="118714"/>
                      </a:lnTo>
                      <a:lnTo>
                        <a:pt x="217026" y="117903"/>
                      </a:lnTo>
                      <a:lnTo>
                        <a:pt x="226098" y="135035"/>
                      </a:lnTo>
                      <a:lnTo>
                        <a:pt x="211407" y="141566"/>
                      </a:lnTo>
                      <a:lnTo>
                        <a:pt x="201606" y="157099"/>
                      </a:lnTo>
                      <a:lnTo>
                        <a:pt x="202881" y="172491"/>
                      </a:lnTo>
                      <a:lnTo>
                        <a:pt x="193854" y="179677"/>
                      </a:lnTo>
                      <a:lnTo>
                        <a:pt x="185319" y="177299"/>
                      </a:lnTo>
                      <a:lnTo>
                        <a:pt x="167678" y="180628"/>
                      </a:lnTo>
                      <a:lnTo>
                        <a:pt x="165155" y="187763"/>
                      </a:lnTo>
                      <a:lnTo>
                        <a:pt x="147970" y="187718"/>
                      </a:lnTo>
                      <a:lnTo>
                        <a:pt x="135103" y="202112"/>
                      </a:lnTo>
                      <a:lnTo>
                        <a:pt x="134296" y="223656"/>
                      </a:lnTo>
                      <a:lnTo>
                        <a:pt x="104297" y="234140"/>
                      </a:lnTo>
                      <a:lnTo>
                        <a:pt x="88221" y="231927"/>
                      </a:lnTo>
                      <a:lnTo>
                        <a:pt x="83549" y="237447"/>
                      </a:lnTo>
                      <a:lnTo>
                        <a:pt x="69752" y="234238"/>
                      </a:lnTo>
                      <a:lnTo>
                        <a:pt x="46660" y="238007"/>
                      </a:lnTo>
                      <a:lnTo>
                        <a:pt x="7982" y="225138"/>
                      </a:lnTo>
                      <a:lnTo>
                        <a:pt x="28918" y="202190"/>
                      </a:lnTo>
                      <a:lnTo>
                        <a:pt x="27027" y="185817"/>
                      </a:lnTo>
                      <a:lnTo>
                        <a:pt x="9545" y="181518"/>
                      </a:lnTo>
                      <a:lnTo>
                        <a:pt x="7738" y="165283"/>
                      </a:lnTo>
                      <a:lnTo>
                        <a:pt x="176" y="144769"/>
                      </a:lnTo>
                      <a:lnTo>
                        <a:pt x="10047" y="130633"/>
                      </a:lnTo>
                      <a:lnTo>
                        <a:pt x="0" y="126812"/>
                      </a:lnTo>
                      <a:lnTo>
                        <a:pt x="6342" y="10792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Freeform 34">
                  <a:extLst>
                    <a:ext uri="{FF2B5EF4-FFF2-40B4-BE49-F238E27FC236}">
                      <a16:creationId xmlns:a16="http://schemas.microsoft.com/office/drawing/2014/main" id="{F9402CFF-7A01-4031-997C-63DF2E2BEE8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6"/>
                  </p:custDataLst>
                </p:nvPr>
              </p:nvSpPr>
              <p:spPr>
                <a:xfrm>
                  <a:off x="7204037" y="4700063"/>
                  <a:ext cx="308110" cy="3388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7144" h="315772">
                      <a:moveTo>
                        <a:pt x="40060" y="33006"/>
                      </a:moveTo>
                      <a:lnTo>
                        <a:pt x="108175" y="33313"/>
                      </a:lnTo>
                      <a:lnTo>
                        <a:pt x="113869" y="50579"/>
                      </a:lnTo>
                      <a:lnTo>
                        <a:pt x="120494" y="64486"/>
                      </a:lnTo>
                      <a:lnTo>
                        <a:pt x="125798" y="71990"/>
                      </a:lnTo>
                      <a:lnTo>
                        <a:pt x="134638" y="84132"/>
                      </a:lnTo>
                      <a:lnTo>
                        <a:pt x="149902" y="82253"/>
                      </a:lnTo>
                      <a:lnTo>
                        <a:pt x="157518" y="78986"/>
                      </a:lnTo>
                      <a:lnTo>
                        <a:pt x="170273" y="82266"/>
                      </a:lnTo>
                      <a:lnTo>
                        <a:pt x="173732" y="76459"/>
                      </a:lnTo>
                      <a:lnTo>
                        <a:pt x="179523" y="62934"/>
                      </a:lnTo>
                      <a:lnTo>
                        <a:pt x="193840" y="62028"/>
                      </a:lnTo>
                      <a:lnTo>
                        <a:pt x="195084" y="58009"/>
                      </a:lnTo>
                      <a:lnTo>
                        <a:pt x="206861" y="57922"/>
                      </a:lnTo>
                      <a:lnTo>
                        <a:pt x="204851" y="66280"/>
                      </a:lnTo>
                      <a:lnTo>
                        <a:pt x="232859" y="66077"/>
                      </a:lnTo>
                      <a:lnTo>
                        <a:pt x="233282" y="80683"/>
                      </a:lnTo>
                      <a:lnTo>
                        <a:pt x="237960" y="89646"/>
                      </a:lnTo>
                      <a:lnTo>
                        <a:pt x="234559" y="103662"/>
                      </a:lnTo>
                      <a:lnTo>
                        <a:pt x="236253" y="117976"/>
                      </a:lnTo>
                      <a:lnTo>
                        <a:pt x="243953" y="126621"/>
                      </a:lnTo>
                      <a:lnTo>
                        <a:pt x="242718" y="154387"/>
                      </a:lnTo>
                      <a:lnTo>
                        <a:pt x="248432" y="152244"/>
                      </a:lnTo>
                      <a:lnTo>
                        <a:pt x="258462" y="152818"/>
                      </a:lnTo>
                      <a:lnTo>
                        <a:pt x="272761" y="149320"/>
                      </a:lnTo>
                      <a:lnTo>
                        <a:pt x="283273" y="150697"/>
                      </a:lnTo>
                      <a:lnTo>
                        <a:pt x="285713" y="157950"/>
                      </a:lnTo>
                      <a:lnTo>
                        <a:pt x="283087" y="169291"/>
                      </a:lnTo>
                      <a:lnTo>
                        <a:pt x="287144" y="180269"/>
                      </a:lnTo>
                      <a:lnTo>
                        <a:pt x="283705" y="189046"/>
                      </a:lnTo>
                      <a:lnTo>
                        <a:pt x="285672" y="197142"/>
                      </a:lnTo>
                      <a:lnTo>
                        <a:pt x="237608" y="196846"/>
                      </a:lnTo>
                      <a:lnTo>
                        <a:pt x="236546" y="271828"/>
                      </a:lnTo>
                      <a:lnTo>
                        <a:pt x="252118" y="291224"/>
                      </a:lnTo>
                      <a:lnTo>
                        <a:pt x="267181" y="306070"/>
                      </a:lnTo>
                      <a:lnTo>
                        <a:pt x="224758" y="315772"/>
                      </a:lnTo>
                      <a:lnTo>
                        <a:pt x="168875" y="312401"/>
                      </a:lnTo>
                      <a:lnTo>
                        <a:pt x="152882" y="301000"/>
                      </a:lnTo>
                      <a:lnTo>
                        <a:pt x="59313" y="302026"/>
                      </a:lnTo>
                      <a:lnTo>
                        <a:pt x="55823" y="303698"/>
                      </a:lnTo>
                      <a:lnTo>
                        <a:pt x="42063" y="292952"/>
                      </a:lnTo>
                      <a:lnTo>
                        <a:pt x="27099" y="292243"/>
                      </a:lnTo>
                      <a:lnTo>
                        <a:pt x="13281" y="296288"/>
                      </a:lnTo>
                      <a:lnTo>
                        <a:pt x="2172" y="300809"/>
                      </a:lnTo>
                      <a:lnTo>
                        <a:pt x="0" y="285877"/>
                      </a:lnTo>
                      <a:lnTo>
                        <a:pt x="3195" y="265047"/>
                      </a:lnTo>
                      <a:lnTo>
                        <a:pt x="11160" y="243421"/>
                      </a:lnTo>
                      <a:lnTo>
                        <a:pt x="12361" y="233303"/>
                      </a:lnTo>
                      <a:lnTo>
                        <a:pt x="19851" y="212092"/>
                      </a:lnTo>
                      <a:lnTo>
                        <a:pt x="25354" y="202466"/>
                      </a:lnTo>
                      <a:lnTo>
                        <a:pt x="38613" y="187119"/>
                      </a:lnTo>
                      <a:lnTo>
                        <a:pt x="46018" y="176694"/>
                      </a:lnTo>
                      <a:lnTo>
                        <a:pt x="48442" y="159366"/>
                      </a:lnTo>
                      <a:lnTo>
                        <a:pt x="47234" y="146127"/>
                      </a:lnTo>
                      <a:lnTo>
                        <a:pt x="40331" y="137784"/>
                      </a:lnTo>
                      <a:lnTo>
                        <a:pt x="34183" y="123641"/>
                      </a:lnTo>
                      <a:lnTo>
                        <a:pt x="28513" y="109670"/>
                      </a:lnTo>
                      <a:lnTo>
                        <a:pt x="29753" y="104834"/>
                      </a:lnTo>
                      <a:lnTo>
                        <a:pt x="36848" y="95613"/>
                      </a:lnTo>
                      <a:lnTo>
                        <a:pt x="29845" y="73171"/>
                      </a:lnTo>
                      <a:lnTo>
                        <a:pt x="25119" y="57639"/>
                      </a:lnTo>
                      <a:lnTo>
                        <a:pt x="13555" y="42973"/>
                      </a:lnTo>
                      <a:lnTo>
                        <a:pt x="15750" y="38470"/>
                      </a:lnTo>
                      <a:lnTo>
                        <a:pt x="25277" y="35356"/>
                      </a:lnTo>
                      <a:lnTo>
                        <a:pt x="31964" y="35790"/>
                      </a:lnTo>
                      <a:close/>
                      <a:moveTo>
                        <a:pt x="22637" y="0"/>
                      </a:moveTo>
                      <a:lnTo>
                        <a:pt x="31287" y="7935"/>
                      </a:lnTo>
                      <a:lnTo>
                        <a:pt x="22887" y="12798"/>
                      </a:lnTo>
                      <a:lnTo>
                        <a:pt x="19110" y="18748"/>
                      </a:lnTo>
                      <a:lnTo>
                        <a:pt x="18388" y="28840"/>
                      </a:lnTo>
                      <a:lnTo>
                        <a:pt x="12516" y="31286"/>
                      </a:lnTo>
                      <a:lnTo>
                        <a:pt x="6345" y="13879"/>
                      </a:lnTo>
                      <a:lnTo>
                        <a:pt x="15662" y="389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Freeform 35">
                  <a:extLst>
                    <a:ext uri="{FF2B5EF4-FFF2-40B4-BE49-F238E27FC236}">
                      <a16:creationId xmlns:a16="http://schemas.microsoft.com/office/drawing/2014/main" id="{A217286A-CC59-4F6F-9DBB-E099B0FA2F6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7"/>
                  </p:custDataLst>
                </p:nvPr>
              </p:nvSpPr>
              <p:spPr>
                <a:xfrm>
                  <a:off x="7393870" y="3463956"/>
                  <a:ext cx="42491" cy="9040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600" h="84252">
                      <a:moveTo>
                        <a:pt x="29679" y="23140"/>
                      </a:moveTo>
                      <a:lnTo>
                        <a:pt x="26745" y="32543"/>
                      </a:lnTo>
                      <a:lnTo>
                        <a:pt x="30023" y="44352"/>
                      </a:lnTo>
                      <a:lnTo>
                        <a:pt x="39599" y="51037"/>
                      </a:lnTo>
                      <a:lnTo>
                        <a:pt x="39136" y="58233"/>
                      </a:lnTo>
                      <a:lnTo>
                        <a:pt x="31635" y="62197"/>
                      </a:lnTo>
                      <a:lnTo>
                        <a:pt x="30250" y="71064"/>
                      </a:lnTo>
                      <a:lnTo>
                        <a:pt x="19517" y="84251"/>
                      </a:lnTo>
                      <a:lnTo>
                        <a:pt x="15592" y="82351"/>
                      </a:lnTo>
                      <a:lnTo>
                        <a:pt x="15131" y="76372"/>
                      </a:lnTo>
                      <a:lnTo>
                        <a:pt x="2345" y="67227"/>
                      </a:lnTo>
                      <a:lnTo>
                        <a:pt x="336" y="54203"/>
                      </a:lnTo>
                      <a:lnTo>
                        <a:pt x="2286" y="35453"/>
                      </a:lnTo>
                      <a:lnTo>
                        <a:pt x="5437" y="26885"/>
                      </a:lnTo>
                      <a:lnTo>
                        <a:pt x="1553" y="22527"/>
                      </a:lnTo>
                      <a:lnTo>
                        <a:pt x="0" y="13705"/>
                      </a:lnTo>
                      <a:lnTo>
                        <a:pt x="10008" y="0"/>
                      </a:lnTo>
                      <a:lnTo>
                        <a:pt x="11475" y="5244"/>
                      </a:lnTo>
                      <a:lnTo>
                        <a:pt x="17686" y="2777"/>
                      </a:lnTo>
                      <a:lnTo>
                        <a:pt x="22604" y="10246"/>
                      </a:lnTo>
                      <a:lnTo>
                        <a:pt x="28125" y="13091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Freeform 36">
                  <a:extLst>
                    <a:ext uri="{FF2B5EF4-FFF2-40B4-BE49-F238E27FC236}">
                      <a16:creationId xmlns:a16="http://schemas.microsoft.com/office/drawing/2014/main" id="{19E80849-E525-4B1C-A1E6-683600AB063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8"/>
                  </p:custDataLst>
                </p:nvPr>
              </p:nvSpPr>
              <p:spPr>
                <a:xfrm>
                  <a:off x="8193260" y="3930004"/>
                  <a:ext cx="119316" cy="9346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1197" h="87108">
                      <a:moveTo>
                        <a:pt x="0" y="44496"/>
                      </a:moveTo>
                      <a:lnTo>
                        <a:pt x="4107" y="43307"/>
                      </a:lnTo>
                      <a:lnTo>
                        <a:pt x="4960" y="50016"/>
                      </a:lnTo>
                      <a:lnTo>
                        <a:pt x="23026" y="46162"/>
                      </a:lnTo>
                      <a:lnTo>
                        <a:pt x="42114" y="46800"/>
                      </a:lnTo>
                      <a:lnTo>
                        <a:pt x="56056" y="47523"/>
                      </a:lnTo>
                      <a:lnTo>
                        <a:pt x="71868" y="30960"/>
                      </a:lnTo>
                      <a:lnTo>
                        <a:pt x="89088" y="15198"/>
                      </a:lnTo>
                      <a:lnTo>
                        <a:pt x="103671" y="0"/>
                      </a:lnTo>
                      <a:lnTo>
                        <a:pt x="108062" y="8411"/>
                      </a:lnTo>
                      <a:lnTo>
                        <a:pt x="111196" y="27846"/>
                      </a:lnTo>
                      <a:lnTo>
                        <a:pt x="99410" y="27942"/>
                      </a:lnTo>
                      <a:lnTo>
                        <a:pt x="97515" y="43906"/>
                      </a:lnTo>
                      <a:lnTo>
                        <a:pt x="101603" y="47308"/>
                      </a:lnTo>
                      <a:lnTo>
                        <a:pt x="91156" y="52123"/>
                      </a:lnTo>
                      <a:lnTo>
                        <a:pt x="91091" y="62100"/>
                      </a:lnTo>
                      <a:lnTo>
                        <a:pt x="84366" y="72183"/>
                      </a:lnTo>
                      <a:lnTo>
                        <a:pt x="83763" y="81974"/>
                      </a:lnTo>
                      <a:lnTo>
                        <a:pt x="79111" y="87107"/>
                      </a:lnTo>
                      <a:lnTo>
                        <a:pt x="9722" y="74856"/>
                      </a:lnTo>
                      <a:lnTo>
                        <a:pt x="881" y="50153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Freeform 37">
                  <a:extLst>
                    <a:ext uri="{FF2B5EF4-FFF2-40B4-BE49-F238E27FC236}">
                      <a16:creationId xmlns:a16="http://schemas.microsoft.com/office/drawing/2014/main" id="{795AA9B1-618E-4314-B409-06097939D87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9"/>
                  </p:custDataLst>
                </p:nvPr>
              </p:nvSpPr>
              <p:spPr>
                <a:xfrm>
                  <a:off x="7995195" y="3506770"/>
                  <a:ext cx="72397" cy="7322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7471" h="68239">
                      <a:moveTo>
                        <a:pt x="0" y="4290"/>
                      </a:moveTo>
                      <a:lnTo>
                        <a:pt x="32079" y="0"/>
                      </a:lnTo>
                      <a:lnTo>
                        <a:pt x="36857" y="7223"/>
                      </a:lnTo>
                      <a:lnTo>
                        <a:pt x="45648" y="11971"/>
                      </a:lnTo>
                      <a:lnTo>
                        <a:pt x="41005" y="18839"/>
                      </a:lnTo>
                      <a:lnTo>
                        <a:pt x="53301" y="28208"/>
                      </a:lnTo>
                      <a:lnTo>
                        <a:pt x="46795" y="36881"/>
                      </a:lnTo>
                      <a:lnTo>
                        <a:pt x="56594" y="44269"/>
                      </a:lnTo>
                      <a:lnTo>
                        <a:pt x="66957" y="48711"/>
                      </a:lnTo>
                      <a:lnTo>
                        <a:pt x="67470" y="67446"/>
                      </a:lnTo>
                      <a:lnTo>
                        <a:pt x="59112" y="68238"/>
                      </a:lnTo>
                      <a:lnTo>
                        <a:pt x="49688" y="52622"/>
                      </a:lnTo>
                      <a:lnTo>
                        <a:pt x="49795" y="48444"/>
                      </a:lnTo>
                      <a:lnTo>
                        <a:pt x="39596" y="48505"/>
                      </a:lnTo>
                      <a:lnTo>
                        <a:pt x="32760" y="41229"/>
                      </a:lnTo>
                      <a:lnTo>
                        <a:pt x="27959" y="41962"/>
                      </a:lnTo>
                      <a:lnTo>
                        <a:pt x="18865" y="34024"/>
                      </a:lnTo>
                      <a:lnTo>
                        <a:pt x="1701" y="27251"/>
                      </a:lnTo>
                      <a:lnTo>
                        <a:pt x="3922" y="1394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Freeform 38">
                  <a:extLst>
                    <a:ext uri="{FF2B5EF4-FFF2-40B4-BE49-F238E27FC236}">
                      <a16:creationId xmlns:a16="http://schemas.microsoft.com/office/drawing/2014/main" id="{1D3DA3DB-A5A9-4F5C-9565-B85885A4BA2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0"/>
                  </p:custDataLst>
                </p:nvPr>
              </p:nvSpPr>
              <p:spPr>
                <a:xfrm>
                  <a:off x="9722920" y="4855285"/>
                  <a:ext cx="996433" cy="8893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8629" h="828837">
                      <a:moveTo>
                        <a:pt x="724907" y="747483"/>
                      </a:moveTo>
                      <a:lnTo>
                        <a:pt x="740009" y="749910"/>
                      </a:lnTo>
                      <a:lnTo>
                        <a:pt x="762310" y="759385"/>
                      </a:lnTo>
                      <a:lnTo>
                        <a:pt x="774878" y="755616"/>
                      </a:lnTo>
                      <a:lnTo>
                        <a:pt x="792898" y="750340"/>
                      </a:lnTo>
                      <a:lnTo>
                        <a:pt x="806743" y="752182"/>
                      </a:lnTo>
                      <a:lnTo>
                        <a:pt x="808377" y="784918"/>
                      </a:lnTo>
                      <a:lnTo>
                        <a:pt x="800470" y="794488"/>
                      </a:lnTo>
                      <a:lnTo>
                        <a:pt x="798087" y="816954"/>
                      </a:lnTo>
                      <a:lnTo>
                        <a:pt x="790020" y="809288"/>
                      </a:lnTo>
                      <a:lnTo>
                        <a:pt x="773995" y="828837"/>
                      </a:lnTo>
                      <a:lnTo>
                        <a:pt x="769216" y="827325"/>
                      </a:lnTo>
                      <a:lnTo>
                        <a:pt x="755022" y="826450"/>
                      </a:lnTo>
                      <a:lnTo>
                        <a:pt x="740792" y="802476"/>
                      </a:lnTo>
                      <a:lnTo>
                        <a:pt x="737634" y="784119"/>
                      </a:lnTo>
                      <a:lnTo>
                        <a:pt x="724315" y="760068"/>
                      </a:lnTo>
                      <a:close/>
                      <a:moveTo>
                        <a:pt x="673468" y="0"/>
                      </a:moveTo>
                      <a:lnTo>
                        <a:pt x="679978" y="11424"/>
                      </a:lnTo>
                      <a:lnTo>
                        <a:pt x="681582" y="26093"/>
                      </a:lnTo>
                      <a:lnTo>
                        <a:pt x="687334" y="28923"/>
                      </a:lnTo>
                      <a:lnTo>
                        <a:pt x="688319" y="38759"/>
                      </a:lnTo>
                      <a:lnTo>
                        <a:pt x="696709" y="50685"/>
                      </a:lnTo>
                      <a:lnTo>
                        <a:pt x="698442" y="63973"/>
                      </a:lnTo>
                      <a:lnTo>
                        <a:pt x="697625" y="72510"/>
                      </a:lnTo>
                      <a:lnTo>
                        <a:pt x="705942" y="90982"/>
                      </a:lnTo>
                      <a:lnTo>
                        <a:pt x="720752" y="82099"/>
                      </a:lnTo>
                      <a:lnTo>
                        <a:pt x="728397" y="92070"/>
                      </a:lnTo>
                      <a:lnTo>
                        <a:pt x="739472" y="101280"/>
                      </a:lnTo>
                      <a:lnTo>
                        <a:pt x="737100" y="111746"/>
                      </a:lnTo>
                      <a:lnTo>
                        <a:pt x="742023" y="132033"/>
                      </a:lnTo>
                      <a:lnTo>
                        <a:pt x="745527" y="143872"/>
                      </a:lnTo>
                      <a:lnTo>
                        <a:pt x="751341" y="146768"/>
                      </a:lnTo>
                      <a:lnTo>
                        <a:pt x="757605" y="167089"/>
                      </a:lnTo>
                      <a:lnTo>
                        <a:pt x="755375" y="179445"/>
                      </a:lnTo>
                      <a:lnTo>
                        <a:pt x="762849" y="195644"/>
                      </a:lnTo>
                      <a:lnTo>
                        <a:pt x="787862" y="208151"/>
                      </a:lnTo>
                      <a:lnTo>
                        <a:pt x="804170" y="219550"/>
                      </a:lnTo>
                      <a:lnTo>
                        <a:pt x="819654" y="230009"/>
                      </a:lnTo>
                      <a:lnTo>
                        <a:pt x="816631" y="235839"/>
                      </a:lnTo>
                      <a:lnTo>
                        <a:pt x="829834" y="250954"/>
                      </a:lnTo>
                      <a:lnTo>
                        <a:pt x="838810" y="277134"/>
                      </a:lnTo>
                      <a:lnTo>
                        <a:pt x="848022" y="271807"/>
                      </a:lnTo>
                      <a:lnTo>
                        <a:pt x="857384" y="282318"/>
                      </a:lnTo>
                      <a:lnTo>
                        <a:pt x="863023" y="278587"/>
                      </a:lnTo>
                      <a:lnTo>
                        <a:pt x="866999" y="304361"/>
                      </a:lnTo>
                      <a:lnTo>
                        <a:pt x="883380" y="319352"/>
                      </a:lnTo>
                      <a:lnTo>
                        <a:pt x="894099" y="328692"/>
                      </a:lnTo>
                      <a:lnTo>
                        <a:pt x="912142" y="348566"/>
                      </a:lnTo>
                      <a:lnTo>
                        <a:pt x="918627" y="368376"/>
                      </a:lnTo>
                      <a:lnTo>
                        <a:pt x="919222" y="382481"/>
                      </a:lnTo>
                      <a:lnTo>
                        <a:pt x="917629" y="397844"/>
                      </a:lnTo>
                      <a:lnTo>
                        <a:pt x="928629" y="419021"/>
                      </a:lnTo>
                      <a:lnTo>
                        <a:pt x="927305" y="441188"/>
                      </a:lnTo>
                      <a:lnTo>
                        <a:pt x="923312" y="452835"/>
                      </a:lnTo>
                      <a:lnTo>
                        <a:pt x="917082" y="475361"/>
                      </a:lnTo>
                      <a:lnTo>
                        <a:pt x="917552" y="489907"/>
                      </a:lnTo>
                      <a:lnTo>
                        <a:pt x="912981" y="508167"/>
                      </a:lnTo>
                      <a:lnTo>
                        <a:pt x="902789" y="531463"/>
                      </a:lnTo>
                      <a:lnTo>
                        <a:pt x="885687" y="544107"/>
                      </a:lnTo>
                      <a:lnTo>
                        <a:pt x="877259" y="564131"/>
                      </a:lnTo>
                      <a:lnTo>
                        <a:pt x="869562" y="576966"/>
                      </a:lnTo>
                      <a:lnTo>
                        <a:pt x="862721" y="599487"/>
                      </a:lnTo>
                      <a:lnTo>
                        <a:pt x="853812" y="612558"/>
                      </a:lnTo>
                      <a:lnTo>
                        <a:pt x="847972" y="632277"/>
                      </a:lnTo>
                      <a:lnTo>
                        <a:pt x="844992" y="650530"/>
                      </a:lnTo>
                      <a:lnTo>
                        <a:pt x="846173" y="658942"/>
                      </a:lnTo>
                      <a:lnTo>
                        <a:pt x="832937" y="668210"/>
                      </a:lnTo>
                      <a:lnTo>
                        <a:pt x="807102" y="669182"/>
                      </a:lnTo>
                      <a:lnTo>
                        <a:pt x="785799" y="680159"/>
                      </a:lnTo>
                      <a:lnTo>
                        <a:pt x="775190" y="690560"/>
                      </a:lnTo>
                      <a:lnTo>
                        <a:pt x="761243" y="702126"/>
                      </a:lnTo>
                      <a:lnTo>
                        <a:pt x="742125" y="690217"/>
                      </a:lnTo>
                      <a:lnTo>
                        <a:pt x="727983" y="685478"/>
                      </a:lnTo>
                      <a:lnTo>
                        <a:pt x="731566" y="671511"/>
                      </a:lnTo>
                      <a:lnTo>
                        <a:pt x="718950" y="676572"/>
                      </a:lnTo>
                      <a:lnTo>
                        <a:pt x="698737" y="696023"/>
                      </a:lnTo>
                      <a:lnTo>
                        <a:pt x="678781" y="688725"/>
                      </a:lnTo>
                      <a:lnTo>
                        <a:pt x="665691" y="684474"/>
                      </a:lnTo>
                      <a:lnTo>
                        <a:pt x="652493" y="682555"/>
                      </a:lnTo>
                      <a:lnTo>
                        <a:pt x="630150" y="674805"/>
                      </a:lnTo>
                      <a:lnTo>
                        <a:pt x="615228" y="658347"/>
                      </a:lnTo>
                      <a:lnTo>
                        <a:pt x="610945" y="638186"/>
                      </a:lnTo>
                      <a:lnTo>
                        <a:pt x="605579" y="624837"/>
                      </a:lnTo>
                      <a:lnTo>
                        <a:pt x="594238" y="614158"/>
                      </a:lnTo>
                      <a:lnTo>
                        <a:pt x="572031" y="610993"/>
                      </a:lnTo>
                      <a:lnTo>
                        <a:pt x="579619" y="598277"/>
                      </a:lnTo>
                      <a:lnTo>
                        <a:pt x="574035" y="578901"/>
                      </a:lnTo>
                      <a:lnTo>
                        <a:pt x="562761" y="596958"/>
                      </a:lnTo>
                      <a:lnTo>
                        <a:pt x="542223" y="601767"/>
                      </a:lnTo>
                      <a:lnTo>
                        <a:pt x="554295" y="587306"/>
                      </a:lnTo>
                      <a:lnTo>
                        <a:pt x="557792" y="572284"/>
                      </a:lnTo>
                      <a:lnTo>
                        <a:pt x="566708" y="559584"/>
                      </a:lnTo>
                      <a:lnTo>
                        <a:pt x="564866" y="540466"/>
                      </a:lnTo>
                      <a:lnTo>
                        <a:pt x="546088" y="562492"/>
                      </a:lnTo>
                      <a:lnTo>
                        <a:pt x="531667" y="571362"/>
                      </a:lnTo>
                      <a:lnTo>
                        <a:pt x="522825" y="592077"/>
                      </a:lnTo>
                      <a:lnTo>
                        <a:pt x="504802" y="581346"/>
                      </a:lnTo>
                      <a:lnTo>
                        <a:pt x="505518" y="567551"/>
                      </a:lnTo>
                      <a:lnTo>
                        <a:pt x="491073" y="548787"/>
                      </a:lnTo>
                      <a:lnTo>
                        <a:pt x="478896" y="539128"/>
                      </a:lnTo>
                      <a:lnTo>
                        <a:pt x="483235" y="533190"/>
                      </a:lnTo>
                      <a:lnTo>
                        <a:pt x="453618" y="517646"/>
                      </a:lnTo>
                      <a:lnTo>
                        <a:pt x="437398" y="516915"/>
                      </a:lnTo>
                      <a:lnTo>
                        <a:pt x="415198" y="504476"/>
                      </a:lnTo>
                      <a:lnTo>
                        <a:pt x="373868" y="506890"/>
                      </a:lnTo>
                      <a:lnTo>
                        <a:pt x="343979" y="516041"/>
                      </a:lnTo>
                      <a:lnTo>
                        <a:pt x="317709" y="524591"/>
                      </a:lnTo>
                      <a:lnTo>
                        <a:pt x="295685" y="522891"/>
                      </a:lnTo>
                      <a:lnTo>
                        <a:pt x="271214" y="536058"/>
                      </a:lnTo>
                      <a:lnTo>
                        <a:pt x="251202" y="541998"/>
                      </a:lnTo>
                      <a:lnTo>
                        <a:pt x="246754" y="555531"/>
                      </a:lnTo>
                      <a:lnTo>
                        <a:pt x="238231" y="566053"/>
                      </a:lnTo>
                      <a:lnTo>
                        <a:pt x="218642" y="566683"/>
                      </a:lnTo>
                      <a:lnTo>
                        <a:pt x="204147" y="568991"/>
                      </a:lnTo>
                      <a:lnTo>
                        <a:pt x="183744" y="564261"/>
                      </a:lnTo>
                      <a:lnTo>
                        <a:pt x="167150" y="567090"/>
                      </a:lnTo>
                      <a:lnTo>
                        <a:pt x="151302" y="568281"/>
                      </a:lnTo>
                      <a:lnTo>
                        <a:pt x="137573" y="582146"/>
                      </a:lnTo>
                      <a:lnTo>
                        <a:pt x="130842" y="580968"/>
                      </a:lnTo>
                      <a:lnTo>
                        <a:pt x="119264" y="588337"/>
                      </a:lnTo>
                      <a:lnTo>
                        <a:pt x="108167" y="596642"/>
                      </a:lnTo>
                      <a:lnTo>
                        <a:pt x="91329" y="595615"/>
                      </a:lnTo>
                      <a:lnTo>
                        <a:pt x="75854" y="595605"/>
                      </a:lnTo>
                      <a:lnTo>
                        <a:pt x="51369" y="578945"/>
                      </a:lnTo>
                      <a:lnTo>
                        <a:pt x="38961" y="574006"/>
                      </a:lnTo>
                      <a:lnTo>
                        <a:pt x="39464" y="559142"/>
                      </a:lnTo>
                      <a:lnTo>
                        <a:pt x="50925" y="555620"/>
                      </a:lnTo>
                      <a:lnTo>
                        <a:pt x="54839" y="549737"/>
                      </a:lnTo>
                      <a:lnTo>
                        <a:pt x="54024" y="540475"/>
                      </a:lnTo>
                      <a:lnTo>
                        <a:pt x="56847" y="522612"/>
                      </a:lnTo>
                      <a:lnTo>
                        <a:pt x="54260" y="507452"/>
                      </a:lnTo>
                      <a:lnTo>
                        <a:pt x="42057" y="481731"/>
                      </a:lnTo>
                      <a:lnTo>
                        <a:pt x="38274" y="467278"/>
                      </a:lnTo>
                      <a:lnTo>
                        <a:pt x="39266" y="452908"/>
                      </a:lnTo>
                      <a:lnTo>
                        <a:pt x="30078" y="436549"/>
                      </a:lnTo>
                      <a:lnTo>
                        <a:pt x="29490" y="429184"/>
                      </a:lnTo>
                      <a:lnTo>
                        <a:pt x="19266" y="419221"/>
                      </a:lnTo>
                      <a:lnTo>
                        <a:pt x="16388" y="399695"/>
                      </a:lnTo>
                      <a:lnTo>
                        <a:pt x="3199" y="380049"/>
                      </a:lnTo>
                      <a:lnTo>
                        <a:pt x="0" y="369497"/>
                      </a:lnTo>
                      <a:lnTo>
                        <a:pt x="10143" y="380195"/>
                      </a:lnTo>
                      <a:lnTo>
                        <a:pt x="2355" y="357276"/>
                      </a:lnTo>
                      <a:lnTo>
                        <a:pt x="13803" y="364427"/>
                      </a:lnTo>
                      <a:lnTo>
                        <a:pt x="20634" y="373993"/>
                      </a:lnTo>
                      <a:lnTo>
                        <a:pt x="20249" y="361344"/>
                      </a:lnTo>
                      <a:lnTo>
                        <a:pt x="8825" y="341964"/>
                      </a:lnTo>
                      <a:lnTo>
                        <a:pt x="6612" y="334234"/>
                      </a:lnTo>
                      <a:lnTo>
                        <a:pt x="1260" y="326901"/>
                      </a:lnTo>
                      <a:lnTo>
                        <a:pt x="3765" y="312757"/>
                      </a:lnTo>
                      <a:lnTo>
                        <a:pt x="8496" y="306750"/>
                      </a:lnTo>
                      <a:lnTo>
                        <a:pt x="11645" y="294563"/>
                      </a:lnTo>
                      <a:lnTo>
                        <a:pt x="9178" y="280360"/>
                      </a:lnTo>
                      <a:lnTo>
                        <a:pt x="18716" y="262925"/>
                      </a:lnTo>
                      <a:lnTo>
                        <a:pt x="20460" y="281379"/>
                      </a:lnTo>
                      <a:lnTo>
                        <a:pt x="30212" y="264706"/>
                      </a:lnTo>
                      <a:lnTo>
                        <a:pt x="48964" y="256622"/>
                      </a:lnTo>
                      <a:lnTo>
                        <a:pt x="60210" y="246326"/>
                      </a:lnTo>
                      <a:lnTo>
                        <a:pt x="77851" y="237481"/>
                      </a:lnTo>
                      <a:lnTo>
                        <a:pt x="88346" y="235601"/>
                      </a:lnTo>
                      <a:lnTo>
                        <a:pt x="94699" y="238570"/>
                      </a:lnTo>
                      <a:lnTo>
                        <a:pt x="112889" y="229600"/>
                      </a:lnTo>
                      <a:lnTo>
                        <a:pt x="126890" y="226934"/>
                      </a:lnTo>
                      <a:lnTo>
                        <a:pt x="130392" y="221669"/>
                      </a:lnTo>
                      <a:lnTo>
                        <a:pt x="136501" y="219478"/>
                      </a:lnTo>
                      <a:lnTo>
                        <a:pt x="149260" y="220044"/>
                      </a:lnTo>
                      <a:lnTo>
                        <a:pt x="173519" y="213018"/>
                      </a:lnTo>
                      <a:lnTo>
                        <a:pt x="186068" y="202380"/>
                      </a:lnTo>
                      <a:lnTo>
                        <a:pt x="191961" y="189597"/>
                      </a:lnTo>
                      <a:lnTo>
                        <a:pt x="205500" y="177479"/>
                      </a:lnTo>
                      <a:lnTo>
                        <a:pt x="206537" y="167969"/>
                      </a:lnTo>
                      <a:lnTo>
                        <a:pt x="207141" y="155036"/>
                      </a:lnTo>
                      <a:lnTo>
                        <a:pt x="223294" y="134866"/>
                      </a:lnTo>
                      <a:lnTo>
                        <a:pt x="233016" y="155358"/>
                      </a:lnTo>
                      <a:lnTo>
                        <a:pt x="242840" y="150617"/>
                      </a:lnTo>
                      <a:lnTo>
                        <a:pt x="234620" y="139402"/>
                      </a:lnTo>
                      <a:lnTo>
                        <a:pt x="241864" y="127904"/>
                      </a:lnTo>
                      <a:lnTo>
                        <a:pt x="252048" y="133035"/>
                      </a:lnTo>
                      <a:lnTo>
                        <a:pt x="254852" y="115027"/>
                      </a:lnTo>
                      <a:lnTo>
                        <a:pt x="267465" y="103407"/>
                      </a:lnTo>
                      <a:lnTo>
                        <a:pt x="273030" y="94095"/>
                      </a:lnTo>
                      <a:lnTo>
                        <a:pt x="284637" y="90081"/>
                      </a:lnTo>
                      <a:lnTo>
                        <a:pt x="284999" y="83499"/>
                      </a:lnTo>
                      <a:lnTo>
                        <a:pt x="295141" y="86247"/>
                      </a:lnTo>
                      <a:lnTo>
                        <a:pt x="295548" y="80329"/>
                      </a:lnTo>
                      <a:lnTo>
                        <a:pt x="305700" y="76959"/>
                      </a:lnTo>
                      <a:lnTo>
                        <a:pt x="316855" y="73788"/>
                      </a:lnTo>
                      <a:lnTo>
                        <a:pt x="333907" y="84588"/>
                      </a:lnTo>
                      <a:lnTo>
                        <a:pt x="346720" y="98548"/>
                      </a:lnTo>
                      <a:lnTo>
                        <a:pt x="361166" y="98708"/>
                      </a:lnTo>
                      <a:lnTo>
                        <a:pt x="375845" y="100921"/>
                      </a:lnTo>
                      <a:lnTo>
                        <a:pt x="370955" y="87975"/>
                      </a:lnTo>
                      <a:lnTo>
                        <a:pt x="382012" y="69102"/>
                      </a:lnTo>
                      <a:lnTo>
                        <a:pt x="392418" y="62962"/>
                      </a:lnTo>
                      <a:lnTo>
                        <a:pt x="388818" y="57095"/>
                      </a:lnTo>
                      <a:lnTo>
                        <a:pt x="398843" y="43697"/>
                      </a:lnTo>
                      <a:lnTo>
                        <a:pt x="412824" y="35432"/>
                      </a:lnTo>
                      <a:lnTo>
                        <a:pt x="424633" y="38215"/>
                      </a:lnTo>
                      <a:lnTo>
                        <a:pt x="444027" y="33802"/>
                      </a:lnTo>
                      <a:lnTo>
                        <a:pt x="443610" y="21843"/>
                      </a:lnTo>
                      <a:lnTo>
                        <a:pt x="426701" y="14145"/>
                      </a:lnTo>
                      <a:lnTo>
                        <a:pt x="438993" y="10751"/>
                      </a:lnTo>
                      <a:lnTo>
                        <a:pt x="454282" y="16544"/>
                      </a:lnTo>
                      <a:lnTo>
                        <a:pt x="466545" y="26135"/>
                      </a:lnTo>
                      <a:lnTo>
                        <a:pt x="485986" y="32124"/>
                      </a:lnTo>
                      <a:lnTo>
                        <a:pt x="492578" y="29755"/>
                      </a:lnTo>
                      <a:lnTo>
                        <a:pt x="506886" y="36954"/>
                      </a:lnTo>
                      <a:lnTo>
                        <a:pt x="520371" y="30249"/>
                      </a:lnTo>
                      <a:lnTo>
                        <a:pt x="529043" y="32287"/>
                      </a:lnTo>
                      <a:lnTo>
                        <a:pt x="534446" y="27790"/>
                      </a:lnTo>
                      <a:lnTo>
                        <a:pt x="545044" y="39375"/>
                      </a:lnTo>
                      <a:lnTo>
                        <a:pt x="538893" y="51924"/>
                      </a:lnTo>
                      <a:lnTo>
                        <a:pt x="530128" y="61408"/>
                      </a:lnTo>
                      <a:lnTo>
                        <a:pt x="522196" y="62190"/>
                      </a:lnTo>
                      <a:lnTo>
                        <a:pt x="524870" y="71584"/>
                      </a:lnTo>
                      <a:lnTo>
                        <a:pt x="518089" y="83342"/>
                      </a:lnTo>
                      <a:lnTo>
                        <a:pt x="509890" y="94922"/>
                      </a:lnTo>
                      <a:lnTo>
                        <a:pt x="511541" y="101581"/>
                      </a:lnTo>
                      <a:lnTo>
                        <a:pt x="529892" y="114630"/>
                      </a:lnTo>
                      <a:lnTo>
                        <a:pt x="547669" y="122210"/>
                      </a:lnTo>
                      <a:lnTo>
                        <a:pt x="559560" y="130361"/>
                      </a:lnTo>
                      <a:lnTo>
                        <a:pt x="576243" y="144410"/>
                      </a:lnTo>
                      <a:lnTo>
                        <a:pt x="582751" y="144387"/>
                      </a:lnTo>
                      <a:lnTo>
                        <a:pt x="594832" y="150466"/>
                      </a:lnTo>
                      <a:lnTo>
                        <a:pt x="598341" y="157808"/>
                      </a:lnTo>
                      <a:lnTo>
                        <a:pt x="620377" y="165879"/>
                      </a:lnTo>
                      <a:lnTo>
                        <a:pt x="635617" y="157748"/>
                      </a:lnTo>
                      <a:lnTo>
                        <a:pt x="640133" y="144990"/>
                      </a:lnTo>
                      <a:lnTo>
                        <a:pt x="644818" y="134479"/>
                      </a:lnTo>
                      <a:lnTo>
                        <a:pt x="647684" y="121495"/>
                      </a:lnTo>
                      <a:lnTo>
                        <a:pt x="654700" y="102694"/>
                      </a:lnTo>
                      <a:lnTo>
                        <a:pt x="651496" y="91289"/>
                      </a:lnTo>
                      <a:lnTo>
                        <a:pt x="653161" y="84435"/>
                      </a:lnTo>
                      <a:lnTo>
                        <a:pt x="650492" y="70969"/>
                      </a:lnTo>
                      <a:lnTo>
                        <a:pt x="653517" y="53273"/>
                      </a:lnTo>
                      <a:lnTo>
                        <a:pt x="657943" y="48508"/>
                      </a:lnTo>
                      <a:lnTo>
                        <a:pt x="654350" y="40679"/>
                      </a:lnTo>
                      <a:lnTo>
                        <a:pt x="659928" y="28264"/>
                      </a:lnTo>
                      <a:lnTo>
                        <a:pt x="664309" y="15413"/>
                      </a:lnTo>
                      <a:lnTo>
                        <a:pt x="664892" y="8746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Freeform 39">
                  <a:extLst>
                    <a:ext uri="{FF2B5EF4-FFF2-40B4-BE49-F238E27FC236}">
                      <a16:creationId xmlns:a16="http://schemas.microsoft.com/office/drawing/2014/main" id="{767FFEF8-7B59-484A-9735-23705ADDB35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1"/>
                  </p:custDataLst>
                </p:nvPr>
              </p:nvSpPr>
              <p:spPr>
                <a:xfrm>
                  <a:off x="7150536" y="3267657"/>
                  <a:ext cx="185754" cy="821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3114" h="76581">
                      <a:moveTo>
                        <a:pt x="173113" y="27143"/>
                      </a:moveTo>
                      <a:lnTo>
                        <a:pt x="171360" y="39169"/>
                      </a:lnTo>
                      <a:lnTo>
                        <a:pt x="158361" y="39226"/>
                      </a:lnTo>
                      <a:lnTo>
                        <a:pt x="162832" y="45582"/>
                      </a:lnTo>
                      <a:lnTo>
                        <a:pt x="155169" y="64374"/>
                      </a:lnTo>
                      <a:lnTo>
                        <a:pt x="150769" y="69278"/>
                      </a:lnTo>
                      <a:lnTo>
                        <a:pt x="130581" y="70002"/>
                      </a:lnTo>
                      <a:lnTo>
                        <a:pt x="118933" y="76580"/>
                      </a:lnTo>
                      <a:lnTo>
                        <a:pt x="99867" y="74335"/>
                      </a:lnTo>
                      <a:lnTo>
                        <a:pt x="66859" y="66840"/>
                      </a:lnTo>
                      <a:lnTo>
                        <a:pt x="61702" y="56713"/>
                      </a:lnTo>
                      <a:lnTo>
                        <a:pt x="38891" y="61778"/>
                      </a:lnTo>
                      <a:lnTo>
                        <a:pt x="36207" y="67311"/>
                      </a:lnTo>
                      <a:lnTo>
                        <a:pt x="22222" y="63176"/>
                      </a:lnTo>
                      <a:lnTo>
                        <a:pt x="10444" y="62385"/>
                      </a:lnTo>
                      <a:lnTo>
                        <a:pt x="0" y="57080"/>
                      </a:lnTo>
                      <a:lnTo>
                        <a:pt x="3530" y="49930"/>
                      </a:lnTo>
                      <a:lnTo>
                        <a:pt x="2637" y="44736"/>
                      </a:lnTo>
                      <a:lnTo>
                        <a:pt x="9604" y="43120"/>
                      </a:lnTo>
                      <a:lnTo>
                        <a:pt x="21284" y="51249"/>
                      </a:lnTo>
                      <a:lnTo>
                        <a:pt x="24572" y="43524"/>
                      </a:lnTo>
                      <a:lnTo>
                        <a:pt x="44929" y="44774"/>
                      </a:lnTo>
                      <a:lnTo>
                        <a:pt x="61432" y="39514"/>
                      </a:lnTo>
                      <a:lnTo>
                        <a:pt x="72498" y="40415"/>
                      </a:lnTo>
                      <a:lnTo>
                        <a:pt x="79696" y="46417"/>
                      </a:lnTo>
                      <a:lnTo>
                        <a:pt x="81848" y="41437"/>
                      </a:lnTo>
                      <a:lnTo>
                        <a:pt x="78576" y="22253"/>
                      </a:lnTo>
                      <a:lnTo>
                        <a:pt x="86869" y="18499"/>
                      </a:lnTo>
                      <a:lnTo>
                        <a:pt x="95007" y="4821"/>
                      </a:lnTo>
                      <a:lnTo>
                        <a:pt x="112157" y="14377"/>
                      </a:lnTo>
                      <a:lnTo>
                        <a:pt x="125142" y="2225"/>
                      </a:lnTo>
                      <a:lnTo>
                        <a:pt x="133266" y="0"/>
                      </a:lnTo>
                      <a:lnTo>
                        <a:pt x="151184" y="9079"/>
                      </a:lnTo>
                      <a:lnTo>
                        <a:pt x="162024" y="7537"/>
                      </a:lnTo>
                      <a:lnTo>
                        <a:pt x="172665" y="13142"/>
                      </a:lnTo>
                      <a:lnTo>
                        <a:pt x="170812" y="1690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Freeform 40">
                  <a:extLst>
                    <a:ext uri="{FF2B5EF4-FFF2-40B4-BE49-F238E27FC236}">
                      <a16:creationId xmlns:a16="http://schemas.microsoft.com/office/drawing/2014/main" id="{CED24D10-745E-49EE-88E6-2F8A6FC09DF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2"/>
                  </p:custDataLst>
                </p:nvPr>
              </p:nvSpPr>
              <p:spPr>
                <a:xfrm>
                  <a:off x="8025195" y="3488630"/>
                  <a:ext cx="138672" cy="104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36" h="97797">
                      <a:moveTo>
                        <a:pt x="4801" y="58135"/>
                      </a:moveTo>
                      <a:lnTo>
                        <a:pt x="11637" y="65411"/>
                      </a:lnTo>
                      <a:lnTo>
                        <a:pt x="21836" y="65350"/>
                      </a:lnTo>
                      <a:lnTo>
                        <a:pt x="21729" y="69528"/>
                      </a:lnTo>
                      <a:lnTo>
                        <a:pt x="31153" y="85144"/>
                      </a:lnTo>
                      <a:lnTo>
                        <a:pt x="15320" y="81562"/>
                      </a:lnTo>
                      <a:lnTo>
                        <a:pt x="3663" y="69093"/>
                      </a:lnTo>
                      <a:lnTo>
                        <a:pt x="0" y="58868"/>
                      </a:lnTo>
                      <a:close/>
                      <a:moveTo>
                        <a:pt x="37185" y="0"/>
                      </a:moveTo>
                      <a:lnTo>
                        <a:pt x="43674" y="928"/>
                      </a:lnTo>
                      <a:lnTo>
                        <a:pt x="59537" y="17687"/>
                      </a:lnTo>
                      <a:lnTo>
                        <a:pt x="69748" y="19566"/>
                      </a:lnTo>
                      <a:lnTo>
                        <a:pt x="73709" y="12562"/>
                      </a:lnTo>
                      <a:lnTo>
                        <a:pt x="87491" y="1433"/>
                      </a:lnTo>
                      <a:lnTo>
                        <a:pt x="99631" y="15965"/>
                      </a:lnTo>
                      <a:lnTo>
                        <a:pt x="111372" y="35433"/>
                      </a:lnTo>
                      <a:lnTo>
                        <a:pt x="122126" y="36712"/>
                      </a:lnTo>
                      <a:lnTo>
                        <a:pt x="129236" y="44075"/>
                      </a:lnTo>
                      <a:lnTo>
                        <a:pt x="110224" y="46269"/>
                      </a:lnTo>
                      <a:lnTo>
                        <a:pt x="106209" y="67369"/>
                      </a:lnTo>
                      <a:lnTo>
                        <a:pt x="102238" y="76839"/>
                      </a:lnTo>
                      <a:lnTo>
                        <a:pt x="93774" y="83143"/>
                      </a:lnTo>
                      <a:lnTo>
                        <a:pt x="94390" y="96459"/>
                      </a:lnTo>
                      <a:lnTo>
                        <a:pt x="88646" y="97797"/>
                      </a:lnTo>
                      <a:lnTo>
                        <a:pt x="74251" y="83721"/>
                      </a:lnTo>
                      <a:lnTo>
                        <a:pt x="82209" y="70365"/>
                      </a:lnTo>
                      <a:lnTo>
                        <a:pt x="75390" y="62416"/>
                      </a:lnTo>
                      <a:lnTo>
                        <a:pt x="66734" y="64419"/>
                      </a:lnTo>
                      <a:lnTo>
                        <a:pt x="39511" y="84352"/>
                      </a:lnTo>
                      <a:lnTo>
                        <a:pt x="38998" y="65617"/>
                      </a:lnTo>
                      <a:lnTo>
                        <a:pt x="28635" y="61175"/>
                      </a:lnTo>
                      <a:lnTo>
                        <a:pt x="18836" y="53787"/>
                      </a:lnTo>
                      <a:lnTo>
                        <a:pt x="25342" y="45114"/>
                      </a:lnTo>
                      <a:lnTo>
                        <a:pt x="13046" y="35745"/>
                      </a:lnTo>
                      <a:lnTo>
                        <a:pt x="17689" y="28877"/>
                      </a:lnTo>
                      <a:lnTo>
                        <a:pt x="8898" y="24129"/>
                      </a:lnTo>
                      <a:lnTo>
                        <a:pt x="4120" y="16906"/>
                      </a:lnTo>
                      <a:lnTo>
                        <a:pt x="9774" y="12407"/>
                      </a:lnTo>
                      <a:lnTo>
                        <a:pt x="26974" y="20324"/>
                      </a:lnTo>
                      <a:lnTo>
                        <a:pt x="39417" y="21957"/>
                      </a:lnTo>
                      <a:lnTo>
                        <a:pt x="42562" y="18734"/>
                      </a:lnTo>
                      <a:lnTo>
                        <a:pt x="31194" y="3813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Freeform 41">
                  <a:extLst>
                    <a:ext uri="{FF2B5EF4-FFF2-40B4-BE49-F238E27FC236}">
                      <a16:creationId xmlns:a16="http://schemas.microsoft.com/office/drawing/2014/main" id="{39DCCFE5-D1C6-4028-AF64-B978F812A90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3"/>
                  </p:custDataLst>
                </p:nvPr>
              </p:nvSpPr>
              <p:spPr>
                <a:xfrm>
                  <a:off x="7634627" y="4648251"/>
                  <a:ext cx="42783" cy="5335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872" h="49722">
                      <a:moveTo>
                        <a:pt x="7272" y="49721"/>
                      </a:moveTo>
                      <a:lnTo>
                        <a:pt x="5804" y="21839"/>
                      </a:lnTo>
                      <a:lnTo>
                        <a:pt x="0" y="11335"/>
                      </a:lnTo>
                      <a:lnTo>
                        <a:pt x="14016" y="13151"/>
                      </a:lnTo>
                      <a:lnTo>
                        <a:pt x="21084" y="0"/>
                      </a:lnTo>
                      <a:lnTo>
                        <a:pt x="33349" y="1509"/>
                      </a:lnTo>
                      <a:lnTo>
                        <a:pt x="34687" y="10605"/>
                      </a:lnTo>
                      <a:lnTo>
                        <a:pt x="39658" y="15841"/>
                      </a:lnTo>
                      <a:lnTo>
                        <a:pt x="39871" y="23351"/>
                      </a:lnTo>
                      <a:lnTo>
                        <a:pt x="34177" y="28187"/>
                      </a:lnTo>
                      <a:lnTo>
                        <a:pt x="25192" y="40243"/>
                      </a:lnTo>
                      <a:lnTo>
                        <a:pt x="16817" y="4862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Freeform 42">
                  <a:extLst>
                    <a:ext uri="{FF2B5EF4-FFF2-40B4-BE49-F238E27FC236}">
                      <a16:creationId xmlns:a16="http://schemas.microsoft.com/office/drawing/2014/main" id="{911645B0-7D87-4A40-8FE5-DE77A520585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4"/>
                  </p:custDataLst>
                </p:nvPr>
              </p:nvSpPr>
              <p:spPr>
                <a:xfrm>
                  <a:off x="6977992" y="3188650"/>
                  <a:ext cx="90233" cy="6328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4093" h="58978">
                      <a:moveTo>
                        <a:pt x="18498" y="3961"/>
                      </a:moveTo>
                      <a:lnTo>
                        <a:pt x="35397" y="6364"/>
                      </a:lnTo>
                      <a:lnTo>
                        <a:pt x="56793" y="0"/>
                      </a:lnTo>
                      <a:lnTo>
                        <a:pt x="71403" y="13389"/>
                      </a:lnTo>
                      <a:lnTo>
                        <a:pt x="84092" y="20504"/>
                      </a:lnTo>
                      <a:lnTo>
                        <a:pt x="81470" y="40976"/>
                      </a:lnTo>
                      <a:lnTo>
                        <a:pt x="75453" y="42114"/>
                      </a:lnTo>
                      <a:lnTo>
                        <a:pt x="72952" y="58977"/>
                      </a:lnTo>
                      <a:lnTo>
                        <a:pt x="52758" y="45278"/>
                      </a:lnTo>
                      <a:lnTo>
                        <a:pt x="40912" y="47623"/>
                      </a:lnTo>
                      <a:lnTo>
                        <a:pt x="24804" y="33392"/>
                      </a:lnTo>
                      <a:lnTo>
                        <a:pt x="14072" y="21215"/>
                      </a:lnTo>
                      <a:lnTo>
                        <a:pt x="3343" y="20713"/>
                      </a:lnTo>
                      <a:lnTo>
                        <a:pt x="0" y="9994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Freeform 43">
                  <a:extLst>
                    <a:ext uri="{FF2B5EF4-FFF2-40B4-BE49-F238E27FC236}">
                      <a16:creationId xmlns:a16="http://schemas.microsoft.com/office/drawing/2014/main" id="{A5D32FA7-54E8-453D-B66C-A49B3CAAE39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5"/>
                  </p:custDataLst>
                </p:nvPr>
              </p:nvSpPr>
              <p:spPr>
                <a:xfrm>
                  <a:off x="6934864" y="4285534"/>
                  <a:ext cx="74919" cy="15222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821" h="141865">
                      <a:moveTo>
                        <a:pt x="44304" y="139161"/>
                      </a:moveTo>
                      <a:lnTo>
                        <a:pt x="25227" y="141864"/>
                      </a:lnTo>
                      <a:lnTo>
                        <a:pt x="19542" y="125874"/>
                      </a:lnTo>
                      <a:lnTo>
                        <a:pt x="20593" y="72530"/>
                      </a:lnTo>
                      <a:lnTo>
                        <a:pt x="15943" y="67735"/>
                      </a:lnTo>
                      <a:lnTo>
                        <a:pt x="15067" y="56304"/>
                      </a:lnTo>
                      <a:lnTo>
                        <a:pt x="7051" y="48141"/>
                      </a:lnTo>
                      <a:lnTo>
                        <a:pt x="0" y="41256"/>
                      </a:lnTo>
                      <a:lnTo>
                        <a:pt x="2937" y="28964"/>
                      </a:lnTo>
                      <a:lnTo>
                        <a:pt x="10875" y="26320"/>
                      </a:lnTo>
                      <a:lnTo>
                        <a:pt x="15577" y="16101"/>
                      </a:lnTo>
                      <a:lnTo>
                        <a:pt x="26860" y="13916"/>
                      </a:lnTo>
                      <a:lnTo>
                        <a:pt x="31904" y="6919"/>
                      </a:lnTo>
                      <a:lnTo>
                        <a:pt x="39652" y="61"/>
                      </a:lnTo>
                      <a:lnTo>
                        <a:pt x="47927" y="0"/>
                      </a:lnTo>
                      <a:lnTo>
                        <a:pt x="65528" y="13471"/>
                      </a:lnTo>
                      <a:lnTo>
                        <a:pt x="64629" y="21239"/>
                      </a:lnTo>
                      <a:lnTo>
                        <a:pt x="69820" y="35096"/>
                      </a:lnTo>
                      <a:lnTo>
                        <a:pt x="65272" y="44489"/>
                      </a:lnTo>
                      <a:lnTo>
                        <a:pt x="67704" y="50762"/>
                      </a:lnTo>
                      <a:lnTo>
                        <a:pt x="56507" y="65185"/>
                      </a:lnTo>
                      <a:lnTo>
                        <a:pt x="49396" y="72321"/>
                      </a:lnTo>
                      <a:lnTo>
                        <a:pt x="45045" y="86991"/>
                      </a:lnTo>
                      <a:lnTo>
                        <a:pt x="45628" y="10177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Freeform 44">
                  <a:extLst>
                    <a:ext uri="{FF2B5EF4-FFF2-40B4-BE49-F238E27FC236}">
                      <a16:creationId xmlns:a16="http://schemas.microsoft.com/office/drawing/2014/main" id="{69D8C725-E828-4D1C-AE48-0E206A3F07A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6"/>
                  </p:custDataLst>
                </p:nvPr>
              </p:nvSpPr>
              <p:spPr>
                <a:xfrm>
                  <a:off x="6780239" y="4212864"/>
                  <a:ext cx="189419" cy="13845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6530" h="129029">
                      <a:moveTo>
                        <a:pt x="61009" y="128291"/>
                      </a:moveTo>
                      <a:lnTo>
                        <a:pt x="45211" y="122283"/>
                      </a:lnTo>
                      <a:lnTo>
                        <a:pt x="34396" y="123168"/>
                      </a:lnTo>
                      <a:lnTo>
                        <a:pt x="26322" y="129028"/>
                      </a:lnTo>
                      <a:lnTo>
                        <a:pt x="15943" y="124109"/>
                      </a:lnTo>
                      <a:lnTo>
                        <a:pt x="11909" y="116400"/>
                      </a:lnTo>
                      <a:lnTo>
                        <a:pt x="1529" y="111315"/>
                      </a:lnTo>
                      <a:lnTo>
                        <a:pt x="0" y="97765"/>
                      </a:lnTo>
                      <a:lnTo>
                        <a:pt x="6295" y="87861"/>
                      </a:lnTo>
                      <a:lnTo>
                        <a:pt x="5762" y="79940"/>
                      </a:lnTo>
                      <a:lnTo>
                        <a:pt x="24084" y="60532"/>
                      </a:lnTo>
                      <a:lnTo>
                        <a:pt x="27472" y="44441"/>
                      </a:lnTo>
                      <a:lnTo>
                        <a:pt x="33797" y="38709"/>
                      </a:lnTo>
                      <a:lnTo>
                        <a:pt x="44960" y="41876"/>
                      </a:lnTo>
                      <a:lnTo>
                        <a:pt x="54634" y="37093"/>
                      </a:lnTo>
                      <a:lnTo>
                        <a:pt x="57773" y="31053"/>
                      </a:lnTo>
                      <a:lnTo>
                        <a:pt x="75682" y="20505"/>
                      </a:lnTo>
                      <a:lnTo>
                        <a:pt x="80086" y="13141"/>
                      </a:lnTo>
                      <a:lnTo>
                        <a:pt x="101661" y="3359"/>
                      </a:lnTo>
                      <a:lnTo>
                        <a:pt x="114368" y="0"/>
                      </a:lnTo>
                      <a:lnTo>
                        <a:pt x="120129" y="4527"/>
                      </a:lnTo>
                      <a:lnTo>
                        <a:pt x="134929" y="4419"/>
                      </a:lnTo>
                      <a:lnTo>
                        <a:pt x="133100" y="15846"/>
                      </a:lnTo>
                      <a:lnTo>
                        <a:pt x="136199" y="26570"/>
                      </a:lnTo>
                      <a:lnTo>
                        <a:pt x="149198" y="41921"/>
                      </a:lnTo>
                      <a:lnTo>
                        <a:pt x="149914" y="53281"/>
                      </a:lnTo>
                      <a:lnTo>
                        <a:pt x="176529" y="58600"/>
                      </a:lnTo>
                      <a:lnTo>
                        <a:pt x="176007" y="74644"/>
                      </a:lnTo>
                      <a:lnTo>
                        <a:pt x="170963" y="81641"/>
                      </a:lnTo>
                      <a:lnTo>
                        <a:pt x="159680" y="83826"/>
                      </a:lnTo>
                      <a:lnTo>
                        <a:pt x="154978" y="94045"/>
                      </a:lnTo>
                      <a:lnTo>
                        <a:pt x="147040" y="96689"/>
                      </a:lnTo>
                      <a:lnTo>
                        <a:pt x="126825" y="96191"/>
                      </a:lnTo>
                      <a:lnTo>
                        <a:pt x="116149" y="94330"/>
                      </a:lnTo>
                      <a:lnTo>
                        <a:pt x="108696" y="98100"/>
                      </a:lnTo>
                      <a:lnTo>
                        <a:pt x="98499" y="96398"/>
                      </a:lnTo>
                      <a:lnTo>
                        <a:pt x="58403" y="97498"/>
                      </a:lnTo>
                      <a:lnTo>
                        <a:pt x="57861" y="11074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Freeform 45">
                  <a:extLst>
                    <a:ext uri="{FF2B5EF4-FFF2-40B4-BE49-F238E27FC236}">
                      <a16:creationId xmlns:a16="http://schemas.microsoft.com/office/drawing/2014/main" id="{00327149-A8EB-4B1D-94F3-EF527E0E0C4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7"/>
                  </p:custDataLst>
                </p:nvPr>
              </p:nvSpPr>
              <p:spPr>
                <a:xfrm>
                  <a:off x="9097414" y="3919629"/>
                  <a:ext cx="113645" cy="15120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5912" h="140919">
                      <a:moveTo>
                        <a:pt x="105911" y="107825"/>
                      </a:moveTo>
                      <a:lnTo>
                        <a:pt x="105439" y="125169"/>
                      </a:lnTo>
                      <a:lnTo>
                        <a:pt x="97382" y="121511"/>
                      </a:lnTo>
                      <a:lnTo>
                        <a:pt x="98890" y="140918"/>
                      </a:lnTo>
                      <a:lnTo>
                        <a:pt x="92296" y="128351"/>
                      </a:lnTo>
                      <a:lnTo>
                        <a:pt x="90965" y="116046"/>
                      </a:lnTo>
                      <a:lnTo>
                        <a:pt x="86572" y="104392"/>
                      </a:lnTo>
                      <a:lnTo>
                        <a:pt x="76927" y="90266"/>
                      </a:lnTo>
                      <a:lnTo>
                        <a:pt x="55666" y="89294"/>
                      </a:lnTo>
                      <a:lnTo>
                        <a:pt x="57766" y="99303"/>
                      </a:lnTo>
                      <a:lnTo>
                        <a:pt x="50518" y="112785"/>
                      </a:lnTo>
                      <a:lnTo>
                        <a:pt x="40696" y="107876"/>
                      </a:lnTo>
                      <a:lnTo>
                        <a:pt x="37340" y="112283"/>
                      </a:lnTo>
                      <a:lnTo>
                        <a:pt x="30803" y="109643"/>
                      </a:lnTo>
                      <a:lnTo>
                        <a:pt x="21872" y="107475"/>
                      </a:lnTo>
                      <a:lnTo>
                        <a:pt x="18280" y="87492"/>
                      </a:lnTo>
                      <a:lnTo>
                        <a:pt x="10280" y="69177"/>
                      </a:lnTo>
                      <a:lnTo>
                        <a:pt x="14209" y="54453"/>
                      </a:lnTo>
                      <a:lnTo>
                        <a:pt x="0" y="47893"/>
                      </a:lnTo>
                      <a:lnTo>
                        <a:pt x="5124" y="38955"/>
                      </a:lnTo>
                      <a:lnTo>
                        <a:pt x="19555" y="29800"/>
                      </a:lnTo>
                      <a:lnTo>
                        <a:pt x="2894" y="16762"/>
                      </a:lnTo>
                      <a:lnTo>
                        <a:pt x="11049" y="0"/>
                      </a:lnTo>
                      <a:lnTo>
                        <a:pt x="29331" y="10683"/>
                      </a:lnTo>
                      <a:lnTo>
                        <a:pt x="40350" y="11901"/>
                      </a:lnTo>
                      <a:lnTo>
                        <a:pt x="42387" y="29036"/>
                      </a:lnTo>
                      <a:lnTo>
                        <a:pt x="64350" y="32408"/>
                      </a:lnTo>
                      <a:lnTo>
                        <a:pt x="85757" y="32044"/>
                      </a:lnTo>
                      <a:lnTo>
                        <a:pt x="99066" y="36239"/>
                      </a:lnTo>
                      <a:lnTo>
                        <a:pt x="88423" y="56981"/>
                      </a:lnTo>
                      <a:lnTo>
                        <a:pt x="78097" y="58394"/>
                      </a:lnTo>
                      <a:lnTo>
                        <a:pt x="70969" y="72290"/>
                      </a:lnTo>
                      <a:lnTo>
                        <a:pt x="83607" y="84912"/>
                      </a:lnTo>
                      <a:lnTo>
                        <a:pt x="87380" y="69343"/>
                      </a:lnTo>
                      <a:lnTo>
                        <a:pt x="93754" y="69266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Freeform 46">
                  <a:extLst>
                    <a:ext uri="{FF2B5EF4-FFF2-40B4-BE49-F238E27FC236}">
                      <a16:creationId xmlns:a16="http://schemas.microsoft.com/office/drawing/2014/main" id="{B7AAF0DF-4E98-4045-A566-A0FC69CDA81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8"/>
                  </p:custDataLst>
                </p:nvPr>
              </p:nvSpPr>
              <p:spPr>
                <a:xfrm>
                  <a:off x="7470057" y="3417321"/>
                  <a:ext cx="153008" cy="8985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2596" h="83738">
                      <a:moveTo>
                        <a:pt x="6385" y="0"/>
                      </a:moveTo>
                      <a:lnTo>
                        <a:pt x="13026" y="11617"/>
                      </a:lnTo>
                      <a:lnTo>
                        <a:pt x="21969" y="9551"/>
                      </a:lnTo>
                      <a:lnTo>
                        <a:pt x="39705" y="13949"/>
                      </a:lnTo>
                      <a:lnTo>
                        <a:pt x="73605" y="15430"/>
                      </a:lnTo>
                      <a:lnTo>
                        <a:pt x="85051" y="8239"/>
                      </a:lnTo>
                      <a:lnTo>
                        <a:pt x="112225" y="1668"/>
                      </a:lnTo>
                      <a:lnTo>
                        <a:pt x="129022" y="11936"/>
                      </a:lnTo>
                      <a:lnTo>
                        <a:pt x="142595" y="14895"/>
                      </a:lnTo>
                      <a:lnTo>
                        <a:pt x="130615" y="26541"/>
                      </a:lnTo>
                      <a:lnTo>
                        <a:pt x="122185" y="46539"/>
                      </a:lnTo>
                      <a:lnTo>
                        <a:pt x="129637" y="62393"/>
                      </a:lnTo>
                      <a:lnTo>
                        <a:pt x="109763" y="58674"/>
                      </a:lnTo>
                      <a:lnTo>
                        <a:pt x="86249" y="67390"/>
                      </a:lnTo>
                      <a:lnTo>
                        <a:pt x="85997" y="81138"/>
                      </a:lnTo>
                      <a:lnTo>
                        <a:pt x="65016" y="83737"/>
                      </a:lnTo>
                      <a:lnTo>
                        <a:pt x="48753" y="74106"/>
                      </a:lnTo>
                      <a:lnTo>
                        <a:pt x="30274" y="81684"/>
                      </a:lnTo>
                      <a:lnTo>
                        <a:pt x="13200" y="80887"/>
                      </a:lnTo>
                      <a:lnTo>
                        <a:pt x="11561" y="62617"/>
                      </a:lnTo>
                      <a:lnTo>
                        <a:pt x="0" y="53708"/>
                      </a:lnTo>
                      <a:lnTo>
                        <a:pt x="3797" y="49784"/>
                      </a:lnTo>
                      <a:lnTo>
                        <a:pt x="1294" y="46471"/>
                      </a:lnTo>
                      <a:lnTo>
                        <a:pt x="5177" y="37591"/>
                      </a:lnTo>
                      <a:lnTo>
                        <a:pt x="13976" y="28840"/>
                      </a:lnTo>
                      <a:lnTo>
                        <a:pt x="2761" y="16715"/>
                      </a:lnTo>
                      <a:lnTo>
                        <a:pt x="690" y="641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0" name="Freeform 47">
                  <a:extLst>
                    <a:ext uri="{FF2B5EF4-FFF2-40B4-BE49-F238E27FC236}">
                      <a16:creationId xmlns:a16="http://schemas.microsoft.com/office/drawing/2014/main" id="{FF406F5A-0962-48A6-94C7-8441AC5268A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9"/>
                  </p:custDataLst>
                </p:nvPr>
              </p:nvSpPr>
              <p:spPr>
                <a:xfrm>
                  <a:off x="7305832" y="3386822"/>
                  <a:ext cx="95352" cy="782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8864" h="72954">
                      <a:moveTo>
                        <a:pt x="75145" y="10663"/>
                      </a:moveTo>
                      <a:lnTo>
                        <a:pt x="83513" y="10584"/>
                      </a:lnTo>
                      <a:lnTo>
                        <a:pt x="77733" y="23091"/>
                      </a:lnTo>
                      <a:lnTo>
                        <a:pt x="88863" y="33980"/>
                      </a:lnTo>
                      <a:lnTo>
                        <a:pt x="85498" y="47242"/>
                      </a:lnTo>
                      <a:lnTo>
                        <a:pt x="80062" y="48486"/>
                      </a:lnTo>
                      <a:lnTo>
                        <a:pt x="75749" y="51053"/>
                      </a:lnTo>
                      <a:lnTo>
                        <a:pt x="68243" y="57574"/>
                      </a:lnTo>
                      <a:lnTo>
                        <a:pt x="64862" y="72953"/>
                      </a:lnTo>
                      <a:lnTo>
                        <a:pt x="44432" y="62379"/>
                      </a:lnTo>
                      <a:lnTo>
                        <a:pt x="35717" y="50664"/>
                      </a:lnTo>
                      <a:lnTo>
                        <a:pt x="26918" y="44438"/>
                      </a:lnTo>
                      <a:lnTo>
                        <a:pt x="16306" y="33902"/>
                      </a:lnTo>
                      <a:lnTo>
                        <a:pt x="11302" y="25131"/>
                      </a:lnTo>
                      <a:lnTo>
                        <a:pt x="0" y="11846"/>
                      </a:lnTo>
                      <a:lnTo>
                        <a:pt x="4832" y="0"/>
                      </a:lnTo>
                      <a:lnTo>
                        <a:pt x="13114" y="6561"/>
                      </a:lnTo>
                      <a:lnTo>
                        <a:pt x="18118" y="634"/>
                      </a:lnTo>
                      <a:lnTo>
                        <a:pt x="28903" y="0"/>
                      </a:lnTo>
                      <a:lnTo>
                        <a:pt x="48745" y="4745"/>
                      </a:lnTo>
                      <a:lnTo>
                        <a:pt x="64706" y="434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Freeform 48">
                  <a:extLst>
                    <a:ext uri="{FF2B5EF4-FFF2-40B4-BE49-F238E27FC236}">
                      <a16:creationId xmlns:a16="http://schemas.microsoft.com/office/drawing/2014/main" id="{53317089-5B81-4AB4-9D62-75A58E3A9CF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0"/>
                  </p:custDataLst>
                </p:nvPr>
              </p:nvSpPr>
              <p:spPr>
                <a:xfrm>
                  <a:off x="7490341" y="3029451"/>
                  <a:ext cx="235152" cy="16431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19151" h="153132">
                      <a:moveTo>
                        <a:pt x="6570" y="72461"/>
                      </a:moveTo>
                      <a:lnTo>
                        <a:pt x="28881" y="72676"/>
                      </a:lnTo>
                      <a:lnTo>
                        <a:pt x="53941" y="60733"/>
                      </a:lnTo>
                      <a:lnTo>
                        <a:pt x="59298" y="42722"/>
                      </a:lnTo>
                      <a:lnTo>
                        <a:pt x="78222" y="32446"/>
                      </a:lnTo>
                      <a:lnTo>
                        <a:pt x="76053" y="17996"/>
                      </a:lnTo>
                      <a:lnTo>
                        <a:pt x="90091" y="12547"/>
                      </a:lnTo>
                      <a:lnTo>
                        <a:pt x="114887" y="0"/>
                      </a:lnTo>
                      <a:lnTo>
                        <a:pt x="139189" y="8164"/>
                      </a:lnTo>
                      <a:lnTo>
                        <a:pt x="142468" y="16216"/>
                      </a:lnTo>
                      <a:lnTo>
                        <a:pt x="154580" y="12347"/>
                      </a:lnTo>
                      <a:lnTo>
                        <a:pt x="177146" y="20070"/>
                      </a:lnTo>
                      <a:lnTo>
                        <a:pt x="179406" y="35198"/>
                      </a:lnTo>
                      <a:lnTo>
                        <a:pt x="174460" y="43849"/>
                      </a:lnTo>
                      <a:lnTo>
                        <a:pt x="188931" y="64714"/>
                      </a:lnTo>
                      <a:lnTo>
                        <a:pt x="198325" y="70495"/>
                      </a:lnTo>
                      <a:lnTo>
                        <a:pt x="196936" y="76205"/>
                      </a:lnTo>
                      <a:lnTo>
                        <a:pt x="212501" y="81756"/>
                      </a:lnTo>
                      <a:lnTo>
                        <a:pt x="219150" y="90143"/>
                      </a:lnTo>
                      <a:lnTo>
                        <a:pt x="210168" y="97000"/>
                      </a:lnTo>
                      <a:lnTo>
                        <a:pt x="191543" y="95913"/>
                      </a:lnTo>
                      <a:lnTo>
                        <a:pt x="187101" y="98838"/>
                      </a:lnTo>
                      <a:lnTo>
                        <a:pt x="192522" y="109202"/>
                      </a:lnTo>
                      <a:lnTo>
                        <a:pt x="198199" y="129073"/>
                      </a:lnTo>
                      <a:lnTo>
                        <a:pt x="178384" y="130906"/>
                      </a:lnTo>
                      <a:lnTo>
                        <a:pt x="171272" y="137677"/>
                      </a:lnTo>
                      <a:lnTo>
                        <a:pt x="169787" y="153131"/>
                      </a:lnTo>
                      <a:lnTo>
                        <a:pt x="160606" y="150171"/>
                      </a:lnTo>
                      <a:lnTo>
                        <a:pt x="139776" y="151639"/>
                      </a:lnTo>
                      <a:lnTo>
                        <a:pt x="133726" y="144467"/>
                      </a:lnTo>
                      <a:lnTo>
                        <a:pt x="125064" y="149816"/>
                      </a:lnTo>
                      <a:lnTo>
                        <a:pt x="116386" y="145383"/>
                      </a:lnTo>
                      <a:lnTo>
                        <a:pt x="98207" y="144767"/>
                      </a:lnTo>
                      <a:lnTo>
                        <a:pt x="72444" y="137385"/>
                      </a:lnTo>
                      <a:lnTo>
                        <a:pt x="49126" y="134970"/>
                      </a:lnTo>
                      <a:lnTo>
                        <a:pt x="31245" y="135654"/>
                      </a:lnTo>
                      <a:lnTo>
                        <a:pt x="18595" y="143994"/>
                      </a:lnTo>
                      <a:lnTo>
                        <a:pt x="7561" y="145192"/>
                      </a:lnTo>
                      <a:lnTo>
                        <a:pt x="7121" y="131484"/>
                      </a:lnTo>
                      <a:lnTo>
                        <a:pt x="0" y="117136"/>
                      </a:lnTo>
                      <a:lnTo>
                        <a:pt x="13843" y="110789"/>
                      </a:lnTo>
                      <a:lnTo>
                        <a:pt x="13975" y="98346"/>
                      </a:lnTo>
                      <a:lnTo>
                        <a:pt x="7572" y="8641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Freeform 49">
                  <a:extLst>
                    <a:ext uri="{FF2B5EF4-FFF2-40B4-BE49-F238E27FC236}">
                      <a16:creationId xmlns:a16="http://schemas.microsoft.com/office/drawing/2014/main" id="{E76B4A7D-FD3D-4512-95DB-E3C25274A28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1"/>
                  </p:custDataLst>
                </p:nvPr>
              </p:nvSpPr>
              <p:spPr>
                <a:xfrm>
                  <a:off x="9744347" y="4455013"/>
                  <a:ext cx="30879" cy="3574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778" h="33315">
                      <a:moveTo>
                        <a:pt x="0" y="21331"/>
                      </a:moveTo>
                      <a:lnTo>
                        <a:pt x="9139" y="12676"/>
                      </a:lnTo>
                      <a:lnTo>
                        <a:pt x="28777" y="0"/>
                      </a:lnTo>
                      <a:lnTo>
                        <a:pt x="27738" y="11398"/>
                      </a:lnTo>
                      <a:lnTo>
                        <a:pt x="26394" y="26170"/>
                      </a:lnTo>
                      <a:lnTo>
                        <a:pt x="15363" y="25437"/>
                      </a:lnTo>
                      <a:lnTo>
                        <a:pt x="10516" y="3331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Freeform 50">
                  <a:extLst>
                    <a:ext uri="{FF2B5EF4-FFF2-40B4-BE49-F238E27FC236}">
                      <a16:creationId xmlns:a16="http://schemas.microsoft.com/office/drawing/2014/main" id="{FE5DAEFA-7215-475C-8348-DDFD2A8ECDC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2"/>
                  </p:custDataLst>
                </p:nvPr>
              </p:nvSpPr>
              <p:spPr>
                <a:xfrm>
                  <a:off x="9115491" y="3870245"/>
                  <a:ext cx="81475" cy="421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5931" h="39265">
                      <a:moveTo>
                        <a:pt x="66534" y="13103"/>
                      </a:moveTo>
                      <a:lnTo>
                        <a:pt x="75930" y="21053"/>
                      </a:lnTo>
                      <a:lnTo>
                        <a:pt x="74309" y="36316"/>
                      </a:lnTo>
                      <a:lnTo>
                        <a:pt x="55474" y="37052"/>
                      </a:lnTo>
                      <a:lnTo>
                        <a:pt x="35986" y="35388"/>
                      </a:lnTo>
                      <a:lnTo>
                        <a:pt x="21473" y="39264"/>
                      </a:lnTo>
                      <a:lnTo>
                        <a:pt x="494" y="29846"/>
                      </a:lnTo>
                      <a:lnTo>
                        <a:pt x="0" y="24867"/>
                      </a:lnTo>
                      <a:lnTo>
                        <a:pt x="15271" y="6340"/>
                      </a:lnTo>
                      <a:lnTo>
                        <a:pt x="27736" y="0"/>
                      </a:lnTo>
                      <a:lnTo>
                        <a:pt x="44232" y="5786"/>
                      </a:lnTo>
                      <a:lnTo>
                        <a:pt x="56428" y="639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Freeform 51">
                  <a:extLst>
                    <a:ext uri="{FF2B5EF4-FFF2-40B4-BE49-F238E27FC236}">
                      <a16:creationId xmlns:a16="http://schemas.microsoft.com/office/drawing/2014/main" id="{D945D97C-243C-4A52-9536-20BA2FC9229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3"/>
                  </p:custDataLst>
                </p:nvPr>
              </p:nvSpPr>
              <p:spPr>
                <a:xfrm>
                  <a:off x="7408507" y="5032022"/>
                  <a:ext cx="236207" cy="23865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20134" h="222411">
                      <a:moveTo>
                        <a:pt x="132811" y="20842"/>
                      </a:moveTo>
                      <a:lnTo>
                        <a:pt x="137456" y="25103"/>
                      </a:lnTo>
                      <a:lnTo>
                        <a:pt x="144713" y="38945"/>
                      </a:lnTo>
                      <a:lnTo>
                        <a:pt x="170836" y="65305"/>
                      </a:lnTo>
                      <a:lnTo>
                        <a:pt x="180721" y="67892"/>
                      </a:lnTo>
                      <a:lnTo>
                        <a:pt x="180778" y="76386"/>
                      </a:lnTo>
                      <a:lnTo>
                        <a:pt x="187568" y="91688"/>
                      </a:lnTo>
                      <a:lnTo>
                        <a:pt x="205417" y="95397"/>
                      </a:lnTo>
                      <a:lnTo>
                        <a:pt x="220133" y="106333"/>
                      </a:lnTo>
                      <a:lnTo>
                        <a:pt x="187472" y="124204"/>
                      </a:lnTo>
                      <a:lnTo>
                        <a:pt x="166748" y="142382"/>
                      </a:lnTo>
                      <a:lnTo>
                        <a:pt x="159061" y="158662"/>
                      </a:lnTo>
                      <a:lnTo>
                        <a:pt x="152121" y="167863"/>
                      </a:lnTo>
                      <a:lnTo>
                        <a:pt x="139562" y="169826"/>
                      </a:lnTo>
                      <a:lnTo>
                        <a:pt x="135504" y="181575"/>
                      </a:lnTo>
                      <a:lnTo>
                        <a:pt x="133169" y="189252"/>
                      </a:lnTo>
                      <a:lnTo>
                        <a:pt x="118407" y="194989"/>
                      </a:lnTo>
                      <a:lnTo>
                        <a:pt x="99620" y="193770"/>
                      </a:lnTo>
                      <a:lnTo>
                        <a:pt x="88594" y="186871"/>
                      </a:lnTo>
                      <a:lnTo>
                        <a:pt x="78865" y="183883"/>
                      </a:lnTo>
                      <a:lnTo>
                        <a:pt x="67605" y="189588"/>
                      </a:lnTo>
                      <a:lnTo>
                        <a:pt x="61956" y="201399"/>
                      </a:lnTo>
                      <a:lnTo>
                        <a:pt x="51025" y="208831"/>
                      </a:lnTo>
                      <a:lnTo>
                        <a:pt x="39481" y="219880"/>
                      </a:lnTo>
                      <a:lnTo>
                        <a:pt x="22948" y="222410"/>
                      </a:lnTo>
                      <a:lnTo>
                        <a:pt x="17797" y="213710"/>
                      </a:lnTo>
                      <a:lnTo>
                        <a:pt x="19924" y="198651"/>
                      </a:lnTo>
                      <a:lnTo>
                        <a:pt x="6238" y="175264"/>
                      </a:lnTo>
                      <a:lnTo>
                        <a:pt x="7" y="171578"/>
                      </a:lnTo>
                      <a:lnTo>
                        <a:pt x="0" y="100470"/>
                      </a:lnTo>
                      <a:lnTo>
                        <a:pt x="22752" y="99627"/>
                      </a:lnTo>
                      <a:lnTo>
                        <a:pt x="23433" y="14069"/>
                      </a:lnTo>
                      <a:lnTo>
                        <a:pt x="40616" y="13280"/>
                      </a:lnTo>
                      <a:lnTo>
                        <a:pt x="76205" y="4935"/>
                      </a:lnTo>
                      <a:lnTo>
                        <a:pt x="85026" y="14762"/>
                      </a:lnTo>
                      <a:lnTo>
                        <a:pt x="99761" y="5419"/>
                      </a:lnTo>
                      <a:lnTo>
                        <a:pt x="106763" y="5366"/>
                      </a:lnTo>
                      <a:lnTo>
                        <a:pt x="119775" y="0"/>
                      </a:lnTo>
                      <a:lnTo>
                        <a:pt x="123925" y="177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Freeform 52">
                  <a:extLst>
                    <a:ext uri="{FF2B5EF4-FFF2-40B4-BE49-F238E27FC236}">
                      <a16:creationId xmlns:a16="http://schemas.microsoft.com/office/drawing/2014/main" id="{284115BA-E3F3-4B1B-BB6B-B21407449D9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4"/>
                  </p:custDataLst>
                </p:nvPr>
              </p:nvSpPr>
              <p:spPr>
                <a:xfrm>
                  <a:off x="7273866" y="4312977"/>
                  <a:ext cx="319876" cy="22092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110" h="205890">
                      <a:moveTo>
                        <a:pt x="18929" y="86615"/>
                      </a:moveTo>
                      <a:lnTo>
                        <a:pt x="38014" y="84871"/>
                      </a:lnTo>
                      <a:lnTo>
                        <a:pt x="42268" y="78900"/>
                      </a:lnTo>
                      <a:lnTo>
                        <a:pt x="46091" y="79353"/>
                      </a:lnTo>
                      <a:lnTo>
                        <a:pt x="51857" y="84610"/>
                      </a:lnTo>
                      <a:lnTo>
                        <a:pt x="80917" y="75728"/>
                      </a:lnTo>
                      <a:lnTo>
                        <a:pt x="90718" y="66658"/>
                      </a:lnTo>
                      <a:lnTo>
                        <a:pt x="102755" y="58533"/>
                      </a:lnTo>
                      <a:lnTo>
                        <a:pt x="100470" y="50345"/>
                      </a:lnTo>
                      <a:lnTo>
                        <a:pt x="106979" y="48206"/>
                      </a:lnTo>
                      <a:lnTo>
                        <a:pt x="129270" y="49652"/>
                      </a:lnTo>
                      <a:lnTo>
                        <a:pt x="150995" y="38869"/>
                      </a:lnTo>
                      <a:lnTo>
                        <a:pt x="167682" y="13435"/>
                      </a:lnTo>
                      <a:lnTo>
                        <a:pt x="179392" y="3984"/>
                      </a:lnTo>
                      <a:lnTo>
                        <a:pt x="194005" y="0"/>
                      </a:lnTo>
                      <a:lnTo>
                        <a:pt x="196622" y="9994"/>
                      </a:lnTo>
                      <a:lnTo>
                        <a:pt x="209935" y="24580"/>
                      </a:lnTo>
                      <a:lnTo>
                        <a:pt x="210003" y="34088"/>
                      </a:lnTo>
                      <a:lnTo>
                        <a:pt x="206252" y="43779"/>
                      </a:lnTo>
                      <a:lnTo>
                        <a:pt x="207735" y="51011"/>
                      </a:lnTo>
                      <a:lnTo>
                        <a:pt x="215740" y="57709"/>
                      </a:lnTo>
                      <a:lnTo>
                        <a:pt x="233319" y="67870"/>
                      </a:lnTo>
                      <a:lnTo>
                        <a:pt x="245958" y="77256"/>
                      </a:lnTo>
                      <a:lnTo>
                        <a:pt x="246171" y="84801"/>
                      </a:lnTo>
                      <a:lnTo>
                        <a:pt x="261694" y="96884"/>
                      </a:lnTo>
                      <a:lnTo>
                        <a:pt x="271314" y="106916"/>
                      </a:lnTo>
                      <a:lnTo>
                        <a:pt x="277142" y="120816"/>
                      </a:lnTo>
                      <a:lnTo>
                        <a:pt x="294397" y="129981"/>
                      </a:lnTo>
                      <a:lnTo>
                        <a:pt x="298109" y="137320"/>
                      </a:lnTo>
                      <a:lnTo>
                        <a:pt x="290488" y="139775"/>
                      </a:lnTo>
                      <a:lnTo>
                        <a:pt x="275685" y="139242"/>
                      </a:lnTo>
                      <a:lnTo>
                        <a:pt x="258319" y="136807"/>
                      </a:lnTo>
                      <a:lnTo>
                        <a:pt x="249741" y="138790"/>
                      </a:lnTo>
                      <a:lnTo>
                        <a:pt x="246279" y="144417"/>
                      </a:lnTo>
                      <a:lnTo>
                        <a:pt x="238805" y="145111"/>
                      </a:lnTo>
                      <a:lnTo>
                        <a:pt x="229699" y="140216"/>
                      </a:lnTo>
                      <a:lnTo>
                        <a:pt x="204001" y="151763"/>
                      </a:lnTo>
                      <a:lnTo>
                        <a:pt x="193481" y="149440"/>
                      </a:lnTo>
                      <a:lnTo>
                        <a:pt x="190310" y="151223"/>
                      </a:lnTo>
                      <a:lnTo>
                        <a:pt x="183409" y="165188"/>
                      </a:lnTo>
                      <a:lnTo>
                        <a:pt x="166189" y="160675"/>
                      </a:lnTo>
                      <a:lnTo>
                        <a:pt x="149303" y="158399"/>
                      </a:lnTo>
                      <a:lnTo>
                        <a:pt x="134602" y="149867"/>
                      </a:lnTo>
                      <a:lnTo>
                        <a:pt x="115607" y="142004"/>
                      </a:lnTo>
                      <a:lnTo>
                        <a:pt x="103247" y="149454"/>
                      </a:lnTo>
                      <a:lnTo>
                        <a:pt x="94260" y="161196"/>
                      </a:lnTo>
                      <a:lnTo>
                        <a:pt x="92185" y="177318"/>
                      </a:lnTo>
                      <a:lnTo>
                        <a:pt x="77339" y="176028"/>
                      </a:lnTo>
                      <a:lnTo>
                        <a:pt x="61715" y="172145"/>
                      </a:lnTo>
                      <a:lnTo>
                        <a:pt x="47958" y="184392"/>
                      </a:lnTo>
                      <a:lnTo>
                        <a:pt x="35858" y="205889"/>
                      </a:lnTo>
                      <a:lnTo>
                        <a:pt x="33423" y="199197"/>
                      </a:lnTo>
                      <a:lnTo>
                        <a:pt x="32393" y="188659"/>
                      </a:lnTo>
                      <a:lnTo>
                        <a:pt x="21836" y="181225"/>
                      </a:lnTo>
                      <a:lnTo>
                        <a:pt x="13315" y="169298"/>
                      </a:lnTo>
                      <a:lnTo>
                        <a:pt x="11347" y="160998"/>
                      </a:lnTo>
                      <a:lnTo>
                        <a:pt x="438" y="148920"/>
                      </a:lnTo>
                      <a:lnTo>
                        <a:pt x="2297" y="142026"/>
                      </a:lnTo>
                      <a:lnTo>
                        <a:pt x="0" y="132278"/>
                      </a:lnTo>
                      <a:lnTo>
                        <a:pt x="1781" y="114324"/>
                      </a:lnTo>
                      <a:lnTo>
                        <a:pt x="7321" y="11011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Freeform 53">
                  <a:extLst>
                    <a:ext uri="{FF2B5EF4-FFF2-40B4-BE49-F238E27FC236}">
                      <a16:creationId xmlns:a16="http://schemas.microsoft.com/office/drawing/2014/main" id="{F573FEF8-D6BD-463D-A9E2-E5E4ACE0BB1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5"/>
                  </p:custDataLst>
                </p:nvPr>
              </p:nvSpPr>
              <p:spPr>
                <a:xfrm>
                  <a:off x="8740529" y="3122555"/>
                  <a:ext cx="1519543" cy="10118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6144" h="943012">
                      <a:moveTo>
                        <a:pt x="843354" y="897452"/>
                      </a:moveTo>
                      <a:lnTo>
                        <a:pt x="856626" y="898022"/>
                      </a:lnTo>
                      <a:lnTo>
                        <a:pt x="861784" y="907181"/>
                      </a:lnTo>
                      <a:lnTo>
                        <a:pt x="851642" y="917726"/>
                      </a:lnTo>
                      <a:lnTo>
                        <a:pt x="846299" y="931538"/>
                      </a:lnTo>
                      <a:lnTo>
                        <a:pt x="826356" y="943012"/>
                      </a:lnTo>
                      <a:lnTo>
                        <a:pt x="807429" y="935615"/>
                      </a:lnTo>
                      <a:lnTo>
                        <a:pt x="806760" y="915044"/>
                      </a:lnTo>
                      <a:lnTo>
                        <a:pt x="818135" y="904180"/>
                      </a:lnTo>
                      <a:close/>
                      <a:moveTo>
                        <a:pt x="1151736" y="0"/>
                      </a:moveTo>
                      <a:lnTo>
                        <a:pt x="1186285" y="9344"/>
                      </a:lnTo>
                      <a:lnTo>
                        <a:pt x="1206555" y="20851"/>
                      </a:lnTo>
                      <a:lnTo>
                        <a:pt x="1220820" y="52095"/>
                      </a:lnTo>
                      <a:lnTo>
                        <a:pt x="1229471" y="65309"/>
                      </a:lnTo>
                      <a:lnTo>
                        <a:pt x="1237510" y="84045"/>
                      </a:lnTo>
                      <a:lnTo>
                        <a:pt x="1246050" y="113648"/>
                      </a:lnTo>
                      <a:lnTo>
                        <a:pt x="1286223" y="123236"/>
                      </a:lnTo>
                      <a:lnTo>
                        <a:pt x="1313564" y="144432"/>
                      </a:lnTo>
                      <a:lnTo>
                        <a:pt x="1322913" y="172186"/>
                      </a:lnTo>
                      <a:lnTo>
                        <a:pt x="1357984" y="172220"/>
                      </a:lnTo>
                      <a:lnTo>
                        <a:pt x="1377995" y="160603"/>
                      </a:lnTo>
                      <a:lnTo>
                        <a:pt x="1416144" y="151888"/>
                      </a:lnTo>
                      <a:lnTo>
                        <a:pt x="1404014" y="178399"/>
                      </a:lnTo>
                      <a:lnTo>
                        <a:pt x="1395048" y="189107"/>
                      </a:lnTo>
                      <a:lnTo>
                        <a:pt x="1387137" y="220911"/>
                      </a:lnTo>
                      <a:lnTo>
                        <a:pt x="1371614" y="248849"/>
                      </a:lnTo>
                      <a:lnTo>
                        <a:pt x="1343598" y="243784"/>
                      </a:lnTo>
                      <a:lnTo>
                        <a:pt x="1323788" y="253877"/>
                      </a:lnTo>
                      <a:lnTo>
                        <a:pt x="1329867" y="278199"/>
                      </a:lnTo>
                      <a:lnTo>
                        <a:pt x="1326546" y="311420"/>
                      </a:lnTo>
                      <a:lnTo>
                        <a:pt x="1314755" y="312174"/>
                      </a:lnTo>
                      <a:lnTo>
                        <a:pt x="1314897" y="326338"/>
                      </a:lnTo>
                      <a:lnTo>
                        <a:pt x="1299991" y="309871"/>
                      </a:lnTo>
                      <a:lnTo>
                        <a:pt x="1290813" y="325504"/>
                      </a:lnTo>
                      <a:lnTo>
                        <a:pt x="1255163" y="337463"/>
                      </a:lnTo>
                      <a:lnTo>
                        <a:pt x="1258769" y="352046"/>
                      </a:lnTo>
                      <a:lnTo>
                        <a:pt x="1238811" y="351043"/>
                      </a:lnTo>
                      <a:lnTo>
                        <a:pt x="1227853" y="342384"/>
                      </a:lnTo>
                      <a:lnTo>
                        <a:pt x="1211995" y="361942"/>
                      </a:lnTo>
                      <a:lnTo>
                        <a:pt x="1186555" y="376681"/>
                      </a:lnTo>
                      <a:lnTo>
                        <a:pt x="1167759" y="394176"/>
                      </a:lnTo>
                      <a:lnTo>
                        <a:pt x="1135488" y="402073"/>
                      </a:lnTo>
                      <a:lnTo>
                        <a:pt x="1118495" y="414728"/>
                      </a:lnTo>
                      <a:lnTo>
                        <a:pt x="1093638" y="422097"/>
                      </a:lnTo>
                      <a:lnTo>
                        <a:pt x="1105906" y="409578"/>
                      </a:lnTo>
                      <a:lnTo>
                        <a:pt x="1101076" y="399020"/>
                      </a:lnTo>
                      <a:lnTo>
                        <a:pt x="1119353" y="380710"/>
                      </a:lnTo>
                      <a:lnTo>
                        <a:pt x="1107161" y="366363"/>
                      </a:lnTo>
                      <a:lnTo>
                        <a:pt x="1087039" y="376037"/>
                      </a:lnTo>
                      <a:lnTo>
                        <a:pt x="1060978" y="395004"/>
                      </a:lnTo>
                      <a:lnTo>
                        <a:pt x="1046755" y="412515"/>
                      </a:lnTo>
                      <a:lnTo>
                        <a:pt x="1024118" y="413814"/>
                      </a:lnTo>
                      <a:lnTo>
                        <a:pt x="1012345" y="426404"/>
                      </a:lnTo>
                      <a:lnTo>
                        <a:pt x="1024509" y="444559"/>
                      </a:lnTo>
                      <a:lnTo>
                        <a:pt x="1043401" y="448951"/>
                      </a:lnTo>
                      <a:lnTo>
                        <a:pt x="1044175" y="460932"/>
                      </a:lnTo>
                      <a:lnTo>
                        <a:pt x="1062436" y="468704"/>
                      </a:lnTo>
                      <a:lnTo>
                        <a:pt x="1088304" y="449671"/>
                      </a:lnTo>
                      <a:lnTo>
                        <a:pt x="1108797" y="460061"/>
                      </a:lnTo>
                      <a:lnTo>
                        <a:pt x="1123724" y="460771"/>
                      </a:lnTo>
                      <a:lnTo>
                        <a:pt x="1127465" y="474700"/>
                      </a:lnTo>
                      <a:lnTo>
                        <a:pt x="1094783" y="482102"/>
                      </a:lnTo>
                      <a:lnTo>
                        <a:pt x="1084001" y="496365"/>
                      </a:lnTo>
                      <a:lnTo>
                        <a:pt x="1061553" y="509565"/>
                      </a:lnTo>
                      <a:lnTo>
                        <a:pt x="1049704" y="527899"/>
                      </a:lnTo>
                      <a:lnTo>
                        <a:pt x="1074549" y="542227"/>
                      </a:lnTo>
                      <a:lnTo>
                        <a:pt x="1083616" y="567730"/>
                      </a:lnTo>
                      <a:lnTo>
                        <a:pt x="1097665" y="591333"/>
                      </a:lnTo>
                      <a:lnTo>
                        <a:pt x="1113342" y="611004"/>
                      </a:lnTo>
                      <a:lnTo>
                        <a:pt x="1112967" y="629932"/>
                      </a:lnTo>
                      <a:lnTo>
                        <a:pt x="1098479" y="636867"/>
                      </a:lnTo>
                      <a:lnTo>
                        <a:pt x="1104002" y="650378"/>
                      </a:lnTo>
                      <a:lnTo>
                        <a:pt x="1117588" y="658220"/>
                      </a:lnTo>
                      <a:lnTo>
                        <a:pt x="1114041" y="678728"/>
                      </a:lnTo>
                      <a:lnTo>
                        <a:pt x="1108178" y="698586"/>
                      </a:lnTo>
                      <a:lnTo>
                        <a:pt x="1095280" y="700831"/>
                      </a:lnTo>
                      <a:lnTo>
                        <a:pt x="1078425" y="727795"/>
                      </a:lnTo>
                      <a:lnTo>
                        <a:pt x="1059729" y="760271"/>
                      </a:lnTo>
                      <a:lnTo>
                        <a:pt x="1038294" y="789607"/>
                      </a:lnTo>
                      <a:lnTo>
                        <a:pt x="1006549" y="812174"/>
                      </a:lnTo>
                      <a:lnTo>
                        <a:pt x="974443" y="832667"/>
                      </a:lnTo>
                      <a:lnTo>
                        <a:pt x="948432" y="835456"/>
                      </a:lnTo>
                      <a:lnTo>
                        <a:pt x="934322" y="846237"/>
                      </a:lnTo>
                      <a:lnTo>
                        <a:pt x="926341" y="838364"/>
                      </a:lnTo>
                      <a:lnTo>
                        <a:pt x="913283" y="850415"/>
                      </a:lnTo>
                      <a:lnTo>
                        <a:pt x="881025" y="862533"/>
                      </a:lnTo>
                      <a:lnTo>
                        <a:pt x="856601" y="866239"/>
                      </a:lnTo>
                      <a:lnTo>
                        <a:pt x="848719" y="891689"/>
                      </a:lnTo>
                      <a:lnTo>
                        <a:pt x="835928" y="893098"/>
                      </a:lnTo>
                      <a:lnTo>
                        <a:pt x="829875" y="875624"/>
                      </a:lnTo>
                      <a:lnTo>
                        <a:pt x="835342" y="866289"/>
                      </a:lnTo>
                      <a:lnTo>
                        <a:pt x="804372" y="858551"/>
                      </a:lnTo>
                      <a:lnTo>
                        <a:pt x="793463" y="862488"/>
                      </a:lnTo>
                      <a:lnTo>
                        <a:pt x="770224" y="856212"/>
                      </a:lnTo>
                      <a:lnTo>
                        <a:pt x="759233" y="846372"/>
                      </a:lnTo>
                      <a:lnTo>
                        <a:pt x="762883" y="832391"/>
                      </a:lnTo>
                      <a:lnTo>
                        <a:pt x="741782" y="827950"/>
                      </a:lnTo>
                      <a:lnTo>
                        <a:pt x="730656" y="818817"/>
                      </a:lnTo>
                      <a:lnTo>
                        <a:pt x="710981" y="831786"/>
                      </a:lnTo>
                      <a:lnTo>
                        <a:pt x="688537" y="834590"/>
                      </a:lnTo>
                      <a:lnTo>
                        <a:pt x="670128" y="834467"/>
                      </a:lnTo>
                      <a:lnTo>
                        <a:pt x="657742" y="840393"/>
                      </a:lnTo>
                      <a:lnTo>
                        <a:pt x="645776" y="843948"/>
                      </a:lnTo>
                      <a:lnTo>
                        <a:pt x="649264" y="871616"/>
                      </a:lnTo>
                      <a:lnTo>
                        <a:pt x="636958" y="870958"/>
                      </a:lnTo>
                      <a:lnTo>
                        <a:pt x="634881" y="865286"/>
                      </a:lnTo>
                      <a:lnTo>
                        <a:pt x="634189" y="855290"/>
                      </a:lnTo>
                      <a:lnTo>
                        <a:pt x="617258" y="862332"/>
                      </a:lnTo>
                      <a:lnTo>
                        <a:pt x="607262" y="857880"/>
                      </a:lnTo>
                      <a:lnTo>
                        <a:pt x="590121" y="848793"/>
                      </a:lnTo>
                      <a:lnTo>
                        <a:pt x="596840" y="828628"/>
                      </a:lnTo>
                      <a:lnTo>
                        <a:pt x="582223" y="823915"/>
                      </a:lnTo>
                      <a:lnTo>
                        <a:pt x="576719" y="801457"/>
                      </a:lnTo>
                      <a:lnTo>
                        <a:pt x="552354" y="805511"/>
                      </a:lnTo>
                      <a:lnTo>
                        <a:pt x="555121" y="776447"/>
                      </a:lnTo>
                      <a:lnTo>
                        <a:pt x="576985" y="755881"/>
                      </a:lnTo>
                      <a:lnTo>
                        <a:pt x="577915" y="735478"/>
                      </a:lnTo>
                      <a:lnTo>
                        <a:pt x="577237" y="716466"/>
                      </a:lnTo>
                      <a:lnTo>
                        <a:pt x="567161" y="710526"/>
                      </a:lnTo>
                      <a:lnTo>
                        <a:pt x="559446" y="695824"/>
                      </a:lnTo>
                      <a:lnTo>
                        <a:pt x="545945" y="697684"/>
                      </a:lnTo>
                      <a:lnTo>
                        <a:pt x="521056" y="693946"/>
                      </a:lnTo>
                      <a:lnTo>
                        <a:pt x="528853" y="683423"/>
                      </a:lnTo>
                      <a:lnTo>
                        <a:pt x="518028" y="667794"/>
                      </a:lnTo>
                      <a:lnTo>
                        <a:pt x="501574" y="678384"/>
                      </a:lnTo>
                      <a:lnTo>
                        <a:pt x="482211" y="672207"/>
                      </a:lnTo>
                      <a:lnTo>
                        <a:pt x="455605" y="688196"/>
                      </a:lnTo>
                      <a:lnTo>
                        <a:pt x="434595" y="706794"/>
                      </a:lnTo>
                      <a:lnTo>
                        <a:pt x="415980" y="709915"/>
                      </a:lnTo>
                      <a:lnTo>
                        <a:pt x="405874" y="703206"/>
                      </a:lnTo>
                      <a:lnTo>
                        <a:pt x="393678" y="702598"/>
                      </a:lnTo>
                      <a:lnTo>
                        <a:pt x="377182" y="696812"/>
                      </a:lnTo>
                      <a:lnTo>
                        <a:pt x="364717" y="703152"/>
                      </a:lnTo>
                      <a:lnTo>
                        <a:pt x="349446" y="721679"/>
                      </a:lnTo>
                      <a:lnTo>
                        <a:pt x="347509" y="702051"/>
                      </a:lnTo>
                      <a:lnTo>
                        <a:pt x="333431" y="707301"/>
                      </a:lnTo>
                      <a:lnTo>
                        <a:pt x="306519" y="704862"/>
                      </a:lnTo>
                      <a:lnTo>
                        <a:pt x="280407" y="699134"/>
                      </a:lnTo>
                      <a:lnTo>
                        <a:pt x="261672" y="688142"/>
                      </a:lnTo>
                      <a:lnTo>
                        <a:pt x="243735" y="683199"/>
                      </a:lnTo>
                      <a:lnTo>
                        <a:pt x="235989" y="671131"/>
                      </a:lnTo>
                      <a:lnTo>
                        <a:pt x="223019" y="667518"/>
                      </a:lnTo>
                      <a:lnTo>
                        <a:pt x="199715" y="651077"/>
                      </a:lnTo>
                      <a:lnTo>
                        <a:pt x="181209" y="643296"/>
                      </a:lnTo>
                      <a:lnTo>
                        <a:pt x="171640" y="649352"/>
                      </a:lnTo>
                      <a:lnTo>
                        <a:pt x="139558" y="631625"/>
                      </a:lnTo>
                      <a:lnTo>
                        <a:pt x="116880" y="615503"/>
                      </a:lnTo>
                      <a:lnTo>
                        <a:pt x="110406" y="587278"/>
                      </a:lnTo>
                      <a:lnTo>
                        <a:pt x="126973" y="590730"/>
                      </a:lnTo>
                      <a:lnTo>
                        <a:pt x="127729" y="577595"/>
                      </a:lnTo>
                      <a:lnTo>
                        <a:pt x="118546" y="564383"/>
                      </a:lnTo>
                      <a:lnTo>
                        <a:pt x="120882" y="543225"/>
                      </a:lnTo>
                      <a:lnTo>
                        <a:pt x="96072" y="512604"/>
                      </a:lnTo>
                      <a:lnTo>
                        <a:pt x="58110" y="501977"/>
                      </a:lnTo>
                      <a:lnTo>
                        <a:pt x="51279" y="481692"/>
                      </a:lnTo>
                      <a:lnTo>
                        <a:pt x="34224" y="469325"/>
                      </a:lnTo>
                      <a:lnTo>
                        <a:pt x="30114" y="461690"/>
                      </a:lnTo>
                      <a:lnTo>
                        <a:pt x="26652" y="446472"/>
                      </a:lnTo>
                      <a:lnTo>
                        <a:pt x="27456" y="436050"/>
                      </a:lnTo>
                      <a:lnTo>
                        <a:pt x="13438" y="429933"/>
                      </a:lnTo>
                      <a:lnTo>
                        <a:pt x="5851" y="432640"/>
                      </a:lnTo>
                      <a:lnTo>
                        <a:pt x="0" y="407673"/>
                      </a:lnTo>
                      <a:lnTo>
                        <a:pt x="6571" y="401470"/>
                      </a:lnTo>
                      <a:lnTo>
                        <a:pt x="3391" y="395115"/>
                      </a:lnTo>
                      <a:lnTo>
                        <a:pt x="25426" y="382241"/>
                      </a:lnTo>
                      <a:lnTo>
                        <a:pt x="41375" y="376894"/>
                      </a:lnTo>
                      <a:lnTo>
                        <a:pt x="65809" y="380560"/>
                      </a:lnTo>
                      <a:lnTo>
                        <a:pt x="74537" y="363065"/>
                      </a:lnTo>
                      <a:lnTo>
                        <a:pt x="104145" y="359798"/>
                      </a:lnTo>
                      <a:lnTo>
                        <a:pt x="112373" y="348860"/>
                      </a:lnTo>
                      <a:lnTo>
                        <a:pt x="148746" y="333868"/>
                      </a:lnTo>
                      <a:lnTo>
                        <a:pt x="151991" y="327590"/>
                      </a:lnTo>
                      <a:lnTo>
                        <a:pt x="150148" y="311697"/>
                      </a:lnTo>
                      <a:lnTo>
                        <a:pt x="165984" y="304412"/>
                      </a:lnTo>
                      <a:lnTo>
                        <a:pt x="145207" y="255315"/>
                      </a:lnTo>
                      <a:lnTo>
                        <a:pt x="190933" y="243902"/>
                      </a:lnTo>
                      <a:lnTo>
                        <a:pt x="202748" y="237523"/>
                      </a:lnTo>
                      <a:lnTo>
                        <a:pt x="219404" y="185672"/>
                      </a:lnTo>
                      <a:lnTo>
                        <a:pt x="265195" y="195276"/>
                      </a:lnTo>
                      <a:lnTo>
                        <a:pt x="278033" y="182075"/>
                      </a:lnTo>
                      <a:lnTo>
                        <a:pt x="279136" y="152554"/>
                      </a:lnTo>
                      <a:lnTo>
                        <a:pt x="298307" y="149787"/>
                      </a:lnTo>
                      <a:lnTo>
                        <a:pt x="315877" y="129981"/>
                      </a:lnTo>
                      <a:lnTo>
                        <a:pt x="324910" y="127525"/>
                      </a:lnTo>
                      <a:lnTo>
                        <a:pt x="330970" y="148296"/>
                      </a:lnTo>
                      <a:lnTo>
                        <a:pt x="350371" y="163976"/>
                      </a:lnTo>
                      <a:lnTo>
                        <a:pt x="383298" y="175022"/>
                      </a:lnTo>
                      <a:lnTo>
                        <a:pt x="399225" y="198561"/>
                      </a:lnTo>
                      <a:lnTo>
                        <a:pt x="390337" y="232352"/>
                      </a:lnTo>
                      <a:lnTo>
                        <a:pt x="398642" y="244788"/>
                      </a:lnTo>
                      <a:lnTo>
                        <a:pt x="426072" y="249677"/>
                      </a:lnTo>
                      <a:lnTo>
                        <a:pt x="457161" y="253662"/>
                      </a:lnTo>
                      <a:lnTo>
                        <a:pt x="485049" y="271381"/>
                      </a:lnTo>
                      <a:lnTo>
                        <a:pt x="499313" y="274526"/>
                      </a:lnTo>
                      <a:lnTo>
                        <a:pt x="509829" y="300511"/>
                      </a:lnTo>
                      <a:lnTo>
                        <a:pt x="523377" y="317127"/>
                      </a:lnTo>
                      <a:lnTo>
                        <a:pt x="548823" y="316478"/>
                      </a:lnTo>
                      <a:lnTo>
                        <a:pt x="596467" y="322729"/>
                      </a:lnTo>
                      <a:lnTo>
                        <a:pt x="627168" y="318852"/>
                      </a:lnTo>
                      <a:lnTo>
                        <a:pt x="649955" y="323002"/>
                      </a:lnTo>
                      <a:lnTo>
                        <a:pt x="684099" y="339868"/>
                      </a:lnTo>
                      <a:lnTo>
                        <a:pt x="712030" y="339844"/>
                      </a:lnTo>
                      <a:lnTo>
                        <a:pt x="722249" y="348441"/>
                      </a:lnTo>
                      <a:lnTo>
                        <a:pt x="749124" y="333580"/>
                      </a:lnTo>
                      <a:lnTo>
                        <a:pt x="786413" y="323931"/>
                      </a:lnTo>
                      <a:lnTo>
                        <a:pt x="821010" y="322875"/>
                      </a:lnTo>
                      <a:lnTo>
                        <a:pt x="847982" y="313062"/>
                      </a:lnTo>
                      <a:lnTo>
                        <a:pt x="864546" y="298058"/>
                      </a:lnTo>
                      <a:lnTo>
                        <a:pt x="880702" y="288599"/>
                      </a:lnTo>
                      <a:lnTo>
                        <a:pt x="876965" y="279283"/>
                      </a:lnTo>
                      <a:lnTo>
                        <a:pt x="869594" y="268400"/>
                      </a:lnTo>
                      <a:lnTo>
                        <a:pt x="881711" y="250048"/>
                      </a:lnTo>
                      <a:lnTo>
                        <a:pt x="894701" y="252630"/>
                      </a:lnTo>
                      <a:lnTo>
                        <a:pt x="918426" y="258410"/>
                      </a:lnTo>
                      <a:lnTo>
                        <a:pt x="941427" y="243250"/>
                      </a:lnTo>
                      <a:lnTo>
                        <a:pt x="976622" y="232136"/>
                      </a:lnTo>
                      <a:lnTo>
                        <a:pt x="993536" y="213070"/>
                      </a:lnTo>
                      <a:lnTo>
                        <a:pt x="1009782" y="204822"/>
                      </a:lnTo>
                      <a:lnTo>
                        <a:pt x="1043313" y="200967"/>
                      </a:lnTo>
                      <a:lnTo>
                        <a:pt x="1061524" y="204243"/>
                      </a:lnTo>
                      <a:lnTo>
                        <a:pt x="1064053" y="193904"/>
                      </a:lnTo>
                      <a:lnTo>
                        <a:pt x="1043134" y="173451"/>
                      </a:lnTo>
                      <a:lnTo>
                        <a:pt x="1024612" y="164045"/>
                      </a:lnTo>
                      <a:lnTo>
                        <a:pt x="1006870" y="174900"/>
                      </a:lnTo>
                      <a:lnTo>
                        <a:pt x="984098" y="170326"/>
                      </a:lnTo>
                      <a:lnTo>
                        <a:pt x="971030" y="174054"/>
                      </a:lnTo>
                      <a:lnTo>
                        <a:pt x="965085" y="162021"/>
                      </a:lnTo>
                      <a:lnTo>
                        <a:pt x="981393" y="132380"/>
                      </a:lnTo>
                      <a:lnTo>
                        <a:pt x="992634" y="109791"/>
                      </a:lnTo>
                      <a:lnTo>
                        <a:pt x="1020344" y="121128"/>
                      </a:lnTo>
                      <a:lnTo>
                        <a:pt x="1052873" y="102125"/>
                      </a:lnTo>
                      <a:lnTo>
                        <a:pt x="1052663" y="88810"/>
                      </a:lnTo>
                      <a:lnTo>
                        <a:pt x="1073499" y="56423"/>
                      </a:lnTo>
                      <a:lnTo>
                        <a:pt x="1086336" y="46552"/>
                      </a:lnTo>
                      <a:lnTo>
                        <a:pt x="1086050" y="29459"/>
                      </a:lnTo>
                      <a:lnTo>
                        <a:pt x="1073385" y="22064"/>
                      </a:lnTo>
                      <a:lnTo>
                        <a:pt x="1092451" y="6512"/>
                      </a:lnTo>
                      <a:lnTo>
                        <a:pt x="1121134" y="851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Freeform 54">
                  <a:extLst>
                    <a:ext uri="{FF2B5EF4-FFF2-40B4-BE49-F238E27FC236}">
                      <a16:creationId xmlns:a16="http://schemas.microsoft.com/office/drawing/2014/main" id="{7C80841A-E27F-455D-8901-DAC7D404D65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6"/>
                  </p:custDataLst>
                </p:nvPr>
              </p:nvSpPr>
              <p:spPr>
                <a:xfrm>
                  <a:off x="7064904" y="3306029"/>
                  <a:ext cx="109479" cy="6407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2029" h="59718">
                      <a:moveTo>
                        <a:pt x="82443" y="8975"/>
                      </a:moveTo>
                      <a:lnTo>
                        <a:pt x="83336" y="14169"/>
                      </a:lnTo>
                      <a:lnTo>
                        <a:pt x="79806" y="21319"/>
                      </a:lnTo>
                      <a:lnTo>
                        <a:pt x="90250" y="26624"/>
                      </a:lnTo>
                      <a:lnTo>
                        <a:pt x="102028" y="27415"/>
                      </a:lnTo>
                      <a:lnTo>
                        <a:pt x="100197" y="39319"/>
                      </a:lnTo>
                      <a:lnTo>
                        <a:pt x="90028" y="44202"/>
                      </a:lnTo>
                      <a:lnTo>
                        <a:pt x="72948" y="40576"/>
                      </a:lnTo>
                      <a:lnTo>
                        <a:pt x="67949" y="52230"/>
                      </a:lnTo>
                      <a:lnTo>
                        <a:pt x="56953" y="53146"/>
                      </a:lnTo>
                      <a:lnTo>
                        <a:pt x="52953" y="48573"/>
                      </a:lnTo>
                      <a:lnTo>
                        <a:pt x="40012" y="58350"/>
                      </a:lnTo>
                      <a:lnTo>
                        <a:pt x="28882" y="59717"/>
                      </a:lnTo>
                      <a:lnTo>
                        <a:pt x="18951" y="53550"/>
                      </a:lnTo>
                      <a:lnTo>
                        <a:pt x="11022" y="40881"/>
                      </a:lnTo>
                      <a:lnTo>
                        <a:pt x="0" y="45414"/>
                      </a:lnTo>
                      <a:lnTo>
                        <a:pt x="341" y="32293"/>
                      </a:lnTo>
                      <a:lnTo>
                        <a:pt x="17223" y="15920"/>
                      </a:lnTo>
                      <a:lnTo>
                        <a:pt x="16480" y="8484"/>
                      </a:lnTo>
                      <a:lnTo>
                        <a:pt x="26998" y="11180"/>
                      </a:lnTo>
                      <a:lnTo>
                        <a:pt x="33335" y="6175"/>
                      </a:lnTo>
                      <a:lnTo>
                        <a:pt x="52968" y="6380"/>
                      </a:lnTo>
                      <a:lnTo>
                        <a:pt x="57707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Freeform 55">
                  <a:extLst>
                    <a:ext uri="{FF2B5EF4-FFF2-40B4-BE49-F238E27FC236}">
                      <a16:creationId xmlns:a16="http://schemas.microsoft.com/office/drawing/2014/main" id="{53A279E5-A3C2-4710-88FA-F462CAD9376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7"/>
                  </p:custDataLst>
                </p:nvPr>
              </p:nvSpPr>
              <p:spPr>
                <a:xfrm>
                  <a:off x="6702658" y="4328469"/>
                  <a:ext cx="149617" cy="15408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9436" h="143603">
                      <a:moveTo>
                        <a:pt x="132651" y="128423"/>
                      </a:moveTo>
                      <a:lnTo>
                        <a:pt x="122149" y="128659"/>
                      </a:lnTo>
                      <a:lnTo>
                        <a:pt x="106043" y="124134"/>
                      </a:lnTo>
                      <a:lnTo>
                        <a:pt x="91245" y="124402"/>
                      </a:lnTo>
                      <a:lnTo>
                        <a:pt x="63902" y="128441"/>
                      </a:lnTo>
                      <a:lnTo>
                        <a:pt x="47876" y="135118"/>
                      </a:lnTo>
                      <a:lnTo>
                        <a:pt x="25020" y="143602"/>
                      </a:lnTo>
                      <a:lnTo>
                        <a:pt x="20560" y="142994"/>
                      </a:lnTo>
                      <a:lnTo>
                        <a:pt x="22333" y="123941"/>
                      </a:lnTo>
                      <a:lnTo>
                        <a:pt x="24540" y="121044"/>
                      </a:lnTo>
                      <a:lnTo>
                        <a:pt x="23838" y="111922"/>
                      </a:lnTo>
                      <a:lnTo>
                        <a:pt x="14062" y="102221"/>
                      </a:lnTo>
                      <a:lnTo>
                        <a:pt x="6729" y="100672"/>
                      </a:lnTo>
                      <a:lnTo>
                        <a:pt x="0" y="94310"/>
                      </a:lnTo>
                      <a:lnTo>
                        <a:pt x="5019" y="84011"/>
                      </a:lnTo>
                      <a:lnTo>
                        <a:pt x="2711" y="72797"/>
                      </a:lnTo>
                      <a:lnTo>
                        <a:pt x="3776" y="66047"/>
                      </a:lnTo>
                      <a:lnTo>
                        <a:pt x="7436" y="66020"/>
                      </a:lnTo>
                      <a:lnTo>
                        <a:pt x="8796" y="55891"/>
                      </a:lnTo>
                      <a:lnTo>
                        <a:pt x="7013" y="51404"/>
                      </a:lnTo>
                      <a:lnTo>
                        <a:pt x="9219" y="48173"/>
                      </a:lnTo>
                      <a:lnTo>
                        <a:pt x="17792" y="45378"/>
                      </a:lnTo>
                      <a:lnTo>
                        <a:pt x="12090" y="26753"/>
                      </a:lnTo>
                      <a:lnTo>
                        <a:pt x="6769" y="17127"/>
                      </a:lnTo>
                      <a:lnTo>
                        <a:pt x="8622" y="9215"/>
                      </a:lnTo>
                      <a:lnTo>
                        <a:pt x="13225" y="7407"/>
                      </a:lnTo>
                      <a:lnTo>
                        <a:pt x="16234" y="5288"/>
                      </a:lnTo>
                      <a:lnTo>
                        <a:pt x="22624" y="8790"/>
                      </a:lnTo>
                      <a:lnTo>
                        <a:pt x="40450" y="8982"/>
                      </a:lnTo>
                      <a:lnTo>
                        <a:pt x="44698" y="2176"/>
                      </a:lnTo>
                      <a:lnTo>
                        <a:pt x="48679" y="2631"/>
                      </a:lnTo>
                      <a:lnTo>
                        <a:pt x="55344" y="0"/>
                      </a:lnTo>
                      <a:lnTo>
                        <a:pt x="58917" y="9976"/>
                      </a:lnTo>
                      <a:lnTo>
                        <a:pt x="64307" y="7033"/>
                      </a:lnTo>
                      <a:lnTo>
                        <a:pt x="73831" y="3577"/>
                      </a:lnTo>
                      <a:lnTo>
                        <a:pt x="84211" y="8662"/>
                      </a:lnTo>
                      <a:lnTo>
                        <a:pt x="88245" y="16371"/>
                      </a:lnTo>
                      <a:lnTo>
                        <a:pt x="98624" y="21290"/>
                      </a:lnTo>
                      <a:lnTo>
                        <a:pt x="106698" y="15430"/>
                      </a:lnTo>
                      <a:lnTo>
                        <a:pt x="117513" y="14545"/>
                      </a:lnTo>
                      <a:lnTo>
                        <a:pt x="133311" y="20553"/>
                      </a:lnTo>
                      <a:lnTo>
                        <a:pt x="139435" y="53654"/>
                      </a:lnTo>
                      <a:lnTo>
                        <a:pt x="129708" y="73157"/>
                      </a:lnTo>
                      <a:lnTo>
                        <a:pt x="123689" y="99342"/>
                      </a:lnTo>
                      <a:lnTo>
                        <a:pt x="133699" y="11929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Freeform 56">
                  <a:extLst>
                    <a:ext uri="{FF2B5EF4-FFF2-40B4-BE49-F238E27FC236}">
                      <a16:creationId xmlns:a16="http://schemas.microsoft.com/office/drawing/2014/main" id="{49C32C52-3764-4964-A1E9-4C033EB7F08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8"/>
                  </p:custDataLst>
                </p:nvPr>
              </p:nvSpPr>
              <p:spPr>
                <a:xfrm>
                  <a:off x="7125986" y="4269845"/>
                  <a:ext cx="186357" cy="27743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3676" h="258555">
                      <a:moveTo>
                        <a:pt x="105881" y="246098"/>
                      </a:moveTo>
                      <a:lnTo>
                        <a:pt x="103007" y="244839"/>
                      </a:lnTo>
                      <a:lnTo>
                        <a:pt x="89343" y="247814"/>
                      </a:lnTo>
                      <a:lnTo>
                        <a:pt x="75315" y="244720"/>
                      </a:lnTo>
                      <a:lnTo>
                        <a:pt x="64346" y="246238"/>
                      </a:lnTo>
                      <a:lnTo>
                        <a:pt x="26784" y="245711"/>
                      </a:lnTo>
                      <a:lnTo>
                        <a:pt x="30155" y="227473"/>
                      </a:lnTo>
                      <a:lnTo>
                        <a:pt x="21133" y="212195"/>
                      </a:lnTo>
                      <a:lnTo>
                        <a:pt x="10602" y="208275"/>
                      </a:lnTo>
                      <a:lnTo>
                        <a:pt x="5912" y="197915"/>
                      </a:lnTo>
                      <a:lnTo>
                        <a:pt x="0" y="194599"/>
                      </a:lnTo>
                      <a:lnTo>
                        <a:pt x="265" y="188206"/>
                      </a:lnTo>
                      <a:lnTo>
                        <a:pt x="6203" y="171829"/>
                      </a:lnTo>
                      <a:lnTo>
                        <a:pt x="17182" y="149480"/>
                      </a:lnTo>
                      <a:lnTo>
                        <a:pt x="23865" y="149272"/>
                      </a:lnTo>
                      <a:lnTo>
                        <a:pt x="37612" y="135702"/>
                      </a:lnTo>
                      <a:lnTo>
                        <a:pt x="46363" y="135317"/>
                      </a:lnTo>
                      <a:lnTo>
                        <a:pt x="59322" y="144846"/>
                      </a:lnTo>
                      <a:lnTo>
                        <a:pt x="75179" y="137033"/>
                      </a:lnTo>
                      <a:lnTo>
                        <a:pt x="77338" y="127390"/>
                      </a:lnTo>
                      <a:lnTo>
                        <a:pt x="82523" y="118040"/>
                      </a:lnTo>
                      <a:lnTo>
                        <a:pt x="86100" y="106286"/>
                      </a:lnTo>
                      <a:lnTo>
                        <a:pt x="98444" y="96710"/>
                      </a:lnTo>
                      <a:lnTo>
                        <a:pt x="103102" y="80421"/>
                      </a:lnTo>
                      <a:lnTo>
                        <a:pt x="107999" y="75231"/>
                      </a:lnTo>
                      <a:lnTo>
                        <a:pt x="111255" y="63119"/>
                      </a:lnTo>
                      <a:lnTo>
                        <a:pt x="117355" y="48228"/>
                      </a:lnTo>
                      <a:lnTo>
                        <a:pt x="136801" y="30147"/>
                      </a:lnTo>
                      <a:lnTo>
                        <a:pt x="138020" y="22370"/>
                      </a:lnTo>
                      <a:lnTo>
                        <a:pt x="140536" y="18142"/>
                      </a:lnTo>
                      <a:lnTo>
                        <a:pt x="131399" y="8811"/>
                      </a:lnTo>
                      <a:lnTo>
                        <a:pt x="132142" y="1346"/>
                      </a:lnTo>
                      <a:lnTo>
                        <a:pt x="138657" y="0"/>
                      </a:lnTo>
                      <a:lnTo>
                        <a:pt x="147835" y="15011"/>
                      </a:lnTo>
                      <a:lnTo>
                        <a:pt x="149376" y="30539"/>
                      </a:lnTo>
                      <a:lnTo>
                        <a:pt x="148531" y="46062"/>
                      </a:lnTo>
                      <a:lnTo>
                        <a:pt x="161095" y="67269"/>
                      </a:lnTo>
                      <a:lnTo>
                        <a:pt x="148203" y="67041"/>
                      </a:lnTo>
                      <a:lnTo>
                        <a:pt x="141690" y="68700"/>
                      </a:lnTo>
                      <a:lnTo>
                        <a:pt x="131171" y="66359"/>
                      </a:lnTo>
                      <a:lnTo>
                        <a:pt x="126156" y="77354"/>
                      </a:lnTo>
                      <a:lnTo>
                        <a:pt x="139781" y="90939"/>
                      </a:lnTo>
                      <a:lnTo>
                        <a:pt x="149834" y="94888"/>
                      </a:lnTo>
                      <a:lnTo>
                        <a:pt x="153085" y="104512"/>
                      </a:lnTo>
                      <a:lnTo>
                        <a:pt x="160362" y="120524"/>
                      </a:lnTo>
                      <a:lnTo>
                        <a:pt x="156746" y="126812"/>
                      </a:lnTo>
                      <a:lnTo>
                        <a:pt x="145138" y="150314"/>
                      </a:lnTo>
                      <a:lnTo>
                        <a:pt x="139598" y="154521"/>
                      </a:lnTo>
                      <a:lnTo>
                        <a:pt x="137817" y="172475"/>
                      </a:lnTo>
                      <a:lnTo>
                        <a:pt x="140114" y="182223"/>
                      </a:lnTo>
                      <a:lnTo>
                        <a:pt x="138255" y="189117"/>
                      </a:lnTo>
                      <a:lnTo>
                        <a:pt x="149164" y="201195"/>
                      </a:lnTo>
                      <a:lnTo>
                        <a:pt x="151132" y="209495"/>
                      </a:lnTo>
                      <a:lnTo>
                        <a:pt x="159653" y="221422"/>
                      </a:lnTo>
                      <a:lnTo>
                        <a:pt x="170210" y="228856"/>
                      </a:lnTo>
                      <a:lnTo>
                        <a:pt x="171240" y="239394"/>
                      </a:lnTo>
                      <a:lnTo>
                        <a:pt x="173675" y="246086"/>
                      </a:lnTo>
                      <a:lnTo>
                        <a:pt x="172014" y="258554"/>
                      </a:lnTo>
                      <a:lnTo>
                        <a:pt x="153674" y="253097"/>
                      </a:lnTo>
                      <a:lnTo>
                        <a:pt x="135011" y="24700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Freeform 57">
                  <a:extLst>
                    <a:ext uri="{FF2B5EF4-FFF2-40B4-BE49-F238E27FC236}">
                      <a16:creationId xmlns:a16="http://schemas.microsoft.com/office/drawing/2014/main" id="{CDFC7A7D-CDFA-4B03-A318-449B1FEFAA5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9"/>
                  </p:custDataLst>
                </p:nvPr>
              </p:nvSpPr>
              <p:spPr>
                <a:xfrm>
                  <a:off x="7217467" y="4459773"/>
                  <a:ext cx="470392" cy="46054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38383" h="429210">
                      <a:moveTo>
                        <a:pt x="430527" y="40400"/>
                      </a:moveTo>
                      <a:lnTo>
                        <a:pt x="429131" y="67413"/>
                      </a:lnTo>
                      <a:lnTo>
                        <a:pt x="438382" y="70540"/>
                      </a:lnTo>
                      <a:lnTo>
                        <a:pt x="430961" y="78740"/>
                      </a:lnTo>
                      <a:lnTo>
                        <a:pt x="422094" y="84872"/>
                      </a:lnTo>
                      <a:lnTo>
                        <a:pt x="413268" y="96912"/>
                      </a:lnTo>
                      <a:lnTo>
                        <a:pt x="408412" y="107644"/>
                      </a:lnTo>
                      <a:lnTo>
                        <a:pt x="407113" y="126173"/>
                      </a:lnTo>
                      <a:lnTo>
                        <a:pt x="401766" y="134993"/>
                      </a:lnTo>
                      <a:lnTo>
                        <a:pt x="401573" y="152396"/>
                      </a:lnTo>
                      <a:lnTo>
                        <a:pt x="394935" y="158832"/>
                      </a:lnTo>
                      <a:lnTo>
                        <a:pt x="394079" y="172572"/>
                      </a:lnTo>
                      <a:lnTo>
                        <a:pt x="390909" y="174353"/>
                      </a:lnTo>
                      <a:lnTo>
                        <a:pt x="388773" y="186988"/>
                      </a:lnTo>
                      <a:lnTo>
                        <a:pt x="394577" y="197492"/>
                      </a:lnTo>
                      <a:lnTo>
                        <a:pt x="396045" y="225374"/>
                      </a:lnTo>
                      <a:lnTo>
                        <a:pt x="400200" y="246661"/>
                      </a:lnTo>
                      <a:lnTo>
                        <a:pt x="397891" y="258702"/>
                      </a:lnTo>
                      <a:lnTo>
                        <a:pt x="402509" y="272141"/>
                      </a:lnTo>
                      <a:lnTo>
                        <a:pt x="415896" y="285125"/>
                      </a:lnTo>
                      <a:lnTo>
                        <a:pt x="428361" y="314380"/>
                      </a:lnTo>
                      <a:lnTo>
                        <a:pt x="419268" y="312015"/>
                      </a:lnTo>
                      <a:lnTo>
                        <a:pt x="388264" y="315938"/>
                      </a:lnTo>
                      <a:lnTo>
                        <a:pt x="382077" y="318716"/>
                      </a:lnTo>
                      <a:lnTo>
                        <a:pt x="375499" y="333564"/>
                      </a:lnTo>
                      <a:lnTo>
                        <a:pt x="380665" y="343832"/>
                      </a:lnTo>
                      <a:lnTo>
                        <a:pt x="376565" y="371440"/>
                      </a:lnTo>
                      <a:lnTo>
                        <a:pt x="373707" y="394901"/>
                      </a:lnTo>
                      <a:lnTo>
                        <a:pt x="379943" y="399065"/>
                      </a:lnTo>
                      <a:lnTo>
                        <a:pt x="396081" y="408180"/>
                      </a:lnTo>
                      <a:lnTo>
                        <a:pt x="402416" y="403920"/>
                      </a:lnTo>
                      <a:lnTo>
                        <a:pt x="404346" y="429209"/>
                      </a:lnTo>
                      <a:lnTo>
                        <a:pt x="386680" y="429014"/>
                      </a:lnTo>
                      <a:lnTo>
                        <a:pt x="377200" y="416099"/>
                      </a:lnTo>
                      <a:lnTo>
                        <a:pt x="368695" y="406112"/>
                      </a:lnTo>
                      <a:lnTo>
                        <a:pt x="351006" y="402839"/>
                      </a:lnTo>
                      <a:lnTo>
                        <a:pt x="345827" y="390576"/>
                      </a:lnTo>
                      <a:lnTo>
                        <a:pt x="331716" y="397962"/>
                      </a:lnTo>
                      <a:lnTo>
                        <a:pt x="313232" y="394698"/>
                      </a:lnTo>
                      <a:lnTo>
                        <a:pt x="305518" y="384080"/>
                      </a:lnTo>
                      <a:lnTo>
                        <a:pt x="290862" y="381924"/>
                      </a:lnTo>
                      <a:lnTo>
                        <a:pt x="280044" y="382488"/>
                      </a:lnTo>
                      <a:lnTo>
                        <a:pt x="278720" y="375226"/>
                      </a:lnTo>
                      <a:lnTo>
                        <a:pt x="270757" y="374638"/>
                      </a:lnTo>
                      <a:lnTo>
                        <a:pt x="260245" y="373261"/>
                      </a:lnTo>
                      <a:lnTo>
                        <a:pt x="245946" y="376759"/>
                      </a:lnTo>
                      <a:lnTo>
                        <a:pt x="235916" y="376185"/>
                      </a:lnTo>
                      <a:lnTo>
                        <a:pt x="230202" y="378328"/>
                      </a:lnTo>
                      <a:lnTo>
                        <a:pt x="231437" y="350562"/>
                      </a:lnTo>
                      <a:lnTo>
                        <a:pt x="223737" y="341917"/>
                      </a:lnTo>
                      <a:lnTo>
                        <a:pt x="222043" y="327603"/>
                      </a:lnTo>
                      <a:lnTo>
                        <a:pt x="225444" y="313587"/>
                      </a:lnTo>
                      <a:lnTo>
                        <a:pt x="220766" y="304624"/>
                      </a:lnTo>
                      <a:lnTo>
                        <a:pt x="220343" y="290018"/>
                      </a:lnTo>
                      <a:lnTo>
                        <a:pt x="192335" y="290221"/>
                      </a:lnTo>
                      <a:lnTo>
                        <a:pt x="194345" y="281863"/>
                      </a:lnTo>
                      <a:lnTo>
                        <a:pt x="182568" y="281950"/>
                      </a:lnTo>
                      <a:lnTo>
                        <a:pt x="181324" y="285969"/>
                      </a:lnTo>
                      <a:lnTo>
                        <a:pt x="167007" y="286875"/>
                      </a:lnTo>
                      <a:lnTo>
                        <a:pt x="161216" y="300400"/>
                      </a:lnTo>
                      <a:lnTo>
                        <a:pt x="157757" y="306207"/>
                      </a:lnTo>
                      <a:lnTo>
                        <a:pt x="145002" y="302927"/>
                      </a:lnTo>
                      <a:lnTo>
                        <a:pt x="137386" y="306194"/>
                      </a:lnTo>
                      <a:lnTo>
                        <a:pt x="122122" y="308073"/>
                      </a:lnTo>
                      <a:lnTo>
                        <a:pt x="113282" y="295931"/>
                      </a:lnTo>
                      <a:lnTo>
                        <a:pt x="107978" y="288427"/>
                      </a:lnTo>
                      <a:lnTo>
                        <a:pt x="101353" y="274520"/>
                      </a:lnTo>
                      <a:lnTo>
                        <a:pt x="95659" y="257254"/>
                      </a:lnTo>
                      <a:lnTo>
                        <a:pt x="27544" y="256947"/>
                      </a:lnTo>
                      <a:lnTo>
                        <a:pt x="19448" y="259731"/>
                      </a:lnTo>
                      <a:lnTo>
                        <a:pt x="12761" y="259297"/>
                      </a:lnTo>
                      <a:lnTo>
                        <a:pt x="3234" y="262411"/>
                      </a:lnTo>
                      <a:lnTo>
                        <a:pt x="0" y="255227"/>
                      </a:lnTo>
                      <a:lnTo>
                        <a:pt x="5872" y="252781"/>
                      </a:lnTo>
                      <a:lnTo>
                        <a:pt x="6594" y="242689"/>
                      </a:lnTo>
                      <a:lnTo>
                        <a:pt x="10371" y="236739"/>
                      </a:lnTo>
                      <a:lnTo>
                        <a:pt x="18771" y="231876"/>
                      </a:lnTo>
                      <a:lnTo>
                        <a:pt x="24835" y="234233"/>
                      </a:lnTo>
                      <a:lnTo>
                        <a:pt x="32729" y="225377"/>
                      </a:lnTo>
                      <a:lnTo>
                        <a:pt x="45303" y="225605"/>
                      </a:lnTo>
                      <a:lnTo>
                        <a:pt x="46782" y="232154"/>
                      </a:lnTo>
                      <a:lnTo>
                        <a:pt x="55405" y="236252"/>
                      </a:lnTo>
                      <a:lnTo>
                        <a:pt x="68987" y="221755"/>
                      </a:lnTo>
                      <a:lnTo>
                        <a:pt x="82433" y="210464"/>
                      </a:lnTo>
                      <a:lnTo>
                        <a:pt x="88267" y="203067"/>
                      </a:lnTo>
                      <a:lnTo>
                        <a:pt x="87494" y="184058"/>
                      </a:lnTo>
                      <a:lnTo>
                        <a:pt x="97519" y="161623"/>
                      </a:lnTo>
                      <a:lnTo>
                        <a:pt x="108096" y="149730"/>
                      </a:lnTo>
                      <a:lnTo>
                        <a:pt x="123294" y="138603"/>
                      </a:lnTo>
                      <a:lnTo>
                        <a:pt x="125947" y="131240"/>
                      </a:lnTo>
                      <a:lnTo>
                        <a:pt x="126522" y="122774"/>
                      </a:lnTo>
                      <a:lnTo>
                        <a:pt x="130284" y="114765"/>
                      </a:lnTo>
                      <a:lnTo>
                        <a:pt x="129075" y="101682"/>
                      </a:lnTo>
                      <a:lnTo>
                        <a:pt x="131953" y="81224"/>
                      </a:lnTo>
                      <a:lnTo>
                        <a:pt x="136464" y="66816"/>
                      </a:lnTo>
                      <a:lnTo>
                        <a:pt x="143378" y="54465"/>
                      </a:lnTo>
                      <a:lnTo>
                        <a:pt x="144746" y="40511"/>
                      </a:lnTo>
                      <a:lnTo>
                        <a:pt x="146821" y="24389"/>
                      </a:lnTo>
                      <a:lnTo>
                        <a:pt x="155808" y="12647"/>
                      </a:lnTo>
                      <a:lnTo>
                        <a:pt x="168168" y="5197"/>
                      </a:lnTo>
                      <a:lnTo>
                        <a:pt x="187163" y="13060"/>
                      </a:lnTo>
                      <a:lnTo>
                        <a:pt x="201864" y="21592"/>
                      </a:lnTo>
                      <a:lnTo>
                        <a:pt x="218750" y="23868"/>
                      </a:lnTo>
                      <a:lnTo>
                        <a:pt x="235970" y="28381"/>
                      </a:lnTo>
                      <a:lnTo>
                        <a:pt x="242871" y="14416"/>
                      </a:lnTo>
                      <a:lnTo>
                        <a:pt x="246042" y="12633"/>
                      </a:lnTo>
                      <a:lnTo>
                        <a:pt x="256562" y="14956"/>
                      </a:lnTo>
                      <a:lnTo>
                        <a:pt x="282260" y="3409"/>
                      </a:lnTo>
                      <a:lnTo>
                        <a:pt x="291366" y="8304"/>
                      </a:lnTo>
                      <a:lnTo>
                        <a:pt x="298840" y="7610"/>
                      </a:lnTo>
                      <a:lnTo>
                        <a:pt x="302302" y="1983"/>
                      </a:lnTo>
                      <a:lnTo>
                        <a:pt x="310880" y="0"/>
                      </a:lnTo>
                      <a:lnTo>
                        <a:pt x="328246" y="2435"/>
                      </a:lnTo>
                      <a:lnTo>
                        <a:pt x="343049" y="2968"/>
                      </a:lnTo>
                      <a:lnTo>
                        <a:pt x="350670" y="513"/>
                      </a:lnTo>
                      <a:lnTo>
                        <a:pt x="364652" y="19611"/>
                      </a:lnTo>
                      <a:lnTo>
                        <a:pt x="375017" y="22416"/>
                      </a:lnTo>
                      <a:lnTo>
                        <a:pt x="381196" y="18532"/>
                      </a:lnTo>
                      <a:lnTo>
                        <a:pt x="391869" y="20054"/>
                      </a:lnTo>
                      <a:lnTo>
                        <a:pt x="404724" y="15162"/>
                      </a:lnTo>
                      <a:lnTo>
                        <a:pt x="410207" y="2503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Freeform 58">
                  <a:extLst>
                    <a:ext uri="{FF2B5EF4-FFF2-40B4-BE49-F238E27FC236}">
                      <a16:creationId xmlns:a16="http://schemas.microsoft.com/office/drawing/2014/main" id="{51CB0F19-A265-4A36-8F69-BE43AA075CB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0"/>
                  </p:custDataLst>
                </p:nvPr>
              </p:nvSpPr>
              <p:spPr>
                <a:xfrm>
                  <a:off x="7190507" y="4497691"/>
                  <a:ext cx="182277" cy="21726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9874" h="202483">
                      <a:moveTo>
                        <a:pt x="43898" y="196538"/>
                      </a:moveTo>
                      <a:lnTo>
                        <a:pt x="35248" y="188603"/>
                      </a:lnTo>
                      <a:lnTo>
                        <a:pt x="28273" y="192493"/>
                      </a:lnTo>
                      <a:lnTo>
                        <a:pt x="18956" y="202482"/>
                      </a:lnTo>
                      <a:lnTo>
                        <a:pt x="0" y="177985"/>
                      </a:lnTo>
                      <a:lnTo>
                        <a:pt x="17575" y="165227"/>
                      </a:lnTo>
                      <a:lnTo>
                        <a:pt x="8870" y="149949"/>
                      </a:lnTo>
                      <a:lnTo>
                        <a:pt x="16786" y="144141"/>
                      </a:lnTo>
                      <a:lnTo>
                        <a:pt x="32361" y="141312"/>
                      </a:lnTo>
                      <a:lnTo>
                        <a:pt x="34198" y="131078"/>
                      </a:lnTo>
                      <a:lnTo>
                        <a:pt x="46532" y="142168"/>
                      </a:lnTo>
                      <a:lnTo>
                        <a:pt x="66909" y="143140"/>
                      </a:lnTo>
                      <a:lnTo>
                        <a:pt x="73991" y="132227"/>
                      </a:lnTo>
                      <a:lnTo>
                        <a:pt x="76905" y="116876"/>
                      </a:lnTo>
                      <a:lnTo>
                        <a:pt x="74388" y="98852"/>
                      </a:lnTo>
                      <a:lnTo>
                        <a:pt x="63468" y="85201"/>
                      </a:lnTo>
                      <a:lnTo>
                        <a:pt x="73461" y="58466"/>
                      </a:lnTo>
                      <a:lnTo>
                        <a:pt x="67699" y="53878"/>
                      </a:lnTo>
                      <a:lnTo>
                        <a:pt x="50525" y="55759"/>
                      </a:lnTo>
                      <a:lnTo>
                        <a:pt x="44073" y="43829"/>
                      </a:lnTo>
                      <a:lnTo>
                        <a:pt x="45752" y="33756"/>
                      </a:lnTo>
                      <a:lnTo>
                        <a:pt x="74882" y="34662"/>
                      </a:lnTo>
                      <a:lnTo>
                        <a:pt x="93545" y="40755"/>
                      </a:lnTo>
                      <a:lnTo>
                        <a:pt x="111885" y="46212"/>
                      </a:lnTo>
                      <a:lnTo>
                        <a:pt x="113546" y="33744"/>
                      </a:lnTo>
                      <a:lnTo>
                        <a:pt x="125646" y="12247"/>
                      </a:lnTo>
                      <a:lnTo>
                        <a:pt x="139403" y="0"/>
                      </a:lnTo>
                      <a:lnTo>
                        <a:pt x="155027" y="3883"/>
                      </a:lnTo>
                      <a:lnTo>
                        <a:pt x="169873" y="5173"/>
                      </a:lnTo>
                      <a:lnTo>
                        <a:pt x="168505" y="19127"/>
                      </a:lnTo>
                      <a:lnTo>
                        <a:pt x="161591" y="31478"/>
                      </a:lnTo>
                      <a:lnTo>
                        <a:pt x="157080" y="45886"/>
                      </a:lnTo>
                      <a:lnTo>
                        <a:pt x="154202" y="66344"/>
                      </a:lnTo>
                      <a:lnTo>
                        <a:pt x="155411" y="79427"/>
                      </a:lnTo>
                      <a:lnTo>
                        <a:pt x="151649" y="87436"/>
                      </a:lnTo>
                      <a:lnTo>
                        <a:pt x="151074" y="95902"/>
                      </a:lnTo>
                      <a:lnTo>
                        <a:pt x="148421" y="103265"/>
                      </a:lnTo>
                      <a:lnTo>
                        <a:pt x="133223" y="114392"/>
                      </a:lnTo>
                      <a:lnTo>
                        <a:pt x="122646" y="126285"/>
                      </a:lnTo>
                      <a:lnTo>
                        <a:pt x="112621" y="148720"/>
                      </a:lnTo>
                      <a:lnTo>
                        <a:pt x="113394" y="167729"/>
                      </a:lnTo>
                      <a:lnTo>
                        <a:pt x="107560" y="175126"/>
                      </a:lnTo>
                      <a:lnTo>
                        <a:pt x="94114" y="186417"/>
                      </a:lnTo>
                      <a:lnTo>
                        <a:pt x="80532" y="200914"/>
                      </a:lnTo>
                      <a:lnTo>
                        <a:pt x="71909" y="196816"/>
                      </a:lnTo>
                      <a:lnTo>
                        <a:pt x="70430" y="190267"/>
                      </a:lnTo>
                      <a:lnTo>
                        <a:pt x="57856" y="190039"/>
                      </a:lnTo>
                      <a:lnTo>
                        <a:pt x="49962" y="19889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" name="Freeform 59">
                  <a:extLst>
                    <a:ext uri="{FF2B5EF4-FFF2-40B4-BE49-F238E27FC236}">
                      <a16:creationId xmlns:a16="http://schemas.microsoft.com/office/drawing/2014/main" id="{13326C94-2814-4A28-8FEB-AA1ED39FACA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1"/>
                  </p:custDataLst>
                </p:nvPr>
              </p:nvSpPr>
              <p:spPr>
                <a:xfrm>
                  <a:off x="7726437" y="3667583"/>
                  <a:ext cx="45691" cy="188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2582" h="17594">
                      <a:moveTo>
                        <a:pt x="0" y="13939"/>
                      </a:moveTo>
                      <a:lnTo>
                        <a:pt x="1632" y="13796"/>
                      </a:lnTo>
                      <a:lnTo>
                        <a:pt x="4968" y="7478"/>
                      </a:lnTo>
                      <a:lnTo>
                        <a:pt x="21593" y="7832"/>
                      </a:lnTo>
                      <a:lnTo>
                        <a:pt x="42581" y="0"/>
                      </a:lnTo>
                      <a:lnTo>
                        <a:pt x="26985" y="11171"/>
                      </a:lnTo>
                      <a:lnTo>
                        <a:pt x="28665" y="16072"/>
                      </a:lnTo>
                      <a:lnTo>
                        <a:pt x="26191" y="15155"/>
                      </a:lnTo>
                      <a:lnTo>
                        <a:pt x="21782" y="17135"/>
                      </a:lnTo>
                      <a:lnTo>
                        <a:pt x="18326" y="16590"/>
                      </a:lnTo>
                      <a:lnTo>
                        <a:pt x="17175" y="17593"/>
                      </a:lnTo>
                      <a:lnTo>
                        <a:pt x="16716" y="14949"/>
                      </a:lnTo>
                      <a:lnTo>
                        <a:pt x="15052" y="13346"/>
                      </a:lnTo>
                      <a:lnTo>
                        <a:pt x="10600" y="13073"/>
                      </a:lnTo>
                      <a:lnTo>
                        <a:pt x="4335" y="1530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Freeform 60">
                  <a:extLst>
                    <a:ext uri="{FF2B5EF4-FFF2-40B4-BE49-F238E27FC236}">
                      <a16:creationId xmlns:a16="http://schemas.microsoft.com/office/drawing/2014/main" id="{D9AF5BE8-D0E8-499C-8E49-872DDC1197E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2"/>
                  </p:custDataLst>
                </p:nvPr>
              </p:nvSpPr>
              <p:spPr>
                <a:xfrm>
                  <a:off x="7714670" y="3681611"/>
                  <a:ext cx="43300" cy="1685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0354" h="15705">
                      <a:moveTo>
                        <a:pt x="39631" y="2999"/>
                      </a:moveTo>
                      <a:lnTo>
                        <a:pt x="40353" y="5101"/>
                      </a:lnTo>
                      <a:lnTo>
                        <a:pt x="16692" y="15704"/>
                      </a:lnTo>
                      <a:lnTo>
                        <a:pt x="5392" y="12320"/>
                      </a:lnTo>
                      <a:lnTo>
                        <a:pt x="0" y="1829"/>
                      </a:lnTo>
                      <a:lnTo>
                        <a:pt x="10966" y="866"/>
                      </a:lnTo>
                      <a:lnTo>
                        <a:pt x="15301" y="2232"/>
                      </a:lnTo>
                      <a:lnTo>
                        <a:pt x="21566" y="0"/>
                      </a:lnTo>
                      <a:lnTo>
                        <a:pt x="26018" y="273"/>
                      </a:lnTo>
                      <a:lnTo>
                        <a:pt x="27682" y="1876"/>
                      </a:lnTo>
                      <a:lnTo>
                        <a:pt x="28141" y="4520"/>
                      </a:lnTo>
                      <a:lnTo>
                        <a:pt x="29292" y="3517"/>
                      </a:lnTo>
                      <a:lnTo>
                        <a:pt x="32748" y="4062"/>
                      </a:lnTo>
                      <a:lnTo>
                        <a:pt x="37157" y="208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Freeform 61">
                  <a:extLst>
                    <a:ext uri="{FF2B5EF4-FFF2-40B4-BE49-F238E27FC236}">
                      <a16:creationId xmlns:a16="http://schemas.microsoft.com/office/drawing/2014/main" id="{F7B0A7B5-D665-4AED-A94A-88C05BA6C60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3"/>
                  </p:custDataLst>
                </p:nvPr>
              </p:nvSpPr>
              <p:spPr>
                <a:xfrm>
                  <a:off x="7218900" y="3200398"/>
                  <a:ext cx="163792" cy="8268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2647" h="77061">
                      <a:moveTo>
                        <a:pt x="108954" y="75825"/>
                      </a:moveTo>
                      <a:lnTo>
                        <a:pt x="98313" y="70220"/>
                      </a:lnTo>
                      <a:lnTo>
                        <a:pt x="87473" y="71762"/>
                      </a:lnTo>
                      <a:lnTo>
                        <a:pt x="69555" y="62683"/>
                      </a:lnTo>
                      <a:lnTo>
                        <a:pt x="61431" y="64908"/>
                      </a:lnTo>
                      <a:lnTo>
                        <a:pt x="48446" y="77060"/>
                      </a:lnTo>
                      <a:lnTo>
                        <a:pt x="31296" y="67504"/>
                      </a:lnTo>
                      <a:lnTo>
                        <a:pt x="18263" y="54685"/>
                      </a:lnTo>
                      <a:lnTo>
                        <a:pt x="6484" y="47491"/>
                      </a:lnTo>
                      <a:lnTo>
                        <a:pt x="4041" y="34820"/>
                      </a:lnTo>
                      <a:lnTo>
                        <a:pt x="0" y="25852"/>
                      </a:lnTo>
                      <a:lnTo>
                        <a:pt x="16775" y="19261"/>
                      </a:lnTo>
                      <a:lnTo>
                        <a:pt x="25345" y="11700"/>
                      </a:lnTo>
                      <a:lnTo>
                        <a:pt x="41921" y="5806"/>
                      </a:lnTo>
                      <a:lnTo>
                        <a:pt x="47710" y="0"/>
                      </a:lnTo>
                      <a:lnTo>
                        <a:pt x="53797" y="3507"/>
                      </a:lnTo>
                      <a:lnTo>
                        <a:pt x="64098" y="323"/>
                      </a:lnTo>
                      <a:lnTo>
                        <a:pt x="75039" y="10134"/>
                      </a:lnTo>
                      <a:lnTo>
                        <a:pt x="92297" y="12779"/>
                      </a:lnTo>
                      <a:lnTo>
                        <a:pt x="90857" y="21124"/>
                      </a:lnTo>
                      <a:lnTo>
                        <a:pt x="103396" y="27380"/>
                      </a:lnTo>
                      <a:lnTo>
                        <a:pt x="106842" y="19568"/>
                      </a:lnTo>
                      <a:lnTo>
                        <a:pt x="122672" y="22954"/>
                      </a:lnTo>
                      <a:lnTo>
                        <a:pt x="124862" y="32411"/>
                      </a:lnTo>
                      <a:lnTo>
                        <a:pt x="142023" y="34232"/>
                      </a:lnTo>
                      <a:lnTo>
                        <a:pt x="152646" y="49025"/>
                      </a:lnTo>
                      <a:lnTo>
                        <a:pt x="145764" y="49061"/>
                      </a:lnTo>
                      <a:lnTo>
                        <a:pt x="142187" y="54448"/>
                      </a:lnTo>
                      <a:lnTo>
                        <a:pt x="136889" y="55748"/>
                      </a:lnTo>
                      <a:lnTo>
                        <a:pt x="135377" y="62537"/>
                      </a:lnTo>
                      <a:lnTo>
                        <a:pt x="130957" y="63952"/>
                      </a:lnTo>
                      <a:lnTo>
                        <a:pt x="130333" y="66721"/>
                      </a:lnTo>
                      <a:lnTo>
                        <a:pt x="122451" y="69797"/>
                      </a:lnTo>
                      <a:lnTo>
                        <a:pt x="112225" y="6929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Freeform 62">
                  <a:extLst>
                    <a:ext uri="{FF2B5EF4-FFF2-40B4-BE49-F238E27FC236}">
                      <a16:creationId xmlns:a16="http://schemas.microsoft.com/office/drawing/2014/main" id="{6BABED9C-43D6-46E5-ABC9-AD14B4C5F4B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4"/>
                  </p:custDataLst>
                </p:nvPr>
              </p:nvSpPr>
              <p:spPr>
                <a:xfrm>
                  <a:off x="7064064" y="3070611"/>
                  <a:ext cx="223615" cy="2520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08399" h="234888">
                      <a:moveTo>
                        <a:pt x="90790" y="0"/>
                      </a:moveTo>
                      <a:lnTo>
                        <a:pt x="91198" y="12366"/>
                      </a:lnTo>
                      <a:lnTo>
                        <a:pt x="114523" y="19792"/>
                      </a:lnTo>
                      <a:lnTo>
                        <a:pt x="114278" y="31058"/>
                      </a:lnTo>
                      <a:lnTo>
                        <a:pt x="137748" y="25103"/>
                      </a:lnTo>
                      <a:lnTo>
                        <a:pt x="150725" y="16392"/>
                      </a:lnTo>
                      <a:lnTo>
                        <a:pt x="176785" y="28941"/>
                      </a:lnTo>
                      <a:lnTo>
                        <a:pt x="187686" y="39014"/>
                      </a:lnTo>
                      <a:lnTo>
                        <a:pt x="193078" y="55023"/>
                      </a:lnTo>
                      <a:lnTo>
                        <a:pt x="186643" y="63379"/>
                      </a:lnTo>
                      <a:lnTo>
                        <a:pt x="195024" y="74492"/>
                      </a:lnTo>
                      <a:lnTo>
                        <a:pt x="200735" y="91076"/>
                      </a:lnTo>
                      <a:lnTo>
                        <a:pt x="198936" y="101708"/>
                      </a:lnTo>
                      <a:lnTo>
                        <a:pt x="208398" y="121278"/>
                      </a:lnTo>
                      <a:lnTo>
                        <a:pt x="198097" y="124462"/>
                      </a:lnTo>
                      <a:lnTo>
                        <a:pt x="192010" y="120955"/>
                      </a:lnTo>
                      <a:lnTo>
                        <a:pt x="186221" y="126761"/>
                      </a:lnTo>
                      <a:lnTo>
                        <a:pt x="169645" y="132655"/>
                      </a:lnTo>
                      <a:lnTo>
                        <a:pt x="161075" y="140216"/>
                      </a:lnTo>
                      <a:lnTo>
                        <a:pt x="144300" y="146807"/>
                      </a:lnTo>
                      <a:lnTo>
                        <a:pt x="148341" y="155775"/>
                      </a:lnTo>
                      <a:lnTo>
                        <a:pt x="150784" y="168446"/>
                      </a:lnTo>
                      <a:lnTo>
                        <a:pt x="162563" y="175640"/>
                      </a:lnTo>
                      <a:lnTo>
                        <a:pt x="175596" y="188459"/>
                      </a:lnTo>
                      <a:lnTo>
                        <a:pt x="167458" y="202137"/>
                      </a:lnTo>
                      <a:lnTo>
                        <a:pt x="159165" y="205891"/>
                      </a:lnTo>
                      <a:lnTo>
                        <a:pt x="162437" y="225075"/>
                      </a:lnTo>
                      <a:lnTo>
                        <a:pt x="160285" y="230055"/>
                      </a:lnTo>
                      <a:lnTo>
                        <a:pt x="153087" y="224053"/>
                      </a:lnTo>
                      <a:lnTo>
                        <a:pt x="142021" y="223152"/>
                      </a:lnTo>
                      <a:lnTo>
                        <a:pt x="125518" y="228412"/>
                      </a:lnTo>
                      <a:lnTo>
                        <a:pt x="105161" y="227162"/>
                      </a:lnTo>
                      <a:lnTo>
                        <a:pt x="101873" y="234887"/>
                      </a:lnTo>
                      <a:lnTo>
                        <a:pt x="90193" y="226758"/>
                      </a:lnTo>
                      <a:lnTo>
                        <a:pt x="83226" y="228374"/>
                      </a:lnTo>
                      <a:lnTo>
                        <a:pt x="58490" y="219399"/>
                      </a:lnTo>
                      <a:lnTo>
                        <a:pt x="53751" y="225779"/>
                      </a:lnTo>
                      <a:lnTo>
                        <a:pt x="34118" y="225574"/>
                      </a:lnTo>
                      <a:lnTo>
                        <a:pt x="37048" y="204595"/>
                      </a:lnTo>
                      <a:lnTo>
                        <a:pt x="48718" y="184273"/>
                      </a:lnTo>
                      <a:lnTo>
                        <a:pt x="15455" y="178780"/>
                      </a:lnTo>
                      <a:lnTo>
                        <a:pt x="4562" y="170951"/>
                      </a:lnTo>
                      <a:lnTo>
                        <a:pt x="5865" y="157789"/>
                      </a:lnTo>
                      <a:lnTo>
                        <a:pt x="1256" y="150983"/>
                      </a:lnTo>
                      <a:lnTo>
                        <a:pt x="3878" y="130511"/>
                      </a:lnTo>
                      <a:lnTo>
                        <a:pt x="0" y="98431"/>
                      </a:lnTo>
                      <a:lnTo>
                        <a:pt x="13866" y="98418"/>
                      </a:lnTo>
                      <a:lnTo>
                        <a:pt x="19717" y="86793"/>
                      </a:lnTo>
                      <a:lnTo>
                        <a:pt x="25469" y="58286"/>
                      </a:lnTo>
                      <a:lnTo>
                        <a:pt x="21155" y="47675"/>
                      </a:lnTo>
                      <a:lnTo>
                        <a:pt x="25662" y="41005"/>
                      </a:lnTo>
                      <a:lnTo>
                        <a:pt x="44955" y="39290"/>
                      </a:lnTo>
                      <a:lnTo>
                        <a:pt x="49236" y="46240"/>
                      </a:lnTo>
                      <a:lnTo>
                        <a:pt x="64910" y="30675"/>
                      </a:lnTo>
                      <a:lnTo>
                        <a:pt x="59633" y="18772"/>
                      </a:lnTo>
                      <a:lnTo>
                        <a:pt x="58574" y="653"/>
                      </a:lnTo>
                      <a:lnTo>
                        <a:pt x="76020" y="4879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Freeform 63">
                  <a:extLst>
                    <a:ext uri="{FF2B5EF4-FFF2-40B4-BE49-F238E27FC236}">
                      <a16:creationId xmlns:a16="http://schemas.microsoft.com/office/drawing/2014/main" id="{3D879F8C-76E5-4B89-BB45-0A23A026272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5"/>
                  </p:custDataLst>
                </p:nvPr>
              </p:nvSpPr>
              <p:spPr>
                <a:xfrm>
                  <a:off x="7947615" y="4273866"/>
                  <a:ext cx="41019" cy="4451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28" h="41485">
                      <a:moveTo>
                        <a:pt x="32766" y="0"/>
                      </a:moveTo>
                      <a:lnTo>
                        <a:pt x="38227" y="7254"/>
                      </a:lnTo>
                      <a:lnTo>
                        <a:pt x="37501" y="16979"/>
                      </a:lnTo>
                      <a:lnTo>
                        <a:pt x="24332" y="22579"/>
                      </a:lnTo>
                      <a:lnTo>
                        <a:pt x="34245" y="28978"/>
                      </a:lnTo>
                      <a:lnTo>
                        <a:pt x="25740" y="41484"/>
                      </a:lnTo>
                      <a:lnTo>
                        <a:pt x="20617" y="37321"/>
                      </a:lnTo>
                      <a:lnTo>
                        <a:pt x="15059" y="38977"/>
                      </a:lnTo>
                      <a:lnTo>
                        <a:pt x="2166" y="38587"/>
                      </a:lnTo>
                      <a:lnTo>
                        <a:pt x="1797" y="31478"/>
                      </a:lnTo>
                      <a:lnTo>
                        <a:pt x="0" y="25022"/>
                      </a:lnTo>
                      <a:lnTo>
                        <a:pt x="7808" y="14051"/>
                      </a:lnTo>
                      <a:lnTo>
                        <a:pt x="15923" y="3690"/>
                      </a:lnTo>
                      <a:lnTo>
                        <a:pt x="25804" y="572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Freeform 64">
                  <a:extLst>
                    <a:ext uri="{FF2B5EF4-FFF2-40B4-BE49-F238E27FC236}">
                      <a16:creationId xmlns:a16="http://schemas.microsoft.com/office/drawing/2014/main" id="{474606B5-A812-46E3-9947-0A3EBBEFFFE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6"/>
                  </p:custDataLst>
                </p:nvPr>
              </p:nvSpPr>
              <p:spPr>
                <a:xfrm>
                  <a:off x="6700639" y="3626565"/>
                  <a:ext cx="512301" cy="48582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77441" h="452765">
                      <a:moveTo>
                        <a:pt x="477440" y="346187"/>
                      </a:moveTo>
                      <a:lnTo>
                        <a:pt x="398345" y="392453"/>
                      </a:lnTo>
                      <a:lnTo>
                        <a:pt x="331513" y="439739"/>
                      </a:lnTo>
                      <a:lnTo>
                        <a:pt x="298963" y="450421"/>
                      </a:lnTo>
                      <a:lnTo>
                        <a:pt x="273358" y="452764"/>
                      </a:lnTo>
                      <a:lnTo>
                        <a:pt x="273093" y="437524"/>
                      </a:lnTo>
                      <a:lnTo>
                        <a:pt x="262404" y="433621"/>
                      </a:lnTo>
                      <a:lnTo>
                        <a:pt x="248033" y="426754"/>
                      </a:lnTo>
                      <a:lnTo>
                        <a:pt x="242545" y="415485"/>
                      </a:lnTo>
                      <a:lnTo>
                        <a:pt x="164680" y="362715"/>
                      </a:lnTo>
                      <a:lnTo>
                        <a:pt x="86816" y="309412"/>
                      </a:lnTo>
                      <a:lnTo>
                        <a:pt x="0" y="249566"/>
                      </a:lnTo>
                      <a:lnTo>
                        <a:pt x="445" y="244743"/>
                      </a:lnTo>
                      <a:lnTo>
                        <a:pt x="435" y="243075"/>
                      </a:lnTo>
                      <a:lnTo>
                        <a:pt x="238" y="213450"/>
                      </a:lnTo>
                      <a:lnTo>
                        <a:pt x="37514" y="194895"/>
                      </a:lnTo>
                      <a:lnTo>
                        <a:pt x="60564" y="191050"/>
                      </a:lnTo>
                      <a:lnTo>
                        <a:pt x="79457" y="184265"/>
                      </a:lnTo>
                      <a:lnTo>
                        <a:pt x="88286" y="171593"/>
                      </a:lnTo>
                      <a:lnTo>
                        <a:pt x="115274" y="161549"/>
                      </a:lnTo>
                      <a:lnTo>
                        <a:pt x="116265" y="142691"/>
                      </a:lnTo>
                      <a:lnTo>
                        <a:pt x="129619" y="140464"/>
                      </a:lnTo>
                      <a:lnTo>
                        <a:pt x="140061" y="131004"/>
                      </a:lnTo>
                      <a:lnTo>
                        <a:pt x="170270" y="126684"/>
                      </a:lnTo>
                      <a:lnTo>
                        <a:pt x="174502" y="116706"/>
                      </a:lnTo>
                      <a:lnTo>
                        <a:pt x="168420" y="111240"/>
                      </a:lnTo>
                      <a:lnTo>
                        <a:pt x="160447" y="83959"/>
                      </a:lnTo>
                      <a:lnTo>
                        <a:pt x="159073" y="68149"/>
                      </a:lnTo>
                      <a:lnTo>
                        <a:pt x="150372" y="51424"/>
                      </a:lnTo>
                      <a:lnTo>
                        <a:pt x="172562" y="37091"/>
                      </a:lnTo>
                      <a:lnTo>
                        <a:pt x="197517" y="32519"/>
                      </a:lnTo>
                      <a:lnTo>
                        <a:pt x="212090" y="21643"/>
                      </a:lnTo>
                      <a:lnTo>
                        <a:pt x="234320" y="13597"/>
                      </a:lnTo>
                      <a:lnTo>
                        <a:pt x="273440" y="8876"/>
                      </a:lnTo>
                      <a:lnTo>
                        <a:pt x="311620" y="6725"/>
                      </a:lnTo>
                      <a:lnTo>
                        <a:pt x="323262" y="10662"/>
                      </a:lnTo>
                      <a:lnTo>
                        <a:pt x="344999" y="206"/>
                      </a:lnTo>
                      <a:lnTo>
                        <a:pt x="369664" y="0"/>
                      </a:lnTo>
                      <a:lnTo>
                        <a:pt x="379052" y="6177"/>
                      </a:lnTo>
                      <a:lnTo>
                        <a:pt x="394838" y="4567"/>
                      </a:lnTo>
                      <a:lnTo>
                        <a:pt x="390149" y="18158"/>
                      </a:lnTo>
                      <a:lnTo>
                        <a:pt x="393809" y="43261"/>
                      </a:lnTo>
                      <a:lnTo>
                        <a:pt x="388375" y="64833"/>
                      </a:lnTo>
                      <a:lnTo>
                        <a:pt x="374145" y="79348"/>
                      </a:lnTo>
                      <a:lnTo>
                        <a:pt x="376179" y="98858"/>
                      </a:lnTo>
                      <a:lnTo>
                        <a:pt x="395057" y="114217"/>
                      </a:lnTo>
                      <a:lnTo>
                        <a:pt x="395257" y="120438"/>
                      </a:lnTo>
                      <a:lnTo>
                        <a:pt x="409487" y="130790"/>
                      </a:lnTo>
                      <a:lnTo>
                        <a:pt x="419333" y="176498"/>
                      </a:lnTo>
                      <a:lnTo>
                        <a:pt x="426800" y="198789"/>
                      </a:lnTo>
                      <a:lnTo>
                        <a:pt x="428055" y="210471"/>
                      </a:lnTo>
                      <a:lnTo>
                        <a:pt x="423989" y="230905"/>
                      </a:lnTo>
                      <a:lnTo>
                        <a:pt x="425657" y="242282"/>
                      </a:lnTo>
                      <a:lnTo>
                        <a:pt x="422724" y="255901"/>
                      </a:lnTo>
                      <a:lnTo>
                        <a:pt x="424737" y="271495"/>
                      </a:lnTo>
                      <a:lnTo>
                        <a:pt x="415576" y="281830"/>
                      </a:lnTo>
                      <a:lnTo>
                        <a:pt x="429225" y="299802"/>
                      </a:lnTo>
                      <a:lnTo>
                        <a:pt x="430092" y="310336"/>
                      </a:lnTo>
                      <a:lnTo>
                        <a:pt x="438300" y="324010"/>
                      </a:lnTo>
                      <a:lnTo>
                        <a:pt x="449091" y="319522"/>
                      </a:lnTo>
                      <a:lnTo>
                        <a:pt x="467311" y="33089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Freeform 65">
                  <a:extLst>
                    <a:ext uri="{FF2B5EF4-FFF2-40B4-BE49-F238E27FC236}">
                      <a16:creationId xmlns:a16="http://schemas.microsoft.com/office/drawing/2014/main" id="{3EC3A706-74E9-456D-925A-28A582F1A3D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7"/>
                  </p:custDataLst>
                </p:nvPr>
              </p:nvSpPr>
              <p:spPr>
                <a:xfrm>
                  <a:off x="7527507" y="3781090"/>
                  <a:ext cx="301334" cy="25531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0829" h="237937">
                      <a:moveTo>
                        <a:pt x="235964" y="52848"/>
                      </a:moveTo>
                      <a:lnTo>
                        <a:pt x="229481" y="62960"/>
                      </a:lnTo>
                      <a:lnTo>
                        <a:pt x="224513" y="81900"/>
                      </a:lnTo>
                      <a:lnTo>
                        <a:pt x="218234" y="94906"/>
                      </a:lnTo>
                      <a:lnTo>
                        <a:pt x="212852" y="99259"/>
                      </a:lnTo>
                      <a:lnTo>
                        <a:pt x="205160" y="91212"/>
                      </a:lnTo>
                      <a:lnTo>
                        <a:pt x="194742" y="80057"/>
                      </a:lnTo>
                      <a:lnTo>
                        <a:pt x="178271" y="44029"/>
                      </a:lnTo>
                      <a:lnTo>
                        <a:pt x="175899" y="46316"/>
                      </a:lnTo>
                      <a:lnTo>
                        <a:pt x="185464" y="72854"/>
                      </a:lnTo>
                      <a:lnTo>
                        <a:pt x="199635" y="97983"/>
                      </a:lnTo>
                      <a:lnTo>
                        <a:pt x="217081" y="136637"/>
                      </a:lnTo>
                      <a:lnTo>
                        <a:pt x="225606" y="150053"/>
                      </a:lnTo>
                      <a:lnTo>
                        <a:pt x="233020" y="163950"/>
                      </a:lnTo>
                      <a:lnTo>
                        <a:pt x="253733" y="191072"/>
                      </a:lnTo>
                      <a:lnTo>
                        <a:pt x="249146" y="195330"/>
                      </a:lnTo>
                      <a:lnTo>
                        <a:pt x="249891" y="211172"/>
                      </a:lnTo>
                      <a:lnTo>
                        <a:pt x="276776" y="232973"/>
                      </a:lnTo>
                      <a:lnTo>
                        <a:pt x="280828" y="237936"/>
                      </a:lnTo>
                      <a:lnTo>
                        <a:pt x="189276" y="237936"/>
                      </a:lnTo>
                      <a:lnTo>
                        <a:pt x="99716" y="237936"/>
                      </a:lnTo>
                      <a:lnTo>
                        <a:pt x="6923" y="237936"/>
                      </a:lnTo>
                      <a:lnTo>
                        <a:pt x="6923" y="147984"/>
                      </a:lnTo>
                      <a:lnTo>
                        <a:pt x="6923" y="59460"/>
                      </a:lnTo>
                      <a:lnTo>
                        <a:pt x="0" y="39151"/>
                      </a:lnTo>
                      <a:lnTo>
                        <a:pt x="5945" y="23516"/>
                      </a:lnTo>
                      <a:lnTo>
                        <a:pt x="2373" y="12650"/>
                      </a:lnTo>
                      <a:lnTo>
                        <a:pt x="10728" y="422"/>
                      </a:lnTo>
                      <a:lnTo>
                        <a:pt x="41440" y="0"/>
                      </a:lnTo>
                      <a:lnTo>
                        <a:pt x="63652" y="6743"/>
                      </a:lnTo>
                      <a:lnTo>
                        <a:pt x="86570" y="14266"/>
                      </a:lnTo>
                      <a:lnTo>
                        <a:pt x="97258" y="18224"/>
                      </a:lnTo>
                      <a:lnTo>
                        <a:pt x="115029" y="10167"/>
                      </a:lnTo>
                      <a:lnTo>
                        <a:pt x="124530" y="2865"/>
                      </a:lnTo>
                      <a:lnTo>
                        <a:pt x="144887" y="761"/>
                      </a:lnTo>
                      <a:lnTo>
                        <a:pt x="161299" y="3982"/>
                      </a:lnTo>
                      <a:lnTo>
                        <a:pt x="167588" y="16609"/>
                      </a:lnTo>
                      <a:lnTo>
                        <a:pt x="172945" y="8296"/>
                      </a:lnTo>
                      <a:lnTo>
                        <a:pt x="191445" y="14309"/>
                      </a:lnTo>
                      <a:lnTo>
                        <a:pt x="209437" y="15748"/>
                      </a:lnTo>
                      <a:lnTo>
                        <a:pt x="220795" y="9339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Freeform 66">
                  <a:extLst>
                    <a:ext uri="{FF2B5EF4-FFF2-40B4-BE49-F238E27FC236}">
                      <a16:creationId xmlns:a16="http://schemas.microsoft.com/office/drawing/2014/main" id="{208EB25A-3A68-43EC-8FDF-E95D7D47445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8"/>
                  </p:custDataLst>
                </p:nvPr>
              </p:nvSpPr>
              <p:spPr>
                <a:xfrm>
                  <a:off x="7815391" y="4139522"/>
                  <a:ext cx="167385" cy="14048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5995" h="130929">
                      <a:moveTo>
                        <a:pt x="139151" y="128893"/>
                      </a:moveTo>
                      <a:lnTo>
                        <a:pt x="131261" y="121305"/>
                      </a:lnTo>
                      <a:lnTo>
                        <a:pt x="121770" y="107540"/>
                      </a:lnTo>
                      <a:lnTo>
                        <a:pt x="111535" y="99990"/>
                      </a:lnTo>
                      <a:lnTo>
                        <a:pt x="105566" y="91865"/>
                      </a:lnTo>
                      <a:lnTo>
                        <a:pt x="85476" y="82422"/>
                      </a:lnTo>
                      <a:lnTo>
                        <a:pt x="69650" y="82140"/>
                      </a:lnTo>
                      <a:lnTo>
                        <a:pt x="64082" y="77211"/>
                      </a:lnTo>
                      <a:lnTo>
                        <a:pt x="50545" y="82755"/>
                      </a:lnTo>
                      <a:lnTo>
                        <a:pt x="36537" y="72050"/>
                      </a:lnTo>
                      <a:lnTo>
                        <a:pt x="29328" y="89641"/>
                      </a:lnTo>
                      <a:lnTo>
                        <a:pt x="2454" y="84719"/>
                      </a:lnTo>
                      <a:lnTo>
                        <a:pt x="0" y="75281"/>
                      </a:lnTo>
                      <a:lnTo>
                        <a:pt x="9941" y="40547"/>
                      </a:lnTo>
                      <a:lnTo>
                        <a:pt x="12219" y="24781"/>
                      </a:lnTo>
                      <a:lnTo>
                        <a:pt x="19488" y="17498"/>
                      </a:lnTo>
                      <a:lnTo>
                        <a:pt x="36489" y="13589"/>
                      </a:lnTo>
                      <a:lnTo>
                        <a:pt x="48171" y="0"/>
                      </a:lnTo>
                      <a:lnTo>
                        <a:pt x="61571" y="27534"/>
                      </a:lnTo>
                      <a:lnTo>
                        <a:pt x="67930" y="49288"/>
                      </a:lnTo>
                      <a:lnTo>
                        <a:pt x="80584" y="60806"/>
                      </a:lnTo>
                      <a:lnTo>
                        <a:pt x="112091" y="83094"/>
                      </a:lnTo>
                      <a:lnTo>
                        <a:pt x="124918" y="96515"/>
                      </a:lnTo>
                      <a:lnTo>
                        <a:pt x="137426" y="110080"/>
                      </a:lnTo>
                      <a:lnTo>
                        <a:pt x="144645" y="118147"/>
                      </a:lnTo>
                      <a:lnTo>
                        <a:pt x="155994" y="125203"/>
                      </a:lnTo>
                      <a:lnTo>
                        <a:pt x="149032" y="13092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Freeform 67">
                  <a:extLst>
                    <a:ext uri="{FF2B5EF4-FFF2-40B4-BE49-F238E27FC236}">
                      <a16:creationId xmlns:a16="http://schemas.microsoft.com/office/drawing/2014/main" id="{AA9BF219-CD33-4862-8D7C-15881E2A3E2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9"/>
                  </p:custDataLst>
                </p:nvPr>
              </p:nvSpPr>
              <p:spPr>
                <a:xfrm>
                  <a:off x="6683091" y="3432067"/>
                  <a:ext cx="307927" cy="22774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6974" h="212252">
                      <a:moveTo>
                        <a:pt x="8266" y="52162"/>
                      </a:moveTo>
                      <a:lnTo>
                        <a:pt x="9429" y="32381"/>
                      </a:lnTo>
                      <a:lnTo>
                        <a:pt x="0" y="20266"/>
                      </a:lnTo>
                      <a:lnTo>
                        <a:pt x="32655" y="0"/>
                      </a:lnTo>
                      <a:lnTo>
                        <a:pt x="60902" y="5080"/>
                      </a:lnTo>
                      <a:lnTo>
                        <a:pt x="91892" y="4902"/>
                      </a:lnTo>
                      <a:lnTo>
                        <a:pt x="116454" y="9702"/>
                      </a:lnTo>
                      <a:lnTo>
                        <a:pt x="135619" y="8229"/>
                      </a:lnTo>
                      <a:lnTo>
                        <a:pt x="172925" y="9159"/>
                      </a:lnTo>
                      <a:lnTo>
                        <a:pt x="182125" y="20059"/>
                      </a:lnTo>
                      <a:lnTo>
                        <a:pt x="224617" y="32749"/>
                      </a:lnTo>
                      <a:lnTo>
                        <a:pt x="233008" y="26720"/>
                      </a:lnTo>
                      <a:lnTo>
                        <a:pt x="258981" y="39323"/>
                      </a:lnTo>
                      <a:lnTo>
                        <a:pt x="285738" y="35716"/>
                      </a:lnTo>
                      <a:lnTo>
                        <a:pt x="286973" y="51842"/>
                      </a:lnTo>
                      <a:lnTo>
                        <a:pt x="265099" y="70225"/>
                      </a:lnTo>
                      <a:lnTo>
                        <a:pt x="235522" y="76036"/>
                      </a:lnTo>
                      <a:lnTo>
                        <a:pt x="233464" y="85261"/>
                      </a:lnTo>
                      <a:lnTo>
                        <a:pt x="219276" y="100404"/>
                      </a:lnTo>
                      <a:lnTo>
                        <a:pt x="210380" y="122504"/>
                      </a:lnTo>
                      <a:lnTo>
                        <a:pt x="219382" y="137929"/>
                      </a:lnTo>
                      <a:lnTo>
                        <a:pt x="206031" y="149920"/>
                      </a:lnTo>
                      <a:lnTo>
                        <a:pt x="201039" y="167311"/>
                      </a:lnTo>
                      <a:lnTo>
                        <a:pt x="183612" y="172625"/>
                      </a:lnTo>
                      <a:lnTo>
                        <a:pt x="167268" y="193047"/>
                      </a:lnTo>
                      <a:lnTo>
                        <a:pt x="137968" y="193451"/>
                      </a:lnTo>
                      <a:lnTo>
                        <a:pt x="115967" y="192949"/>
                      </a:lnTo>
                      <a:lnTo>
                        <a:pt x="101511" y="202287"/>
                      </a:lnTo>
                      <a:lnTo>
                        <a:pt x="92694" y="212251"/>
                      </a:lnTo>
                      <a:lnTo>
                        <a:pt x="81400" y="210065"/>
                      </a:lnTo>
                      <a:lnTo>
                        <a:pt x="72854" y="201152"/>
                      </a:lnTo>
                      <a:lnTo>
                        <a:pt x="66310" y="185923"/>
                      </a:lnTo>
                      <a:lnTo>
                        <a:pt x="44762" y="181811"/>
                      </a:lnTo>
                      <a:lnTo>
                        <a:pt x="42837" y="173002"/>
                      </a:lnTo>
                      <a:lnTo>
                        <a:pt x="51391" y="162998"/>
                      </a:lnTo>
                      <a:lnTo>
                        <a:pt x="54559" y="155725"/>
                      </a:lnTo>
                      <a:lnTo>
                        <a:pt x="46600" y="147754"/>
                      </a:lnTo>
                      <a:lnTo>
                        <a:pt x="52972" y="130069"/>
                      </a:lnTo>
                      <a:lnTo>
                        <a:pt x="43725" y="113845"/>
                      </a:lnTo>
                      <a:lnTo>
                        <a:pt x="53698" y="111611"/>
                      </a:lnTo>
                      <a:lnTo>
                        <a:pt x="54625" y="98752"/>
                      </a:lnTo>
                      <a:lnTo>
                        <a:pt x="58374" y="94760"/>
                      </a:lnTo>
                      <a:lnTo>
                        <a:pt x="58671" y="73388"/>
                      </a:lnTo>
                      <a:lnTo>
                        <a:pt x="69336" y="65937"/>
                      </a:lnTo>
                      <a:lnTo>
                        <a:pt x="62884" y="52084"/>
                      </a:lnTo>
                      <a:lnTo>
                        <a:pt x="49434" y="51116"/>
                      </a:lnTo>
                      <a:lnTo>
                        <a:pt x="45482" y="54611"/>
                      </a:lnTo>
                      <a:lnTo>
                        <a:pt x="31848" y="54643"/>
                      </a:lnTo>
                      <a:lnTo>
                        <a:pt x="26062" y="41071"/>
                      </a:lnTo>
                      <a:lnTo>
                        <a:pt x="16642" y="45119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" name="Freeform 68">
                  <a:extLst>
                    <a:ext uri="{FF2B5EF4-FFF2-40B4-BE49-F238E27FC236}">
                      <a16:creationId xmlns:a16="http://schemas.microsoft.com/office/drawing/2014/main" id="{C1DE06A2-4EC1-4058-80A5-CDEB1928918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0"/>
                  </p:custDataLst>
                </p:nvPr>
              </p:nvSpPr>
              <p:spPr>
                <a:xfrm>
                  <a:off x="7493817" y="2905992"/>
                  <a:ext cx="118686" cy="7736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0610" h="72100">
                      <a:moveTo>
                        <a:pt x="22460" y="61482"/>
                      </a:moveTo>
                      <a:lnTo>
                        <a:pt x="25140" y="41708"/>
                      </a:lnTo>
                      <a:lnTo>
                        <a:pt x="16651" y="45947"/>
                      </a:lnTo>
                      <a:lnTo>
                        <a:pt x="2002" y="33975"/>
                      </a:lnTo>
                      <a:lnTo>
                        <a:pt x="0" y="14487"/>
                      </a:lnTo>
                      <a:lnTo>
                        <a:pt x="29185" y="4975"/>
                      </a:lnTo>
                      <a:lnTo>
                        <a:pt x="58269" y="0"/>
                      </a:lnTo>
                      <a:lnTo>
                        <a:pt x="83313" y="5661"/>
                      </a:lnTo>
                      <a:lnTo>
                        <a:pt x="107133" y="4649"/>
                      </a:lnTo>
                      <a:lnTo>
                        <a:pt x="110609" y="10614"/>
                      </a:lnTo>
                      <a:lnTo>
                        <a:pt x="94185" y="30195"/>
                      </a:lnTo>
                      <a:lnTo>
                        <a:pt x="101030" y="61533"/>
                      </a:lnTo>
                      <a:lnTo>
                        <a:pt x="91139" y="72099"/>
                      </a:lnTo>
                      <a:lnTo>
                        <a:pt x="72104" y="72037"/>
                      </a:lnTo>
                      <a:lnTo>
                        <a:pt x="52236" y="59676"/>
                      </a:lnTo>
                      <a:lnTo>
                        <a:pt x="42121" y="5557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Freeform 69">
                  <a:extLst>
                    <a:ext uri="{FF2B5EF4-FFF2-40B4-BE49-F238E27FC236}">
                      <a16:creationId xmlns:a16="http://schemas.microsoft.com/office/drawing/2014/main" id="{6E17D113-58EB-4473-8D61-C39E65FD5C0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1"/>
                  </p:custDataLst>
                </p:nvPr>
              </p:nvSpPr>
              <p:spPr>
                <a:xfrm>
                  <a:off x="7731947" y="4216832"/>
                  <a:ext cx="367441" cy="28845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42438" h="268823">
                      <a:moveTo>
                        <a:pt x="114303" y="0"/>
                      </a:moveTo>
                      <a:lnTo>
                        <a:pt x="128311" y="10705"/>
                      </a:lnTo>
                      <a:lnTo>
                        <a:pt x="141848" y="5161"/>
                      </a:lnTo>
                      <a:lnTo>
                        <a:pt x="147416" y="10090"/>
                      </a:lnTo>
                      <a:lnTo>
                        <a:pt x="163243" y="10372"/>
                      </a:lnTo>
                      <a:lnTo>
                        <a:pt x="183332" y="19815"/>
                      </a:lnTo>
                      <a:lnTo>
                        <a:pt x="189302" y="27939"/>
                      </a:lnTo>
                      <a:lnTo>
                        <a:pt x="199536" y="35490"/>
                      </a:lnTo>
                      <a:lnTo>
                        <a:pt x="209027" y="49255"/>
                      </a:lnTo>
                      <a:lnTo>
                        <a:pt x="216917" y="56843"/>
                      </a:lnTo>
                      <a:lnTo>
                        <a:pt x="208802" y="67204"/>
                      </a:lnTo>
                      <a:lnTo>
                        <a:pt x="200994" y="78175"/>
                      </a:lnTo>
                      <a:lnTo>
                        <a:pt x="202791" y="84631"/>
                      </a:lnTo>
                      <a:lnTo>
                        <a:pt x="203160" y="91740"/>
                      </a:lnTo>
                      <a:lnTo>
                        <a:pt x="216053" y="92130"/>
                      </a:lnTo>
                      <a:lnTo>
                        <a:pt x="221611" y="90474"/>
                      </a:lnTo>
                      <a:lnTo>
                        <a:pt x="226734" y="94637"/>
                      </a:lnTo>
                      <a:lnTo>
                        <a:pt x="221699" y="102908"/>
                      </a:lnTo>
                      <a:lnTo>
                        <a:pt x="230225" y="115751"/>
                      </a:lnTo>
                      <a:lnTo>
                        <a:pt x="238740" y="126968"/>
                      </a:lnTo>
                      <a:lnTo>
                        <a:pt x="247552" y="135278"/>
                      </a:lnTo>
                      <a:lnTo>
                        <a:pt x="323023" y="162869"/>
                      </a:lnTo>
                      <a:lnTo>
                        <a:pt x="342437" y="162726"/>
                      </a:lnTo>
                      <a:lnTo>
                        <a:pt x="277210" y="232298"/>
                      </a:lnTo>
                      <a:lnTo>
                        <a:pt x="247139" y="233318"/>
                      </a:lnTo>
                      <a:lnTo>
                        <a:pt x="226568" y="249624"/>
                      </a:lnTo>
                      <a:lnTo>
                        <a:pt x="211771" y="250050"/>
                      </a:lnTo>
                      <a:lnTo>
                        <a:pt x="205457" y="257338"/>
                      </a:lnTo>
                      <a:lnTo>
                        <a:pt x="189685" y="257334"/>
                      </a:lnTo>
                      <a:lnTo>
                        <a:pt x="180375" y="249521"/>
                      </a:lnTo>
                      <a:lnTo>
                        <a:pt x="159288" y="259191"/>
                      </a:lnTo>
                      <a:lnTo>
                        <a:pt x="152466" y="268822"/>
                      </a:lnTo>
                      <a:lnTo>
                        <a:pt x="137073" y="267004"/>
                      </a:lnTo>
                      <a:lnTo>
                        <a:pt x="131963" y="264339"/>
                      </a:lnTo>
                      <a:lnTo>
                        <a:pt x="126558" y="264975"/>
                      </a:lnTo>
                      <a:lnTo>
                        <a:pt x="119262" y="264742"/>
                      </a:lnTo>
                      <a:lnTo>
                        <a:pt x="90044" y="245108"/>
                      </a:lnTo>
                      <a:lnTo>
                        <a:pt x="73978" y="245108"/>
                      </a:lnTo>
                      <a:lnTo>
                        <a:pt x="66092" y="237496"/>
                      </a:lnTo>
                      <a:lnTo>
                        <a:pt x="66092" y="224508"/>
                      </a:lnTo>
                      <a:lnTo>
                        <a:pt x="54102" y="220624"/>
                      </a:lnTo>
                      <a:lnTo>
                        <a:pt x="40460" y="195415"/>
                      </a:lnTo>
                      <a:lnTo>
                        <a:pt x="29918" y="190039"/>
                      </a:lnTo>
                      <a:lnTo>
                        <a:pt x="25874" y="180765"/>
                      </a:lnTo>
                      <a:lnTo>
                        <a:pt x="14175" y="169453"/>
                      </a:lnTo>
                      <a:lnTo>
                        <a:pt x="0" y="167790"/>
                      </a:lnTo>
                      <a:lnTo>
                        <a:pt x="7862" y="154558"/>
                      </a:lnTo>
                      <a:lnTo>
                        <a:pt x="20113" y="153987"/>
                      </a:lnTo>
                      <a:lnTo>
                        <a:pt x="23563" y="146887"/>
                      </a:lnTo>
                      <a:lnTo>
                        <a:pt x="23255" y="125965"/>
                      </a:lnTo>
                      <a:lnTo>
                        <a:pt x="30083" y="101566"/>
                      </a:lnTo>
                      <a:lnTo>
                        <a:pt x="41017" y="95027"/>
                      </a:lnTo>
                      <a:lnTo>
                        <a:pt x="43337" y="85476"/>
                      </a:lnTo>
                      <a:lnTo>
                        <a:pt x="53236" y="67605"/>
                      </a:lnTo>
                      <a:lnTo>
                        <a:pt x="67158" y="55998"/>
                      </a:lnTo>
                      <a:lnTo>
                        <a:pt x="76543" y="32876"/>
                      </a:lnTo>
                      <a:lnTo>
                        <a:pt x="80220" y="12669"/>
                      </a:lnTo>
                      <a:lnTo>
                        <a:pt x="107094" y="1759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" name="Freeform 70">
                  <a:extLst>
                    <a:ext uri="{FF2B5EF4-FFF2-40B4-BE49-F238E27FC236}">
                      <a16:creationId xmlns:a16="http://schemas.microsoft.com/office/drawing/2014/main" id="{3C896772-7F6E-4F52-8000-ABE6A748B38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2"/>
                  </p:custDataLst>
                </p:nvPr>
              </p:nvSpPr>
              <p:spPr>
                <a:xfrm>
                  <a:off x="7427086" y="2480648"/>
                  <a:ext cx="269242" cy="4166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50921" h="388320">
                      <a:moveTo>
                        <a:pt x="183423" y="45026"/>
                      </a:moveTo>
                      <a:lnTo>
                        <a:pt x="180053" y="73184"/>
                      </a:lnTo>
                      <a:lnTo>
                        <a:pt x="215404" y="99622"/>
                      </a:lnTo>
                      <a:lnTo>
                        <a:pt x="194102" y="129132"/>
                      </a:lnTo>
                      <a:lnTo>
                        <a:pt x="220948" y="172895"/>
                      </a:lnTo>
                      <a:lnTo>
                        <a:pt x="205409" y="205257"/>
                      </a:lnTo>
                      <a:lnTo>
                        <a:pt x="226189" y="232951"/>
                      </a:lnTo>
                      <a:lnTo>
                        <a:pt x="216753" y="256906"/>
                      </a:lnTo>
                      <a:lnTo>
                        <a:pt x="250920" y="281805"/>
                      </a:lnTo>
                      <a:lnTo>
                        <a:pt x="242239" y="300154"/>
                      </a:lnTo>
                      <a:lnTo>
                        <a:pt x="220798" y="320751"/>
                      </a:lnTo>
                      <a:lnTo>
                        <a:pt x="171375" y="365587"/>
                      </a:lnTo>
                      <a:lnTo>
                        <a:pt x="129484" y="368352"/>
                      </a:lnTo>
                      <a:lnTo>
                        <a:pt x="88892" y="381047"/>
                      </a:lnTo>
                      <a:lnTo>
                        <a:pt x="51338" y="388319"/>
                      </a:lnTo>
                      <a:lnTo>
                        <a:pt x="37975" y="369464"/>
                      </a:lnTo>
                      <a:lnTo>
                        <a:pt x="15619" y="358042"/>
                      </a:lnTo>
                      <a:lnTo>
                        <a:pt x="20758" y="323400"/>
                      </a:lnTo>
                      <a:lnTo>
                        <a:pt x="9547" y="291189"/>
                      </a:lnTo>
                      <a:lnTo>
                        <a:pt x="20554" y="270137"/>
                      </a:lnTo>
                      <a:lnTo>
                        <a:pt x="41483" y="247197"/>
                      </a:lnTo>
                      <a:lnTo>
                        <a:pt x="94291" y="206992"/>
                      </a:lnTo>
                      <a:lnTo>
                        <a:pt x="109700" y="199152"/>
                      </a:lnTo>
                      <a:lnTo>
                        <a:pt x="107299" y="183203"/>
                      </a:lnTo>
                      <a:lnTo>
                        <a:pt x="75198" y="165237"/>
                      </a:lnTo>
                      <a:lnTo>
                        <a:pt x="67408" y="150325"/>
                      </a:lnTo>
                      <a:lnTo>
                        <a:pt x="66799" y="90229"/>
                      </a:lnTo>
                      <a:lnTo>
                        <a:pt x="30768" y="63086"/>
                      </a:lnTo>
                      <a:lnTo>
                        <a:pt x="0" y="43346"/>
                      </a:lnTo>
                      <a:lnTo>
                        <a:pt x="13834" y="32609"/>
                      </a:lnTo>
                      <a:lnTo>
                        <a:pt x="39486" y="54039"/>
                      </a:lnTo>
                      <a:lnTo>
                        <a:pt x="69628" y="52042"/>
                      </a:lnTo>
                      <a:lnTo>
                        <a:pt x="94410" y="61772"/>
                      </a:lnTo>
                      <a:lnTo>
                        <a:pt x="116420" y="43919"/>
                      </a:lnTo>
                      <a:lnTo>
                        <a:pt x="127740" y="13988"/>
                      </a:lnTo>
                      <a:lnTo>
                        <a:pt x="163580" y="0"/>
                      </a:lnTo>
                      <a:lnTo>
                        <a:pt x="193201" y="1640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" name="Freeform 71">
                  <a:extLst>
                    <a:ext uri="{FF2B5EF4-FFF2-40B4-BE49-F238E27FC236}">
                      <a16:creationId xmlns:a16="http://schemas.microsoft.com/office/drawing/2014/main" id="{D35D19B0-B257-4228-9FE3-9A5962750B7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3"/>
                  </p:custDataLst>
                </p:nvPr>
              </p:nvSpPr>
              <p:spPr>
                <a:xfrm>
                  <a:off x="6801992" y="3199374"/>
                  <a:ext cx="4252981" cy="2736745"/>
                </a:xfrm>
                <a:custGeom>
                  <a:avLst/>
                  <a:gdLst>
                    <a:gd name="connsiteX0" fmla="*/ 1697208 w 3963580"/>
                    <a:gd name="connsiteY0" fmla="*/ 2516185 h 2550519"/>
                    <a:gd name="connsiteX1" fmla="*/ 1712096 w 3963580"/>
                    <a:gd name="connsiteY1" fmla="*/ 2525545 h 2550519"/>
                    <a:gd name="connsiteX2" fmla="*/ 1733909 w 3963580"/>
                    <a:gd name="connsiteY2" fmla="*/ 2529268 h 2550519"/>
                    <a:gd name="connsiteX3" fmla="*/ 1734717 w 3963580"/>
                    <a:gd name="connsiteY3" fmla="*/ 2534938 h 2550519"/>
                    <a:gd name="connsiteX4" fmla="*/ 1728254 w 3963580"/>
                    <a:gd name="connsiteY4" fmla="*/ 2548566 h 2550519"/>
                    <a:gd name="connsiteX5" fmla="*/ 1692822 w 3963580"/>
                    <a:gd name="connsiteY5" fmla="*/ 2550519 h 2550519"/>
                    <a:gd name="connsiteX6" fmla="*/ 1692245 w 3963580"/>
                    <a:gd name="connsiteY6" fmla="*/ 2534565 h 2550519"/>
                    <a:gd name="connsiteX7" fmla="*/ 1695650 w 3963580"/>
                    <a:gd name="connsiteY7" fmla="*/ 2522273 h 2550519"/>
                    <a:gd name="connsiteX8" fmla="*/ 3892245 w 3963580"/>
                    <a:gd name="connsiteY8" fmla="*/ 1766377 h 2550519"/>
                    <a:gd name="connsiteX9" fmla="*/ 3902180 w 3963580"/>
                    <a:gd name="connsiteY9" fmla="*/ 1766722 h 2550519"/>
                    <a:gd name="connsiteX10" fmla="*/ 3915107 w 3963580"/>
                    <a:gd name="connsiteY10" fmla="*/ 1774896 h 2550519"/>
                    <a:gd name="connsiteX11" fmla="*/ 3925263 w 3963580"/>
                    <a:gd name="connsiteY11" fmla="*/ 1783082 h 2550519"/>
                    <a:gd name="connsiteX12" fmla="*/ 3932649 w 3963580"/>
                    <a:gd name="connsiteY12" fmla="*/ 1789831 h 2550519"/>
                    <a:gd name="connsiteX13" fmla="*/ 3951577 w 3963580"/>
                    <a:gd name="connsiteY13" fmla="*/ 1804806 h 2550519"/>
                    <a:gd name="connsiteX14" fmla="*/ 3963580 w 3963580"/>
                    <a:gd name="connsiteY14" fmla="*/ 1815941 h 2550519"/>
                    <a:gd name="connsiteX15" fmla="*/ 3954810 w 3963580"/>
                    <a:gd name="connsiteY15" fmla="*/ 1821760 h 2550519"/>
                    <a:gd name="connsiteX16" fmla="*/ 3942107 w 3963580"/>
                    <a:gd name="connsiteY16" fmla="*/ 1815207 h 2550519"/>
                    <a:gd name="connsiteX17" fmla="*/ 3925595 w 3963580"/>
                    <a:gd name="connsiteY17" fmla="*/ 1804312 h 2550519"/>
                    <a:gd name="connsiteX18" fmla="*/ 3910716 w 3963580"/>
                    <a:gd name="connsiteY18" fmla="*/ 1791515 h 2550519"/>
                    <a:gd name="connsiteX19" fmla="*/ 3895440 w 3963580"/>
                    <a:gd name="connsiteY19" fmla="*/ 1774529 h 2550519"/>
                    <a:gd name="connsiteX20" fmla="*/ 322750 w 3963580"/>
                    <a:gd name="connsiteY20" fmla="*/ 237592 h 2550519"/>
                    <a:gd name="connsiteX21" fmla="*/ 326674 w 3963580"/>
                    <a:gd name="connsiteY21" fmla="*/ 261485 h 2550519"/>
                    <a:gd name="connsiteX22" fmla="*/ 319051 w 3963580"/>
                    <a:gd name="connsiteY22" fmla="*/ 282847 h 2550519"/>
                    <a:gd name="connsiteX23" fmla="*/ 308571 w 3963580"/>
                    <a:gd name="connsiteY23" fmla="*/ 277231 h 2550519"/>
                    <a:gd name="connsiteX24" fmla="*/ 303227 w 3963580"/>
                    <a:gd name="connsiteY24" fmla="*/ 258597 h 2550519"/>
                    <a:gd name="connsiteX25" fmla="*/ 307885 w 3963580"/>
                    <a:gd name="connsiteY25" fmla="*/ 248256 h 2550519"/>
                    <a:gd name="connsiteX26" fmla="*/ 164024 w 3963580"/>
                    <a:gd name="connsiteY26" fmla="*/ 0 h 2550519"/>
                    <a:gd name="connsiteX27" fmla="*/ 167367 w 3963580"/>
                    <a:gd name="connsiteY27" fmla="*/ 10719 h 2550519"/>
                    <a:gd name="connsiteX28" fmla="*/ 178096 w 3963580"/>
                    <a:gd name="connsiteY28" fmla="*/ 11221 h 2550519"/>
                    <a:gd name="connsiteX29" fmla="*/ 188828 w 3963580"/>
                    <a:gd name="connsiteY29" fmla="*/ 23398 h 2550519"/>
                    <a:gd name="connsiteX30" fmla="*/ 204936 w 3963580"/>
                    <a:gd name="connsiteY30" fmla="*/ 37629 h 2550519"/>
                    <a:gd name="connsiteX31" fmla="*/ 216782 w 3963580"/>
                    <a:gd name="connsiteY31" fmla="*/ 35284 h 2550519"/>
                    <a:gd name="connsiteX32" fmla="*/ 236976 w 3963580"/>
                    <a:gd name="connsiteY32" fmla="*/ 48983 h 2550519"/>
                    <a:gd name="connsiteX33" fmla="*/ 242139 w 3963580"/>
                    <a:gd name="connsiteY33" fmla="*/ 51583 h 2550519"/>
                    <a:gd name="connsiteX34" fmla="*/ 248800 w 3963580"/>
                    <a:gd name="connsiteY34" fmla="*/ 50950 h 2550519"/>
                    <a:gd name="connsiteX35" fmla="*/ 259693 w 3963580"/>
                    <a:gd name="connsiteY35" fmla="*/ 58779 h 2550519"/>
                    <a:gd name="connsiteX36" fmla="*/ 292956 w 3963580"/>
                    <a:gd name="connsiteY36" fmla="*/ 64272 h 2550519"/>
                    <a:gd name="connsiteX37" fmla="*/ 281286 w 3963580"/>
                    <a:gd name="connsiteY37" fmla="*/ 84594 h 2550519"/>
                    <a:gd name="connsiteX38" fmla="*/ 278356 w 3963580"/>
                    <a:gd name="connsiteY38" fmla="*/ 105573 h 2550519"/>
                    <a:gd name="connsiteX39" fmla="*/ 272019 w 3963580"/>
                    <a:gd name="connsiteY39" fmla="*/ 110578 h 2550519"/>
                    <a:gd name="connsiteX40" fmla="*/ 261501 w 3963580"/>
                    <a:gd name="connsiteY40" fmla="*/ 107882 h 2550519"/>
                    <a:gd name="connsiteX41" fmla="*/ 262244 w 3963580"/>
                    <a:gd name="connsiteY41" fmla="*/ 115318 h 2550519"/>
                    <a:gd name="connsiteX42" fmla="*/ 245362 w 3963580"/>
                    <a:gd name="connsiteY42" fmla="*/ 131691 h 2550519"/>
                    <a:gd name="connsiteX43" fmla="*/ 245021 w 3963580"/>
                    <a:gd name="connsiteY43" fmla="*/ 144812 h 2550519"/>
                    <a:gd name="connsiteX44" fmla="*/ 256043 w 3963580"/>
                    <a:gd name="connsiteY44" fmla="*/ 140279 h 2550519"/>
                    <a:gd name="connsiteX45" fmla="*/ 263972 w 3963580"/>
                    <a:gd name="connsiteY45" fmla="*/ 152948 h 2550519"/>
                    <a:gd name="connsiteX46" fmla="*/ 263020 w 3963580"/>
                    <a:gd name="connsiteY46" fmla="*/ 161081 h 2550519"/>
                    <a:gd name="connsiteX47" fmla="*/ 269813 w 3963580"/>
                    <a:gd name="connsiteY47" fmla="*/ 171851 h 2550519"/>
                    <a:gd name="connsiteX48" fmla="*/ 261810 w 3963580"/>
                    <a:gd name="connsiteY48" fmla="*/ 180557 h 2550519"/>
                    <a:gd name="connsiteX49" fmla="*/ 267757 w 3963580"/>
                    <a:gd name="connsiteY49" fmla="*/ 202555 h 2550519"/>
                    <a:gd name="connsiteX50" fmla="*/ 280268 w 3963580"/>
                    <a:gd name="connsiteY50" fmla="*/ 206145 h 2550519"/>
                    <a:gd name="connsiteX51" fmla="*/ 277628 w 3963580"/>
                    <a:gd name="connsiteY51" fmla="*/ 218395 h 2550519"/>
                    <a:gd name="connsiteX52" fmla="*/ 256716 w 3963580"/>
                    <a:gd name="connsiteY52" fmla="*/ 234263 h 2550519"/>
                    <a:gd name="connsiteX53" fmla="*/ 211191 w 3963580"/>
                    <a:gd name="connsiteY53" fmla="*/ 226669 h 2550519"/>
                    <a:gd name="connsiteX54" fmla="*/ 177569 w 3963580"/>
                    <a:gd name="connsiteY54" fmla="*/ 235767 h 2550519"/>
                    <a:gd name="connsiteX55" fmla="*/ 174928 w 3963580"/>
                    <a:gd name="connsiteY55" fmla="*/ 252576 h 2550519"/>
                    <a:gd name="connsiteX56" fmla="*/ 148171 w 3963580"/>
                    <a:gd name="connsiteY56" fmla="*/ 256183 h 2550519"/>
                    <a:gd name="connsiteX57" fmla="*/ 122198 w 3963580"/>
                    <a:gd name="connsiteY57" fmla="*/ 243580 h 2550519"/>
                    <a:gd name="connsiteX58" fmla="*/ 113807 w 3963580"/>
                    <a:gd name="connsiteY58" fmla="*/ 249609 h 2550519"/>
                    <a:gd name="connsiteX59" fmla="*/ 71315 w 3963580"/>
                    <a:gd name="connsiteY59" fmla="*/ 236919 h 2550519"/>
                    <a:gd name="connsiteX60" fmla="*/ 62115 w 3963580"/>
                    <a:gd name="connsiteY60" fmla="*/ 226019 h 2550519"/>
                    <a:gd name="connsiteX61" fmla="*/ 74052 w 3963580"/>
                    <a:gd name="connsiteY61" fmla="*/ 209122 h 2550519"/>
                    <a:gd name="connsiteX62" fmla="*/ 78447 w 3963580"/>
                    <a:gd name="connsiteY62" fmla="*/ 152263 h 2550519"/>
                    <a:gd name="connsiteX63" fmla="*/ 54628 w 3963580"/>
                    <a:gd name="connsiteY63" fmla="*/ 121837 h 2550519"/>
                    <a:gd name="connsiteX64" fmla="*/ 37603 w 3963580"/>
                    <a:gd name="connsiteY64" fmla="*/ 107046 h 2550519"/>
                    <a:gd name="connsiteX65" fmla="*/ 2327 w 3963580"/>
                    <a:gd name="connsiteY65" fmla="*/ 95747 h 2550519"/>
                    <a:gd name="connsiteX66" fmla="*/ 0 w 3963580"/>
                    <a:gd name="connsiteY66" fmla="*/ 74192 h 2550519"/>
                    <a:gd name="connsiteX67" fmla="*/ 29927 w 3963580"/>
                    <a:gd name="connsiteY67" fmla="*/ 67728 h 2550519"/>
                    <a:gd name="connsiteX68" fmla="*/ 68690 w 3963580"/>
                    <a:gd name="connsiteY68" fmla="*/ 75372 h 2550519"/>
                    <a:gd name="connsiteX69" fmla="*/ 61373 w 3963580"/>
                    <a:gd name="connsiteY69" fmla="*/ 41574 h 2550519"/>
                    <a:gd name="connsiteX70" fmla="*/ 83164 w 3963580"/>
                    <a:gd name="connsiteY70" fmla="*/ 54434 h 2550519"/>
                    <a:gd name="connsiteX71" fmla="*/ 136906 w 3963580"/>
                    <a:gd name="connsiteY71" fmla="*/ 31008 h 2550519"/>
                    <a:gd name="connsiteX72" fmla="*/ 143836 w 3963580"/>
                    <a:gd name="connsiteY72" fmla="*/ 6160 h 2550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3963580" h="2550519">
                      <a:moveTo>
                        <a:pt x="1697208" y="2516185"/>
                      </a:moveTo>
                      <a:lnTo>
                        <a:pt x="1712096" y="2525545"/>
                      </a:lnTo>
                      <a:lnTo>
                        <a:pt x="1733909" y="2529268"/>
                      </a:lnTo>
                      <a:lnTo>
                        <a:pt x="1734717" y="2534938"/>
                      </a:lnTo>
                      <a:lnTo>
                        <a:pt x="1728254" y="2548566"/>
                      </a:lnTo>
                      <a:lnTo>
                        <a:pt x="1692822" y="2550519"/>
                      </a:lnTo>
                      <a:lnTo>
                        <a:pt x="1692245" y="2534565"/>
                      </a:lnTo>
                      <a:lnTo>
                        <a:pt x="1695650" y="2522273"/>
                      </a:lnTo>
                      <a:close/>
                      <a:moveTo>
                        <a:pt x="3892245" y="1766377"/>
                      </a:moveTo>
                      <a:lnTo>
                        <a:pt x="3902180" y="1766722"/>
                      </a:lnTo>
                      <a:lnTo>
                        <a:pt x="3915107" y="1774896"/>
                      </a:lnTo>
                      <a:lnTo>
                        <a:pt x="3925263" y="1783082"/>
                      </a:lnTo>
                      <a:lnTo>
                        <a:pt x="3932649" y="1789831"/>
                      </a:lnTo>
                      <a:lnTo>
                        <a:pt x="3951577" y="1804806"/>
                      </a:lnTo>
                      <a:lnTo>
                        <a:pt x="3963580" y="1815941"/>
                      </a:lnTo>
                      <a:lnTo>
                        <a:pt x="3954810" y="1821760"/>
                      </a:lnTo>
                      <a:lnTo>
                        <a:pt x="3942107" y="1815207"/>
                      </a:lnTo>
                      <a:lnTo>
                        <a:pt x="3925595" y="1804312"/>
                      </a:lnTo>
                      <a:lnTo>
                        <a:pt x="3910716" y="1791515"/>
                      </a:lnTo>
                      <a:lnTo>
                        <a:pt x="3895440" y="1774529"/>
                      </a:lnTo>
                      <a:close/>
                      <a:moveTo>
                        <a:pt x="322750" y="237592"/>
                      </a:moveTo>
                      <a:lnTo>
                        <a:pt x="326674" y="261485"/>
                      </a:lnTo>
                      <a:lnTo>
                        <a:pt x="319051" y="282847"/>
                      </a:lnTo>
                      <a:lnTo>
                        <a:pt x="308571" y="277231"/>
                      </a:lnTo>
                      <a:lnTo>
                        <a:pt x="303227" y="258597"/>
                      </a:lnTo>
                      <a:lnTo>
                        <a:pt x="307885" y="248256"/>
                      </a:lnTo>
                      <a:close/>
                      <a:moveTo>
                        <a:pt x="164024" y="0"/>
                      </a:moveTo>
                      <a:lnTo>
                        <a:pt x="167367" y="10719"/>
                      </a:lnTo>
                      <a:lnTo>
                        <a:pt x="178096" y="11221"/>
                      </a:lnTo>
                      <a:lnTo>
                        <a:pt x="188828" y="23398"/>
                      </a:lnTo>
                      <a:lnTo>
                        <a:pt x="204936" y="37629"/>
                      </a:lnTo>
                      <a:lnTo>
                        <a:pt x="216782" y="35284"/>
                      </a:lnTo>
                      <a:lnTo>
                        <a:pt x="236976" y="48983"/>
                      </a:lnTo>
                      <a:lnTo>
                        <a:pt x="242139" y="51583"/>
                      </a:lnTo>
                      <a:lnTo>
                        <a:pt x="248800" y="50950"/>
                      </a:lnTo>
                      <a:lnTo>
                        <a:pt x="259693" y="58779"/>
                      </a:lnTo>
                      <a:lnTo>
                        <a:pt x="292956" y="64272"/>
                      </a:lnTo>
                      <a:lnTo>
                        <a:pt x="281286" y="84594"/>
                      </a:lnTo>
                      <a:lnTo>
                        <a:pt x="278356" y="105573"/>
                      </a:lnTo>
                      <a:lnTo>
                        <a:pt x="272019" y="110578"/>
                      </a:lnTo>
                      <a:lnTo>
                        <a:pt x="261501" y="107882"/>
                      </a:lnTo>
                      <a:lnTo>
                        <a:pt x="262244" y="115318"/>
                      </a:lnTo>
                      <a:lnTo>
                        <a:pt x="245362" y="131691"/>
                      </a:lnTo>
                      <a:lnTo>
                        <a:pt x="245021" y="144812"/>
                      </a:lnTo>
                      <a:lnTo>
                        <a:pt x="256043" y="140279"/>
                      </a:lnTo>
                      <a:lnTo>
                        <a:pt x="263972" y="152948"/>
                      </a:lnTo>
                      <a:lnTo>
                        <a:pt x="263020" y="161081"/>
                      </a:lnTo>
                      <a:lnTo>
                        <a:pt x="269813" y="171851"/>
                      </a:lnTo>
                      <a:lnTo>
                        <a:pt x="261810" y="180557"/>
                      </a:lnTo>
                      <a:lnTo>
                        <a:pt x="267757" y="202555"/>
                      </a:lnTo>
                      <a:lnTo>
                        <a:pt x="280268" y="206145"/>
                      </a:lnTo>
                      <a:lnTo>
                        <a:pt x="277628" y="218395"/>
                      </a:lnTo>
                      <a:lnTo>
                        <a:pt x="256716" y="234263"/>
                      </a:lnTo>
                      <a:lnTo>
                        <a:pt x="211191" y="226669"/>
                      </a:lnTo>
                      <a:lnTo>
                        <a:pt x="177569" y="235767"/>
                      </a:lnTo>
                      <a:lnTo>
                        <a:pt x="174928" y="252576"/>
                      </a:lnTo>
                      <a:lnTo>
                        <a:pt x="148171" y="256183"/>
                      </a:lnTo>
                      <a:lnTo>
                        <a:pt x="122198" y="243580"/>
                      </a:lnTo>
                      <a:lnTo>
                        <a:pt x="113807" y="249609"/>
                      </a:lnTo>
                      <a:lnTo>
                        <a:pt x="71315" y="236919"/>
                      </a:lnTo>
                      <a:lnTo>
                        <a:pt x="62115" y="226019"/>
                      </a:lnTo>
                      <a:lnTo>
                        <a:pt x="74052" y="209122"/>
                      </a:lnTo>
                      <a:lnTo>
                        <a:pt x="78447" y="152263"/>
                      </a:lnTo>
                      <a:lnTo>
                        <a:pt x="54628" y="121837"/>
                      </a:lnTo>
                      <a:lnTo>
                        <a:pt x="37603" y="107046"/>
                      </a:lnTo>
                      <a:lnTo>
                        <a:pt x="2327" y="95747"/>
                      </a:lnTo>
                      <a:lnTo>
                        <a:pt x="0" y="74192"/>
                      </a:lnTo>
                      <a:lnTo>
                        <a:pt x="29927" y="67728"/>
                      </a:lnTo>
                      <a:lnTo>
                        <a:pt x="68690" y="75372"/>
                      </a:lnTo>
                      <a:lnTo>
                        <a:pt x="61373" y="41574"/>
                      </a:lnTo>
                      <a:lnTo>
                        <a:pt x="83164" y="54434"/>
                      </a:lnTo>
                      <a:lnTo>
                        <a:pt x="136906" y="31008"/>
                      </a:lnTo>
                      <a:lnTo>
                        <a:pt x="143836" y="616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" name="Freeform 72">
                  <a:extLst>
                    <a:ext uri="{FF2B5EF4-FFF2-40B4-BE49-F238E27FC236}">
                      <a16:creationId xmlns:a16="http://schemas.microsoft.com/office/drawing/2014/main" id="{8CC59126-4751-417B-A01A-DF288D8C3AD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4"/>
                  </p:custDataLst>
                </p:nvPr>
              </p:nvSpPr>
              <p:spPr>
                <a:xfrm>
                  <a:off x="7133644" y="4532433"/>
                  <a:ext cx="139382" cy="15624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9898" h="145608">
                      <a:moveTo>
                        <a:pt x="52992" y="145607"/>
                      </a:moveTo>
                      <a:lnTo>
                        <a:pt x="29272" y="122281"/>
                      </a:lnTo>
                      <a:lnTo>
                        <a:pt x="14017" y="103221"/>
                      </a:lnTo>
                      <a:lnTo>
                        <a:pt x="0" y="79371"/>
                      </a:lnTo>
                      <a:lnTo>
                        <a:pt x="741" y="71701"/>
                      </a:lnTo>
                      <a:lnTo>
                        <a:pt x="5780" y="64321"/>
                      </a:lnTo>
                      <a:lnTo>
                        <a:pt x="11388" y="47516"/>
                      </a:lnTo>
                      <a:lnTo>
                        <a:pt x="16040" y="30401"/>
                      </a:lnTo>
                      <a:lnTo>
                        <a:pt x="23828" y="29067"/>
                      </a:lnTo>
                      <a:lnTo>
                        <a:pt x="57408" y="29303"/>
                      </a:lnTo>
                      <a:lnTo>
                        <a:pt x="57209" y="1518"/>
                      </a:lnTo>
                      <a:lnTo>
                        <a:pt x="68178" y="0"/>
                      </a:lnTo>
                      <a:lnTo>
                        <a:pt x="82206" y="3094"/>
                      </a:lnTo>
                      <a:lnTo>
                        <a:pt x="95870" y="119"/>
                      </a:lnTo>
                      <a:lnTo>
                        <a:pt x="98744" y="1378"/>
                      </a:lnTo>
                      <a:lnTo>
                        <a:pt x="97065" y="11451"/>
                      </a:lnTo>
                      <a:lnTo>
                        <a:pt x="103517" y="23381"/>
                      </a:lnTo>
                      <a:lnTo>
                        <a:pt x="120691" y="21500"/>
                      </a:lnTo>
                      <a:lnTo>
                        <a:pt x="126453" y="26088"/>
                      </a:lnTo>
                      <a:lnTo>
                        <a:pt x="116460" y="52823"/>
                      </a:lnTo>
                      <a:lnTo>
                        <a:pt x="127380" y="66474"/>
                      </a:lnTo>
                      <a:lnTo>
                        <a:pt x="129897" y="84498"/>
                      </a:lnTo>
                      <a:lnTo>
                        <a:pt x="126983" y="99849"/>
                      </a:lnTo>
                      <a:lnTo>
                        <a:pt x="119901" y="110762"/>
                      </a:lnTo>
                      <a:lnTo>
                        <a:pt x="99524" y="109790"/>
                      </a:lnTo>
                      <a:lnTo>
                        <a:pt x="87190" y="98700"/>
                      </a:lnTo>
                      <a:lnTo>
                        <a:pt x="85353" y="108934"/>
                      </a:lnTo>
                      <a:lnTo>
                        <a:pt x="69778" y="111763"/>
                      </a:lnTo>
                      <a:lnTo>
                        <a:pt x="61862" y="117571"/>
                      </a:lnTo>
                      <a:lnTo>
                        <a:pt x="70567" y="13284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" name="Freeform 73">
                  <a:extLst>
                    <a:ext uri="{FF2B5EF4-FFF2-40B4-BE49-F238E27FC236}">
                      <a16:creationId xmlns:a16="http://schemas.microsoft.com/office/drawing/2014/main" id="{7C2D9629-0433-4557-92AF-FEB5EB88043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5"/>
                  </p:custDataLst>
                </p:nvPr>
              </p:nvSpPr>
              <p:spPr>
                <a:xfrm>
                  <a:off x="7905344" y="3437965"/>
                  <a:ext cx="165523" cy="742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4260" h="69175">
                      <a:moveTo>
                        <a:pt x="36911" y="56199"/>
                      </a:moveTo>
                      <a:lnTo>
                        <a:pt x="40352" y="44385"/>
                      </a:lnTo>
                      <a:lnTo>
                        <a:pt x="34589" y="25426"/>
                      </a:lnTo>
                      <a:lnTo>
                        <a:pt x="21247" y="15134"/>
                      </a:lnTo>
                      <a:lnTo>
                        <a:pt x="8457" y="11914"/>
                      </a:lnTo>
                      <a:lnTo>
                        <a:pt x="0" y="3320"/>
                      </a:lnTo>
                      <a:lnTo>
                        <a:pt x="2815" y="0"/>
                      </a:lnTo>
                      <a:lnTo>
                        <a:pt x="22325" y="4804"/>
                      </a:lnTo>
                      <a:lnTo>
                        <a:pt x="56307" y="9345"/>
                      </a:lnTo>
                      <a:lnTo>
                        <a:pt x="87737" y="22756"/>
                      </a:lnTo>
                      <a:lnTo>
                        <a:pt x="91781" y="27938"/>
                      </a:lnTo>
                      <a:lnTo>
                        <a:pt x="105779" y="23561"/>
                      </a:lnTo>
                      <a:lnTo>
                        <a:pt x="127307" y="29392"/>
                      </a:lnTo>
                      <a:lnTo>
                        <a:pt x="134374" y="40795"/>
                      </a:lnTo>
                      <a:lnTo>
                        <a:pt x="148882" y="47217"/>
                      </a:lnTo>
                      <a:lnTo>
                        <a:pt x="142891" y="51030"/>
                      </a:lnTo>
                      <a:lnTo>
                        <a:pt x="154259" y="65951"/>
                      </a:lnTo>
                      <a:lnTo>
                        <a:pt x="151114" y="69174"/>
                      </a:lnTo>
                      <a:lnTo>
                        <a:pt x="138671" y="67541"/>
                      </a:lnTo>
                      <a:lnTo>
                        <a:pt x="121471" y="59624"/>
                      </a:lnTo>
                      <a:lnTo>
                        <a:pt x="115817" y="64123"/>
                      </a:lnTo>
                      <a:lnTo>
                        <a:pt x="83738" y="68413"/>
                      </a:lnTo>
                      <a:lnTo>
                        <a:pt x="61505" y="5488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Freeform 74">
                  <a:extLst>
                    <a:ext uri="{FF2B5EF4-FFF2-40B4-BE49-F238E27FC236}">
                      <a16:creationId xmlns:a16="http://schemas.microsoft.com/office/drawing/2014/main" id="{7F270E7D-409F-497F-95C4-9739CA4430B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6"/>
                  </p:custDataLst>
                </p:nvPr>
              </p:nvSpPr>
              <p:spPr>
                <a:xfrm>
                  <a:off x="6835379" y="4314082"/>
                  <a:ext cx="106615" cy="1592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9360" h="148403">
                      <a:moveTo>
                        <a:pt x="99359" y="120201"/>
                      </a:moveTo>
                      <a:lnTo>
                        <a:pt x="63171" y="133754"/>
                      </a:lnTo>
                      <a:lnTo>
                        <a:pt x="50337" y="141691"/>
                      </a:lnTo>
                      <a:lnTo>
                        <a:pt x="29538" y="148402"/>
                      </a:lnTo>
                      <a:lnTo>
                        <a:pt x="8962" y="141831"/>
                      </a:lnTo>
                      <a:lnTo>
                        <a:pt x="10010" y="132699"/>
                      </a:lnTo>
                      <a:lnTo>
                        <a:pt x="0" y="112750"/>
                      </a:lnTo>
                      <a:lnTo>
                        <a:pt x="6019" y="86565"/>
                      </a:lnTo>
                      <a:lnTo>
                        <a:pt x="15746" y="67062"/>
                      </a:lnTo>
                      <a:lnTo>
                        <a:pt x="9622" y="33961"/>
                      </a:lnTo>
                      <a:lnTo>
                        <a:pt x="6474" y="16411"/>
                      </a:lnTo>
                      <a:lnTo>
                        <a:pt x="7016" y="3168"/>
                      </a:lnTo>
                      <a:lnTo>
                        <a:pt x="47112" y="2068"/>
                      </a:lnTo>
                      <a:lnTo>
                        <a:pt x="57309" y="3770"/>
                      </a:lnTo>
                      <a:lnTo>
                        <a:pt x="64762" y="0"/>
                      </a:lnTo>
                      <a:lnTo>
                        <a:pt x="75438" y="1861"/>
                      </a:lnTo>
                      <a:lnTo>
                        <a:pt x="73739" y="9140"/>
                      </a:lnTo>
                      <a:lnTo>
                        <a:pt x="83373" y="21172"/>
                      </a:lnTo>
                      <a:lnTo>
                        <a:pt x="83335" y="38094"/>
                      </a:lnTo>
                      <a:lnTo>
                        <a:pt x="85534" y="56425"/>
                      </a:lnTo>
                      <a:lnTo>
                        <a:pt x="91324" y="64904"/>
                      </a:lnTo>
                      <a:lnTo>
                        <a:pt x="86221" y="85821"/>
                      </a:lnTo>
                      <a:lnTo>
                        <a:pt x="88054" y="97360"/>
                      </a:lnTo>
                      <a:lnTo>
                        <a:pt x="94207" y="11206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Freeform 75">
                  <a:extLst>
                    <a:ext uri="{FF2B5EF4-FFF2-40B4-BE49-F238E27FC236}">
                      <a16:creationId xmlns:a16="http://schemas.microsoft.com/office/drawing/2014/main" id="{6306E56F-49C5-432B-98EE-157DBBB8E18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7"/>
                  </p:custDataLst>
                </p:nvPr>
              </p:nvSpPr>
              <p:spPr>
                <a:xfrm>
                  <a:off x="6540986" y="4276720"/>
                  <a:ext cx="180764" cy="13200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8464" h="123025">
                      <a:moveTo>
                        <a:pt x="154447" y="114274"/>
                      </a:moveTo>
                      <a:lnTo>
                        <a:pt x="147919" y="113678"/>
                      </a:lnTo>
                      <a:lnTo>
                        <a:pt x="143211" y="123024"/>
                      </a:lnTo>
                      <a:lnTo>
                        <a:pt x="136685" y="122910"/>
                      </a:lnTo>
                      <a:lnTo>
                        <a:pt x="132194" y="117968"/>
                      </a:lnTo>
                      <a:lnTo>
                        <a:pt x="133719" y="108643"/>
                      </a:lnTo>
                      <a:lnTo>
                        <a:pt x="124069" y="94410"/>
                      </a:lnTo>
                      <a:lnTo>
                        <a:pt x="118039" y="97027"/>
                      </a:lnTo>
                      <a:lnTo>
                        <a:pt x="113111" y="97545"/>
                      </a:lnTo>
                      <a:lnTo>
                        <a:pt x="106754" y="98877"/>
                      </a:lnTo>
                      <a:lnTo>
                        <a:pt x="107012" y="90353"/>
                      </a:lnTo>
                      <a:lnTo>
                        <a:pt x="103308" y="84267"/>
                      </a:lnTo>
                      <a:lnTo>
                        <a:pt x="104055" y="77502"/>
                      </a:lnTo>
                      <a:lnTo>
                        <a:pt x="99052" y="67714"/>
                      </a:lnTo>
                      <a:lnTo>
                        <a:pt x="92627" y="59380"/>
                      </a:lnTo>
                      <a:lnTo>
                        <a:pt x="74166" y="59354"/>
                      </a:lnTo>
                      <a:lnTo>
                        <a:pt x="68786" y="63745"/>
                      </a:lnTo>
                      <a:lnTo>
                        <a:pt x="62425" y="64275"/>
                      </a:lnTo>
                      <a:lnTo>
                        <a:pt x="58483" y="69299"/>
                      </a:lnTo>
                      <a:lnTo>
                        <a:pt x="55823" y="75761"/>
                      </a:lnTo>
                      <a:lnTo>
                        <a:pt x="43483" y="85992"/>
                      </a:lnTo>
                      <a:lnTo>
                        <a:pt x="33359" y="72221"/>
                      </a:lnTo>
                      <a:lnTo>
                        <a:pt x="24382" y="63102"/>
                      </a:lnTo>
                      <a:lnTo>
                        <a:pt x="18472" y="60083"/>
                      </a:lnTo>
                      <a:lnTo>
                        <a:pt x="12710" y="55449"/>
                      </a:lnTo>
                      <a:lnTo>
                        <a:pt x="10089" y="45141"/>
                      </a:lnTo>
                      <a:lnTo>
                        <a:pt x="6712" y="39998"/>
                      </a:lnTo>
                      <a:lnTo>
                        <a:pt x="0" y="36172"/>
                      </a:lnTo>
                      <a:lnTo>
                        <a:pt x="10263" y="24780"/>
                      </a:lnTo>
                      <a:lnTo>
                        <a:pt x="17269" y="25214"/>
                      </a:lnTo>
                      <a:lnTo>
                        <a:pt x="23289" y="21288"/>
                      </a:lnTo>
                      <a:lnTo>
                        <a:pt x="28381" y="21251"/>
                      </a:lnTo>
                      <a:lnTo>
                        <a:pt x="32019" y="18150"/>
                      </a:lnTo>
                      <a:lnTo>
                        <a:pt x="30055" y="10392"/>
                      </a:lnTo>
                      <a:lnTo>
                        <a:pt x="32583" y="7944"/>
                      </a:lnTo>
                      <a:lnTo>
                        <a:pt x="33005" y="0"/>
                      </a:lnTo>
                      <a:lnTo>
                        <a:pt x="44146" y="242"/>
                      </a:lnTo>
                      <a:lnTo>
                        <a:pt x="60737" y="5955"/>
                      </a:lnTo>
                      <a:lnTo>
                        <a:pt x="65826" y="5431"/>
                      </a:lnTo>
                      <a:lnTo>
                        <a:pt x="67558" y="2825"/>
                      </a:lnTo>
                      <a:lnTo>
                        <a:pt x="80144" y="4678"/>
                      </a:lnTo>
                      <a:lnTo>
                        <a:pt x="83476" y="3356"/>
                      </a:lnTo>
                      <a:lnTo>
                        <a:pt x="84810" y="11933"/>
                      </a:lnTo>
                      <a:lnTo>
                        <a:pt x="88470" y="11907"/>
                      </a:lnTo>
                      <a:lnTo>
                        <a:pt x="94495" y="8786"/>
                      </a:lnTo>
                      <a:lnTo>
                        <a:pt x="98320" y="9567"/>
                      </a:lnTo>
                      <a:lnTo>
                        <a:pt x="104729" y="15512"/>
                      </a:lnTo>
                      <a:lnTo>
                        <a:pt x="114608" y="17382"/>
                      </a:lnTo>
                      <a:lnTo>
                        <a:pt x="120938" y="12316"/>
                      </a:lnTo>
                      <a:lnTo>
                        <a:pt x="128395" y="9184"/>
                      </a:lnTo>
                      <a:lnTo>
                        <a:pt x="133942" y="5903"/>
                      </a:lnTo>
                      <a:lnTo>
                        <a:pt x="138562" y="6518"/>
                      </a:lnTo>
                      <a:lnTo>
                        <a:pt x="143691" y="11664"/>
                      </a:lnTo>
                      <a:lnTo>
                        <a:pt x="146442" y="18119"/>
                      </a:lnTo>
                      <a:lnTo>
                        <a:pt x="155901" y="27917"/>
                      </a:lnTo>
                      <a:lnTo>
                        <a:pt x="151169" y="33933"/>
                      </a:lnTo>
                      <a:lnTo>
                        <a:pt x="150268" y="41532"/>
                      </a:lnTo>
                      <a:lnTo>
                        <a:pt x="155185" y="39235"/>
                      </a:lnTo>
                      <a:lnTo>
                        <a:pt x="158070" y="41959"/>
                      </a:lnTo>
                      <a:lnTo>
                        <a:pt x="156846" y="48909"/>
                      </a:lnTo>
                      <a:lnTo>
                        <a:pt x="163896" y="55634"/>
                      </a:lnTo>
                      <a:lnTo>
                        <a:pt x="159293" y="57442"/>
                      </a:lnTo>
                      <a:lnTo>
                        <a:pt x="157440" y="65354"/>
                      </a:lnTo>
                      <a:lnTo>
                        <a:pt x="162761" y="74980"/>
                      </a:lnTo>
                      <a:lnTo>
                        <a:pt x="168463" y="93605"/>
                      </a:lnTo>
                      <a:lnTo>
                        <a:pt x="159890" y="96400"/>
                      </a:lnTo>
                      <a:lnTo>
                        <a:pt x="157684" y="99631"/>
                      </a:lnTo>
                      <a:lnTo>
                        <a:pt x="159467" y="104118"/>
                      </a:lnTo>
                      <a:lnTo>
                        <a:pt x="158107" y="11424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Freeform 76">
                  <a:extLst>
                    <a:ext uri="{FF2B5EF4-FFF2-40B4-BE49-F238E27FC236}">
                      <a16:creationId xmlns:a16="http://schemas.microsoft.com/office/drawing/2014/main" id="{6414EE9B-367B-480A-A8E3-D47E8085BE8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8"/>
                  </p:custDataLst>
                </p:nvPr>
              </p:nvSpPr>
              <p:spPr>
                <a:xfrm>
                  <a:off x="6498603" y="4244208"/>
                  <a:ext cx="74220" cy="1881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170" h="17536">
                      <a:moveTo>
                        <a:pt x="0" y="17040"/>
                      </a:moveTo>
                      <a:lnTo>
                        <a:pt x="2950" y="6620"/>
                      </a:lnTo>
                      <a:lnTo>
                        <a:pt x="28090" y="5947"/>
                      </a:lnTo>
                      <a:lnTo>
                        <a:pt x="33303" y="379"/>
                      </a:lnTo>
                      <a:lnTo>
                        <a:pt x="40621" y="0"/>
                      </a:lnTo>
                      <a:lnTo>
                        <a:pt x="49731" y="5788"/>
                      </a:lnTo>
                      <a:lnTo>
                        <a:pt x="56895" y="5898"/>
                      </a:lnTo>
                      <a:lnTo>
                        <a:pt x="64505" y="1939"/>
                      </a:lnTo>
                      <a:lnTo>
                        <a:pt x="69169" y="8733"/>
                      </a:lnTo>
                      <a:lnTo>
                        <a:pt x="59180" y="14006"/>
                      </a:lnTo>
                      <a:lnTo>
                        <a:pt x="49150" y="13592"/>
                      </a:lnTo>
                      <a:lnTo>
                        <a:pt x="39249" y="8628"/>
                      </a:lnTo>
                      <a:lnTo>
                        <a:pt x="30693" y="14053"/>
                      </a:lnTo>
                      <a:lnTo>
                        <a:pt x="26557" y="14246"/>
                      </a:lnTo>
                      <a:lnTo>
                        <a:pt x="21011" y="1753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Freeform 77">
                  <a:extLst>
                    <a:ext uri="{FF2B5EF4-FFF2-40B4-BE49-F238E27FC236}">
                      <a16:creationId xmlns:a16="http://schemas.microsoft.com/office/drawing/2014/main" id="{C47233F1-42B8-4CB4-A711-D83E3719436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9"/>
                  </p:custDataLst>
                </p:nvPr>
              </p:nvSpPr>
              <p:spPr>
                <a:xfrm>
                  <a:off x="6502668" y="4275664"/>
                  <a:ext cx="73735" cy="3987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8718" h="37158">
                      <a:moveTo>
                        <a:pt x="35712" y="37157"/>
                      </a:moveTo>
                      <a:lnTo>
                        <a:pt x="23389" y="27387"/>
                      </a:lnTo>
                      <a:lnTo>
                        <a:pt x="13671" y="25841"/>
                      </a:lnTo>
                      <a:lnTo>
                        <a:pt x="8372" y="19246"/>
                      </a:lnTo>
                      <a:lnTo>
                        <a:pt x="8506" y="15684"/>
                      </a:lnTo>
                      <a:lnTo>
                        <a:pt x="1468" y="10715"/>
                      </a:lnTo>
                      <a:lnTo>
                        <a:pt x="0" y="5704"/>
                      </a:lnTo>
                      <a:lnTo>
                        <a:pt x="12228" y="1885"/>
                      </a:lnTo>
                      <a:lnTo>
                        <a:pt x="19872" y="2640"/>
                      </a:lnTo>
                      <a:lnTo>
                        <a:pt x="26060" y="0"/>
                      </a:lnTo>
                      <a:lnTo>
                        <a:pt x="68717" y="985"/>
                      </a:lnTo>
                      <a:lnTo>
                        <a:pt x="68295" y="8929"/>
                      </a:lnTo>
                      <a:lnTo>
                        <a:pt x="65767" y="11377"/>
                      </a:lnTo>
                      <a:lnTo>
                        <a:pt x="67731" y="19135"/>
                      </a:lnTo>
                      <a:lnTo>
                        <a:pt x="64093" y="22236"/>
                      </a:lnTo>
                      <a:lnTo>
                        <a:pt x="59001" y="22273"/>
                      </a:lnTo>
                      <a:lnTo>
                        <a:pt x="52981" y="26199"/>
                      </a:lnTo>
                      <a:lnTo>
                        <a:pt x="45975" y="2576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Freeform 78">
                  <a:extLst>
                    <a:ext uri="{FF2B5EF4-FFF2-40B4-BE49-F238E27FC236}">
                      <a16:creationId xmlns:a16="http://schemas.microsoft.com/office/drawing/2014/main" id="{D37075C9-D5B3-466B-A84A-3D759F500E3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0"/>
                  </p:custDataLst>
                </p:nvPr>
              </p:nvSpPr>
              <p:spPr>
                <a:xfrm>
                  <a:off x="7146217" y="4533496"/>
                  <a:ext cx="49028" cy="3155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5692" h="29411">
                      <a:moveTo>
                        <a:pt x="4323" y="29410"/>
                      </a:moveTo>
                      <a:lnTo>
                        <a:pt x="0" y="25929"/>
                      </a:lnTo>
                      <a:lnTo>
                        <a:pt x="7930" y="0"/>
                      </a:lnTo>
                      <a:lnTo>
                        <a:pt x="45492" y="527"/>
                      </a:lnTo>
                      <a:lnTo>
                        <a:pt x="45691" y="28312"/>
                      </a:lnTo>
                      <a:lnTo>
                        <a:pt x="12111" y="2807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" name="Freeform 79">
                  <a:extLst>
                    <a:ext uri="{FF2B5EF4-FFF2-40B4-BE49-F238E27FC236}">
                      <a16:creationId xmlns:a16="http://schemas.microsoft.com/office/drawing/2014/main" id="{1DC514E9-D11B-4184-8930-D136864BFCD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1"/>
                  </p:custDataLst>
                </p:nvPr>
              </p:nvSpPr>
              <p:spPr>
                <a:xfrm>
                  <a:off x="7414812" y="3489630"/>
                  <a:ext cx="159857" cy="1990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8979" h="185536">
                      <a:moveTo>
                        <a:pt x="81942" y="164966"/>
                      </a:moveTo>
                      <a:lnTo>
                        <a:pt x="94561" y="173811"/>
                      </a:lnTo>
                      <a:lnTo>
                        <a:pt x="112528" y="172317"/>
                      </a:lnTo>
                      <a:lnTo>
                        <a:pt x="129706" y="174178"/>
                      </a:lnTo>
                      <a:lnTo>
                        <a:pt x="129148" y="178736"/>
                      </a:lnTo>
                      <a:lnTo>
                        <a:pt x="141727" y="175594"/>
                      </a:lnTo>
                      <a:lnTo>
                        <a:pt x="138842" y="183314"/>
                      </a:lnTo>
                      <a:lnTo>
                        <a:pt x="105602" y="185536"/>
                      </a:lnTo>
                      <a:lnTo>
                        <a:pt x="105834" y="181222"/>
                      </a:lnTo>
                      <a:lnTo>
                        <a:pt x="77672" y="176118"/>
                      </a:lnTo>
                      <a:close/>
                      <a:moveTo>
                        <a:pt x="137735" y="0"/>
                      </a:moveTo>
                      <a:lnTo>
                        <a:pt x="148979" y="7318"/>
                      </a:lnTo>
                      <a:lnTo>
                        <a:pt x="141833" y="24543"/>
                      </a:lnTo>
                      <a:lnTo>
                        <a:pt x="136347" y="27619"/>
                      </a:lnTo>
                      <a:lnTo>
                        <a:pt x="122284" y="26839"/>
                      </a:lnTo>
                      <a:lnTo>
                        <a:pt x="110239" y="24247"/>
                      </a:lnTo>
                      <a:lnTo>
                        <a:pt x="82285" y="31373"/>
                      </a:lnTo>
                      <a:lnTo>
                        <a:pt x="98285" y="46728"/>
                      </a:lnTo>
                      <a:lnTo>
                        <a:pt x="86559" y="51166"/>
                      </a:lnTo>
                      <a:lnTo>
                        <a:pt x="73702" y="51193"/>
                      </a:lnTo>
                      <a:lnTo>
                        <a:pt x="61491" y="37149"/>
                      </a:lnTo>
                      <a:lnTo>
                        <a:pt x="57159" y="43141"/>
                      </a:lnTo>
                      <a:lnTo>
                        <a:pt x="62317" y="59391"/>
                      </a:lnTo>
                      <a:lnTo>
                        <a:pt x="73865" y="72102"/>
                      </a:lnTo>
                      <a:lnTo>
                        <a:pt x="65164" y="78019"/>
                      </a:lnTo>
                      <a:lnTo>
                        <a:pt x="78019" y="90429"/>
                      </a:lnTo>
                      <a:lnTo>
                        <a:pt x="89445" y="98214"/>
                      </a:lnTo>
                      <a:lnTo>
                        <a:pt x="89791" y="113326"/>
                      </a:lnTo>
                      <a:lnTo>
                        <a:pt x="68440" y="106247"/>
                      </a:lnTo>
                      <a:lnTo>
                        <a:pt x="75248" y="119859"/>
                      </a:lnTo>
                      <a:lnTo>
                        <a:pt x="60591" y="122653"/>
                      </a:lnTo>
                      <a:lnTo>
                        <a:pt x="69345" y="146057"/>
                      </a:lnTo>
                      <a:lnTo>
                        <a:pt x="54013" y="146387"/>
                      </a:lnTo>
                      <a:lnTo>
                        <a:pt x="35086" y="134873"/>
                      </a:lnTo>
                      <a:lnTo>
                        <a:pt x="26430" y="113594"/>
                      </a:lnTo>
                      <a:lnTo>
                        <a:pt x="22390" y="95791"/>
                      </a:lnTo>
                      <a:lnTo>
                        <a:pt x="13388" y="83434"/>
                      </a:lnTo>
                      <a:lnTo>
                        <a:pt x="1562" y="68039"/>
                      </a:lnTo>
                      <a:lnTo>
                        <a:pt x="0" y="60323"/>
                      </a:lnTo>
                      <a:lnTo>
                        <a:pt x="10733" y="47136"/>
                      </a:lnTo>
                      <a:lnTo>
                        <a:pt x="12118" y="38269"/>
                      </a:lnTo>
                      <a:lnTo>
                        <a:pt x="19619" y="34305"/>
                      </a:lnTo>
                      <a:lnTo>
                        <a:pt x="20082" y="27109"/>
                      </a:lnTo>
                      <a:lnTo>
                        <a:pt x="35181" y="24680"/>
                      </a:lnTo>
                      <a:lnTo>
                        <a:pt x="43981" y="18675"/>
                      </a:lnTo>
                      <a:lnTo>
                        <a:pt x="56490" y="19208"/>
                      </a:lnTo>
                      <a:lnTo>
                        <a:pt x="60286" y="14412"/>
                      </a:lnTo>
                      <a:lnTo>
                        <a:pt x="64686" y="13497"/>
                      </a:lnTo>
                      <a:lnTo>
                        <a:pt x="81760" y="14294"/>
                      </a:lnTo>
                      <a:lnTo>
                        <a:pt x="100239" y="6716"/>
                      </a:lnTo>
                      <a:lnTo>
                        <a:pt x="116502" y="16347"/>
                      </a:lnTo>
                      <a:lnTo>
                        <a:pt x="137483" y="13748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Freeform 80">
                  <a:extLst>
                    <a:ext uri="{FF2B5EF4-FFF2-40B4-BE49-F238E27FC236}">
                      <a16:creationId xmlns:a16="http://schemas.microsoft.com/office/drawing/2014/main" id="{129179A4-B5CB-4726-990E-D9A25AE926C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2"/>
                  </p:custDataLst>
                </p:nvPr>
              </p:nvSpPr>
              <p:spPr>
                <a:xfrm>
                  <a:off x="7253993" y="3347593"/>
                  <a:ext cx="142008" cy="1225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2345" h="114250">
                      <a:moveTo>
                        <a:pt x="119403" y="17185"/>
                      </a:moveTo>
                      <a:lnTo>
                        <a:pt x="125011" y="28319"/>
                      </a:lnTo>
                      <a:lnTo>
                        <a:pt x="132344" y="36482"/>
                      </a:lnTo>
                      <a:lnTo>
                        <a:pt x="123458" y="47223"/>
                      </a:lnTo>
                      <a:lnTo>
                        <a:pt x="113019" y="40909"/>
                      </a:lnTo>
                      <a:lnTo>
                        <a:pt x="97058" y="41305"/>
                      </a:lnTo>
                      <a:lnTo>
                        <a:pt x="77216" y="36560"/>
                      </a:lnTo>
                      <a:lnTo>
                        <a:pt x="66431" y="37194"/>
                      </a:lnTo>
                      <a:lnTo>
                        <a:pt x="61427" y="43121"/>
                      </a:lnTo>
                      <a:lnTo>
                        <a:pt x="53145" y="36560"/>
                      </a:lnTo>
                      <a:lnTo>
                        <a:pt x="48313" y="48406"/>
                      </a:lnTo>
                      <a:lnTo>
                        <a:pt x="59615" y="61691"/>
                      </a:lnTo>
                      <a:lnTo>
                        <a:pt x="64619" y="70462"/>
                      </a:lnTo>
                      <a:lnTo>
                        <a:pt x="75231" y="80998"/>
                      </a:lnTo>
                      <a:lnTo>
                        <a:pt x="84030" y="87224"/>
                      </a:lnTo>
                      <a:lnTo>
                        <a:pt x="92745" y="98939"/>
                      </a:lnTo>
                      <a:lnTo>
                        <a:pt x="113175" y="109513"/>
                      </a:lnTo>
                      <a:lnTo>
                        <a:pt x="110636" y="114249"/>
                      </a:lnTo>
                      <a:lnTo>
                        <a:pt x="88937" y="103931"/>
                      </a:lnTo>
                      <a:lnTo>
                        <a:pt x="75550" y="93857"/>
                      </a:lnTo>
                      <a:lnTo>
                        <a:pt x="54438" y="85514"/>
                      </a:lnTo>
                      <a:lnTo>
                        <a:pt x="35028" y="64749"/>
                      </a:lnTo>
                      <a:lnTo>
                        <a:pt x="39685" y="62633"/>
                      </a:lnTo>
                      <a:lnTo>
                        <a:pt x="29161" y="50690"/>
                      </a:lnTo>
                      <a:lnTo>
                        <a:pt x="28729" y="41067"/>
                      </a:lnTo>
                      <a:lnTo>
                        <a:pt x="13890" y="36560"/>
                      </a:lnTo>
                      <a:lnTo>
                        <a:pt x="6816" y="48878"/>
                      </a:lnTo>
                      <a:lnTo>
                        <a:pt x="0" y="39329"/>
                      </a:lnTo>
                      <a:lnTo>
                        <a:pt x="518" y="29390"/>
                      </a:lnTo>
                      <a:lnTo>
                        <a:pt x="1341" y="28927"/>
                      </a:lnTo>
                      <a:lnTo>
                        <a:pt x="17427" y="29906"/>
                      </a:lnTo>
                      <a:lnTo>
                        <a:pt x="21655" y="25064"/>
                      </a:lnTo>
                      <a:lnTo>
                        <a:pt x="29506" y="29748"/>
                      </a:lnTo>
                      <a:lnTo>
                        <a:pt x="38564" y="30303"/>
                      </a:lnTo>
                      <a:lnTo>
                        <a:pt x="38478" y="22281"/>
                      </a:lnTo>
                      <a:lnTo>
                        <a:pt x="46501" y="19337"/>
                      </a:lnTo>
                      <a:lnTo>
                        <a:pt x="48745" y="7687"/>
                      </a:lnTo>
                      <a:lnTo>
                        <a:pt x="67121" y="0"/>
                      </a:lnTo>
                      <a:lnTo>
                        <a:pt x="74454" y="3566"/>
                      </a:lnTo>
                      <a:lnTo>
                        <a:pt x="91710" y="15950"/>
                      </a:lnTo>
                      <a:lnTo>
                        <a:pt x="110776" y="2148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" name="Freeform 81">
                  <a:extLst>
                    <a:ext uri="{FF2B5EF4-FFF2-40B4-BE49-F238E27FC236}">
                      <a16:creationId xmlns:a16="http://schemas.microsoft.com/office/drawing/2014/main" id="{47DD510F-AD76-4A2B-A9DF-54B0F974E6E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3"/>
                  </p:custDataLst>
                </p:nvPr>
              </p:nvSpPr>
              <p:spPr>
                <a:xfrm>
                  <a:off x="7317035" y="3280904"/>
                  <a:ext cx="161197" cy="89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0228" h="83637">
                      <a:moveTo>
                        <a:pt x="0" y="52029"/>
                      </a:moveTo>
                      <a:lnTo>
                        <a:pt x="7663" y="33237"/>
                      </a:lnTo>
                      <a:lnTo>
                        <a:pt x="3192" y="26881"/>
                      </a:lnTo>
                      <a:lnTo>
                        <a:pt x="16191" y="26824"/>
                      </a:lnTo>
                      <a:lnTo>
                        <a:pt x="17944" y="14798"/>
                      </a:lnTo>
                      <a:lnTo>
                        <a:pt x="29688" y="22339"/>
                      </a:lnTo>
                      <a:lnTo>
                        <a:pt x="38198" y="25544"/>
                      </a:lnTo>
                      <a:lnTo>
                        <a:pt x="57573" y="21943"/>
                      </a:lnTo>
                      <a:lnTo>
                        <a:pt x="59431" y="16029"/>
                      </a:lnTo>
                      <a:lnTo>
                        <a:pt x="68603" y="15156"/>
                      </a:lnTo>
                      <a:lnTo>
                        <a:pt x="79844" y="10574"/>
                      </a:lnTo>
                      <a:lnTo>
                        <a:pt x="82340" y="12462"/>
                      </a:lnTo>
                      <a:lnTo>
                        <a:pt x="93179" y="8773"/>
                      </a:lnTo>
                      <a:lnTo>
                        <a:pt x="98592" y="1808"/>
                      </a:lnTo>
                      <a:lnTo>
                        <a:pt x="106157" y="0"/>
                      </a:lnTo>
                      <a:lnTo>
                        <a:pt x="130877" y="8998"/>
                      </a:lnTo>
                      <a:lnTo>
                        <a:pt x="135802" y="5972"/>
                      </a:lnTo>
                      <a:lnTo>
                        <a:pt x="148618" y="14010"/>
                      </a:lnTo>
                      <a:lnTo>
                        <a:pt x="150227" y="21906"/>
                      </a:lnTo>
                      <a:lnTo>
                        <a:pt x="136129" y="28069"/>
                      </a:lnTo>
                      <a:lnTo>
                        <a:pt x="125205" y="47899"/>
                      </a:lnTo>
                      <a:lnTo>
                        <a:pt x="111250" y="67584"/>
                      </a:lnTo>
                      <a:lnTo>
                        <a:pt x="92744" y="73034"/>
                      </a:lnTo>
                      <a:lnTo>
                        <a:pt x="78337" y="71756"/>
                      </a:lnTo>
                      <a:lnTo>
                        <a:pt x="60650" y="79336"/>
                      </a:lnTo>
                      <a:lnTo>
                        <a:pt x="52023" y="83636"/>
                      </a:lnTo>
                      <a:lnTo>
                        <a:pt x="32957" y="78101"/>
                      </a:lnTo>
                      <a:lnTo>
                        <a:pt x="15701" y="65717"/>
                      </a:lnTo>
                      <a:lnTo>
                        <a:pt x="8368" y="62151"/>
                      </a:lnTo>
                      <a:lnTo>
                        <a:pt x="3883" y="52350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Freeform 82">
                  <a:extLst>
                    <a:ext uri="{FF2B5EF4-FFF2-40B4-BE49-F238E27FC236}">
                      <a16:creationId xmlns:a16="http://schemas.microsoft.com/office/drawing/2014/main" id="{A2DB06E1-0889-4D58-AC06-FB44ABE2EA5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4"/>
                  </p:custDataLst>
                </p:nvPr>
              </p:nvSpPr>
              <p:spPr>
                <a:xfrm>
                  <a:off x="9275959" y="4454215"/>
                  <a:ext cx="1132910" cy="3933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55820" h="366587">
                      <a:moveTo>
                        <a:pt x="568002" y="343315"/>
                      </a:moveTo>
                      <a:lnTo>
                        <a:pt x="580130" y="350408"/>
                      </a:lnTo>
                      <a:lnTo>
                        <a:pt x="588204" y="357486"/>
                      </a:lnTo>
                      <a:lnTo>
                        <a:pt x="586821" y="363779"/>
                      </a:lnTo>
                      <a:lnTo>
                        <a:pt x="577112" y="364224"/>
                      </a:lnTo>
                      <a:lnTo>
                        <a:pt x="546477" y="347894"/>
                      </a:lnTo>
                      <a:close/>
                      <a:moveTo>
                        <a:pt x="684993" y="332412"/>
                      </a:moveTo>
                      <a:lnTo>
                        <a:pt x="687332" y="336999"/>
                      </a:lnTo>
                      <a:lnTo>
                        <a:pt x="687760" y="344057"/>
                      </a:lnTo>
                      <a:lnTo>
                        <a:pt x="672696" y="361457"/>
                      </a:lnTo>
                      <a:lnTo>
                        <a:pt x="652938" y="366587"/>
                      </a:lnTo>
                      <a:lnTo>
                        <a:pt x="650168" y="363788"/>
                      </a:lnTo>
                      <a:lnTo>
                        <a:pt x="652246" y="355863"/>
                      </a:lnTo>
                      <a:lnTo>
                        <a:pt x="662172" y="341655"/>
                      </a:lnTo>
                      <a:close/>
                      <a:moveTo>
                        <a:pt x="521829" y="313882"/>
                      </a:moveTo>
                      <a:lnTo>
                        <a:pt x="530153" y="320079"/>
                      </a:lnTo>
                      <a:lnTo>
                        <a:pt x="544414" y="318180"/>
                      </a:lnTo>
                      <a:lnTo>
                        <a:pt x="550140" y="328063"/>
                      </a:lnTo>
                      <a:lnTo>
                        <a:pt x="523454" y="332734"/>
                      </a:lnTo>
                      <a:lnTo>
                        <a:pt x="507465" y="335857"/>
                      </a:lnTo>
                      <a:lnTo>
                        <a:pt x="495057" y="335672"/>
                      </a:lnTo>
                      <a:lnTo>
                        <a:pt x="502988" y="322282"/>
                      </a:lnTo>
                      <a:lnTo>
                        <a:pt x="515644" y="322099"/>
                      </a:lnTo>
                      <a:close/>
                      <a:moveTo>
                        <a:pt x="637324" y="313848"/>
                      </a:moveTo>
                      <a:lnTo>
                        <a:pt x="633941" y="326760"/>
                      </a:lnTo>
                      <a:lnTo>
                        <a:pt x="599260" y="333362"/>
                      </a:lnTo>
                      <a:lnTo>
                        <a:pt x="568558" y="330495"/>
                      </a:lnTo>
                      <a:lnTo>
                        <a:pt x="568477" y="321996"/>
                      </a:lnTo>
                      <a:lnTo>
                        <a:pt x="586809" y="317164"/>
                      </a:lnTo>
                      <a:lnTo>
                        <a:pt x="601272" y="324131"/>
                      </a:lnTo>
                      <a:lnTo>
                        <a:pt x="616638" y="322362"/>
                      </a:lnTo>
                      <a:close/>
                      <a:moveTo>
                        <a:pt x="248338" y="262860"/>
                      </a:moveTo>
                      <a:lnTo>
                        <a:pt x="276345" y="264228"/>
                      </a:lnTo>
                      <a:lnTo>
                        <a:pt x="294974" y="273282"/>
                      </a:lnTo>
                      <a:lnTo>
                        <a:pt x="304548" y="275048"/>
                      </a:lnTo>
                      <a:lnTo>
                        <a:pt x="307702" y="283294"/>
                      </a:lnTo>
                      <a:lnTo>
                        <a:pt x="351923" y="285605"/>
                      </a:lnTo>
                      <a:lnTo>
                        <a:pt x="357009" y="276050"/>
                      </a:lnTo>
                      <a:lnTo>
                        <a:pt x="399833" y="287198"/>
                      </a:lnTo>
                      <a:lnTo>
                        <a:pt x="408234" y="302237"/>
                      </a:lnTo>
                      <a:lnTo>
                        <a:pt x="442861" y="306469"/>
                      </a:lnTo>
                      <a:lnTo>
                        <a:pt x="471174" y="320275"/>
                      </a:lnTo>
                      <a:lnTo>
                        <a:pt x="444837" y="329133"/>
                      </a:lnTo>
                      <a:lnTo>
                        <a:pt x="419451" y="319767"/>
                      </a:lnTo>
                      <a:lnTo>
                        <a:pt x="398560" y="320400"/>
                      </a:lnTo>
                      <a:lnTo>
                        <a:pt x="374609" y="318679"/>
                      </a:lnTo>
                      <a:lnTo>
                        <a:pt x="353006" y="314507"/>
                      </a:lnTo>
                      <a:lnTo>
                        <a:pt x="326265" y="305637"/>
                      </a:lnTo>
                      <a:lnTo>
                        <a:pt x="309322" y="303337"/>
                      </a:lnTo>
                      <a:lnTo>
                        <a:pt x="299722" y="306240"/>
                      </a:lnTo>
                      <a:lnTo>
                        <a:pt x="257627" y="296682"/>
                      </a:lnTo>
                      <a:lnTo>
                        <a:pt x="253622" y="286707"/>
                      </a:lnTo>
                      <a:lnTo>
                        <a:pt x="232499" y="285003"/>
                      </a:lnTo>
                      <a:close/>
                      <a:moveTo>
                        <a:pt x="904993" y="252420"/>
                      </a:moveTo>
                      <a:lnTo>
                        <a:pt x="910241" y="259193"/>
                      </a:lnTo>
                      <a:lnTo>
                        <a:pt x="910186" y="270238"/>
                      </a:lnTo>
                      <a:lnTo>
                        <a:pt x="898310" y="286019"/>
                      </a:lnTo>
                      <a:lnTo>
                        <a:pt x="896063" y="268571"/>
                      </a:lnTo>
                      <a:lnTo>
                        <a:pt x="900161" y="260246"/>
                      </a:lnTo>
                      <a:close/>
                      <a:moveTo>
                        <a:pt x="731896" y="198869"/>
                      </a:moveTo>
                      <a:lnTo>
                        <a:pt x="737634" y="206488"/>
                      </a:lnTo>
                      <a:lnTo>
                        <a:pt x="728994" y="214159"/>
                      </a:lnTo>
                      <a:lnTo>
                        <a:pt x="713041" y="209916"/>
                      </a:lnTo>
                      <a:lnTo>
                        <a:pt x="708546" y="199977"/>
                      </a:lnTo>
                      <a:close/>
                      <a:moveTo>
                        <a:pt x="786610" y="191311"/>
                      </a:moveTo>
                      <a:lnTo>
                        <a:pt x="812009" y="198047"/>
                      </a:lnTo>
                      <a:lnTo>
                        <a:pt x="820400" y="215719"/>
                      </a:lnTo>
                      <a:lnTo>
                        <a:pt x="800911" y="206193"/>
                      </a:lnTo>
                      <a:lnTo>
                        <a:pt x="781630" y="204260"/>
                      </a:lnTo>
                      <a:lnTo>
                        <a:pt x="768599" y="205786"/>
                      </a:lnTo>
                      <a:lnTo>
                        <a:pt x="752630" y="204972"/>
                      </a:lnTo>
                      <a:lnTo>
                        <a:pt x="758100" y="192269"/>
                      </a:lnTo>
                      <a:close/>
                      <a:moveTo>
                        <a:pt x="856069" y="135143"/>
                      </a:moveTo>
                      <a:lnTo>
                        <a:pt x="893127" y="144622"/>
                      </a:lnTo>
                      <a:lnTo>
                        <a:pt x="896769" y="153202"/>
                      </a:lnTo>
                      <a:lnTo>
                        <a:pt x="903215" y="190549"/>
                      </a:lnTo>
                      <a:lnTo>
                        <a:pt x="927105" y="204378"/>
                      </a:lnTo>
                      <a:lnTo>
                        <a:pt x="946396" y="179874"/>
                      </a:lnTo>
                      <a:lnTo>
                        <a:pt x="972882" y="165938"/>
                      </a:lnTo>
                      <a:lnTo>
                        <a:pt x="993402" y="165919"/>
                      </a:lnTo>
                      <a:lnTo>
                        <a:pt x="1013142" y="173969"/>
                      </a:lnTo>
                      <a:lnTo>
                        <a:pt x="1030263" y="182230"/>
                      </a:lnTo>
                      <a:lnTo>
                        <a:pt x="1055043" y="186644"/>
                      </a:lnTo>
                      <a:lnTo>
                        <a:pt x="1055432" y="262005"/>
                      </a:lnTo>
                      <a:lnTo>
                        <a:pt x="1055820" y="337649"/>
                      </a:lnTo>
                      <a:lnTo>
                        <a:pt x="1035266" y="318563"/>
                      </a:lnTo>
                      <a:lnTo>
                        <a:pt x="1011823" y="313890"/>
                      </a:lnTo>
                      <a:lnTo>
                        <a:pt x="1006138" y="320510"/>
                      </a:lnTo>
                      <a:lnTo>
                        <a:pt x="976892" y="321225"/>
                      </a:lnTo>
                      <a:lnTo>
                        <a:pt x="986693" y="302322"/>
                      </a:lnTo>
                      <a:lnTo>
                        <a:pt x="1001225" y="295878"/>
                      </a:lnTo>
                      <a:lnTo>
                        <a:pt x="995207" y="270665"/>
                      </a:lnTo>
                      <a:lnTo>
                        <a:pt x="984125" y="251224"/>
                      </a:lnTo>
                      <a:lnTo>
                        <a:pt x="939377" y="231629"/>
                      </a:lnTo>
                      <a:lnTo>
                        <a:pt x="920342" y="229696"/>
                      </a:lnTo>
                      <a:lnTo>
                        <a:pt x="885678" y="208332"/>
                      </a:lnTo>
                      <a:lnTo>
                        <a:pt x="878865" y="219565"/>
                      </a:lnTo>
                      <a:lnTo>
                        <a:pt x="870007" y="221603"/>
                      </a:lnTo>
                      <a:lnTo>
                        <a:pt x="864767" y="213126"/>
                      </a:lnTo>
                      <a:lnTo>
                        <a:pt x="864694" y="203085"/>
                      </a:lnTo>
                      <a:lnTo>
                        <a:pt x="847060" y="191735"/>
                      </a:lnTo>
                      <a:lnTo>
                        <a:pt x="871920" y="183417"/>
                      </a:lnTo>
                      <a:lnTo>
                        <a:pt x="888383" y="183866"/>
                      </a:lnTo>
                      <a:lnTo>
                        <a:pt x="886448" y="177738"/>
                      </a:lnTo>
                      <a:lnTo>
                        <a:pt x="852659" y="177692"/>
                      </a:lnTo>
                      <a:lnTo>
                        <a:pt x="843514" y="163944"/>
                      </a:lnTo>
                      <a:lnTo>
                        <a:pt x="822892" y="159681"/>
                      </a:lnTo>
                      <a:lnTo>
                        <a:pt x="813122" y="148258"/>
                      </a:lnTo>
                      <a:lnTo>
                        <a:pt x="844237" y="142666"/>
                      </a:lnTo>
                      <a:close/>
                      <a:moveTo>
                        <a:pt x="687239" y="88678"/>
                      </a:moveTo>
                      <a:lnTo>
                        <a:pt x="691268" y="93837"/>
                      </a:lnTo>
                      <a:lnTo>
                        <a:pt x="672721" y="116736"/>
                      </a:lnTo>
                      <a:lnTo>
                        <a:pt x="655374" y="121174"/>
                      </a:lnTo>
                      <a:lnTo>
                        <a:pt x="633158" y="116661"/>
                      </a:lnTo>
                      <a:lnTo>
                        <a:pt x="594695" y="117813"/>
                      </a:lnTo>
                      <a:lnTo>
                        <a:pt x="574528" y="121136"/>
                      </a:lnTo>
                      <a:lnTo>
                        <a:pt x="571246" y="138608"/>
                      </a:lnTo>
                      <a:lnTo>
                        <a:pt x="591906" y="159136"/>
                      </a:lnTo>
                      <a:lnTo>
                        <a:pt x="604369" y="148679"/>
                      </a:lnTo>
                      <a:lnTo>
                        <a:pt x="647412" y="140824"/>
                      </a:lnTo>
                      <a:lnTo>
                        <a:pt x="645515" y="151456"/>
                      </a:lnTo>
                      <a:lnTo>
                        <a:pt x="635458" y="148102"/>
                      </a:lnTo>
                      <a:lnTo>
                        <a:pt x="625436" y="161628"/>
                      </a:lnTo>
                      <a:lnTo>
                        <a:pt x="605117" y="170578"/>
                      </a:lnTo>
                      <a:lnTo>
                        <a:pt x="626961" y="200180"/>
                      </a:lnTo>
                      <a:lnTo>
                        <a:pt x="622744" y="208116"/>
                      </a:lnTo>
                      <a:lnTo>
                        <a:pt x="643497" y="234802"/>
                      </a:lnTo>
                      <a:lnTo>
                        <a:pt x="643297" y="250002"/>
                      </a:lnTo>
                      <a:lnTo>
                        <a:pt x="630976" y="256808"/>
                      </a:lnTo>
                      <a:lnTo>
                        <a:pt x="621925" y="248667"/>
                      </a:lnTo>
                      <a:lnTo>
                        <a:pt x="633078" y="229724"/>
                      </a:lnTo>
                      <a:lnTo>
                        <a:pt x="610426" y="238680"/>
                      </a:lnTo>
                      <a:lnTo>
                        <a:pt x="604683" y="232277"/>
                      </a:lnTo>
                      <a:lnTo>
                        <a:pt x="607678" y="223349"/>
                      </a:lnTo>
                      <a:lnTo>
                        <a:pt x="591034" y="209794"/>
                      </a:lnTo>
                      <a:lnTo>
                        <a:pt x="592748" y="187279"/>
                      </a:lnTo>
                      <a:lnTo>
                        <a:pt x="577353" y="194301"/>
                      </a:lnTo>
                      <a:lnTo>
                        <a:pt x="579306" y="221247"/>
                      </a:lnTo>
                      <a:lnTo>
                        <a:pt x="580244" y="254346"/>
                      </a:lnTo>
                      <a:lnTo>
                        <a:pt x="565607" y="257707"/>
                      </a:lnTo>
                      <a:lnTo>
                        <a:pt x="555689" y="250912"/>
                      </a:lnTo>
                      <a:lnTo>
                        <a:pt x="562307" y="229614"/>
                      </a:lnTo>
                      <a:lnTo>
                        <a:pt x="558734" y="207305"/>
                      </a:lnTo>
                      <a:lnTo>
                        <a:pt x="549028" y="207134"/>
                      </a:lnTo>
                      <a:lnTo>
                        <a:pt x="541859" y="191307"/>
                      </a:lnTo>
                      <a:lnTo>
                        <a:pt x="551397" y="176181"/>
                      </a:lnTo>
                      <a:lnTo>
                        <a:pt x="554685" y="157849"/>
                      </a:lnTo>
                      <a:lnTo>
                        <a:pt x="566286" y="123052"/>
                      </a:lnTo>
                      <a:lnTo>
                        <a:pt x="571127" y="113537"/>
                      </a:lnTo>
                      <a:lnTo>
                        <a:pt x="590749" y="96391"/>
                      </a:lnTo>
                      <a:lnTo>
                        <a:pt x="608777" y="103207"/>
                      </a:lnTo>
                      <a:lnTo>
                        <a:pt x="637879" y="106410"/>
                      </a:lnTo>
                      <a:lnTo>
                        <a:pt x="664422" y="105443"/>
                      </a:lnTo>
                      <a:close/>
                      <a:moveTo>
                        <a:pt x="753403" y="76409"/>
                      </a:moveTo>
                      <a:lnTo>
                        <a:pt x="755060" y="89018"/>
                      </a:lnTo>
                      <a:lnTo>
                        <a:pt x="768688" y="91044"/>
                      </a:lnTo>
                      <a:lnTo>
                        <a:pt x="770851" y="100473"/>
                      </a:lnTo>
                      <a:lnTo>
                        <a:pt x="769644" y="120646"/>
                      </a:lnTo>
                      <a:lnTo>
                        <a:pt x="757737" y="118385"/>
                      </a:lnTo>
                      <a:lnTo>
                        <a:pt x="754226" y="132431"/>
                      </a:lnTo>
                      <a:lnTo>
                        <a:pt x="763736" y="144618"/>
                      </a:lnTo>
                      <a:lnTo>
                        <a:pt x="757272" y="147388"/>
                      </a:lnTo>
                      <a:lnTo>
                        <a:pt x="747957" y="132766"/>
                      </a:lnTo>
                      <a:lnTo>
                        <a:pt x="741103" y="103259"/>
                      </a:lnTo>
                      <a:lnTo>
                        <a:pt x="745743" y="84812"/>
                      </a:lnTo>
                      <a:close/>
                      <a:moveTo>
                        <a:pt x="474868" y="27146"/>
                      </a:moveTo>
                      <a:lnTo>
                        <a:pt x="501406" y="27157"/>
                      </a:lnTo>
                      <a:lnTo>
                        <a:pt x="521414" y="31054"/>
                      </a:lnTo>
                      <a:lnTo>
                        <a:pt x="508285" y="51928"/>
                      </a:lnTo>
                      <a:lnTo>
                        <a:pt x="525253" y="73798"/>
                      </a:lnTo>
                      <a:lnTo>
                        <a:pt x="521267" y="84421"/>
                      </a:lnTo>
                      <a:lnTo>
                        <a:pt x="547145" y="105786"/>
                      </a:lnTo>
                      <a:lnTo>
                        <a:pt x="519795" y="108510"/>
                      </a:lnTo>
                      <a:lnTo>
                        <a:pt x="512096" y="124247"/>
                      </a:lnTo>
                      <a:lnTo>
                        <a:pt x="513096" y="145165"/>
                      </a:lnTo>
                      <a:lnTo>
                        <a:pt x="490899" y="160954"/>
                      </a:lnTo>
                      <a:lnTo>
                        <a:pt x="490293" y="183950"/>
                      </a:lnTo>
                      <a:lnTo>
                        <a:pt x="481390" y="219286"/>
                      </a:lnTo>
                      <a:lnTo>
                        <a:pt x="477992" y="211064"/>
                      </a:lnTo>
                      <a:lnTo>
                        <a:pt x="451769" y="221465"/>
                      </a:lnTo>
                      <a:lnTo>
                        <a:pt x="442624" y="207335"/>
                      </a:lnTo>
                      <a:lnTo>
                        <a:pt x="426167" y="206028"/>
                      </a:lnTo>
                      <a:lnTo>
                        <a:pt x="414656" y="198625"/>
                      </a:lnTo>
                      <a:lnTo>
                        <a:pt x="387214" y="206935"/>
                      </a:lnTo>
                      <a:lnTo>
                        <a:pt x="378792" y="195752"/>
                      </a:lnTo>
                      <a:lnTo>
                        <a:pt x="363672" y="197023"/>
                      </a:lnTo>
                      <a:lnTo>
                        <a:pt x="344643" y="194357"/>
                      </a:lnTo>
                      <a:lnTo>
                        <a:pt x="341113" y="163384"/>
                      </a:lnTo>
                      <a:lnTo>
                        <a:pt x="329595" y="156966"/>
                      </a:lnTo>
                      <a:lnTo>
                        <a:pt x="318514" y="137219"/>
                      </a:lnTo>
                      <a:lnTo>
                        <a:pt x="315300" y="117025"/>
                      </a:lnTo>
                      <a:lnTo>
                        <a:pt x="317989" y="95635"/>
                      </a:lnTo>
                      <a:lnTo>
                        <a:pt x="331703" y="80292"/>
                      </a:lnTo>
                      <a:lnTo>
                        <a:pt x="335557" y="95723"/>
                      </a:lnTo>
                      <a:lnTo>
                        <a:pt x="351341" y="108766"/>
                      </a:lnTo>
                      <a:lnTo>
                        <a:pt x="366232" y="104072"/>
                      </a:lnTo>
                      <a:lnTo>
                        <a:pt x="380968" y="105735"/>
                      </a:lnTo>
                      <a:lnTo>
                        <a:pt x="394419" y="94061"/>
                      </a:lnTo>
                      <a:lnTo>
                        <a:pt x="405488" y="92037"/>
                      </a:lnTo>
                      <a:lnTo>
                        <a:pt x="427325" y="98507"/>
                      </a:lnTo>
                      <a:lnTo>
                        <a:pt x="446149" y="93586"/>
                      </a:lnTo>
                      <a:lnTo>
                        <a:pt x="457983" y="61468"/>
                      </a:lnTo>
                      <a:lnTo>
                        <a:pt x="466871" y="53434"/>
                      </a:lnTo>
                      <a:close/>
                      <a:moveTo>
                        <a:pt x="0" y="0"/>
                      </a:moveTo>
                      <a:lnTo>
                        <a:pt x="14861" y="933"/>
                      </a:lnTo>
                      <a:lnTo>
                        <a:pt x="50593" y="5405"/>
                      </a:lnTo>
                      <a:lnTo>
                        <a:pt x="71005" y="28029"/>
                      </a:lnTo>
                      <a:lnTo>
                        <a:pt x="88857" y="43703"/>
                      </a:lnTo>
                      <a:lnTo>
                        <a:pt x="101586" y="53317"/>
                      </a:lnTo>
                      <a:lnTo>
                        <a:pt x="123455" y="78146"/>
                      </a:lnTo>
                      <a:lnTo>
                        <a:pt x="146920" y="78508"/>
                      </a:lnTo>
                      <a:lnTo>
                        <a:pt x="166315" y="94325"/>
                      </a:lnTo>
                      <a:lnTo>
                        <a:pt x="179671" y="113655"/>
                      </a:lnTo>
                      <a:lnTo>
                        <a:pt x="197249" y="124199"/>
                      </a:lnTo>
                      <a:lnTo>
                        <a:pt x="187999" y="143046"/>
                      </a:lnTo>
                      <a:lnTo>
                        <a:pt x="201229" y="151063"/>
                      </a:lnTo>
                      <a:lnTo>
                        <a:pt x="209521" y="151655"/>
                      </a:lnTo>
                      <a:lnTo>
                        <a:pt x="213433" y="167759"/>
                      </a:lnTo>
                      <a:lnTo>
                        <a:pt x="221475" y="180646"/>
                      </a:lnTo>
                      <a:lnTo>
                        <a:pt x="238423" y="182687"/>
                      </a:lnTo>
                      <a:lnTo>
                        <a:pt x="249651" y="197308"/>
                      </a:lnTo>
                      <a:lnTo>
                        <a:pt x="243855" y="226056"/>
                      </a:lnTo>
                      <a:lnTo>
                        <a:pt x="242936" y="261851"/>
                      </a:lnTo>
                      <a:lnTo>
                        <a:pt x="217377" y="262336"/>
                      </a:lnTo>
                      <a:lnTo>
                        <a:pt x="197938" y="242983"/>
                      </a:lnTo>
                      <a:lnTo>
                        <a:pt x="168301" y="224084"/>
                      </a:lnTo>
                      <a:lnTo>
                        <a:pt x="158419" y="210072"/>
                      </a:lnTo>
                      <a:lnTo>
                        <a:pt x="140944" y="191255"/>
                      </a:lnTo>
                      <a:lnTo>
                        <a:pt x="129481" y="173945"/>
                      </a:lnTo>
                      <a:lnTo>
                        <a:pt x="111926" y="141624"/>
                      </a:lnTo>
                      <a:lnTo>
                        <a:pt x="91654" y="122385"/>
                      </a:lnTo>
                      <a:lnTo>
                        <a:pt x="84874" y="102539"/>
                      </a:lnTo>
                      <a:lnTo>
                        <a:pt x="76364" y="84517"/>
                      </a:lnTo>
                      <a:lnTo>
                        <a:pt x="55549" y="69975"/>
                      </a:lnTo>
                      <a:lnTo>
                        <a:pt x="43485" y="50210"/>
                      </a:lnTo>
                      <a:lnTo>
                        <a:pt x="26106" y="37266"/>
                      </a:lnTo>
                      <a:lnTo>
                        <a:pt x="2027" y="11782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Freeform 83">
                  <a:extLst>
                    <a:ext uri="{FF2B5EF4-FFF2-40B4-BE49-F238E27FC236}">
                      <a16:creationId xmlns:a16="http://schemas.microsoft.com/office/drawing/2014/main" id="{06EEF616-D121-4DB7-BF5C-8AFA817E220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5"/>
                  </p:custDataLst>
                </p:nvPr>
              </p:nvSpPr>
              <p:spPr>
                <a:xfrm>
                  <a:off x="8604338" y="3672587"/>
                  <a:ext cx="723870" cy="71978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74613" h="670808">
                      <a:moveTo>
                        <a:pt x="222997" y="0"/>
                      </a:moveTo>
                      <a:lnTo>
                        <a:pt x="247807" y="30621"/>
                      </a:lnTo>
                      <a:lnTo>
                        <a:pt x="245471" y="51779"/>
                      </a:lnTo>
                      <a:lnTo>
                        <a:pt x="254654" y="64991"/>
                      </a:lnTo>
                      <a:lnTo>
                        <a:pt x="253898" y="78126"/>
                      </a:lnTo>
                      <a:lnTo>
                        <a:pt x="237331" y="74674"/>
                      </a:lnTo>
                      <a:lnTo>
                        <a:pt x="243805" y="102899"/>
                      </a:lnTo>
                      <a:lnTo>
                        <a:pt x="266483" y="119021"/>
                      </a:lnTo>
                      <a:lnTo>
                        <a:pt x="298565" y="136748"/>
                      </a:lnTo>
                      <a:lnTo>
                        <a:pt x="283919" y="148206"/>
                      </a:lnTo>
                      <a:lnTo>
                        <a:pt x="274956" y="171735"/>
                      </a:lnTo>
                      <a:lnTo>
                        <a:pt x="297318" y="181215"/>
                      </a:lnTo>
                      <a:lnTo>
                        <a:pt x="319080" y="193476"/>
                      </a:lnTo>
                      <a:lnTo>
                        <a:pt x="349185" y="207453"/>
                      </a:lnTo>
                      <a:lnTo>
                        <a:pt x="380827" y="210676"/>
                      </a:lnTo>
                      <a:lnTo>
                        <a:pt x="394140" y="223304"/>
                      </a:lnTo>
                      <a:lnTo>
                        <a:pt x="411974" y="225664"/>
                      </a:lnTo>
                      <a:lnTo>
                        <a:pt x="439744" y="231435"/>
                      </a:lnTo>
                      <a:lnTo>
                        <a:pt x="458966" y="231021"/>
                      </a:lnTo>
                      <a:lnTo>
                        <a:pt x="461611" y="221216"/>
                      </a:lnTo>
                      <a:lnTo>
                        <a:pt x="458571" y="205430"/>
                      </a:lnTo>
                      <a:lnTo>
                        <a:pt x="460356" y="194697"/>
                      </a:lnTo>
                      <a:lnTo>
                        <a:pt x="474434" y="189447"/>
                      </a:lnTo>
                      <a:lnTo>
                        <a:pt x="476371" y="209075"/>
                      </a:lnTo>
                      <a:lnTo>
                        <a:pt x="476865" y="214054"/>
                      </a:lnTo>
                      <a:lnTo>
                        <a:pt x="497844" y="223472"/>
                      </a:lnTo>
                      <a:lnTo>
                        <a:pt x="512357" y="219596"/>
                      </a:lnTo>
                      <a:lnTo>
                        <a:pt x="531845" y="221260"/>
                      </a:lnTo>
                      <a:lnTo>
                        <a:pt x="550680" y="220524"/>
                      </a:lnTo>
                      <a:lnTo>
                        <a:pt x="552301" y="205261"/>
                      </a:lnTo>
                      <a:lnTo>
                        <a:pt x="542905" y="197311"/>
                      </a:lnTo>
                      <a:lnTo>
                        <a:pt x="561520" y="194190"/>
                      </a:lnTo>
                      <a:lnTo>
                        <a:pt x="582530" y="175592"/>
                      </a:lnTo>
                      <a:lnTo>
                        <a:pt x="609136" y="159603"/>
                      </a:lnTo>
                      <a:lnTo>
                        <a:pt x="628499" y="165780"/>
                      </a:lnTo>
                      <a:lnTo>
                        <a:pt x="644953" y="155190"/>
                      </a:lnTo>
                      <a:lnTo>
                        <a:pt x="655778" y="170819"/>
                      </a:lnTo>
                      <a:lnTo>
                        <a:pt x="647981" y="181342"/>
                      </a:lnTo>
                      <a:lnTo>
                        <a:pt x="672870" y="185080"/>
                      </a:lnTo>
                      <a:lnTo>
                        <a:pt x="674612" y="194548"/>
                      </a:lnTo>
                      <a:lnTo>
                        <a:pt x="666520" y="199123"/>
                      </a:lnTo>
                      <a:lnTo>
                        <a:pt x="668413" y="214431"/>
                      </a:lnTo>
                      <a:lnTo>
                        <a:pt x="651917" y="209938"/>
                      </a:lnTo>
                      <a:lnTo>
                        <a:pt x="622035" y="227086"/>
                      </a:lnTo>
                      <a:lnTo>
                        <a:pt x="622736" y="241238"/>
                      </a:lnTo>
                      <a:lnTo>
                        <a:pt x="609997" y="261904"/>
                      </a:lnTo>
                      <a:lnTo>
                        <a:pt x="608829" y="273868"/>
                      </a:lnTo>
                      <a:lnTo>
                        <a:pt x="598536" y="294047"/>
                      </a:lnTo>
                      <a:lnTo>
                        <a:pt x="580495" y="288480"/>
                      </a:lnTo>
                      <a:lnTo>
                        <a:pt x="579599" y="313722"/>
                      </a:lnTo>
                      <a:lnTo>
                        <a:pt x="574381" y="322001"/>
                      </a:lnTo>
                      <a:lnTo>
                        <a:pt x="576824" y="332308"/>
                      </a:lnTo>
                      <a:lnTo>
                        <a:pt x="565435" y="338056"/>
                      </a:lnTo>
                      <a:lnTo>
                        <a:pt x="553278" y="299497"/>
                      </a:lnTo>
                      <a:lnTo>
                        <a:pt x="546904" y="299574"/>
                      </a:lnTo>
                      <a:lnTo>
                        <a:pt x="543131" y="315143"/>
                      </a:lnTo>
                      <a:lnTo>
                        <a:pt x="530493" y="302521"/>
                      </a:lnTo>
                      <a:lnTo>
                        <a:pt x="537621" y="288625"/>
                      </a:lnTo>
                      <a:lnTo>
                        <a:pt x="547947" y="287212"/>
                      </a:lnTo>
                      <a:lnTo>
                        <a:pt x="558590" y="266470"/>
                      </a:lnTo>
                      <a:lnTo>
                        <a:pt x="545281" y="262275"/>
                      </a:lnTo>
                      <a:lnTo>
                        <a:pt x="523874" y="262639"/>
                      </a:lnTo>
                      <a:lnTo>
                        <a:pt x="501911" y="259267"/>
                      </a:lnTo>
                      <a:lnTo>
                        <a:pt x="499874" y="242132"/>
                      </a:lnTo>
                      <a:lnTo>
                        <a:pt x="488855" y="240914"/>
                      </a:lnTo>
                      <a:lnTo>
                        <a:pt x="470573" y="230231"/>
                      </a:lnTo>
                      <a:lnTo>
                        <a:pt x="462418" y="246993"/>
                      </a:lnTo>
                      <a:lnTo>
                        <a:pt x="479079" y="260031"/>
                      </a:lnTo>
                      <a:lnTo>
                        <a:pt x="464648" y="269186"/>
                      </a:lnTo>
                      <a:lnTo>
                        <a:pt x="459524" y="278124"/>
                      </a:lnTo>
                      <a:lnTo>
                        <a:pt x="473733" y="284684"/>
                      </a:lnTo>
                      <a:lnTo>
                        <a:pt x="469804" y="299408"/>
                      </a:lnTo>
                      <a:lnTo>
                        <a:pt x="477804" y="317723"/>
                      </a:lnTo>
                      <a:lnTo>
                        <a:pt x="481396" y="337706"/>
                      </a:lnTo>
                      <a:lnTo>
                        <a:pt x="478091" y="346543"/>
                      </a:lnTo>
                      <a:lnTo>
                        <a:pt x="462389" y="346238"/>
                      </a:lnTo>
                      <a:lnTo>
                        <a:pt x="433933" y="351257"/>
                      </a:lnTo>
                      <a:lnTo>
                        <a:pt x="435259" y="369404"/>
                      </a:lnTo>
                      <a:lnTo>
                        <a:pt x="422937" y="383638"/>
                      </a:lnTo>
                      <a:lnTo>
                        <a:pt x="389719" y="399788"/>
                      </a:lnTo>
                      <a:lnTo>
                        <a:pt x="363883" y="427920"/>
                      </a:lnTo>
                      <a:lnTo>
                        <a:pt x="346530" y="442952"/>
                      </a:lnTo>
                      <a:lnTo>
                        <a:pt x="323530" y="458515"/>
                      </a:lnTo>
                      <a:lnTo>
                        <a:pt x="323494" y="469431"/>
                      </a:lnTo>
                      <a:lnTo>
                        <a:pt x="311987" y="475273"/>
                      </a:lnTo>
                      <a:lnTo>
                        <a:pt x="291196" y="483757"/>
                      </a:lnTo>
                      <a:lnTo>
                        <a:pt x="280414" y="485006"/>
                      </a:lnTo>
                      <a:lnTo>
                        <a:pt x="273493" y="503034"/>
                      </a:lnTo>
                      <a:lnTo>
                        <a:pt x="278299" y="533682"/>
                      </a:lnTo>
                      <a:lnTo>
                        <a:pt x="279523" y="553170"/>
                      </a:lnTo>
                      <a:lnTo>
                        <a:pt x="269742" y="575440"/>
                      </a:lnTo>
                      <a:lnTo>
                        <a:pt x="269637" y="615142"/>
                      </a:lnTo>
                      <a:lnTo>
                        <a:pt x="257692" y="616272"/>
                      </a:lnTo>
                      <a:lnTo>
                        <a:pt x="247185" y="634048"/>
                      </a:lnTo>
                      <a:lnTo>
                        <a:pt x="254211" y="641722"/>
                      </a:lnTo>
                      <a:lnTo>
                        <a:pt x="233165" y="648318"/>
                      </a:lnTo>
                      <a:lnTo>
                        <a:pt x="225391" y="664130"/>
                      </a:lnTo>
                      <a:lnTo>
                        <a:pt x="216129" y="670807"/>
                      </a:lnTo>
                      <a:lnTo>
                        <a:pt x="194271" y="649104"/>
                      </a:lnTo>
                      <a:lnTo>
                        <a:pt x="183586" y="616487"/>
                      </a:lnTo>
                      <a:lnTo>
                        <a:pt x="174732" y="592937"/>
                      </a:lnTo>
                      <a:lnTo>
                        <a:pt x="166644" y="581876"/>
                      </a:lnTo>
                      <a:lnTo>
                        <a:pt x="154381" y="559372"/>
                      </a:lnTo>
                      <a:lnTo>
                        <a:pt x="148654" y="529993"/>
                      </a:lnTo>
                      <a:lnTo>
                        <a:pt x="144664" y="515282"/>
                      </a:lnTo>
                      <a:lnTo>
                        <a:pt x="123667" y="482841"/>
                      </a:lnTo>
                      <a:lnTo>
                        <a:pt x="114104" y="436823"/>
                      </a:lnTo>
                      <a:lnTo>
                        <a:pt x="107202" y="406263"/>
                      </a:lnTo>
                      <a:lnTo>
                        <a:pt x="107284" y="377198"/>
                      </a:lnTo>
                      <a:lnTo>
                        <a:pt x="102808" y="354628"/>
                      </a:lnTo>
                      <a:lnTo>
                        <a:pt x="69216" y="369064"/>
                      </a:lnTo>
                      <a:lnTo>
                        <a:pt x="52947" y="366175"/>
                      </a:lnTo>
                      <a:lnTo>
                        <a:pt x="22794" y="336892"/>
                      </a:lnTo>
                      <a:lnTo>
                        <a:pt x="33892" y="328128"/>
                      </a:lnTo>
                      <a:lnTo>
                        <a:pt x="27075" y="318598"/>
                      </a:lnTo>
                      <a:lnTo>
                        <a:pt x="0" y="297924"/>
                      </a:lnTo>
                      <a:lnTo>
                        <a:pt x="15372" y="281614"/>
                      </a:lnTo>
                      <a:lnTo>
                        <a:pt x="66169" y="281678"/>
                      </a:lnTo>
                      <a:lnTo>
                        <a:pt x="61586" y="260611"/>
                      </a:lnTo>
                      <a:lnTo>
                        <a:pt x="48617" y="248124"/>
                      </a:lnTo>
                      <a:lnTo>
                        <a:pt x="45987" y="229109"/>
                      </a:lnTo>
                      <a:lnTo>
                        <a:pt x="30879" y="217977"/>
                      </a:lnTo>
                      <a:lnTo>
                        <a:pt x="56318" y="191885"/>
                      </a:lnTo>
                      <a:lnTo>
                        <a:pt x="83121" y="193783"/>
                      </a:lnTo>
                      <a:lnTo>
                        <a:pt x="107267" y="167541"/>
                      </a:lnTo>
                      <a:lnTo>
                        <a:pt x="121738" y="141983"/>
                      </a:lnTo>
                      <a:lnTo>
                        <a:pt x="144145" y="116553"/>
                      </a:lnTo>
                      <a:lnTo>
                        <a:pt x="143788" y="98388"/>
                      </a:lnTo>
                      <a:lnTo>
                        <a:pt x="163471" y="83584"/>
                      </a:lnTo>
                      <a:lnTo>
                        <a:pt x="144842" y="70901"/>
                      </a:lnTo>
                      <a:lnTo>
                        <a:pt x="136826" y="53452"/>
                      </a:lnTo>
                      <a:lnTo>
                        <a:pt x="128647" y="30731"/>
                      </a:lnTo>
                      <a:lnTo>
                        <a:pt x="139963" y="19498"/>
                      </a:lnTo>
                      <a:lnTo>
                        <a:pt x="174976" y="25858"/>
                      </a:lnTo>
                      <a:lnTo>
                        <a:pt x="200705" y="2198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Freeform 84">
                  <a:extLst>
                    <a:ext uri="{FF2B5EF4-FFF2-40B4-BE49-F238E27FC236}">
                      <a16:creationId xmlns:a16="http://schemas.microsoft.com/office/drawing/2014/main" id="{FDFBB132-A273-4743-8404-73CC95CDEB7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6"/>
                  </p:custDataLst>
                </p:nvPr>
              </p:nvSpPr>
              <p:spPr>
                <a:xfrm>
                  <a:off x="6668622" y="3065492"/>
                  <a:ext cx="97688" cy="11675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1041" h="108813">
                      <a:moveTo>
                        <a:pt x="87234" y="40293"/>
                      </a:moveTo>
                      <a:lnTo>
                        <a:pt x="91040" y="62771"/>
                      </a:lnTo>
                      <a:lnTo>
                        <a:pt x="73592" y="90582"/>
                      </a:lnTo>
                      <a:lnTo>
                        <a:pt x="32672" y="108812"/>
                      </a:lnTo>
                      <a:lnTo>
                        <a:pt x="0" y="104161"/>
                      </a:lnTo>
                      <a:lnTo>
                        <a:pt x="18715" y="71791"/>
                      </a:lnTo>
                      <a:lnTo>
                        <a:pt x="6660" y="39857"/>
                      </a:lnTo>
                      <a:lnTo>
                        <a:pt x="38065" y="14968"/>
                      </a:lnTo>
                      <a:lnTo>
                        <a:pt x="55512" y="0"/>
                      </a:lnTo>
                      <a:lnTo>
                        <a:pt x="60270" y="17162"/>
                      </a:lnTo>
                      <a:lnTo>
                        <a:pt x="55512" y="34204"/>
                      </a:lnTo>
                      <a:lnTo>
                        <a:pt x="69787" y="33768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Freeform 85">
                  <a:extLst>
                    <a:ext uri="{FF2B5EF4-FFF2-40B4-BE49-F238E27FC236}">
                      <a16:creationId xmlns:a16="http://schemas.microsoft.com/office/drawing/2014/main" id="{1D8A8351-1EDC-457F-8579-DE3A97A49F2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7"/>
                  </p:custDataLst>
                </p:nvPr>
              </p:nvSpPr>
              <p:spPr>
                <a:xfrm>
                  <a:off x="8008234" y="3551796"/>
                  <a:ext cx="475732" cy="40404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43360" h="376548">
                      <a:moveTo>
                        <a:pt x="226496" y="67542"/>
                      </a:moveTo>
                      <a:lnTo>
                        <a:pt x="246779" y="62392"/>
                      </a:lnTo>
                      <a:lnTo>
                        <a:pt x="263197" y="47133"/>
                      </a:lnTo>
                      <a:lnTo>
                        <a:pt x="278635" y="47908"/>
                      </a:lnTo>
                      <a:lnTo>
                        <a:pt x="288768" y="42922"/>
                      </a:lnTo>
                      <a:lnTo>
                        <a:pt x="305181" y="45390"/>
                      </a:lnTo>
                      <a:lnTo>
                        <a:pt x="330704" y="58932"/>
                      </a:lnTo>
                      <a:lnTo>
                        <a:pt x="349138" y="61845"/>
                      </a:lnTo>
                      <a:lnTo>
                        <a:pt x="375519" y="85350"/>
                      </a:lnTo>
                      <a:lnTo>
                        <a:pt x="392726" y="86296"/>
                      </a:lnTo>
                      <a:lnTo>
                        <a:pt x="394751" y="108475"/>
                      </a:lnTo>
                      <a:lnTo>
                        <a:pt x="385342" y="141055"/>
                      </a:lnTo>
                      <a:lnTo>
                        <a:pt x="379000" y="159945"/>
                      </a:lnTo>
                      <a:lnTo>
                        <a:pt x="389047" y="163766"/>
                      </a:lnTo>
                      <a:lnTo>
                        <a:pt x="379176" y="177902"/>
                      </a:lnTo>
                      <a:lnTo>
                        <a:pt x="386738" y="198416"/>
                      </a:lnTo>
                      <a:lnTo>
                        <a:pt x="388545" y="214651"/>
                      </a:lnTo>
                      <a:lnTo>
                        <a:pt x="406027" y="218950"/>
                      </a:lnTo>
                      <a:lnTo>
                        <a:pt x="407918" y="235323"/>
                      </a:lnTo>
                      <a:lnTo>
                        <a:pt x="386982" y="258271"/>
                      </a:lnTo>
                      <a:lnTo>
                        <a:pt x="398409" y="271525"/>
                      </a:lnTo>
                      <a:lnTo>
                        <a:pt x="407701" y="286693"/>
                      </a:lnTo>
                      <a:lnTo>
                        <a:pt x="429768" y="297701"/>
                      </a:lnTo>
                      <a:lnTo>
                        <a:pt x="430405" y="319667"/>
                      </a:lnTo>
                      <a:lnTo>
                        <a:pt x="441449" y="323692"/>
                      </a:lnTo>
                      <a:lnTo>
                        <a:pt x="443359" y="335124"/>
                      </a:lnTo>
                      <a:lnTo>
                        <a:pt x="410063" y="347913"/>
                      </a:lnTo>
                      <a:lnTo>
                        <a:pt x="401365" y="376547"/>
                      </a:lnTo>
                      <a:lnTo>
                        <a:pt x="357941" y="369122"/>
                      </a:lnTo>
                      <a:lnTo>
                        <a:pt x="332773" y="363463"/>
                      </a:lnTo>
                      <a:lnTo>
                        <a:pt x="306723" y="360260"/>
                      </a:lnTo>
                      <a:lnTo>
                        <a:pt x="296879" y="329925"/>
                      </a:lnTo>
                      <a:lnTo>
                        <a:pt x="285831" y="325524"/>
                      </a:lnTo>
                      <a:lnTo>
                        <a:pt x="268094" y="329961"/>
                      </a:lnTo>
                      <a:lnTo>
                        <a:pt x="244812" y="341959"/>
                      </a:lnTo>
                      <a:lnTo>
                        <a:pt x="216605" y="333739"/>
                      </a:lnTo>
                      <a:lnTo>
                        <a:pt x="193303" y="314640"/>
                      </a:lnTo>
                      <a:lnTo>
                        <a:pt x="171079" y="307540"/>
                      </a:lnTo>
                      <a:lnTo>
                        <a:pt x="155664" y="283804"/>
                      </a:lnTo>
                      <a:lnTo>
                        <a:pt x="138630" y="250223"/>
                      </a:lnTo>
                      <a:lnTo>
                        <a:pt x="126208" y="254319"/>
                      </a:lnTo>
                      <a:lnTo>
                        <a:pt x="111538" y="245939"/>
                      </a:lnTo>
                      <a:lnTo>
                        <a:pt x="102920" y="255809"/>
                      </a:lnTo>
                      <a:lnTo>
                        <a:pt x="90146" y="242510"/>
                      </a:lnTo>
                      <a:lnTo>
                        <a:pt x="89918" y="228990"/>
                      </a:lnTo>
                      <a:lnTo>
                        <a:pt x="82546" y="228997"/>
                      </a:lnTo>
                      <a:lnTo>
                        <a:pt x="86329" y="210538"/>
                      </a:lnTo>
                      <a:lnTo>
                        <a:pt x="74452" y="191074"/>
                      </a:lnTo>
                      <a:lnTo>
                        <a:pt x="46169" y="176973"/>
                      </a:lnTo>
                      <a:lnTo>
                        <a:pt x="30180" y="152394"/>
                      </a:lnTo>
                      <a:lnTo>
                        <a:pt x="35530" y="132089"/>
                      </a:lnTo>
                      <a:lnTo>
                        <a:pt x="47148" y="123072"/>
                      </a:lnTo>
                      <a:lnTo>
                        <a:pt x="45407" y="107757"/>
                      </a:lnTo>
                      <a:lnTo>
                        <a:pt x="30271" y="99861"/>
                      </a:lnTo>
                      <a:lnTo>
                        <a:pt x="15315" y="68299"/>
                      </a:lnTo>
                      <a:lnTo>
                        <a:pt x="2690" y="46933"/>
                      </a:lnTo>
                      <a:lnTo>
                        <a:pt x="7206" y="38636"/>
                      </a:lnTo>
                      <a:lnTo>
                        <a:pt x="0" y="7725"/>
                      </a:lnTo>
                      <a:lnTo>
                        <a:pt x="15807" y="0"/>
                      </a:lnTo>
                      <a:lnTo>
                        <a:pt x="19470" y="10225"/>
                      </a:lnTo>
                      <a:lnTo>
                        <a:pt x="31127" y="22694"/>
                      </a:lnTo>
                      <a:lnTo>
                        <a:pt x="46960" y="26276"/>
                      </a:lnTo>
                      <a:lnTo>
                        <a:pt x="55318" y="25484"/>
                      </a:lnTo>
                      <a:lnTo>
                        <a:pt x="82541" y="5551"/>
                      </a:lnTo>
                      <a:lnTo>
                        <a:pt x="91197" y="3548"/>
                      </a:lnTo>
                      <a:lnTo>
                        <a:pt x="98016" y="11497"/>
                      </a:lnTo>
                      <a:lnTo>
                        <a:pt x="90058" y="24853"/>
                      </a:lnTo>
                      <a:lnTo>
                        <a:pt x="104453" y="38929"/>
                      </a:lnTo>
                      <a:lnTo>
                        <a:pt x="110197" y="37591"/>
                      </a:lnTo>
                      <a:lnTo>
                        <a:pt x="117500" y="57317"/>
                      </a:lnTo>
                      <a:lnTo>
                        <a:pt x="139386" y="62868"/>
                      </a:lnTo>
                      <a:lnTo>
                        <a:pt x="155419" y="76201"/>
                      </a:lnTo>
                      <a:lnTo>
                        <a:pt x="188235" y="80770"/>
                      </a:lnTo>
                      <a:lnTo>
                        <a:pt x="224285" y="7375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Freeform 86">
                  <a:extLst>
                    <a:ext uri="{FF2B5EF4-FFF2-40B4-BE49-F238E27FC236}">
                      <a16:creationId xmlns:a16="http://schemas.microsoft.com/office/drawing/2014/main" id="{F5237D3E-E4D1-4E82-9664-0209CB9F764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8"/>
                  </p:custDataLst>
                </p:nvPr>
              </p:nvSpPr>
              <p:spPr>
                <a:xfrm>
                  <a:off x="7876546" y="3618948"/>
                  <a:ext cx="242124" cy="22971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25648" h="214079">
                      <a:moveTo>
                        <a:pt x="152998" y="37278"/>
                      </a:moveTo>
                      <a:lnTo>
                        <a:pt x="168134" y="45174"/>
                      </a:lnTo>
                      <a:lnTo>
                        <a:pt x="169875" y="60489"/>
                      </a:lnTo>
                      <a:lnTo>
                        <a:pt x="158257" y="69506"/>
                      </a:lnTo>
                      <a:lnTo>
                        <a:pt x="152907" y="89811"/>
                      </a:lnTo>
                      <a:lnTo>
                        <a:pt x="168896" y="114390"/>
                      </a:lnTo>
                      <a:lnTo>
                        <a:pt x="197179" y="128491"/>
                      </a:lnTo>
                      <a:lnTo>
                        <a:pt x="209056" y="147955"/>
                      </a:lnTo>
                      <a:lnTo>
                        <a:pt x="205273" y="166414"/>
                      </a:lnTo>
                      <a:lnTo>
                        <a:pt x="212645" y="166407"/>
                      </a:lnTo>
                      <a:lnTo>
                        <a:pt x="212873" y="179927"/>
                      </a:lnTo>
                      <a:lnTo>
                        <a:pt x="225647" y="193226"/>
                      </a:lnTo>
                      <a:lnTo>
                        <a:pt x="211949" y="191987"/>
                      </a:lnTo>
                      <a:lnTo>
                        <a:pt x="196439" y="189883"/>
                      </a:lnTo>
                      <a:lnTo>
                        <a:pt x="179499" y="214078"/>
                      </a:lnTo>
                      <a:lnTo>
                        <a:pt x="136583" y="212070"/>
                      </a:lnTo>
                      <a:lnTo>
                        <a:pt x="71501" y="161195"/>
                      </a:lnTo>
                      <a:lnTo>
                        <a:pt x="37109" y="143333"/>
                      </a:lnTo>
                      <a:lnTo>
                        <a:pt x="9305" y="136395"/>
                      </a:lnTo>
                      <a:lnTo>
                        <a:pt x="0" y="105064"/>
                      </a:lnTo>
                      <a:lnTo>
                        <a:pt x="51100" y="78075"/>
                      </a:lnTo>
                      <a:lnTo>
                        <a:pt x="59821" y="46464"/>
                      </a:lnTo>
                      <a:lnTo>
                        <a:pt x="57645" y="27222"/>
                      </a:lnTo>
                      <a:lnTo>
                        <a:pt x="70280" y="20691"/>
                      </a:lnTo>
                      <a:lnTo>
                        <a:pt x="82110" y="4135"/>
                      </a:lnTo>
                      <a:lnTo>
                        <a:pt x="92025" y="0"/>
                      </a:lnTo>
                      <a:lnTo>
                        <a:pt x="118873" y="3434"/>
                      </a:lnTo>
                      <a:lnTo>
                        <a:pt x="126980" y="10203"/>
                      </a:lnTo>
                      <a:lnTo>
                        <a:pt x="138042" y="5716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Freeform 87">
                  <a:extLst>
                    <a:ext uri="{FF2B5EF4-FFF2-40B4-BE49-F238E27FC236}">
                      <a16:creationId xmlns:a16="http://schemas.microsoft.com/office/drawing/2014/main" id="{F4E7C9FE-B689-451F-8CF1-D0F8C9660AD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9"/>
                  </p:custDataLst>
                </p:nvPr>
              </p:nvSpPr>
              <p:spPr>
                <a:xfrm>
                  <a:off x="6313224" y="2636546"/>
                  <a:ext cx="265427" cy="1219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7366" h="113679">
                      <a:moveTo>
                        <a:pt x="226614" y="2732"/>
                      </a:moveTo>
                      <a:lnTo>
                        <a:pt x="221283" y="27500"/>
                      </a:lnTo>
                      <a:lnTo>
                        <a:pt x="247365" y="53289"/>
                      </a:lnTo>
                      <a:lnTo>
                        <a:pt x="217355" y="81752"/>
                      </a:lnTo>
                      <a:lnTo>
                        <a:pt x="150770" y="107008"/>
                      </a:lnTo>
                      <a:lnTo>
                        <a:pt x="130877" y="113678"/>
                      </a:lnTo>
                      <a:lnTo>
                        <a:pt x="100489" y="108294"/>
                      </a:lnTo>
                      <a:lnTo>
                        <a:pt x="36083" y="96673"/>
                      </a:lnTo>
                      <a:lnTo>
                        <a:pt x="58808" y="80341"/>
                      </a:lnTo>
                      <a:lnTo>
                        <a:pt x="8567" y="62122"/>
                      </a:lnTo>
                      <a:lnTo>
                        <a:pt x="49438" y="54856"/>
                      </a:lnTo>
                      <a:lnTo>
                        <a:pt x="48445" y="43801"/>
                      </a:lnTo>
                      <a:lnTo>
                        <a:pt x="0" y="35002"/>
                      </a:lnTo>
                      <a:lnTo>
                        <a:pt x="15596" y="10164"/>
                      </a:lnTo>
                      <a:lnTo>
                        <a:pt x="50580" y="4480"/>
                      </a:lnTo>
                      <a:lnTo>
                        <a:pt x="86558" y="30414"/>
                      </a:lnTo>
                      <a:lnTo>
                        <a:pt x="121631" y="9624"/>
                      </a:lnTo>
                      <a:lnTo>
                        <a:pt x="150674" y="20446"/>
                      </a:lnTo>
                      <a:lnTo>
                        <a:pt x="188317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Freeform 88">
                  <a:extLst>
                    <a:ext uri="{FF2B5EF4-FFF2-40B4-BE49-F238E27FC236}">
                      <a16:creationId xmlns:a16="http://schemas.microsoft.com/office/drawing/2014/main" id="{E42FAB77-C105-436E-AC67-134FA67BE77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0"/>
                  </p:custDataLst>
                </p:nvPr>
              </p:nvSpPr>
              <p:spPr>
                <a:xfrm>
                  <a:off x="7764424" y="3734491"/>
                  <a:ext cx="38911" cy="10330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6263" h="96277">
                      <a:moveTo>
                        <a:pt x="35909" y="0"/>
                      </a:moveTo>
                      <a:lnTo>
                        <a:pt x="36262" y="10553"/>
                      </a:lnTo>
                      <a:lnTo>
                        <a:pt x="33132" y="14467"/>
                      </a:lnTo>
                      <a:lnTo>
                        <a:pt x="33574" y="14642"/>
                      </a:lnTo>
                      <a:lnTo>
                        <a:pt x="29552" y="22740"/>
                      </a:lnTo>
                      <a:lnTo>
                        <a:pt x="29542" y="38401"/>
                      </a:lnTo>
                      <a:lnTo>
                        <a:pt x="26133" y="45893"/>
                      </a:lnTo>
                      <a:lnTo>
                        <a:pt x="26672" y="55804"/>
                      </a:lnTo>
                      <a:lnTo>
                        <a:pt x="15170" y="96276"/>
                      </a:lnTo>
                      <a:lnTo>
                        <a:pt x="0" y="52767"/>
                      </a:lnTo>
                      <a:lnTo>
                        <a:pt x="6716" y="44369"/>
                      </a:lnTo>
                      <a:lnTo>
                        <a:pt x="5140" y="42921"/>
                      </a:lnTo>
                      <a:lnTo>
                        <a:pt x="11245" y="30971"/>
                      </a:lnTo>
                      <a:lnTo>
                        <a:pt x="15927" y="11602"/>
                      </a:lnTo>
                      <a:lnTo>
                        <a:pt x="19229" y="5080"/>
                      </a:lnTo>
                      <a:lnTo>
                        <a:pt x="19866" y="4812"/>
                      </a:lnTo>
                      <a:lnTo>
                        <a:pt x="27590" y="4861"/>
                      </a:lnTo>
                      <a:lnTo>
                        <a:pt x="29716" y="33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" name="Freeform 89">
                  <a:extLst>
                    <a:ext uri="{FF2B5EF4-FFF2-40B4-BE49-F238E27FC236}">
                      <a16:creationId xmlns:a16="http://schemas.microsoft.com/office/drawing/2014/main" id="{F51D5A75-1CA9-4EF9-873D-BB27634F1C3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1"/>
                  </p:custDataLst>
                </p:nvPr>
              </p:nvSpPr>
              <p:spPr>
                <a:xfrm>
                  <a:off x="7082919" y="3328511"/>
                  <a:ext cx="290537" cy="3122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0767" h="290991">
                      <a:moveTo>
                        <a:pt x="202445" y="248072"/>
                      </a:moveTo>
                      <a:lnTo>
                        <a:pt x="194133" y="269109"/>
                      </a:lnTo>
                      <a:lnTo>
                        <a:pt x="197587" y="277352"/>
                      </a:lnTo>
                      <a:lnTo>
                        <a:pt x="192742" y="290991"/>
                      </a:lnTo>
                      <a:lnTo>
                        <a:pt x="175089" y="281007"/>
                      </a:lnTo>
                      <a:lnTo>
                        <a:pt x="163352" y="278141"/>
                      </a:lnTo>
                      <a:lnTo>
                        <a:pt x="131134" y="264605"/>
                      </a:lnTo>
                      <a:lnTo>
                        <a:pt x="134365" y="250880"/>
                      </a:lnTo>
                      <a:lnTo>
                        <a:pt x="161376" y="253328"/>
                      </a:lnTo>
                      <a:lnTo>
                        <a:pt x="184923" y="250411"/>
                      </a:lnTo>
                      <a:close/>
                      <a:moveTo>
                        <a:pt x="56785" y="167178"/>
                      </a:moveTo>
                      <a:lnTo>
                        <a:pt x="70634" y="186650"/>
                      </a:lnTo>
                      <a:lnTo>
                        <a:pt x="67392" y="222600"/>
                      </a:lnTo>
                      <a:lnTo>
                        <a:pt x="56896" y="220895"/>
                      </a:lnTo>
                      <a:lnTo>
                        <a:pt x="47481" y="229910"/>
                      </a:lnTo>
                      <a:lnTo>
                        <a:pt x="38741" y="222749"/>
                      </a:lnTo>
                      <a:lnTo>
                        <a:pt x="37817" y="189975"/>
                      </a:lnTo>
                      <a:lnTo>
                        <a:pt x="32548" y="174323"/>
                      </a:lnTo>
                      <a:lnTo>
                        <a:pt x="45243" y="175695"/>
                      </a:lnTo>
                      <a:close/>
                      <a:moveTo>
                        <a:pt x="124719" y="0"/>
                      </a:moveTo>
                      <a:lnTo>
                        <a:pt x="129876" y="10127"/>
                      </a:lnTo>
                      <a:lnTo>
                        <a:pt x="162884" y="17622"/>
                      </a:lnTo>
                      <a:lnTo>
                        <a:pt x="160382" y="31859"/>
                      </a:lnTo>
                      <a:lnTo>
                        <a:pt x="165911" y="44108"/>
                      </a:lnTo>
                      <a:lnTo>
                        <a:pt x="147537" y="39923"/>
                      </a:lnTo>
                      <a:lnTo>
                        <a:pt x="128770" y="50107"/>
                      </a:lnTo>
                      <a:lnTo>
                        <a:pt x="130046" y="64290"/>
                      </a:lnTo>
                      <a:lnTo>
                        <a:pt x="127220" y="72397"/>
                      </a:lnTo>
                      <a:lnTo>
                        <a:pt x="134787" y="86828"/>
                      </a:lnTo>
                      <a:lnTo>
                        <a:pt x="156431" y="101033"/>
                      </a:lnTo>
                      <a:lnTo>
                        <a:pt x="168039" y="124199"/>
                      </a:lnTo>
                      <a:lnTo>
                        <a:pt x="193725" y="146607"/>
                      </a:lnTo>
                      <a:lnTo>
                        <a:pt x="211813" y="146436"/>
                      </a:lnTo>
                      <a:lnTo>
                        <a:pt x="217438" y="152553"/>
                      </a:lnTo>
                      <a:lnTo>
                        <a:pt x="210962" y="158055"/>
                      </a:lnTo>
                      <a:lnTo>
                        <a:pt x="231636" y="168014"/>
                      </a:lnTo>
                      <a:lnTo>
                        <a:pt x="248583" y="176322"/>
                      </a:lnTo>
                      <a:lnTo>
                        <a:pt x="268377" y="190594"/>
                      </a:lnTo>
                      <a:lnTo>
                        <a:pt x="270767" y="195690"/>
                      </a:lnTo>
                      <a:lnTo>
                        <a:pt x="266454" y="205435"/>
                      </a:lnTo>
                      <a:lnTo>
                        <a:pt x="253643" y="192722"/>
                      </a:lnTo>
                      <a:lnTo>
                        <a:pt x="233589" y="188229"/>
                      </a:lnTo>
                      <a:lnTo>
                        <a:pt x="223875" y="205853"/>
                      </a:lnTo>
                      <a:lnTo>
                        <a:pt x="240557" y="215909"/>
                      </a:lnTo>
                      <a:lnTo>
                        <a:pt x="237819" y="230011"/>
                      </a:lnTo>
                      <a:lnTo>
                        <a:pt x="228176" y="231609"/>
                      </a:lnTo>
                      <a:lnTo>
                        <a:pt x="215847" y="254641"/>
                      </a:lnTo>
                      <a:lnTo>
                        <a:pt x="206224" y="256702"/>
                      </a:lnTo>
                      <a:lnTo>
                        <a:pt x="206314" y="248516"/>
                      </a:lnTo>
                      <a:lnTo>
                        <a:pt x="211023" y="234105"/>
                      </a:lnTo>
                      <a:lnTo>
                        <a:pt x="216040" y="228347"/>
                      </a:lnTo>
                      <a:lnTo>
                        <a:pt x="207026" y="212674"/>
                      </a:lnTo>
                      <a:lnTo>
                        <a:pt x="199981" y="198973"/>
                      </a:lnTo>
                      <a:lnTo>
                        <a:pt x="190399" y="195578"/>
                      </a:lnTo>
                      <a:lnTo>
                        <a:pt x="183584" y="183790"/>
                      </a:lnTo>
                      <a:lnTo>
                        <a:pt x="168751" y="178811"/>
                      </a:lnTo>
                      <a:lnTo>
                        <a:pt x="158764" y="167775"/>
                      </a:lnTo>
                      <a:lnTo>
                        <a:pt x="141685" y="165992"/>
                      </a:lnTo>
                      <a:lnTo>
                        <a:pt x="123648" y="153541"/>
                      </a:lnTo>
                      <a:lnTo>
                        <a:pt x="102532" y="135498"/>
                      </a:lnTo>
                      <a:lnTo>
                        <a:pt x="86837" y="119438"/>
                      </a:lnTo>
                      <a:lnTo>
                        <a:pt x="79637" y="91669"/>
                      </a:lnTo>
                      <a:lnTo>
                        <a:pt x="68153" y="88385"/>
                      </a:lnTo>
                      <a:lnTo>
                        <a:pt x="49374" y="79043"/>
                      </a:lnTo>
                      <a:lnTo>
                        <a:pt x="38747" y="82871"/>
                      </a:lnTo>
                      <a:lnTo>
                        <a:pt x="25410" y="95980"/>
                      </a:lnTo>
                      <a:lnTo>
                        <a:pt x="15818" y="98045"/>
                      </a:lnTo>
                      <a:lnTo>
                        <a:pt x="18458" y="85795"/>
                      </a:lnTo>
                      <a:lnTo>
                        <a:pt x="5947" y="82205"/>
                      </a:lnTo>
                      <a:lnTo>
                        <a:pt x="0" y="60207"/>
                      </a:lnTo>
                      <a:lnTo>
                        <a:pt x="8003" y="51501"/>
                      </a:lnTo>
                      <a:lnTo>
                        <a:pt x="1210" y="40731"/>
                      </a:lnTo>
                      <a:lnTo>
                        <a:pt x="2162" y="32598"/>
                      </a:lnTo>
                      <a:lnTo>
                        <a:pt x="12093" y="38765"/>
                      </a:lnTo>
                      <a:lnTo>
                        <a:pt x="23223" y="37398"/>
                      </a:lnTo>
                      <a:lnTo>
                        <a:pt x="36164" y="27621"/>
                      </a:lnTo>
                      <a:lnTo>
                        <a:pt x="40164" y="32194"/>
                      </a:lnTo>
                      <a:lnTo>
                        <a:pt x="51160" y="31278"/>
                      </a:lnTo>
                      <a:lnTo>
                        <a:pt x="56159" y="19624"/>
                      </a:lnTo>
                      <a:lnTo>
                        <a:pt x="73239" y="23250"/>
                      </a:lnTo>
                      <a:lnTo>
                        <a:pt x="83408" y="18367"/>
                      </a:lnTo>
                      <a:lnTo>
                        <a:pt x="85239" y="6463"/>
                      </a:lnTo>
                      <a:lnTo>
                        <a:pt x="99224" y="10598"/>
                      </a:lnTo>
                      <a:lnTo>
                        <a:pt x="101908" y="5065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Freeform 90">
                  <a:extLst>
                    <a:ext uri="{FF2B5EF4-FFF2-40B4-BE49-F238E27FC236}">
                      <a16:creationId xmlns:a16="http://schemas.microsoft.com/office/drawing/2014/main" id="{869C7675-CD48-479C-B4A6-20007B676A3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2"/>
                  </p:custDataLst>
                </p:nvPr>
              </p:nvSpPr>
              <p:spPr>
                <a:xfrm>
                  <a:off x="7780700" y="3731684"/>
                  <a:ext cx="105831" cy="11431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8630" h="106540">
                      <a:moveTo>
                        <a:pt x="14382" y="25356"/>
                      </a:moveTo>
                      <a:lnTo>
                        <a:pt x="18404" y="17258"/>
                      </a:lnTo>
                      <a:lnTo>
                        <a:pt x="44121" y="27436"/>
                      </a:lnTo>
                      <a:lnTo>
                        <a:pt x="89324" y="0"/>
                      </a:lnTo>
                      <a:lnTo>
                        <a:pt x="98629" y="31331"/>
                      </a:lnTo>
                      <a:lnTo>
                        <a:pt x="94230" y="35193"/>
                      </a:lnTo>
                      <a:lnTo>
                        <a:pt x="48002" y="48016"/>
                      </a:lnTo>
                      <a:lnTo>
                        <a:pt x="71008" y="73443"/>
                      </a:lnTo>
                      <a:lnTo>
                        <a:pt x="63374" y="77745"/>
                      </a:lnTo>
                      <a:lnTo>
                        <a:pt x="59575" y="86216"/>
                      </a:lnTo>
                      <a:lnTo>
                        <a:pt x="41962" y="89714"/>
                      </a:lnTo>
                      <a:lnTo>
                        <a:pt x="36438" y="98793"/>
                      </a:lnTo>
                      <a:lnTo>
                        <a:pt x="26460" y="106539"/>
                      </a:lnTo>
                      <a:lnTo>
                        <a:pt x="771" y="102537"/>
                      </a:lnTo>
                      <a:lnTo>
                        <a:pt x="0" y="98892"/>
                      </a:lnTo>
                      <a:lnTo>
                        <a:pt x="11502" y="58420"/>
                      </a:lnTo>
                      <a:lnTo>
                        <a:pt x="10963" y="48509"/>
                      </a:lnTo>
                      <a:lnTo>
                        <a:pt x="14372" y="4101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" name="Freeform 91">
                  <a:extLst>
                    <a:ext uri="{FF2B5EF4-FFF2-40B4-BE49-F238E27FC236}">
                      <a16:creationId xmlns:a16="http://schemas.microsoft.com/office/drawing/2014/main" id="{4BE9C0CE-2F81-4FEC-8E6C-954FE89BF4C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3"/>
                  </p:custDataLst>
                </p:nvPr>
              </p:nvSpPr>
              <p:spPr>
                <a:xfrm>
                  <a:off x="10120930" y="3377057"/>
                  <a:ext cx="399625" cy="4192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432" h="390709">
                      <a:moveTo>
                        <a:pt x="103771" y="304924"/>
                      </a:moveTo>
                      <a:lnTo>
                        <a:pt x="120721" y="310532"/>
                      </a:lnTo>
                      <a:lnTo>
                        <a:pt x="123675" y="319430"/>
                      </a:lnTo>
                      <a:lnTo>
                        <a:pt x="110680" y="335080"/>
                      </a:lnTo>
                      <a:lnTo>
                        <a:pt x="101206" y="326792"/>
                      </a:lnTo>
                      <a:lnTo>
                        <a:pt x="89371" y="332798"/>
                      </a:lnTo>
                      <a:lnTo>
                        <a:pt x="83245" y="347873"/>
                      </a:lnTo>
                      <a:lnTo>
                        <a:pt x="68201" y="340541"/>
                      </a:lnTo>
                      <a:lnTo>
                        <a:pt x="68387" y="328300"/>
                      </a:lnTo>
                      <a:lnTo>
                        <a:pt x="81156" y="312842"/>
                      </a:lnTo>
                      <a:lnTo>
                        <a:pt x="94281" y="315844"/>
                      </a:lnTo>
                      <a:close/>
                      <a:moveTo>
                        <a:pt x="276081" y="117295"/>
                      </a:moveTo>
                      <a:lnTo>
                        <a:pt x="288667" y="155275"/>
                      </a:lnTo>
                      <a:lnTo>
                        <a:pt x="287983" y="177264"/>
                      </a:lnTo>
                      <a:lnTo>
                        <a:pt x="266629" y="204362"/>
                      </a:lnTo>
                      <a:lnTo>
                        <a:pt x="267019" y="231902"/>
                      </a:lnTo>
                      <a:lnTo>
                        <a:pt x="258325" y="253046"/>
                      </a:lnTo>
                      <a:lnTo>
                        <a:pt x="262349" y="266255"/>
                      </a:lnTo>
                      <a:lnTo>
                        <a:pt x="250328" y="284747"/>
                      </a:lnTo>
                      <a:lnTo>
                        <a:pt x="220833" y="297039"/>
                      </a:lnTo>
                      <a:lnTo>
                        <a:pt x="180256" y="298638"/>
                      </a:lnTo>
                      <a:lnTo>
                        <a:pt x="147372" y="328270"/>
                      </a:lnTo>
                      <a:lnTo>
                        <a:pt x="131860" y="318322"/>
                      </a:lnTo>
                      <a:lnTo>
                        <a:pt x="130901" y="298892"/>
                      </a:lnTo>
                      <a:lnTo>
                        <a:pt x="90758" y="304637"/>
                      </a:lnTo>
                      <a:lnTo>
                        <a:pt x="63438" y="316873"/>
                      </a:lnTo>
                      <a:lnTo>
                        <a:pt x="36417" y="317371"/>
                      </a:lnTo>
                      <a:lnTo>
                        <a:pt x="59821" y="336401"/>
                      </a:lnTo>
                      <a:lnTo>
                        <a:pt x="44418" y="379993"/>
                      </a:lnTo>
                      <a:lnTo>
                        <a:pt x="29497" y="390709"/>
                      </a:lnTo>
                      <a:lnTo>
                        <a:pt x="18327" y="380812"/>
                      </a:lnTo>
                      <a:lnTo>
                        <a:pt x="23988" y="357764"/>
                      </a:lnTo>
                      <a:lnTo>
                        <a:pt x="9377" y="350297"/>
                      </a:lnTo>
                      <a:lnTo>
                        <a:pt x="0" y="332631"/>
                      </a:lnTo>
                      <a:lnTo>
                        <a:pt x="21824" y="324666"/>
                      </a:lnTo>
                      <a:lnTo>
                        <a:pt x="33931" y="308362"/>
                      </a:lnTo>
                      <a:lnTo>
                        <a:pt x="57147" y="294897"/>
                      </a:lnTo>
                      <a:lnTo>
                        <a:pt x="74077" y="277011"/>
                      </a:lnTo>
                      <a:lnTo>
                        <a:pt x="120026" y="269181"/>
                      </a:lnTo>
                      <a:lnTo>
                        <a:pt x="144707" y="274552"/>
                      </a:lnTo>
                      <a:lnTo>
                        <a:pt x="168858" y="227569"/>
                      </a:lnTo>
                      <a:lnTo>
                        <a:pt x="184249" y="240255"/>
                      </a:lnTo>
                      <a:lnTo>
                        <a:pt x="218112" y="213635"/>
                      </a:lnTo>
                      <a:lnTo>
                        <a:pt x="231241" y="203237"/>
                      </a:lnTo>
                      <a:lnTo>
                        <a:pt x="245746" y="170285"/>
                      </a:lnTo>
                      <a:lnTo>
                        <a:pt x="241789" y="139676"/>
                      </a:lnTo>
                      <a:lnTo>
                        <a:pt x="251540" y="122348"/>
                      </a:lnTo>
                      <a:close/>
                      <a:moveTo>
                        <a:pt x="289900" y="0"/>
                      </a:moveTo>
                      <a:lnTo>
                        <a:pt x="317027" y="29715"/>
                      </a:lnTo>
                      <a:lnTo>
                        <a:pt x="334738" y="39246"/>
                      </a:lnTo>
                      <a:lnTo>
                        <a:pt x="350972" y="45273"/>
                      </a:lnTo>
                      <a:lnTo>
                        <a:pt x="367300" y="33279"/>
                      </a:lnTo>
                      <a:lnTo>
                        <a:pt x="372432" y="64938"/>
                      </a:lnTo>
                      <a:lnTo>
                        <a:pt x="338189" y="72605"/>
                      </a:lnTo>
                      <a:lnTo>
                        <a:pt x="317973" y="100254"/>
                      </a:lnTo>
                      <a:lnTo>
                        <a:pt x="281679" y="81251"/>
                      </a:lnTo>
                      <a:lnTo>
                        <a:pt x="269117" y="111612"/>
                      </a:lnTo>
                      <a:lnTo>
                        <a:pt x="243445" y="112027"/>
                      </a:lnTo>
                      <a:lnTo>
                        <a:pt x="240270" y="84457"/>
                      </a:lnTo>
                      <a:lnTo>
                        <a:pt x="251685" y="62941"/>
                      </a:lnTo>
                      <a:lnTo>
                        <a:pt x="276348" y="61381"/>
                      </a:lnTo>
                      <a:lnTo>
                        <a:pt x="283074" y="22274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Freeform 92">
                  <a:extLst>
                    <a:ext uri="{FF2B5EF4-FFF2-40B4-BE49-F238E27FC236}">
                      <a16:creationId xmlns:a16="http://schemas.microsoft.com/office/drawing/2014/main" id="{0712B5D9-3964-4D19-81E4-8DB6EC0C58D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4"/>
                  </p:custDataLst>
                </p:nvPr>
              </p:nvSpPr>
              <p:spPr>
                <a:xfrm>
                  <a:off x="8066618" y="3056729"/>
                  <a:ext cx="1012854" cy="46729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43933" h="435498">
                      <a:moveTo>
                        <a:pt x="565431" y="391267"/>
                      </a:moveTo>
                      <a:lnTo>
                        <a:pt x="552196" y="396398"/>
                      </a:lnTo>
                      <a:lnTo>
                        <a:pt x="521751" y="415668"/>
                      </a:lnTo>
                      <a:lnTo>
                        <a:pt x="511652" y="435323"/>
                      </a:lnTo>
                      <a:lnTo>
                        <a:pt x="503051" y="435497"/>
                      </a:lnTo>
                      <a:lnTo>
                        <a:pt x="496726" y="422501"/>
                      </a:lnTo>
                      <a:lnTo>
                        <a:pt x="467369" y="421609"/>
                      </a:lnTo>
                      <a:lnTo>
                        <a:pt x="462674" y="398995"/>
                      </a:lnTo>
                      <a:lnTo>
                        <a:pt x="451427" y="398800"/>
                      </a:lnTo>
                      <a:lnTo>
                        <a:pt x="453149" y="370874"/>
                      </a:lnTo>
                      <a:lnTo>
                        <a:pt x="425515" y="350369"/>
                      </a:lnTo>
                      <a:lnTo>
                        <a:pt x="385928" y="352566"/>
                      </a:lnTo>
                      <a:lnTo>
                        <a:pt x="358863" y="356662"/>
                      </a:lnTo>
                      <a:lnTo>
                        <a:pt x="336820" y="331212"/>
                      </a:lnTo>
                      <a:lnTo>
                        <a:pt x="317930" y="320464"/>
                      </a:lnTo>
                      <a:lnTo>
                        <a:pt x="282153" y="300007"/>
                      </a:lnTo>
                      <a:lnTo>
                        <a:pt x="277839" y="297517"/>
                      </a:lnTo>
                      <a:lnTo>
                        <a:pt x="218420" y="314428"/>
                      </a:lnTo>
                      <a:lnTo>
                        <a:pt x="219326" y="417751"/>
                      </a:lnTo>
                      <a:lnTo>
                        <a:pt x="207486" y="419094"/>
                      </a:lnTo>
                      <a:lnTo>
                        <a:pt x="191331" y="397433"/>
                      </a:lnTo>
                      <a:lnTo>
                        <a:pt x="175728" y="389656"/>
                      </a:lnTo>
                      <a:lnTo>
                        <a:pt x="149526" y="395435"/>
                      </a:lnTo>
                      <a:lnTo>
                        <a:pt x="139328" y="404651"/>
                      </a:lnTo>
                      <a:lnTo>
                        <a:pt x="138032" y="397900"/>
                      </a:lnTo>
                      <a:lnTo>
                        <a:pt x="143706" y="386325"/>
                      </a:lnTo>
                      <a:lnTo>
                        <a:pt x="139304" y="376614"/>
                      </a:lnTo>
                      <a:lnTo>
                        <a:pt x="112551" y="367086"/>
                      </a:lnTo>
                      <a:lnTo>
                        <a:pt x="102138" y="341822"/>
                      </a:lnTo>
                      <a:lnTo>
                        <a:pt x="89392" y="334664"/>
                      </a:lnTo>
                      <a:lnTo>
                        <a:pt x="88619" y="325420"/>
                      </a:lnTo>
                      <a:lnTo>
                        <a:pt x="111075" y="328117"/>
                      </a:lnTo>
                      <a:lnTo>
                        <a:pt x="111962" y="307282"/>
                      </a:lnTo>
                      <a:lnTo>
                        <a:pt x="131593" y="302633"/>
                      </a:lnTo>
                      <a:lnTo>
                        <a:pt x="151756" y="306909"/>
                      </a:lnTo>
                      <a:lnTo>
                        <a:pt x="155911" y="278858"/>
                      </a:lnTo>
                      <a:lnTo>
                        <a:pt x="151799" y="260930"/>
                      </a:lnTo>
                      <a:lnTo>
                        <a:pt x="128699" y="262337"/>
                      </a:lnTo>
                      <a:lnTo>
                        <a:pt x="109077" y="255232"/>
                      </a:lnTo>
                      <a:lnTo>
                        <a:pt x="82351" y="268019"/>
                      </a:lnTo>
                      <a:lnTo>
                        <a:pt x="60816" y="274095"/>
                      </a:lnTo>
                      <a:lnTo>
                        <a:pt x="49093" y="269410"/>
                      </a:lnTo>
                      <a:lnTo>
                        <a:pt x="51435" y="254447"/>
                      </a:lnTo>
                      <a:lnTo>
                        <a:pt x="36721" y="234895"/>
                      </a:lnTo>
                      <a:lnTo>
                        <a:pt x="19593" y="235715"/>
                      </a:lnTo>
                      <a:lnTo>
                        <a:pt x="0" y="215724"/>
                      </a:lnTo>
                      <a:lnTo>
                        <a:pt x="13324" y="193207"/>
                      </a:lnTo>
                      <a:lnTo>
                        <a:pt x="6583" y="187114"/>
                      </a:lnTo>
                      <a:lnTo>
                        <a:pt x="25000" y="154044"/>
                      </a:lnTo>
                      <a:lnTo>
                        <a:pt x="48737" y="171553"/>
                      </a:lnTo>
                      <a:lnTo>
                        <a:pt x="51612" y="149482"/>
                      </a:lnTo>
                      <a:lnTo>
                        <a:pt x="99261" y="116257"/>
                      </a:lnTo>
                      <a:lnTo>
                        <a:pt x="135317" y="115461"/>
                      </a:lnTo>
                      <a:lnTo>
                        <a:pt x="186195" y="136670"/>
                      </a:lnTo>
                      <a:lnTo>
                        <a:pt x="213526" y="148979"/>
                      </a:lnTo>
                      <a:lnTo>
                        <a:pt x="238018" y="136142"/>
                      </a:lnTo>
                      <a:lnTo>
                        <a:pt x="274611" y="135529"/>
                      </a:lnTo>
                      <a:lnTo>
                        <a:pt x="304134" y="151293"/>
                      </a:lnTo>
                      <a:lnTo>
                        <a:pt x="310840" y="142278"/>
                      </a:lnTo>
                      <a:lnTo>
                        <a:pt x="343262" y="143590"/>
                      </a:lnTo>
                      <a:lnTo>
                        <a:pt x="349046" y="129143"/>
                      </a:lnTo>
                      <a:lnTo>
                        <a:pt x="311641" y="108013"/>
                      </a:lnTo>
                      <a:lnTo>
                        <a:pt x="333795" y="92938"/>
                      </a:lnTo>
                      <a:lnTo>
                        <a:pt x="329472" y="84467"/>
                      </a:lnTo>
                      <a:lnTo>
                        <a:pt x="351631" y="76355"/>
                      </a:lnTo>
                      <a:lnTo>
                        <a:pt x="334967" y="54855"/>
                      </a:lnTo>
                      <a:lnTo>
                        <a:pt x="345551" y="44072"/>
                      </a:lnTo>
                      <a:lnTo>
                        <a:pt x="431926" y="33027"/>
                      </a:lnTo>
                      <a:lnTo>
                        <a:pt x="443198" y="25155"/>
                      </a:lnTo>
                      <a:lnTo>
                        <a:pt x="500956" y="13345"/>
                      </a:lnTo>
                      <a:lnTo>
                        <a:pt x="521709" y="0"/>
                      </a:lnTo>
                      <a:lnTo>
                        <a:pt x="563190" y="6942"/>
                      </a:lnTo>
                      <a:lnTo>
                        <a:pt x="570459" y="40046"/>
                      </a:lnTo>
                      <a:lnTo>
                        <a:pt x="594557" y="32314"/>
                      </a:lnTo>
                      <a:lnTo>
                        <a:pt x="624204" y="43142"/>
                      </a:lnTo>
                      <a:lnTo>
                        <a:pt x="622292" y="60371"/>
                      </a:lnTo>
                      <a:lnTo>
                        <a:pt x="644432" y="58576"/>
                      </a:lnTo>
                      <a:lnTo>
                        <a:pt x="702283" y="28687"/>
                      </a:lnTo>
                      <a:lnTo>
                        <a:pt x="693836" y="38659"/>
                      </a:lnTo>
                      <a:lnTo>
                        <a:pt x="723284" y="63056"/>
                      </a:lnTo>
                      <a:lnTo>
                        <a:pt x="774865" y="141591"/>
                      </a:lnTo>
                      <a:lnTo>
                        <a:pt x="787165" y="125601"/>
                      </a:lnTo>
                      <a:lnTo>
                        <a:pt x="818963" y="143191"/>
                      </a:lnTo>
                      <a:lnTo>
                        <a:pt x="852133" y="135360"/>
                      </a:lnTo>
                      <a:lnTo>
                        <a:pt x="864877" y="140845"/>
                      </a:lnTo>
                      <a:lnTo>
                        <a:pt x="875986" y="158381"/>
                      </a:lnTo>
                      <a:lnTo>
                        <a:pt x="892125" y="164245"/>
                      </a:lnTo>
                      <a:lnTo>
                        <a:pt x="901952" y="177020"/>
                      </a:lnTo>
                      <a:lnTo>
                        <a:pt x="931684" y="172999"/>
                      </a:lnTo>
                      <a:lnTo>
                        <a:pt x="943932" y="191328"/>
                      </a:lnTo>
                      <a:lnTo>
                        <a:pt x="926362" y="211134"/>
                      </a:lnTo>
                      <a:lnTo>
                        <a:pt x="907191" y="213901"/>
                      </a:lnTo>
                      <a:lnTo>
                        <a:pt x="906088" y="243422"/>
                      </a:lnTo>
                      <a:lnTo>
                        <a:pt x="893250" y="256623"/>
                      </a:lnTo>
                      <a:lnTo>
                        <a:pt x="847459" y="247019"/>
                      </a:lnTo>
                      <a:lnTo>
                        <a:pt x="830803" y="298870"/>
                      </a:lnTo>
                      <a:lnTo>
                        <a:pt x="818988" y="305249"/>
                      </a:lnTo>
                      <a:lnTo>
                        <a:pt x="773262" y="316662"/>
                      </a:lnTo>
                      <a:lnTo>
                        <a:pt x="794039" y="365759"/>
                      </a:lnTo>
                      <a:lnTo>
                        <a:pt x="778203" y="373044"/>
                      </a:lnTo>
                      <a:lnTo>
                        <a:pt x="780046" y="388937"/>
                      </a:lnTo>
                      <a:lnTo>
                        <a:pt x="765819" y="384855"/>
                      </a:lnTo>
                      <a:lnTo>
                        <a:pt x="754243" y="374832"/>
                      </a:lnTo>
                      <a:lnTo>
                        <a:pt x="719994" y="371909"/>
                      </a:lnTo>
                      <a:lnTo>
                        <a:pt x="681722" y="371144"/>
                      </a:lnTo>
                      <a:lnTo>
                        <a:pt x="673334" y="374223"/>
                      </a:lnTo>
                      <a:lnTo>
                        <a:pt x="640462" y="362451"/>
                      </a:lnTo>
                      <a:lnTo>
                        <a:pt x="627361" y="368255"/>
                      </a:lnTo>
                      <a:lnTo>
                        <a:pt x="623771" y="384738"/>
                      </a:lnTo>
                      <a:lnTo>
                        <a:pt x="585797" y="375131"/>
                      </a:lnTo>
                      <a:lnTo>
                        <a:pt x="570600" y="37907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Freeform 93">
                  <a:extLst>
                    <a:ext uri="{FF2B5EF4-FFF2-40B4-BE49-F238E27FC236}">
                      <a16:creationId xmlns:a16="http://schemas.microsoft.com/office/drawing/2014/main" id="{7D1674E5-48A9-4527-835C-C9A26DD4BC0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5"/>
                  </p:custDataLst>
                </p:nvPr>
              </p:nvSpPr>
              <p:spPr>
                <a:xfrm>
                  <a:off x="7755213" y="4453565"/>
                  <a:ext cx="197192" cy="2524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83774" h="235249">
                      <a:moveTo>
                        <a:pt x="163873" y="147031"/>
                      </a:moveTo>
                      <a:lnTo>
                        <a:pt x="177542" y="166076"/>
                      </a:lnTo>
                      <a:lnTo>
                        <a:pt x="161375" y="175296"/>
                      </a:lnTo>
                      <a:lnTo>
                        <a:pt x="155676" y="184932"/>
                      </a:lnTo>
                      <a:lnTo>
                        <a:pt x="147024" y="186625"/>
                      </a:lnTo>
                      <a:lnTo>
                        <a:pt x="143750" y="202903"/>
                      </a:lnTo>
                      <a:lnTo>
                        <a:pt x="136337" y="212227"/>
                      </a:lnTo>
                      <a:lnTo>
                        <a:pt x="131832" y="227610"/>
                      </a:lnTo>
                      <a:lnTo>
                        <a:pt x="122538" y="235248"/>
                      </a:lnTo>
                      <a:lnTo>
                        <a:pt x="89407" y="212133"/>
                      </a:lnTo>
                      <a:lnTo>
                        <a:pt x="87832" y="198728"/>
                      </a:lnTo>
                      <a:lnTo>
                        <a:pt x="4133" y="151683"/>
                      </a:lnTo>
                      <a:lnTo>
                        <a:pt x="234" y="149148"/>
                      </a:lnTo>
                      <a:lnTo>
                        <a:pt x="0" y="124684"/>
                      </a:lnTo>
                      <a:lnTo>
                        <a:pt x="6611" y="115331"/>
                      </a:lnTo>
                      <a:lnTo>
                        <a:pt x="17970" y="100050"/>
                      </a:lnTo>
                      <a:lnTo>
                        <a:pt x="26370" y="83222"/>
                      </a:lnTo>
                      <a:lnTo>
                        <a:pt x="16215" y="56709"/>
                      </a:lnTo>
                      <a:lnTo>
                        <a:pt x="13516" y="45112"/>
                      </a:lnTo>
                      <a:lnTo>
                        <a:pt x="2572" y="29062"/>
                      </a:lnTo>
                      <a:lnTo>
                        <a:pt x="16772" y="15249"/>
                      </a:lnTo>
                      <a:lnTo>
                        <a:pt x="32418" y="0"/>
                      </a:lnTo>
                      <a:lnTo>
                        <a:pt x="44408" y="3884"/>
                      </a:lnTo>
                      <a:lnTo>
                        <a:pt x="44408" y="16872"/>
                      </a:lnTo>
                      <a:lnTo>
                        <a:pt x="52294" y="24484"/>
                      </a:lnTo>
                      <a:lnTo>
                        <a:pt x="68360" y="24484"/>
                      </a:lnTo>
                      <a:lnTo>
                        <a:pt x="97578" y="44118"/>
                      </a:lnTo>
                      <a:lnTo>
                        <a:pt x="104874" y="44351"/>
                      </a:lnTo>
                      <a:lnTo>
                        <a:pt x="110279" y="43715"/>
                      </a:lnTo>
                      <a:lnTo>
                        <a:pt x="115389" y="46380"/>
                      </a:lnTo>
                      <a:lnTo>
                        <a:pt x="130782" y="48198"/>
                      </a:lnTo>
                      <a:lnTo>
                        <a:pt x="137604" y="38567"/>
                      </a:lnTo>
                      <a:lnTo>
                        <a:pt x="158691" y="28897"/>
                      </a:lnTo>
                      <a:lnTo>
                        <a:pt x="168001" y="36710"/>
                      </a:lnTo>
                      <a:lnTo>
                        <a:pt x="183773" y="36714"/>
                      </a:lnTo>
                      <a:lnTo>
                        <a:pt x="163598" y="62928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Freeform 94">
                  <a:extLst>
                    <a:ext uri="{FF2B5EF4-FFF2-40B4-BE49-F238E27FC236}">
                      <a16:creationId xmlns:a16="http://schemas.microsoft.com/office/drawing/2014/main" id="{7DE38987-B0D4-4EE7-86F6-067B65BCD04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6"/>
                  </p:custDataLst>
                </p:nvPr>
              </p:nvSpPr>
              <p:spPr>
                <a:xfrm>
                  <a:off x="8636245" y="3445645"/>
                  <a:ext cx="267375" cy="1187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9181" h="110678">
                      <a:moveTo>
                        <a:pt x="34565" y="28816"/>
                      </a:moveTo>
                      <a:lnTo>
                        <a:pt x="39734" y="16619"/>
                      </a:lnTo>
                      <a:lnTo>
                        <a:pt x="54931" y="12680"/>
                      </a:lnTo>
                      <a:lnTo>
                        <a:pt x="92905" y="22287"/>
                      </a:lnTo>
                      <a:lnTo>
                        <a:pt x="96495" y="5804"/>
                      </a:lnTo>
                      <a:lnTo>
                        <a:pt x="109596" y="0"/>
                      </a:lnTo>
                      <a:lnTo>
                        <a:pt x="142468" y="11772"/>
                      </a:lnTo>
                      <a:lnTo>
                        <a:pt x="150856" y="8693"/>
                      </a:lnTo>
                      <a:lnTo>
                        <a:pt x="189128" y="9458"/>
                      </a:lnTo>
                      <a:lnTo>
                        <a:pt x="223377" y="12381"/>
                      </a:lnTo>
                      <a:lnTo>
                        <a:pt x="234953" y="22404"/>
                      </a:lnTo>
                      <a:lnTo>
                        <a:pt x="249180" y="26486"/>
                      </a:lnTo>
                      <a:lnTo>
                        <a:pt x="245935" y="32764"/>
                      </a:lnTo>
                      <a:lnTo>
                        <a:pt x="209562" y="47756"/>
                      </a:lnTo>
                      <a:lnTo>
                        <a:pt x="201334" y="58694"/>
                      </a:lnTo>
                      <a:lnTo>
                        <a:pt x="171726" y="61961"/>
                      </a:lnTo>
                      <a:lnTo>
                        <a:pt x="162998" y="79456"/>
                      </a:lnTo>
                      <a:lnTo>
                        <a:pt x="138564" y="75790"/>
                      </a:lnTo>
                      <a:lnTo>
                        <a:pt x="122615" y="81137"/>
                      </a:lnTo>
                      <a:lnTo>
                        <a:pt x="100580" y="94011"/>
                      </a:lnTo>
                      <a:lnTo>
                        <a:pt x="103760" y="100366"/>
                      </a:lnTo>
                      <a:lnTo>
                        <a:pt x="97189" y="106569"/>
                      </a:lnTo>
                      <a:lnTo>
                        <a:pt x="53547" y="110677"/>
                      </a:lnTo>
                      <a:lnTo>
                        <a:pt x="25028" y="101881"/>
                      </a:lnTo>
                      <a:lnTo>
                        <a:pt x="0" y="103982"/>
                      </a:lnTo>
                      <a:lnTo>
                        <a:pt x="2186" y="88316"/>
                      </a:lnTo>
                      <a:lnTo>
                        <a:pt x="27310" y="92874"/>
                      </a:lnTo>
                      <a:lnTo>
                        <a:pt x="35762" y="84468"/>
                      </a:lnTo>
                      <a:lnTo>
                        <a:pt x="53320" y="87154"/>
                      </a:lnTo>
                      <a:lnTo>
                        <a:pt x="82879" y="67464"/>
                      </a:lnTo>
                      <a:lnTo>
                        <a:pt x="55519" y="52979"/>
                      </a:lnTo>
                      <a:lnTo>
                        <a:pt x="39078" y="59841"/>
                      </a:lnTo>
                      <a:lnTo>
                        <a:pt x="22047" y="49474"/>
                      </a:lnTo>
                      <a:lnTo>
                        <a:pt x="41418" y="3155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Freeform 95">
                  <a:extLst>
                    <a:ext uri="{FF2B5EF4-FFF2-40B4-BE49-F238E27FC236}">
                      <a16:creationId xmlns:a16="http://schemas.microsoft.com/office/drawing/2014/main" id="{C5B36CE3-A26C-4352-AAB3-4E1F7E11964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7"/>
                  </p:custDataLst>
                </p:nvPr>
              </p:nvSpPr>
              <p:spPr>
                <a:xfrm>
                  <a:off x="9450700" y="4226671"/>
                  <a:ext cx="130440" cy="10273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1564" h="95746">
                      <a:moveTo>
                        <a:pt x="26525" y="92338"/>
                      </a:moveTo>
                      <a:lnTo>
                        <a:pt x="17141" y="80169"/>
                      </a:lnTo>
                      <a:lnTo>
                        <a:pt x="5466" y="56006"/>
                      </a:lnTo>
                      <a:lnTo>
                        <a:pt x="0" y="27679"/>
                      </a:lnTo>
                      <a:lnTo>
                        <a:pt x="14779" y="8124"/>
                      </a:lnTo>
                      <a:lnTo>
                        <a:pt x="44626" y="3625"/>
                      </a:lnTo>
                      <a:lnTo>
                        <a:pt x="66262" y="7006"/>
                      </a:lnTo>
                      <a:lnTo>
                        <a:pt x="85309" y="16235"/>
                      </a:lnTo>
                      <a:lnTo>
                        <a:pt x="95753" y="0"/>
                      </a:lnTo>
                      <a:lnTo>
                        <a:pt x="116212" y="8672"/>
                      </a:lnTo>
                      <a:lnTo>
                        <a:pt x="121563" y="24360"/>
                      </a:lnTo>
                      <a:lnTo>
                        <a:pt x="118720" y="52478"/>
                      </a:lnTo>
                      <a:lnTo>
                        <a:pt x="79921" y="70492"/>
                      </a:lnTo>
                      <a:lnTo>
                        <a:pt x="90059" y="84651"/>
                      </a:lnTo>
                      <a:lnTo>
                        <a:pt x="65827" y="86344"/>
                      </a:lnTo>
                      <a:lnTo>
                        <a:pt x="45847" y="95745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Freeform 96">
                  <a:extLst>
                    <a:ext uri="{FF2B5EF4-FFF2-40B4-BE49-F238E27FC236}">
                      <a16:creationId xmlns:a16="http://schemas.microsoft.com/office/drawing/2014/main" id="{0FCDBC5F-BEFD-44AE-A55E-1F139622A30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8"/>
                  </p:custDataLst>
                </p:nvPr>
              </p:nvSpPr>
              <p:spPr>
                <a:xfrm>
                  <a:off x="10039418" y="3583713"/>
                  <a:ext cx="82996" cy="1198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7348" h="111676">
                      <a:moveTo>
                        <a:pt x="51527" y="0"/>
                      </a:moveTo>
                      <a:lnTo>
                        <a:pt x="71453" y="31582"/>
                      </a:lnTo>
                      <a:lnTo>
                        <a:pt x="77166" y="48805"/>
                      </a:lnTo>
                      <a:lnTo>
                        <a:pt x="77347" y="79200"/>
                      </a:lnTo>
                      <a:lnTo>
                        <a:pt x="68646" y="93608"/>
                      </a:lnTo>
                      <a:lnTo>
                        <a:pt x="47745" y="98630"/>
                      </a:lnTo>
                      <a:lnTo>
                        <a:pt x="29295" y="109446"/>
                      </a:lnTo>
                      <a:lnTo>
                        <a:pt x="8502" y="111675"/>
                      </a:lnTo>
                      <a:lnTo>
                        <a:pt x="5921" y="97475"/>
                      </a:lnTo>
                      <a:lnTo>
                        <a:pt x="10198" y="77823"/>
                      </a:lnTo>
                      <a:lnTo>
                        <a:pt x="0" y="50360"/>
                      </a:lnTo>
                      <a:lnTo>
                        <a:pt x="17144" y="45896"/>
                      </a:lnTo>
                      <a:lnTo>
                        <a:pt x="1323" y="23119"/>
                      </a:lnTo>
                      <a:lnTo>
                        <a:pt x="2768" y="20696"/>
                      </a:lnTo>
                      <a:lnTo>
                        <a:pt x="13072" y="21647"/>
                      </a:lnTo>
                      <a:lnTo>
                        <a:pt x="22064" y="9565"/>
                      </a:lnTo>
                      <a:lnTo>
                        <a:pt x="38378" y="8266"/>
                      </a:lnTo>
                      <a:lnTo>
                        <a:pt x="48204" y="6499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Freeform 97">
                  <a:extLst>
                    <a:ext uri="{FF2B5EF4-FFF2-40B4-BE49-F238E27FC236}">
                      <a16:creationId xmlns:a16="http://schemas.microsoft.com/office/drawing/2014/main" id="{8DB66220-0472-45F3-A826-433B3363BCC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9"/>
                  </p:custDataLst>
                </p:nvPr>
              </p:nvSpPr>
              <p:spPr>
                <a:xfrm>
                  <a:off x="7412847" y="3446436"/>
                  <a:ext cx="42215" cy="425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342" h="39699">
                      <a:moveTo>
                        <a:pt x="15960" y="34026"/>
                      </a:moveTo>
                      <a:lnTo>
                        <a:pt x="14925" y="39698"/>
                      </a:lnTo>
                      <a:lnTo>
                        <a:pt x="11992" y="39468"/>
                      </a:lnTo>
                      <a:lnTo>
                        <a:pt x="10439" y="29420"/>
                      </a:lnTo>
                      <a:lnTo>
                        <a:pt x="4917" y="26576"/>
                      </a:lnTo>
                      <a:lnTo>
                        <a:pt x="0" y="19106"/>
                      </a:lnTo>
                      <a:lnTo>
                        <a:pt x="4314" y="12854"/>
                      </a:lnTo>
                      <a:lnTo>
                        <a:pt x="9835" y="10845"/>
                      </a:lnTo>
                      <a:lnTo>
                        <a:pt x="13027" y="1552"/>
                      </a:lnTo>
                      <a:lnTo>
                        <a:pt x="17168" y="0"/>
                      </a:lnTo>
                      <a:lnTo>
                        <a:pt x="20447" y="3955"/>
                      </a:lnTo>
                      <a:lnTo>
                        <a:pt x="24761" y="5699"/>
                      </a:lnTo>
                      <a:lnTo>
                        <a:pt x="27780" y="10149"/>
                      </a:lnTo>
                      <a:lnTo>
                        <a:pt x="31576" y="11463"/>
                      </a:lnTo>
                      <a:lnTo>
                        <a:pt x="36062" y="16638"/>
                      </a:lnTo>
                      <a:lnTo>
                        <a:pt x="39341" y="16484"/>
                      </a:lnTo>
                      <a:lnTo>
                        <a:pt x="36753" y="23267"/>
                      </a:lnTo>
                      <a:lnTo>
                        <a:pt x="33992" y="26576"/>
                      </a:lnTo>
                      <a:lnTo>
                        <a:pt x="34761" y="28660"/>
                      </a:lnTo>
                      <a:lnTo>
                        <a:pt x="29592" y="29727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Freeform 98">
                  <a:extLst>
                    <a:ext uri="{FF2B5EF4-FFF2-40B4-BE49-F238E27FC236}">
                      <a16:creationId xmlns:a16="http://schemas.microsoft.com/office/drawing/2014/main" id="{0507A7FB-0D91-48CB-8A49-64144E5CE5A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0"/>
                  </p:custDataLst>
                </p:nvPr>
              </p:nvSpPr>
              <p:spPr>
                <a:xfrm>
                  <a:off x="8069151" y="3822696"/>
                  <a:ext cx="45757" cy="4138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2643" h="38569">
                      <a:moveTo>
                        <a:pt x="32450" y="2104"/>
                      </a:moveTo>
                      <a:lnTo>
                        <a:pt x="37266" y="13238"/>
                      </a:lnTo>
                      <a:lnTo>
                        <a:pt x="35206" y="18983"/>
                      </a:lnTo>
                      <a:lnTo>
                        <a:pt x="42642" y="37918"/>
                      </a:lnTo>
                      <a:lnTo>
                        <a:pt x="26317" y="38568"/>
                      </a:lnTo>
                      <a:lnTo>
                        <a:pt x="20569" y="26619"/>
                      </a:lnTo>
                      <a:lnTo>
                        <a:pt x="0" y="24195"/>
                      </a:lnTo>
                      <a:lnTo>
                        <a:pt x="16940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Freeform 99">
                  <a:extLst>
                    <a:ext uri="{FF2B5EF4-FFF2-40B4-BE49-F238E27FC236}">
                      <a16:creationId xmlns:a16="http://schemas.microsoft.com/office/drawing/2014/main" id="{3D2E47C5-3E12-417E-9020-9AB457F1EFB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1"/>
                  </p:custDataLst>
                </p:nvPr>
              </p:nvSpPr>
              <p:spPr>
                <a:xfrm>
                  <a:off x="9395415" y="4024309"/>
                  <a:ext cx="184487" cy="21978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1933" h="204828">
                      <a:moveTo>
                        <a:pt x="117785" y="195598"/>
                      </a:moveTo>
                      <a:lnTo>
                        <a:pt x="125300" y="184977"/>
                      </a:lnTo>
                      <a:lnTo>
                        <a:pt x="126332" y="164995"/>
                      </a:lnTo>
                      <a:lnTo>
                        <a:pt x="107642" y="144364"/>
                      </a:lnTo>
                      <a:lnTo>
                        <a:pt x="106202" y="120929"/>
                      </a:lnTo>
                      <a:lnTo>
                        <a:pt x="88648" y="101587"/>
                      </a:lnTo>
                      <a:lnTo>
                        <a:pt x="71191" y="99949"/>
                      </a:lnTo>
                      <a:lnTo>
                        <a:pt x="66540" y="108245"/>
                      </a:lnTo>
                      <a:lnTo>
                        <a:pt x="53020" y="108934"/>
                      </a:lnTo>
                      <a:lnTo>
                        <a:pt x="46110" y="104731"/>
                      </a:lnTo>
                      <a:lnTo>
                        <a:pt x="21780" y="118940"/>
                      </a:lnTo>
                      <a:lnTo>
                        <a:pt x="21234" y="97580"/>
                      </a:lnTo>
                      <a:lnTo>
                        <a:pt x="26914" y="72382"/>
                      </a:lnTo>
                      <a:lnTo>
                        <a:pt x="11317" y="71286"/>
                      </a:lnTo>
                      <a:lnTo>
                        <a:pt x="9992" y="56868"/>
                      </a:lnTo>
                      <a:lnTo>
                        <a:pt x="0" y="49449"/>
                      </a:lnTo>
                      <a:lnTo>
                        <a:pt x="4919" y="40584"/>
                      </a:lnTo>
                      <a:lnTo>
                        <a:pt x="24560" y="24893"/>
                      </a:lnTo>
                      <a:lnTo>
                        <a:pt x="26637" y="30565"/>
                      </a:lnTo>
                      <a:lnTo>
                        <a:pt x="38943" y="31223"/>
                      </a:lnTo>
                      <a:lnTo>
                        <a:pt x="35455" y="3555"/>
                      </a:lnTo>
                      <a:lnTo>
                        <a:pt x="47421" y="0"/>
                      </a:lnTo>
                      <a:lnTo>
                        <a:pt x="60912" y="19127"/>
                      </a:lnTo>
                      <a:lnTo>
                        <a:pt x="71276" y="41055"/>
                      </a:lnTo>
                      <a:lnTo>
                        <a:pt x="99693" y="41244"/>
                      </a:lnTo>
                      <a:lnTo>
                        <a:pt x="108640" y="62213"/>
                      </a:lnTo>
                      <a:lnTo>
                        <a:pt x="93886" y="68497"/>
                      </a:lnTo>
                      <a:lnTo>
                        <a:pt x="87264" y="77111"/>
                      </a:lnTo>
                      <a:lnTo>
                        <a:pt x="114919" y="91418"/>
                      </a:lnTo>
                      <a:lnTo>
                        <a:pt x="134105" y="119586"/>
                      </a:lnTo>
                      <a:lnTo>
                        <a:pt x="148652" y="140513"/>
                      </a:lnTo>
                      <a:lnTo>
                        <a:pt x="166119" y="156996"/>
                      </a:lnTo>
                      <a:lnTo>
                        <a:pt x="171932" y="173693"/>
                      </a:lnTo>
                      <a:lnTo>
                        <a:pt x="167735" y="197264"/>
                      </a:lnTo>
                      <a:lnTo>
                        <a:pt x="147276" y="188592"/>
                      </a:lnTo>
                      <a:lnTo>
                        <a:pt x="136832" y="20482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Freeform 100">
                  <a:extLst>
                    <a:ext uri="{FF2B5EF4-FFF2-40B4-BE49-F238E27FC236}">
                      <a16:creationId xmlns:a16="http://schemas.microsoft.com/office/drawing/2014/main" id="{81EA7FB8-AE8F-4E02-8E60-62D6DF2B5C0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2"/>
                  </p:custDataLst>
                </p:nvPr>
              </p:nvSpPr>
              <p:spPr>
                <a:xfrm>
                  <a:off x="7785739" y="3696419"/>
                  <a:ext cx="36799" cy="4328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4295" h="40343">
                      <a:moveTo>
                        <a:pt x="16043" y="35481"/>
                      </a:moveTo>
                      <a:lnTo>
                        <a:pt x="9850" y="35820"/>
                      </a:lnTo>
                      <a:lnTo>
                        <a:pt x="7724" y="40342"/>
                      </a:lnTo>
                      <a:lnTo>
                        <a:pt x="0" y="40293"/>
                      </a:lnTo>
                      <a:lnTo>
                        <a:pt x="8221" y="19229"/>
                      </a:lnTo>
                      <a:lnTo>
                        <a:pt x="19702" y="909"/>
                      </a:lnTo>
                      <a:lnTo>
                        <a:pt x="20136" y="0"/>
                      </a:lnTo>
                      <a:lnTo>
                        <a:pt x="30518" y="1329"/>
                      </a:lnTo>
                      <a:lnTo>
                        <a:pt x="34294" y="11535"/>
                      </a:lnTo>
                      <a:lnTo>
                        <a:pt x="21707" y="2131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" name="Freeform 101">
                  <a:extLst>
                    <a:ext uri="{FF2B5EF4-FFF2-40B4-BE49-F238E27FC236}">
                      <a16:creationId xmlns:a16="http://schemas.microsoft.com/office/drawing/2014/main" id="{8D1BB041-8DFB-4488-9D13-3F7244538A6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3"/>
                  </p:custDataLst>
                </p:nvPr>
              </p:nvSpPr>
              <p:spPr>
                <a:xfrm>
                  <a:off x="6632419" y="4378024"/>
                  <a:ext cx="96572" cy="1041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0001" h="97016">
                      <a:moveTo>
                        <a:pt x="86020" y="96811"/>
                      </a:moveTo>
                      <a:lnTo>
                        <a:pt x="79974" y="97015"/>
                      </a:lnTo>
                      <a:lnTo>
                        <a:pt x="56183" y="85990"/>
                      </a:lnTo>
                      <a:lnTo>
                        <a:pt x="35209" y="68374"/>
                      </a:lnTo>
                      <a:lnTo>
                        <a:pt x="15543" y="55701"/>
                      </a:lnTo>
                      <a:lnTo>
                        <a:pt x="0" y="40748"/>
                      </a:lnTo>
                      <a:lnTo>
                        <a:pt x="5516" y="33328"/>
                      </a:lnTo>
                      <a:lnTo>
                        <a:pt x="6742" y="26580"/>
                      </a:lnTo>
                      <a:lnTo>
                        <a:pt x="17155" y="13979"/>
                      </a:lnTo>
                      <a:lnTo>
                        <a:pt x="27900" y="3135"/>
                      </a:lnTo>
                      <a:lnTo>
                        <a:pt x="32828" y="2617"/>
                      </a:lnTo>
                      <a:lnTo>
                        <a:pt x="38858" y="0"/>
                      </a:lnTo>
                      <a:lnTo>
                        <a:pt x="48508" y="14233"/>
                      </a:lnTo>
                      <a:lnTo>
                        <a:pt x="46983" y="23558"/>
                      </a:lnTo>
                      <a:lnTo>
                        <a:pt x="51474" y="28500"/>
                      </a:lnTo>
                      <a:lnTo>
                        <a:pt x="58000" y="28614"/>
                      </a:lnTo>
                      <a:lnTo>
                        <a:pt x="62708" y="19268"/>
                      </a:lnTo>
                      <a:lnTo>
                        <a:pt x="69236" y="19864"/>
                      </a:lnTo>
                      <a:lnTo>
                        <a:pt x="68171" y="26614"/>
                      </a:lnTo>
                      <a:lnTo>
                        <a:pt x="70479" y="37828"/>
                      </a:lnTo>
                      <a:lnTo>
                        <a:pt x="65460" y="48127"/>
                      </a:lnTo>
                      <a:lnTo>
                        <a:pt x="72189" y="54489"/>
                      </a:lnTo>
                      <a:lnTo>
                        <a:pt x="79522" y="56038"/>
                      </a:lnTo>
                      <a:lnTo>
                        <a:pt x="89298" y="65739"/>
                      </a:lnTo>
                      <a:lnTo>
                        <a:pt x="90000" y="74861"/>
                      </a:lnTo>
                      <a:lnTo>
                        <a:pt x="87793" y="7775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" name="Freeform 102">
                  <a:extLst>
                    <a:ext uri="{FF2B5EF4-FFF2-40B4-BE49-F238E27FC236}">
                      <a16:creationId xmlns:a16="http://schemas.microsoft.com/office/drawing/2014/main" id="{2CFB661E-9655-4E44-8DF9-008B71BF676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4"/>
                  </p:custDataLst>
                </p:nvPr>
              </p:nvSpPr>
              <p:spPr>
                <a:xfrm>
                  <a:off x="7146558" y="3738379"/>
                  <a:ext cx="392462" cy="36056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65756" h="336032">
                      <a:moveTo>
                        <a:pt x="127691" y="256802"/>
                      </a:moveTo>
                      <a:lnTo>
                        <a:pt x="111362" y="265830"/>
                      </a:lnTo>
                      <a:lnTo>
                        <a:pt x="98379" y="252484"/>
                      </a:lnTo>
                      <a:lnTo>
                        <a:pt x="61864" y="241982"/>
                      </a:lnTo>
                      <a:lnTo>
                        <a:pt x="51735" y="226692"/>
                      </a:lnTo>
                      <a:lnTo>
                        <a:pt x="33515" y="215317"/>
                      </a:lnTo>
                      <a:lnTo>
                        <a:pt x="22724" y="219805"/>
                      </a:lnTo>
                      <a:lnTo>
                        <a:pt x="14516" y="206131"/>
                      </a:lnTo>
                      <a:lnTo>
                        <a:pt x="13649" y="195597"/>
                      </a:lnTo>
                      <a:lnTo>
                        <a:pt x="0" y="177625"/>
                      </a:lnTo>
                      <a:lnTo>
                        <a:pt x="9161" y="167290"/>
                      </a:lnTo>
                      <a:lnTo>
                        <a:pt x="7148" y="151696"/>
                      </a:lnTo>
                      <a:lnTo>
                        <a:pt x="10081" y="138077"/>
                      </a:lnTo>
                      <a:lnTo>
                        <a:pt x="8413" y="126700"/>
                      </a:lnTo>
                      <a:lnTo>
                        <a:pt x="12479" y="106266"/>
                      </a:lnTo>
                      <a:lnTo>
                        <a:pt x="11224" y="94584"/>
                      </a:lnTo>
                      <a:lnTo>
                        <a:pt x="3757" y="72293"/>
                      </a:lnTo>
                      <a:lnTo>
                        <a:pt x="15018" y="66422"/>
                      </a:lnTo>
                      <a:lnTo>
                        <a:pt x="17016" y="55695"/>
                      </a:lnTo>
                      <a:lnTo>
                        <a:pt x="14561" y="45150"/>
                      </a:lnTo>
                      <a:lnTo>
                        <a:pt x="30412" y="35316"/>
                      </a:lnTo>
                      <a:lnTo>
                        <a:pt x="37519" y="27119"/>
                      </a:lnTo>
                      <a:lnTo>
                        <a:pt x="48771" y="19760"/>
                      </a:lnTo>
                      <a:lnTo>
                        <a:pt x="50075" y="0"/>
                      </a:lnTo>
                      <a:lnTo>
                        <a:pt x="77187" y="8868"/>
                      </a:lnTo>
                      <a:lnTo>
                        <a:pt x="86880" y="6653"/>
                      </a:lnTo>
                      <a:lnTo>
                        <a:pt x="106164" y="10947"/>
                      </a:lnTo>
                      <a:lnTo>
                        <a:pt x="136793" y="22423"/>
                      </a:lnTo>
                      <a:lnTo>
                        <a:pt x="147603" y="45146"/>
                      </a:lnTo>
                      <a:lnTo>
                        <a:pt x="168324" y="50090"/>
                      </a:lnTo>
                      <a:lnTo>
                        <a:pt x="200859" y="60732"/>
                      </a:lnTo>
                      <a:lnTo>
                        <a:pt x="225449" y="73335"/>
                      </a:lnTo>
                      <a:lnTo>
                        <a:pt x="236705" y="66764"/>
                      </a:lnTo>
                      <a:lnTo>
                        <a:pt x="247768" y="55087"/>
                      </a:lnTo>
                      <a:lnTo>
                        <a:pt x="242390" y="35562"/>
                      </a:lnTo>
                      <a:lnTo>
                        <a:pt x="249629" y="23112"/>
                      </a:lnTo>
                      <a:lnTo>
                        <a:pt x="266262" y="11080"/>
                      </a:lnTo>
                      <a:lnTo>
                        <a:pt x="282153" y="7571"/>
                      </a:lnTo>
                      <a:lnTo>
                        <a:pt x="313379" y="12834"/>
                      </a:lnTo>
                      <a:lnTo>
                        <a:pt x="321251" y="24310"/>
                      </a:lnTo>
                      <a:lnTo>
                        <a:pt x="329845" y="24418"/>
                      </a:lnTo>
                      <a:lnTo>
                        <a:pt x="337194" y="28787"/>
                      </a:lnTo>
                      <a:lnTo>
                        <a:pt x="360130" y="31789"/>
                      </a:lnTo>
                      <a:lnTo>
                        <a:pt x="365755" y="40226"/>
                      </a:lnTo>
                      <a:lnTo>
                        <a:pt x="357400" y="52454"/>
                      </a:lnTo>
                      <a:lnTo>
                        <a:pt x="360972" y="63320"/>
                      </a:lnTo>
                      <a:lnTo>
                        <a:pt x="355027" y="78955"/>
                      </a:lnTo>
                      <a:lnTo>
                        <a:pt x="361950" y="99264"/>
                      </a:lnTo>
                      <a:lnTo>
                        <a:pt x="361950" y="187788"/>
                      </a:lnTo>
                      <a:lnTo>
                        <a:pt x="361950" y="277740"/>
                      </a:lnTo>
                      <a:lnTo>
                        <a:pt x="361950" y="325892"/>
                      </a:lnTo>
                      <a:lnTo>
                        <a:pt x="335405" y="325965"/>
                      </a:lnTo>
                      <a:lnTo>
                        <a:pt x="335120" y="336031"/>
                      </a:lnTo>
                      <a:lnTo>
                        <a:pt x="243058" y="289953"/>
                      </a:lnTo>
                      <a:lnTo>
                        <a:pt x="150994" y="24349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" name="Freeform 103">
                  <a:extLst>
                    <a:ext uri="{FF2B5EF4-FFF2-40B4-BE49-F238E27FC236}">
                      <a16:creationId xmlns:a16="http://schemas.microsoft.com/office/drawing/2014/main" id="{A87B3033-508C-4306-9A45-BE31F401F16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5"/>
                  </p:custDataLst>
                </p:nvPr>
              </p:nvSpPr>
              <p:spPr>
                <a:xfrm>
                  <a:off x="8889629" y="4345983"/>
                  <a:ext cx="51835" cy="960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8308" h="89556">
                      <a:moveTo>
                        <a:pt x="48307" y="53508"/>
                      </a:moveTo>
                      <a:lnTo>
                        <a:pt x="44830" y="77659"/>
                      </a:lnTo>
                      <a:lnTo>
                        <a:pt x="35152" y="84255"/>
                      </a:lnTo>
                      <a:lnTo>
                        <a:pt x="15078" y="89555"/>
                      </a:lnTo>
                      <a:lnTo>
                        <a:pt x="4093" y="71129"/>
                      </a:lnTo>
                      <a:lnTo>
                        <a:pt x="0" y="37768"/>
                      </a:lnTo>
                      <a:lnTo>
                        <a:pt x="10448" y="0"/>
                      </a:lnTo>
                      <a:lnTo>
                        <a:pt x="26399" y="12941"/>
                      </a:lnTo>
                      <a:lnTo>
                        <a:pt x="37144" y="2932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" name="Freeform 104">
                  <a:extLst>
                    <a:ext uri="{FF2B5EF4-FFF2-40B4-BE49-F238E27FC236}">
                      <a16:creationId xmlns:a16="http://schemas.microsoft.com/office/drawing/2014/main" id="{DDD965F2-A152-4F76-9BD2-6257C6E1A1D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6"/>
                  </p:custDataLst>
                </p:nvPr>
              </p:nvSpPr>
              <p:spPr>
                <a:xfrm>
                  <a:off x="7584455" y="5319330"/>
                  <a:ext cx="57609" cy="5404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3689" h="50367">
                      <a:moveTo>
                        <a:pt x="45680" y="7728"/>
                      </a:moveTo>
                      <a:lnTo>
                        <a:pt x="53688" y="15311"/>
                      </a:lnTo>
                      <a:lnTo>
                        <a:pt x="46607" y="27563"/>
                      </a:lnTo>
                      <a:lnTo>
                        <a:pt x="42683" y="35803"/>
                      </a:lnTo>
                      <a:lnTo>
                        <a:pt x="29818" y="39752"/>
                      </a:lnTo>
                      <a:lnTo>
                        <a:pt x="25574" y="47845"/>
                      </a:lnTo>
                      <a:lnTo>
                        <a:pt x="17315" y="50366"/>
                      </a:lnTo>
                      <a:lnTo>
                        <a:pt x="0" y="30899"/>
                      </a:lnTo>
                      <a:lnTo>
                        <a:pt x="12309" y="14943"/>
                      </a:lnTo>
                      <a:lnTo>
                        <a:pt x="24815" y="5114"/>
                      </a:lnTo>
                      <a:lnTo>
                        <a:pt x="35603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Freeform 105">
                  <a:extLst>
                    <a:ext uri="{FF2B5EF4-FFF2-40B4-BE49-F238E27FC236}">
                      <a16:creationId xmlns:a16="http://schemas.microsoft.com/office/drawing/2014/main" id="{19757CBF-871C-4173-A53D-76474EBF5E6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7"/>
                  </p:custDataLst>
                </p:nvPr>
              </p:nvSpPr>
              <p:spPr>
                <a:xfrm>
                  <a:off x="7437247" y="3022325"/>
                  <a:ext cx="137029" cy="8510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7705" h="79318">
                      <a:moveTo>
                        <a:pt x="38670" y="65939"/>
                      </a:moveTo>
                      <a:lnTo>
                        <a:pt x="36822" y="57810"/>
                      </a:lnTo>
                      <a:lnTo>
                        <a:pt x="39286" y="49055"/>
                      </a:lnTo>
                      <a:lnTo>
                        <a:pt x="29082" y="43967"/>
                      </a:lnTo>
                      <a:lnTo>
                        <a:pt x="4908" y="38337"/>
                      </a:lnTo>
                      <a:lnTo>
                        <a:pt x="0" y="11139"/>
                      </a:lnTo>
                      <a:lnTo>
                        <a:pt x="26438" y="1135"/>
                      </a:lnTo>
                      <a:lnTo>
                        <a:pt x="65150" y="3230"/>
                      </a:lnTo>
                      <a:lnTo>
                        <a:pt x="87827" y="0"/>
                      </a:lnTo>
                      <a:lnTo>
                        <a:pt x="91064" y="6791"/>
                      </a:lnTo>
                      <a:lnTo>
                        <a:pt x="103347" y="8885"/>
                      </a:lnTo>
                      <a:lnTo>
                        <a:pt x="125535" y="24637"/>
                      </a:lnTo>
                      <a:lnTo>
                        <a:pt x="127704" y="39087"/>
                      </a:lnTo>
                      <a:lnTo>
                        <a:pt x="108780" y="49363"/>
                      </a:lnTo>
                      <a:lnTo>
                        <a:pt x="103423" y="67374"/>
                      </a:lnTo>
                      <a:lnTo>
                        <a:pt x="78363" y="79317"/>
                      </a:lnTo>
                      <a:lnTo>
                        <a:pt x="56052" y="79102"/>
                      </a:lnTo>
                      <a:lnTo>
                        <a:pt x="50509" y="6933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" name="Freeform 106">
                  <a:extLst>
                    <a:ext uri="{FF2B5EF4-FFF2-40B4-BE49-F238E27FC236}">
                      <a16:creationId xmlns:a16="http://schemas.microsoft.com/office/drawing/2014/main" id="{2487AD84-B109-4895-A7B9-A6265D8A6F2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8"/>
                  </p:custDataLst>
                </p:nvPr>
              </p:nvSpPr>
              <p:spPr>
                <a:xfrm>
                  <a:off x="7056270" y="3232618"/>
                  <a:ext cx="14087" cy="2210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128" h="20602">
                      <a:moveTo>
                        <a:pt x="8518" y="0"/>
                      </a:moveTo>
                      <a:lnTo>
                        <a:pt x="13127" y="6806"/>
                      </a:lnTo>
                      <a:lnTo>
                        <a:pt x="11824" y="19968"/>
                      </a:lnTo>
                      <a:lnTo>
                        <a:pt x="5163" y="20601"/>
                      </a:lnTo>
                      <a:lnTo>
                        <a:pt x="0" y="18001"/>
                      </a:lnTo>
                      <a:lnTo>
                        <a:pt x="2501" y="113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" name="Freeform 107">
                  <a:extLst>
                    <a:ext uri="{FF2B5EF4-FFF2-40B4-BE49-F238E27FC236}">
                      <a16:creationId xmlns:a16="http://schemas.microsoft.com/office/drawing/2014/main" id="{FAA4550A-E8C1-4D60-8BB3-8B017D21A0D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9"/>
                  </p:custDataLst>
                </p:nvPr>
              </p:nvSpPr>
              <p:spPr>
                <a:xfrm>
                  <a:off x="7437247" y="2965626"/>
                  <a:ext cx="176371" cy="831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370" h="77479">
                      <a:moveTo>
                        <a:pt x="0" y="63980"/>
                      </a:moveTo>
                      <a:lnTo>
                        <a:pt x="799" y="39351"/>
                      </a:lnTo>
                      <a:lnTo>
                        <a:pt x="12143" y="18603"/>
                      </a:lnTo>
                      <a:lnTo>
                        <a:pt x="33898" y="7242"/>
                      </a:lnTo>
                      <a:lnTo>
                        <a:pt x="52228" y="32026"/>
                      </a:lnTo>
                      <a:lnTo>
                        <a:pt x="70747" y="31384"/>
                      </a:lnTo>
                      <a:lnTo>
                        <a:pt x="75181" y="5906"/>
                      </a:lnTo>
                      <a:lnTo>
                        <a:pt x="94842" y="0"/>
                      </a:lnTo>
                      <a:lnTo>
                        <a:pt x="104957" y="4100"/>
                      </a:lnTo>
                      <a:lnTo>
                        <a:pt x="124825" y="16461"/>
                      </a:lnTo>
                      <a:lnTo>
                        <a:pt x="143860" y="16523"/>
                      </a:lnTo>
                      <a:lnTo>
                        <a:pt x="154982" y="24159"/>
                      </a:lnTo>
                      <a:lnTo>
                        <a:pt x="156950" y="40158"/>
                      </a:lnTo>
                      <a:lnTo>
                        <a:pt x="164369" y="59482"/>
                      </a:lnTo>
                      <a:lnTo>
                        <a:pt x="139573" y="72029"/>
                      </a:lnTo>
                      <a:lnTo>
                        <a:pt x="125535" y="77478"/>
                      </a:lnTo>
                      <a:lnTo>
                        <a:pt x="103347" y="61726"/>
                      </a:lnTo>
                      <a:lnTo>
                        <a:pt x="91064" y="59632"/>
                      </a:lnTo>
                      <a:lnTo>
                        <a:pt x="87827" y="52841"/>
                      </a:lnTo>
                      <a:lnTo>
                        <a:pt x="65150" y="56071"/>
                      </a:lnTo>
                      <a:lnTo>
                        <a:pt x="26438" y="5397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" name="Freeform 108">
                  <a:extLst>
                    <a:ext uri="{FF2B5EF4-FFF2-40B4-BE49-F238E27FC236}">
                      <a16:creationId xmlns:a16="http://schemas.microsoft.com/office/drawing/2014/main" id="{231F1777-48AC-4E15-AC20-C1635F97882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0"/>
                  </p:custDataLst>
                </p:nvPr>
              </p:nvSpPr>
              <p:spPr>
                <a:xfrm>
                  <a:off x="6494173" y="3665091"/>
                  <a:ext cx="393712" cy="38634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66921" h="360052">
                      <a:moveTo>
                        <a:pt x="272989" y="127"/>
                      </a:moveTo>
                      <a:lnTo>
                        <a:pt x="286905" y="11269"/>
                      </a:lnTo>
                      <a:lnTo>
                        <a:pt x="308855" y="9456"/>
                      </a:lnTo>
                      <a:lnTo>
                        <a:pt x="332763" y="15240"/>
                      </a:lnTo>
                      <a:lnTo>
                        <a:pt x="342790" y="15520"/>
                      </a:lnTo>
                      <a:lnTo>
                        <a:pt x="351491" y="32245"/>
                      </a:lnTo>
                      <a:lnTo>
                        <a:pt x="352865" y="48055"/>
                      </a:lnTo>
                      <a:lnTo>
                        <a:pt x="360838" y="75336"/>
                      </a:lnTo>
                      <a:lnTo>
                        <a:pt x="366920" y="80802"/>
                      </a:lnTo>
                      <a:lnTo>
                        <a:pt x="362688" y="90780"/>
                      </a:lnTo>
                      <a:lnTo>
                        <a:pt x="332479" y="95100"/>
                      </a:lnTo>
                      <a:lnTo>
                        <a:pt x="322037" y="104560"/>
                      </a:lnTo>
                      <a:lnTo>
                        <a:pt x="308683" y="106787"/>
                      </a:lnTo>
                      <a:lnTo>
                        <a:pt x="307692" y="125645"/>
                      </a:lnTo>
                      <a:lnTo>
                        <a:pt x="280704" y="135689"/>
                      </a:lnTo>
                      <a:lnTo>
                        <a:pt x="271875" y="148361"/>
                      </a:lnTo>
                      <a:lnTo>
                        <a:pt x="252982" y="155146"/>
                      </a:lnTo>
                      <a:lnTo>
                        <a:pt x="229932" y="158991"/>
                      </a:lnTo>
                      <a:lnTo>
                        <a:pt x="192656" y="177546"/>
                      </a:lnTo>
                      <a:lnTo>
                        <a:pt x="192853" y="207171"/>
                      </a:lnTo>
                      <a:lnTo>
                        <a:pt x="189339" y="207171"/>
                      </a:lnTo>
                      <a:lnTo>
                        <a:pt x="189338" y="207171"/>
                      </a:lnTo>
                      <a:lnTo>
                        <a:pt x="189868" y="220500"/>
                      </a:lnTo>
                      <a:lnTo>
                        <a:pt x="175599" y="221301"/>
                      </a:lnTo>
                      <a:lnTo>
                        <a:pt x="168160" y="226948"/>
                      </a:lnTo>
                      <a:lnTo>
                        <a:pt x="157678" y="226948"/>
                      </a:lnTo>
                      <a:lnTo>
                        <a:pt x="149326" y="223726"/>
                      </a:lnTo>
                      <a:lnTo>
                        <a:pt x="129907" y="226391"/>
                      </a:lnTo>
                      <a:lnTo>
                        <a:pt x="122389" y="245685"/>
                      </a:lnTo>
                      <a:lnTo>
                        <a:pt x="115176" y="247494"/>
                      </a:lnTo>
                      <a:lnTo>
                        <a:pt x="104322" y="278527"/>
                      </a:lnTo>
                      <a:lnTo>
                        <a:pt x="72234" y="304933"/>
                      </a:lnTo>
                      <a:lnTo>
                        <a:pt x="64615" y="338525"/>
                      </a:lnTo>
                      <a:lnTo>
                        <a:pt x="55159" y="349407"/>
                      </a:lnTo>
                      <a:lnTo>
                        <a:pt x="52386" y="358121"/>
                      </a:lnTo>
                      <a:lnTo>
                        <a:pt x="403" y="360051"/>
                      </a:lnTo>
                      <a:lnTo>
                        <a:pt x="0" y="360012"/>
                      </a:lnTo>
                      <a:lnTo>
                        <a:pt x="1089" y="348807"/>
                      </a:lnTo>
                      <a:lnTo>
                        <a:pt x="9956" y="342208"/>
                      </a:lnTo>
                      <a:lnTo>
                        <a:pt x="17509" y="329565"/>
                      </a:lnTo>
                      <a:lnTo>
                        <a:pt x="16020" y="321338"/>
                      </a:lnTo>
                      <a:lnTo>
                        <a:pt x="23956" y="304143"/>
                      </a:lnTo>
                      <a:lnTo>
                        <a:pt x="36804" y="288600"/>
                      </a:lnTo>
                      <a:lnTo>
                        <a:pt x="44575" y="284654"/>
                      </a:lnTo>
                      <a:lnTo>
                        <a:pt x="50685" y="270340"/>
                      </a:lnTo>
                      <a:lnTo>
                        <a:pt x="51233" y="257229"/>
                      </a:lnTo>
                      <a:lnTo>
                        <a:pt x="59565" y="241970"/>
                      </a:lnTo>
                      <a:lnTo>
                        <a:pt x="74941" y="232949"/>
                      </a:lnTo>
                      <a:lnTo>
                        <a:pt x="89572" y="207577"/>
                      </a:lnTo>
                      <a:lnTo>
                        <a:pt x="89996" y="207228"/>
                      </a:lnTo>
                      <a:lnTo>
                        <a:pt x="101601" y="197648"/>
                      </a:lnTo>
                      <a:lnTo>
                        <a:pt x="123066" y="194889"/>
                      </a:lnTo>
                      <a:lnTo>
                        <a:pt x="141254" y="177776"/>
                      </a:lnTo>
                      <a:lnTo>
                        <a:pt x="152827" y="171086"/>
                      </a:lnTo>
                      <a:lnTo>
                        <a:pt x="172096" y="150051"/>
                      </a:lnTo>
                      <a:lnTo>
                        <a:pt x="166327" y="118504"/>
                      </a:lnTo>
                      <a:lnTo>
                        <a:pt x="175097" y="96540"/>
                      </a:lnTo>
                      <a:lnTo>
                        <a:pt x="178193" y="83034"/>
                      </a:lnTo>
                      <a:lnTo>
                        <a:pt x="193040" y="65637"/>
                      </a:lnTo>
                      <a:lnTo>
                        <a:pt x="216198" y="53826"/>
                      </a:lnTo>
                      <a:lnTo>
                        <a:pt x="233318" y="43104"/>
                      </a:lnTo>
                      <a:lnTo>
                        <a:pt x="248741" y="16110"/>
                      </a:lnTo>
                      <a:lnTo>
                        <a:pt x="255998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" name="Freeform 109">
                  <a:extLst>
                    <a:ext uri="{FF2B5EF4-FFF2-40B4-BE49-F238E27FC236}">
                      <a16:creationId xmlns:a16="http://schemas.microsoft.com/office/drawing/2014/main" id="{149337E2-76A3-4734-8D11-8D45E0D86EE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1"/>
                  </p:custDataLst>
                </p:nvPr>
              </p:nvSpPr>
              <p:spPr>
                <a:xfrm>
                  <a:off x="7575044" y="3285886"/>
                  <a:ext cx="84344" cy="9311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8605" h="86780">
                      <a:moveTo>
                        <a:pt x="0" y="7285"/>
                      </a:moveTo>
                      <a:lnTo>
                        <a:pt x="5505" y="2927"/>
                      </a:lnTo>
                      <a:lnTo>
                        <a:pt x="20848" y="0"/>
                      </a:lnTo>
                      <a:lnTo>
                        <a:pt x="37860" y="9209"/>
                      </a:lnTo>
                      <a:lnTo>
                        <a:pt x="47355" y="10312"/>
                      </a:lnTo>
                      <a:lnTo>
                        <a:pt x="57784" y="18236"/>
                      </a:lnTo>
                      <a:lnTo>
                        <a:pt x="56126" y="28181"/>
                      </a:lnTo>
                      <a:lnTo>
                        <a:pt x="64534" y="32969"/>
                      </a:lnTo>
                      <a:lnTo>
                        <a:pt x="67871" y="45167"/>
                      </a:lnTo>
                      <a:lnTo>
                        <a:pt x="75931" y="52558"/>
                      </a:lnTo>
                      <a:lnTo>
                        <a:pt x="74300" y="56881"/>
                      </a:lnTo>
                      <a:lnTo>
                        <a:pt x="78604" y="59819"/>
                      </a:lnTo>
                      <a:lnTo>
                        <a:pt x="72494" y="61959"/>
                      </a:lnTo>
                      <a:lnTo>
                        <a:pt x="58891" y="61112"/>
                      </a:lnTo>
                      <a:lnTo>
                        <a:pt x="56616" y="57103"/>
                      </a:lnTo>
                      <a:lnTo>
                        <a:pt x="51789" y="59415"/>
                      </a:lnTo>
                      <a:lnTo>
                        <a:pt x="53422" y="64596"/>
                      </a:lnTo>
                      <a:lnTo>
                        <a:pt x="47104" y="73796"/>
                      </a:lnTo>
                      <a:lnTo>
                        <a:pt x="43071" y="83662"/>
                      </a:lnTo>
                      <a:lnTo>
                        <a:pt x="37260" y="86779"/>
                      </a:lnTo>
                      <a:lnTo>
                        <a:pt x="33126" y="73664"/>
                      </a:lnTo>
                      <a:lnTo>
                        <a:pt x="35563" y="61335"/>
                      </a:lnTo>
                      <a:lnTo>
                        <a:pt x="34825" y="48603"/>
                      </a:lnTo>
                      <a:lnTo>
                        <a:pt x="21509" y="31259"/>
                      </a:lnTo>
                      <a:lnTo>
                        <a:pt x="14185" y="18892"/>
                      </a:lnTo>
                      <a:lnTo>
                        <a:pt x="7036" y="1016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" name="Freeform 110">
                  <a:extLst>
                    <a:ext uri="{FF2B5EF4-FFF2-40B4-BE49-F238E27FC236}">
                      <a16:creationId xmlns:a16="http://schemas.microsoft.com/office/drawing/2014/main" id="{F38A86C8-094A-44EB-9C9D-F656373C739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2"/>
                  </p:custDataLst>
                </p:nvPr>
              </p:nvSpPr>
              <p:spPr>
                <a:xfrm>
                  <a:off x="7987057" y="4889707"/>
                  <a:ext cx="178884" cy="34841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6712" h="324707">
                      <a:moveTo>
                        <a:pt x="145174" y="10056"/>
                      </a:moveTo>
                      <a:lnTo>
                        <a:pt x="151302" y="20033"/>
                      </a:lnTo>
                      <a:lnTo>
                        <a:pt x="157016" y="35542"/>
                      </a:lnTo>
                      <a:lnTo>
                        <a:pt x="160730" y="63863"/>
                      </a:lnTo>
                      <a:lnTo>
                        <a:pt x="166711" y="74900"/>
                      </a:lnTo>
                      <a:lnTo>
                        <a:pt x="164416" y="86233"/>
                      </a:lnTo>
                      <a:lnTo>
                        <a:pt x="160334" y="93194"/>
                      </a:lnTo>
                      <a:lnTo>
                        <a:pt x="152494" y="79335"/>
                      </a:lnTo>
                      <a:lnTo>
                        <a:pt x="148154" y="86331"/>
                      </a:lnTo>
                      <a:lnTo>
                        <a:pt x="152557" y="103872"/>
                      </a:lnTo>
                      <a:lnTo>
                        <a:pt x="150507" y="113930"/>
                      </a:lnTo>
                      <a:lnTo>
                        <a:pt x="144138" y="119415"/>
                      </a:lnTo>
                      <a:lnTo>
                        <a:pt x="142684" y="139568"/>
                      </a:lnTo>
                      <a:lnTo>
                        <a:pt x="133593" y="167403"/>
                      </a:lnTo>
                      <a:lnTo>
                        <a:pt x="122208" y="200471"/>
                      </a:lnTo>
                      <a:lnTo>
                        <a:pt x="107947" y="246241"/>
                      </a:lnTo>
                      <a:lnTo>
                        <a:pt x="99106" y="280080"/>
                      </a:lnTo>
                      <a:lnTo>
                        <a:pt x="88674" y="308476"/>
                      </a:lnTo>
                      <a:lnTo>
                        <a:pt x="69901" y="314295"/>
                      </a:lnTo>
                      <a:lnTo>
                        <a:pt x="49750" y="324706"/>
                      </a:lnTo>
                      <a:lnTo>
                        <a:pt x="36456" y="318419"/>
                      </a:lnTo>
                      <a:lnTo>
                        <a:pt x="18132" y="309623"/>
                      </a:lnTo>
                      <a:lnTo>
                        <a:pt x="11762" y="296680"/>
                      </a:lnTo>
                      <a:lnTo>
                        <a:pt x="10239" y="275008"/>
                      </a:lnTo>
                      <a:lnTo>
                        <a:pt x="2111" y="255599"/>
                      </a:lnTo>
                      <a:lnTo>
                        <a:pt x="0" y="238143"/>
                      </a:lnTo>
                      <a:lnTo>
                        <a:pt x="4134" y="220707"/>
                      </a:lnTo>
                      <a:lnTo>
                        <a:pt x="14761" y="216528"/>
                      </a:lnTo>
                      <a:lnTo>
                        <a:pt x="14823" y="208502"/>
                      </a:lnTo>
                      <a:lnTo>
                        <a:pt x="25856" y="190265"/>
                      </a:lnTo>
                      <a:lnTo>
                        <a:pt x="27935" y="174986"/>
                      </a:lnTo>
                      <a:lnTo>
                        <a:pt x="22580" y="163652"/>
                      </a:lnTo>
                      <a:lnTo>
                        <a:pt x="18207" y="148588"/>
                      </a:lnTo>
                      <a:lnTo>
                        <a:pt x="16363" y="126639"/>
                      </a:lnTo>
                      <a:lnTo>
                        <a:pt x="24428" y="113347"/>
                      </a:lnTo>
                      <a:lnTo>
                        <a:pt x="27522" y="98307"/>
                      </a:lnTo>
                      <a:lnTo>
                        <a:pt x="39027" y="97434"/>
                      </a:lnTo>
                      <a:lnTo>
                        <a:pt x="51902" y="92581"/>
                      </a:lnTo>
                      <a:lnTo>
                        <a:pt x="60449" y="88300"/>
                      </a:lnTo>
                      <a:lnTo>
                        <a:pt x="70588" y="87982"/>
                      </a:lnTo>
                      <a:lnTo>
                        <a:pt x="83744" y="74514"/>
                      </a:lnTo>
                      <a:lnTo>
                        <a:pt x="102739" y="59985"/>
                      </a:lnTo>
                      <a:lnTo>
                        <a:pt x="109666" y="48136"/>
                      </a:lnTo>
                      <a:lnTo>
                        <a:pt x="106523" y="38083"/>
                      </a:lnTo>
                      <a:lnTo>
                        <a:pt x="116328" y="40910"/>
                      </a:lnTo>
                      <a:lnTo>
                        <a:pt x="129052" y="24583"/>
                      </a:lnTo>
                      <a:lnTo>
                        <a:pt x="129478" y="10479"/>
                      </a:lnTo>
                      <a:lnTo>
                        <a:pt x="137122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" name="Freeform 111">
                  <a:extLst>
                    <a:ext uri="{FF2B5EF4-FFF2-40B4-BE49-F238E27FC236}">
                      <a16:creationId xmlns:a16="http://schemas.microsoft.com/office/drawing/2014/main" id="{A0A0B519-6FDD-4F5A-9D2E-E56F35A27B6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3"/>
                  </p:custDataLst>
                </p:nvPr>
              </p:nvSpPr>
              <p:spPr>
                <a:xfrm>
                  <a:off x="7422569" y="3474950"/>
                  <a:ext cx="61654" cy="4377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7459" h="40792">
                      <a:moveTo>
                        <a:pt x="2933" y="12893"/>
                      </a:moveTo>
                      <a:lnTo>
                        <a:pt x="5866" y="13123"/>
                      </a:lnTo>
                      <a:lnTo>
                        <a:pt x="6901" y="7451"/>
                      </a:lnTo>
                      <a:lnTo>
                        <a:pt x="20533" y="3152"/>
                      </a:lnTo>
                      <a:lnTo>
                        <a:pt x="25702" y="2085"/>
                      </a:lnTo>
                      <a:lnTo>
                        <a:pt x="33560" y="462"/>
                      </a:lnTo>
                      <a:lnTo>
                        <a:pt x="44258" y="0"/>
                      </a:lnTo>
                      <a:lnTo>
                        <a:pt x="55819" y="8909"/>
                      </a:lnTo>
                      <a:lnTo>
                        <a:pt x="57458" y="27179"/>
                      </a:lnTo>
                      <a:lnTo>
                        <a:pt x="53058" y="28094"/>
                      </a:lnTo>
                      <a:lnTo>
                        <a:pt x="49262" y="32890"/>
                      </a:lnTo>
                      <a:lnTo>
                        <a:pt x="36753" y="32357"/>
                      </a:lnTo>
                      <a:lnTo>
                        <a:pt x="27953" y="38362"/>
                      </a:lnTo>
                      <a:lnTo>
                        <a:pt x="12854" y="40791"/>
                      </a:lnTo>
                      <a:lnTo>
                        <a:pt x="3278" y="34106"/>
                      </a:lnTo>
                      <a:lnTo>
                        <a:pt x="0" y="22297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" name="Freeform 112">
                  <a:extLst>
                    <a:ext uri="{FF2B5EF4-FFF2-40B4-BE49-F238E27FC236}">
                      <a16:creationId xmlns:a16="http://schemas.microsoft.com/office/drawing/2014/main" id="{BBD59F09-AAAF-4E6E-994D-B8808FB87B3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4"/>
                  </p:custDataLst>
                </p:nvPr>
              </p:nvSpPr>
              <p:spPr>
                <a:xfrm>
                  <a:off x="6614289" y="3958569"/>
                  <a:ext cx="407211" cy="38060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79502" h="354706">
                      <a:moveTo>
                        <a:pt x="0" y="248769"/>
                      </a:moveTo>
                      <a:lnTo>
                        <a:pt x="7768" y="244472"/>
                      </a:lnTo>
                      <a:lnTo>
                        <a:pt x="11649" y="230566"/>
                      </a:lnTo>
                      <a:lnTo>
                        <a:pt x="18966" y="230021"/>
                      </a:lnTo>
                      <a:lnTo>
                        <a:pt x="35085" y="236599"/>
                      </a:lnTo>
                      <a:lnTo>
                        <a:pt x="48102" y="231929"/>
                      </a:lnTo>
                      <a:lnTo>
                        <a:pt x="57026" y="233497"/>
                      </a:lnTo>
                      <a:lnTo>
                        <a:pt x="60488" y="228243"/>
                      </a:lnTo>
                      <a:lnTo>
                        <a:pt x="153108" y="227884"/>
                      </a:lnTo>
                      <a:lnTo>
                        <a:pt x="158243" y="211318"/>
                      </a:lnTo>
                      <a:lnTo>
                        <a:pt x="154244" y="208399"/>
                      </a:lnTo>
                      <a:lnTo>
                        <a:pt x="143104" y="105350"/>
                      </a:lnTo>
                      <a:lnTo>
                        <a:pt x="131963" y="442"/>
                      </a:lnTo>
                      <a:lnTo>
                        <a:pt x="167290" y="0"/>
                      </a:lnTo>
                      <a:lnTo>
                        <a:pt x="245154" y="53303"/>
                      </a:lnTo>
                      <a:lnTo>
                        <a:pt x="323019" y="106073"/>
                      </a:lnTo>
                      <a:lnTo>
                        <a:pt x="328507" y="117342"/>
                      </a:lnTo>
                      <a:lnTo>
                        <a:pt x="342878" y="124209"/>
                      </a:lnTo>
                      <a:lnTo>
                        <a:pt x="353567" y="128112"/>
                      </a:lnTo>
                      <a:lnTo>
                        <a:pt x="353832" y="143352"/>
                      </a:lnTo>
                      <a:lnTo>
                        <a:pt x="379437" y="141009"/>
                      </a:lnTo>
                      <a:lnTo>
                        <a:pt x="379501" y="195897"/>
                      </a:lnTo>
                      <a:lnTo>
                        <a:pt x="366880" y="211734"/>
                      </a:lnTo>
                      <a:lnTo>
                        <a:pt x="364914" y="226314"/>
                      </a:lnTo>
                      <a:lnTo>
                        <a:pt x="344411" y="230062"/>
                      </a:lnTo>
                      <a:lnTo>
                        <a:pt x="312915" y="232093"/>
                      </a:lnTo>
                      <a:lnTo>
                        <a:pt x="304381" y="240483"/>
                      </a:lnTo>
                      <a:lnTo>
                        <a:pt x="289587" y="241410"/>
                      </a:lnTo>
                      <a:lnTo>
                        <a:pt x="274787" y="241518"/>
                      </a:lnTo>
                      <a:lnTo>
                        <a:pt x="269026" y="236991"/>
                      </a:lnTo>
                      <a:lnTo>
                        <a:pt x="256319" y="240350"/>
                      </a:lnTo>
                      <a:lnTo>
                        <a:pt x="234744" y="250132"/>
                      </a:lnTo>
                      <a:lnTo>
                        <a:pt x="230340" y="257496"/>
                      </a:lnTo>
                      <a:lnTo>
                        <a:pt x="212431" y="268044"/>
                      </a:lnTo>
                      <a:lnTo>
                        <a:pt x="209292" y="274084"/>
                      </a:lnTo>
                      <a:lnTo>
                        <a:pt x="199618" y="278867"/>
                      </a:lnTo>
                      <a:lnTo>
                        <a:pt x="188455" y="275700"/>
                      </a:lnTo>
                      <a:lnTo>
                        <a:pt x="182130" y="281432"/>
                      </a:lnTo>
                      <a:lnTo>
                        <a:pt x="178742" y="297523"/>
                      </a:lnTo>
                      <a:lnTo>
                        <a:pt x="160420" y="316931"/>
                      </a:lnTo>
                      <a:lnTo>
                        <a:pt x="160953" y="324852"/>
                      </a:lnTo>
                      <a:lnTo>
                        <a:pt x="154658" y="334756"/>
                      </a:lnTo>
                      <a:lnTo>
                        <a:pt x="156187" y="348306"/>
                      </a:lnTo>
                      <a:lnTo>
                        <a:pt x="146663" y="351762"/>
                      </a:lnTo>
                      <a:lnTo>
                        <a:pt x="141273" y="354705"/>
                      </a:lnTo>
                      <a:lnTo>
                        <a:pt x="137700" y="344729"/>
                      </a:lnTo>
                      <a:lnTo>
                        <a:pt x="131035" y="347360"/>
                      </a:lnTo>
                      <a:lnTo>
                        <a:pt x="127054" y="346905"/>
                      </a:lnTo>
                      <a:lnTo>
                        <a:pt x="122806" y="353711"/>
                      </a:lnTo>
                      <a:lnTo>
                        <a:pt x="104980" y="353519"/>
                      </a:lnTo>
                      <a:lnTo>
                        <a:pt x="98590" y="350017"/>
                      </a:lnTo>
                      <a:lnTo>
                        <a:pt x="95581" y="352136"/>
                      </a:lnTo>
                      <a:lnTo>
                        <a:pt x="88531" y="345411"/>
                      </a:lnTo>
                      <a:lnTo>
                        <a:pt x="89755" y="338461"/>
                      </a:lnTo>
                      <a:lnTo>
                        <a:pt x="86870" y="335737"/>
                      </a:lnTo>
                      <a:lnTo>
                        <a:pt x="81953" y="338034"/>
                      </a:lnTo>
                      <a:lnTo>
                        <a:pt x="82854" y="330435"/>
                      </a:lnTo>
                      <a:lnTo>
                        <a:pt x="87586" y="324419"/>
                      </a:lnTo>
                      <a:lnTo>
                        <a:pt x="78127" y="314621"/>
                      </a:lnTo>
                      <a:lnTo>
                        <a:pt x="75376" y="308166"/>
                      </a:lnTo>
                      <a:lnTo>
                        <a:pt x="70247" y="303020"/>
                      </a:lnTo>
                      <a:lnTo>
                        <a:pt x="65627" y="302405"/>
                      </a:lnTo>
                      <a:lnTo>
                        <a:pt x="60080" y="305686"/>
                      </a:lnTo>
                      <a:lnTo>
                        <a:pt x="52623" y="308818"/>
                      </a:lnTo>
                      <a:lnTo>
                        <a:pt x="46293" y="313884"/>
                      </a:lnTo>
                      <a:lnTo>
                        <a:pt x="36414" y="312014"/>
                      </a:lnTo>
                      <a:lnTo>
                        <a:pt x="30005" y="306069"/>
                      </a:lnTo>
                      <a:lnTo>
                        <a:pt x="26180" y="305288"/>
                      </a:lnTo>
                      <a:lnTo>
                        <a:pt x="20155" y="308409"/>
                      </a:lnTo>
                      <a:lnTo>
                        <a:pt x="16495" y="308435"/>
                      </a:lnTo>
                      <a:lnTo>
                        <a:pt x="15161" y="299858"/>
                      </a:lnTo>
                      <a:lnTo>
                        <a:pt x="16224" y="292555"/>
                      </a:lnTo>
                      <a:lnTo>
                        <a:pt x="14250" y="283481"/>
                      </a:lnTo>
                      <a:lnTo>
                        <a:pt x="5610" y="276885"/>
                      </a:lnTo>
                      <a:lnTo>
                        <a:pt x="1059" y="26342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" name="Freeform 113">
                  <a:extLst>
                    <a:ext uri="{FF2B5EF4-FFF2-40B4-BE49-F238E27FC236}">
                      <a16:creationId xmlns:a16="http://schemas.microsoft.com/office/drawing/2014/main" id="{A5C0C3E7-458E-4FA1-B2E7-9CB2EA2DD9B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5"/>
                  </p:custDataLst>
                </p:nvPr>
              </p:nvSpPr>
              <p:spPr>
                <a:xfrm>
                  <a:off x="9201907" y="3869185"/>
                  <a:ext cx="219862" cy="4740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04901" h="441817">
                      <a:moveTo>
                        <a:pt x="167120" y="199578"/>
                      </a:moveTo>
                      <a:lnTo>
                        <a:pt x="153649" y="209989"/>
                      </a:lnTo>
                      <a:lnTo>
                        <a:pt x="137353" y="211063"/>
                      </a:lnTo>
                      <a:lnTo>
                        <a:pt x="126829" y="236940"/>
                      </a:lnTo>
                      <a:lnTo>
                        <a:pt x="117091" y="241277"/>
                      </a:lnTo>
                      <a:lnTo>
                        <a:pt x="128245" y="262190"/>
                      </a:lnTo>
                      <a:lnTo>
                        <a:pt x="142894" y="279541"/>
                      </a:lnTo>
                      <a:lnTo>
                        <a:pt x="152348" y="295189"/>
                      </a:lnTo>
                      <a:lnTo>
                        <a:pt x="143901" y="315751"/>
                      </a:lnTo>
                      <a:lnTo>
                        <a:pt x="135931" y="320114"/>
                      </a:lnTo>
                      <a:lnTo>
                        <a:pt x="141441" y="331948"/>
                      </a:lnTo>
                      <a:lnTo>
                        <a:pt x="156836" y="350656"/>
                      </a:lnTo>
                      <a:lnTo>
                        <a:pt x="159473" y="363775"/>
                      </a:lnTo>
                      <a:lnTo>
                        <a:pt x="159111" y="374678"/>
                      </a:lnTo>
                      <a:lnTo>
                        <a:pt x="168136" y="396046"/>
                      </a:lnTo>
                      <a:lnTo>
                        <a:pt x="155460" y="417842"/>
                      </a:lnTo>
                      <a:lnTo>
                        <a:pt x="144274" y="441816"/>
                      </a:lnTo>
                      <a:lnTo>
                        <a:pt x="142050" y="424502"/>
                      </a:lnTo>
                      <a:lnTo>
                        <a:pt x="149145" y="406607"/>
                      </a:lnTo>
                      <a:lnTo>
                        <a:pt x="141384" y="392764"/>
                      </a:lnTo>
                      <a:lnTo>
                        <a:pt x="143259" y="367225"/>
                      </a:lnTo>
                      <a:lnTo>
                        <a:pt x="133888" y="355054"/>
                      </a:lnTo>
                      <a:lnTo>
                        <a:pt x="126366" y="326873"/>
                      </a:lnTo>
                      <a:lnTo>
                        <a:pt x="122196" y="297019"/>
                      </a:lnTo>
                      <a:lnTo>
                        <a:pt x="112212" y="277383"/>
                      </a:lnTo>
                      <a:lnTo>
                        <a:pt x="97006" y="289280"/>
                      </a:lnTo>
                      <a:lnTo>
                        <a:pt x="70774" y="306157"/>
                      </a:lnTo>
                      <a:lnTo>
                        <a:pt x="57826" y="304051"/>
                      </a:lnTo>
                      <a:lnTo>
                        <a:pt x="43524" y="298502"/>
                      </a:lnTo>
                      <a:lnTo>
                        <a:pt x="51480" y="269103"/>
                      </a:lnTo>
                      <a:lnTo>
                        <a:pt x="46664" y="246811"/>
                      </a:lnTo>
                      <a:lnTo>
                        <a:pt x="28571" y="219253"/>
                      </a:lnTo>
                      <a:lnTo>
                        <a:pt x="31393" y="210613"/>
                      </a:lnTo>
                      <a:lnTo>
                        <a:pt x="17891" y="207538"/>
                      </a:lnTo>
                      <a:lnTo>
                        <a:pt x="1508" y="187929"/>
                      </a:lnTo>
                      <a:lnTo>
                        <a:pt x="0" y="168522"/>
                      </a:lnTo>
                      <a:lnTo>
                        <a:pt x="8057" y="172180"/>
                      </a:lnTo>
                      <a:lnTo>
                        <a:pt x="8529" y="154836"/>
                      </a:lnTo>
                      <a:lnTo>
                        <a:pt x="19918" y="149088"/>
                      </a:lnTo>
                      <a:lnTo>
                        <a:pt x="17475" y="138781"/>
                      </a:lnTo>
                      <a:lnTo>
                        <a:pt x="22693" y="130502"/>
                      </a:lnTo>
                      <a:lnTo>
                        <a:pt x="23589" y="105260"/>
                      </a:lnTo>
                      <a:lnTo>
                        <a:pt x="41630" y="110827"/>
                      </a:lnTo>
                      <a:lnTo>
                        <a:pt x="51923" y="90648"/>
                      </a:lnTo>
                      <a:lnTo>
                        <a:pt x="53091" y="78684"/>
                      </a:lnTo>
                      <a:lnTo>
                        <a:pt x="65830" y="58018"/>
                      </a:lnTo>
                      <a:lnTo>
                        <a:pt x="65129" y="43866"/>
                      </a:lnTo>
                      <a:lnTo>
                        <a:pt x="95011" y="26718"/>
                      </a:lnTo>
                      <a:lnTo>
                        <a:pt x="111507" y="31211"/>
                      </a:lnTo>
                      <a:lnTo>
                        <a:pt x="109614" y="15903"/>
                      </a:lnTo>
                      <a:lnTo>
                        <a:pt x="117706" y="11328"/>
                      </a:lnTo>
                      <a:lnTo>
                        <a:pt x="115964" y="1860"/>
                      </a:lnTo>
                      <a:lnTo>
                        <a:pt x="129465" y="0"/>
                      </a:lnTo>
                      <a:lnTo>
                        <a:pt x="137180" y="14702"/>
                      </a:lnTo>
                      <a:lnTo>
                        <a:pt x="147256" y="20642"/>
                      </a:lnTo>
                      <a:lnTo>
                        <a:pt x="147934" y="39654"/>
                      </a:lnTo>
                      <a:lnTo>
                        <a:pt x="147004" y="60057"/>
                      </a:lnTo>
                      <a:lnTo>
                        <a:pt x="125140" y="80623"/>
                      </a:lnTo>
                      <a:lnTo>
                        <a:pt x="122373" y="109687"/>
                      </a:lnTo>
                      <a:lnTo>
                        <a:pt x="146738" y="105633"/>
                      </a:lnTo>
                      <a:lnTo>
                        <a:pt x="152242" y="128091"/>
                      </a:lnTo>
                      <a:lnTo>
                        <a:pt x="166859" y="132804"/>
                      </a:lnTo>
                      <a:lnTo>
                        <a:pt x="160140" y="152969"/>
                      </a:lnTo>
                      <a:lnTo>
                        <a:pt x="177281" y="162056"/>
                      </a:lnTo>
                      <a:lnTo>
                        <a:pt x="187277" y="166508"/>
                      </a:lnTo>
                      <a:lnTo>
                        <a:pt x="204208" y="159466"/>
                      </a:lnTo>
                      <a:lnTo>
                        <a:pt x="204900" y="169462"/>
                      </a:lnTo>
                      <a:lnTo>
                        <a:pt x="185259" y="185153"/>
                      </a:lnTo>
                      <a:lnTo>
                        <a:pt x="180340" y="19401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" name="Freeform 114">
                  <a:extLst>
                    <a:ext uri="{FF2B5EF4-FFF2-40B4-BE49-F238E27FC236}">
                      <a16:creationId xmlns:a16="http://schemas.microsoft.com/office/drawing/2014/main" id="{86B15A30-BD4A-4630-A6D9-E285A65E073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6"/>
                  </p:custDataLst>
                </p:nvPr>
              </p:nvSpPr>
              <p:spPr>
                <a:xfrm>
                  <a:off x="7372707" y="3438848"/>
                  <a:ext cx="46807" cy="4928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3622" h="45928">
                      <a:moveTo>
                        <a:pt x="31199" y="28644"/>
                      </a:moveTo>
                      <a:lnTo>
                        <a:pt x="29732" y="23400"/>
                      </a:lnTo>
                      <a:lnTo>
                        <a:pt x="19724" y="37106"/>
                      </a:lnTo>
                      <a:lnTo>
                        <a:pt x="21277" y="45927"/>
                      </a:lnTo>
                      <a:lnTo>
                        <a:pt x="16445" y="43781"/>
                      </a:lnTo>
                      <a:lnTo>
                        <a:pt x="9975" y="34723"/>
                      </a:lnTo>
                      <a:lnTo>
                        <a:pt x="0" y="29203"/>
                      </a:lnTo>
                      <a:lnTo>
                        <a:pt x="2539" y="24467"/>
                      </a:lnTo>
                      <a:lnTo>
                        <a:pt x="5920" y="9088"/>
                      </a:lnTo>
                      <a:lnTo>
                        <a:pt x="13426" y="2567"/>
                      </a:lnTo>
                      <a:lnTo>
                        <a:pt x="17739" y="0"/>
                      </a:lnTo>
                      <a:lnTo>
                        <a:pt x="23865" y="4820"/>
                      </a:lnTo>
                      <a:lnTo>
                        <a:pt x="27237" y="8705"/>
                      </a:lnTo>
                      <a:lnTo>
                        <a:pt x="34822" y="11724"/>
                      </a:lnTo>
                      <a:lnTo>
                        <a:pt x="43621" y="17529"/>
                      </a:lnTo>
                      <a:lnTo>
                        <a:pt x="41724" y="19925"/>
                      </a:lnTo>
                      <a:lnTo>
                        <a:pt x="37410" y="26177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" name="Freeform 115">
                  <a:extLst>
                    <a:ext uri="{FF2B5EF4-FFF2-40B4-BE49-F238E27FC236}">
                      <a16:creationId xmlns:a16="http://schemas.microsoft.com/office/drawing/2014/main" id="{B95BCE30-5384-4CEE-B7A7-34317F2CFB1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7"/>
                  </p:custDataLst>
                </p:nvPr>
              </p:nvSpPr>
              <p:spPr>
                <a:xfrm>
                  <a:off x="9089164" y="3169749"/>
                  <a:ext cx="793113" cy="32669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39144" h="304460">
                      <a:moveTo>
                        <a:pt x="0" y="83543"/>
                      </a:moveTo>
                      <a:lnTo>
                        <a:pt x="24336" y="78358"/>
                      </a:lnTo>
                      <a:lnTo>
                        <a:pt x="68380" y="52435"/>
                      </a:lnTo>
                      <a:lnTo>
                        <a:pt x="103489" y="38166"/>
                      </a:lnTo>
                      <a:lnTo>
                        <a:pt x="123560" y="47485"/>
                      </a:lnTo>
                      <a:lnTo>
                        <a:pt x="147643" y="47932"/>
                      </a:lnTo>
                      <a:lnTo>
                        <a:pt x="163071" y="62048"/>
                      </a:lnTo>
                      <a:lnTo>
                        <a:pt x="186110" y="63132"/>
                      </a:lnTo>
                      <a:lnTo>
                        <a:pt x="219480" y="70694"/>
                      </a:lnTo>
                      <a:lnTo>
                        <a:pt x="241917" y="49693"/>
                      </a:lnTo>
                      <a:lnTo>
                        <a:pt x="232546" y="31806"/>
                      </a:lnTo>
                      <a:lnTo>
                        <a:pt x="256453" y="0"/>
                      </a:lnTo>
                      <a:lnTo>
                        <a:pt x="282311" y="12734"/>
                      </a:lnTo>
                      <a:lnTo>
                        <a:pt x="303264" y="16332"/>
                      </a:lnTo>
                      <a:lnTo>
                        <a:pt x="330404" y="24203"/>
                      </a:lnTo>
                      <a:lnTo>
                        <a:pt x="334805" y="47022"/>
                      </a:lnTo>
                      <a:lnTo>
                        <a:pt x="367598" y="59740"/>
                      </a:lnTo>
                      <a:lnTo>
                        <a:pt x="389411" y="54143"/>
                      </a:lnTo>
                      <a:lnTo>
                        <a:pt x="418612" y="50189"/>
                      </a:lnTo>
                      <a:lnTo>
                        <a:pt x="441745" y="54174"/>
                      </a:lnTo>
                      <a:lnTo>
                        <a:pt x="464352" y="68661"/>
                      </a:lnTo>
                      <a:lnTo>
                        <a:pt x="478362" y="83981"/>
                      </a:lnTo>
                      <a:lnTo>
                        <a:pt x="499767" y="83670"/>
                      </a:lnTo>
                      <a:lnTo>
                        <a:pt x="528841" y="88532"/>
                      </a:lnTo>
                      <a:lnTo>
                        <a:pt x="550059" y="81128"/>
                      </a:lnTo>
                      <a:lnTo>
                        <a:pt x="580448" y="76169"/>
                      </a:lnTo>
                      <a:lnTo>
                        <a:pt x="614257" y="54960"/>
                      </a:lnTo>
                      <a:lnTo>
                        <a:pt x="628099" y="58223"/>
                      </a:lnTo>
                      <a:lnTo>
                        <a:pt x="640184" y="68316"/>
                      </a:lnTo>
                      <a:lnTo>
                        <a:pt x="667724" y="65809"/>
                      </a:lnTo>
                      <a:lnTo>
                        <a:pt x="656483" y="88398"/>
                      </a:lnTo>
                      <a:lnTo>
                        <a:pt x="640175" y="118039"/>
                      </a:lnTo>
                      <a:lnTo>
                        <a:pt x="646120" y="130072"/>
                      </a:lnTo>
                      <a:lnTo>
                        <a:pt x="659188" y="126344"/>
                      </a:lnTo>
                      <a:lnTo>
                        <a:pt x="681960" y="130918"/>
                      </a:lnTo>
                      <a:lnTo>
                        <a:pt x="699702" y="120063"/>
                      </a:lnTo>
                      <a:lnTo>
                        <a:pt x="718224" y="129469"/>
                      </a:lnTo>
                      <a:lnTo>
                        <a:pt x="739143" y="149922"/>
                      </a:lnTo>
                      <a:lnTo>
                        <a:pt x="736614" y="160261"/>
                      </a:lnTo>
                      <a:lnTo>
                        <a:pt x="718403" y="156985"/>
                      </a:lnTo>
                      <a:lnTo>
                        <a:pt x="684872" y="160840"/>
                      </a:lnTo>
                      <a:lnTo>
                        <a:pt x="668626" y="169088"/>
                      </a:lnTo>
                      <a:lnTo>
                        <a:pt x="651712" y="188154"/>
                      </a:lnTo>
                      <a:lnTo>
                        <a:pt x="616517" y="199268"/>
                      </a:lnTo>
                      <a:lnTo>
                        <a:pt x="593516" y="214428"/>
                      </a:lnTo>
                      <a:lnTo>
                        <a:pt x="569791" y="208648"/>
                      </a:lnTo>
                      <a:lnTo>
                        <a:pt x="556801" y="206066"/>
                      </a:lnTo>
                      <a:lnTo>
                        <a:pt x="544684" y="224418"/>
                      </a:lnTo>
                      <a:lnTo>
                        <a:pt x="552055" y="235301"/>
                      </a:lnTo>
                      <a:lnTo>
                        <a:pt x="555792" y="244617"/>
                      </a:lnTo>
                      <a:lnTo>
                        <a:pt x="539636" y="254076"/>
                      </a:lnTo>
                      <a:lnTo>
                        <a:pt x="523072" y="269080"/>
                      </a:lnTo>
                      <a:lnTo>
                        <a:pt x="496100" y="278893"/>
                      </a:lnTo>
                      <a:lnTo>
                        <a:pt x="461503" y="279949"/>
                      </a:lnTo>
                      <a:lnTo>
                        <a:pt x="424214" y="289598"/>
                      </a:lnTo>
                      <a:lnTo>
                        <a:pt x="397339" y="304459"/>
                      </a:lnTo>
                      <a:lnTo>
                        <a:pt x="387120" y="295862"/>
                      </a:lnTo>
                      <a:lnTo>
                        <a:pt x="359189" y="295886"/>
                      </a:lnTo>
                      <a:lnTo>
                        <a:pt x="325045" y="279020"/>
                      </a:lnTo>
                      <a:lnTo>
                        <a:pt x="302258" y="274870"/>
                      </a:lnTo>
                      <a:lnTo>
                        <a:pt x="271557" y="278747"/>
                      </a:lnTo>
                      <a:lnTo>
                        <a:pt x="223913" y="272496"/>
                      </a:lnTo>
                      <a:lnTo>
                        <a:pt x="198467" y="273145"/>
                      </a:lnTo>
                      <a:lnTo>
                        <a:pt x="184919" y="256529"/>
                      </a:lnTo>
                      <a:lnTo>
                        <a:pt x="174403" y="230544"/>
                      </a:lnTo>
                      <a:lnTo>
                        <a:pt x="160139" y="227399"/>
                      </a:lnTo>
                      <a:lnTo>
                        <a:pt x="132251" y="209680"/>
                      </a:lnTo>
                      <a:lnTo>
                        <a:pt x="101162" y="205695"/>
                      </a:lnTo>
                      <a:lnTo>
                        <a:pt x="73732" y="200806"/>
                      </a:lnTo>
                      <a:lnTo>
                        <a:pt x="65427" y="188370"/>
                      </a:lnTo>
                      <a:lnTo>
                        <a:pt x="74315" y="154579"/>
                      </a:lnTo>
                      <a:lnTo>
                        <a:pt x="58388" y="131040"/>
                      </a:lnTo>
                      <a:lnTo>
                        <a:pt x="25461" y="119994"/>
                      </a:lnTo>
                      <a:lnTo>
                        <a:pt x="6060" y="10431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Freeform 116">
                  <a:extLst>
                    <a:ext uri="{FF2B5EF4-FFF2-40B4-BE49-F238E27FC236}">
                      <a16:creationId xmlns:a16="http://schemas.microsoft.com/office/drawing/2014/main" id="{F9FEEF78-FCB9-4892-A821-0A4CE7D101A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8"/>
                  </p:custDataLst>
                </p:nvPr>
              </p:nvSpPr>
              <p:spPr>
                <a:xfrm>
                  <a:off x="7663222" y="4846496"/>
                  <a:ext cx="262442" cy="4218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4584" h="393173">
                      <a:moveTo>
                        <a:pt x="101114" y="28093"/>
                      </a:moveTo>
                      <a:lnTo>
                        <a:pt x="118481" y="26202"/>
                      </a:lnTo>
                      <a:lnTo>
                        <a:pt x="146219" y="32792"/>
                      </a:lnTo>
                      <a:lnTo>
                        <a:pt x="152245" y="29835"/>
                      </a:lnTo>
                      <a:lnTo>
                        <a:pt x="168314" y="29232"/>
                      </a:lnTo>
                      <a:lnTo>
                        <a:pt x="176540" y="22219"/>
                      </a:lnTo>
                      <a:lnTo>
                        <a:pt x="190387" y="22603"/>
                      </a:lnTo>
                      <a:lnTo>
                        <a:pt x="215627" y="13530"/>
                      </a:lnTo>
                      <a:lnTo>
                        <a:pt x="233991" y="0"/>
                      </a:lnTo>
                      <a:lnTo>
                        <a:pt x="237726" y="10462"/>
                      </a:lnTo>
                      <a:lnTo>
                        <a:pt x="236777" y="33746"/>
                      </a:lnTo>
                      <a:lnTo>
                        <a:pt x="239628" y="54298"/>
                      </a:lnTo>
                      <a:lnTo>
                        <a:pt x="240524" y="91015"/>
                      </a:lnTo>
                      <a:lnTo>
                        <a:pt x="244583" y="102555"/>
                      </a:lnTo>
                      <a:lnTo>
                        <a:pt x="237700" y="119419"/>
                      </a:lnTo>
                      <a:lnTo>
                        <a:pt x="228744" y="135845"/>
                      </a:lnTo>
                      <a:lnTo>
                        <a:pt x="214047" y="150543"/>
                      </a:lnTo>
                      <a:lnTo>
                        <a:pt x="192945" y="159568"/>
                      </a:lnTo>
                      <a:lnTo>
                        <a:pt x="166925" y="171108"/>
                      </a:lnTo>
                      <a:lnTo>
                        <a:pt x="140846" y="196698"/>
                      </a:lnTo>
                      <a:lnTo>
                        <a:pt x="131964" y="201061"/>
                      </a:lnTo>
                      <a:lnTo>
                        <a:pt x="115850" y="218070"/>
                      </a:lnTo>
                      <a:lnTo>
                        <a:pt x="106339" y="223615"/>
                      </a:lnTo>
                      <a:lnTo>
                        <a:pt x="104389" y="240746"/>
                      </a:lnTo>
                      <a:lnTo>
                        <a:pt x="115336" y="258997"/>
                      </a:lnTo>
                      <a:lnTo>
                        <a:pt x="119890" y="273171"/>
                      </a:lnTo>
                      <a:lnTo>
                        <a:pt x="120177" y="280416"/>
                      </a:lnTo>
                      <a:lnTo>
                        <a:pt x="124255" y="279204"/>
                      </a:lnTo>
                      <a:lnTo>
                        <a:pt x="123595" y="303017"/>
                      </a:lnTo>
                      <a:lnTo>
                        <a:pt x="119852" y="314335"/>
                      </a:lnTo>
                      <a:lnTo>
                        <a:pt x="125292" y="318512"/>
                      </a:lnTo>
                      <a:lnTo>
                        <a:pt x="121859" y="328677"/>
                      </a:lnTo>
                      <a:lnTo>
                        <a:pt x="112211" y="337385"/>
                      </a:lnTo>
                      <a:lnTo>
                        <a:pt x="93169" y="345672"/>
                      </a:lnTo>
                      <a:lnTo>
                        <a:pt x="65410" y="358973"/>
                      </a:lnTo>
                      <a:lnTo>
                        <a:pt x="55286" y="368081"/>
                      </a:lnTo>
                      <a:lnTo>
                        <a:pt x="57265" y="378479"/>
                      </a:lnTo>
                      <a:lnTo>
                        <a:pt x="63165" y="380142"/>
                      </a:lnTo>
                      <a:lnTo>
                        <a:pt x="61183" y="393172"/>
                      </a:lnTo>
                      <a:lnTo>
                        <a:pt x="43676" y="392964"/>
                      </a:lnTo>
                      <a:lnTo>
                        <a:pt x="41694" y="382019"/>
                      </a:lnTo>
                      <a:lnTo>
                        <a:pt x="38277" y="370942"/>
                      </a:lnTo>
                      <a:lnTo>
                        <a:pt x="36307" y="362092"/>
                      </a:lnTo>
                      <a:lnTo>
                        <a:pt x="40420" y="334716"/>
                      </a:lnTo>
                      <a:lnTo>
                        <a:pt x="34414" y="317350"/>
                      </a:lnTo>
                      <a:lnTo>
                        <a:pt x="23358" y="283118"/>
                      </a:lnTo>
                      <a:lnTo>
                        <a:pt x="47677" y="255670"/>
                      </a:lnTo>
                      <a:lnTo>
                        <a:pt x="53764" y="238299"/>
                      </a:lnTo>
                      <a:lnTo>
                        <a:pt x="57251" y="236110"/>
                      </a:lnTo>
                      <a:lnTo>
                        <a:pt x="59858" y="221973"/>
                      </a:lnTo>
                      <a:lnTo>
                        <a:pt x="56148" y="214873"/>
                      </a:lnTo>
                      <a:lnTo>
                        <a:pt x="57139" y="196995"/>
                      </a:lnTo>
                      <a:lnTo>
                        <a:pt x="61639" y="180459"/>
                      </a:lnTo>
                      <a:lnTo>
                        <a:pt x="61588" y="150366"/>
                      </a:lnTo>
                      <a:lnTo>
                        <a:pt x="49599" y="142746"/>
                      </a:lnTo>
                      <a:lnTo>
                        <a:pt x="38607" y="141024"/>
                      </a:lnTo>
                      <a:lnTo>
                        <a:pt x="33632" y="135164"/>
                      </a:lnTo>
                      <a:lnTo>
                        <a:pt x="22934" y="130168"/>
                      </a:lnTo>
                      <a:lnTo>
                        <a:pt x="3681" y="130639"/>
                      </a:lnTo>
                      <a:lnTo>
                        <a:pt x="2187" y="121817"/>
                      </a:lnTo>
                      <a:lnTo>
                        <a:pt x="0" y="105015"/>
                      </a:lnTo>
                      <a:lnTo>
                        <a:pt x="70045" y="85599"/>
                      </a:lnTo>
                      <a:lnTo>
                        <a:pt x="83333" y="96900"/>
                      </a:lnTo>
                      <a:lnTo>
                        <a:pt x="89684" y="94735"/>
                      </a:lnTo>
                      <a:lnTo>
                        <a:pt x="98797" y="100698"/>
                      </a:lnTo>
                      <a:lnTo>
                        <a:pt x="100136" y="110149"/>
                      </a:lnTo>
                      <a:lnTo>
                        <a:pt x="95281" y="121128"/>
                      </a:lnTo>
                      <a:lnTo>
                        <a:pt x="96989" y="137806"/>
                      </a:lnTo>
                      <a:lnTo>
                        <a:pt x="112050" y="152451"/>
                      </a:lnTo>
                      <a:lnTo>
                        <a:pt x="119097" y="136003"/>
                      </a:lnTo>
                      <a:lnTo>
                        <a:pt x="129088" y="131018"/>
                      </a:lnTo>
                      <a:lnTo>
                        <a:pt x="127124" y="100652"/>
                      </a:lnTo>
                      <a:lnTo>
                        <a:pt x="117455" y="83622"/>
                      </a:lnTo>
                      <a:lnTo>
                        <a:pt x="109127" y="76041"/>
                      </a:lnTo>
                      <a:lnTo>
                        <a:pt x="101114" y="76384"/>
                      </a:lnTo>
                      <a:lnTo>
                        <a:pt x="94651" y="4588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" name="Freeform 117">
                  <a:extLst>
                    <a:ext uri="{FF2B5EF4-FFF2-40B4-BE49-F238E27FC236}">
                      <a16:creationId xmlns:a16="http://schemas.microsoft.com/office/drawing/2014/main" id="{AE10A69B-79EC-4054-A40F-4E4305F2E42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9"/>
                  </p:custDataLst>
                </p:nvPr>
              </p:nvSpPr>
              <p:spPr>
                <a:xfrm>
                  <a:off x="6493107" y="3894354"/>
                  <a:ext cx="300688" cy="33114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0227" h="308616">
                      <a:moveTo>
                        <a:pt x="112936" y="308615"/>
                      </a:moveTo>
                      <a:lnTo>
                        <a:pt x="97704" y="292408"/>
                      </a:lnTo>
                      <a:lnTo>
                        <a:pt x="83737" y="275012"/>
                      </a:lnTo>
                      <a:lnTo>
                        <a:pt x="68415" y="268737"/>
                      </a:lnTo>
                      <a:lnTo>
                        <a:pt x="57385" y="261769"/>
                      </a:lnTo>
                      <a:lnTo>
                        <a:pt x="44496" y="262029"/>
                      </a:lnTo>
                      <a:lnTo>
                        <a:pt x="33233" y="267196"/>
                      </a:lnTo>
                      <a:lnTo>
                        <a:pt x="21761" y="265150"/>
                      </a:lnTo>
                      <a:lnTo>
                        <a:pt x="13857" y="272747"/>
                      </a:lnTo>
                      <a:lnTo>
                        <a:pt x="11858" y="259975"/>
                      </a:lnTo>
                      <a:lnTo>
                        <a:pt x="18302" y="248268"/>
                      </a:lnTo>
                      <a:lnTo>
                        <a:pt x="21169" y="225859"/>
                      </a:lnTo>
                      <a:lnTo>
                        <a:pt x="18617" y="202256"/>
                      </a:lnTo>
                      <a:lnTo>
                        <a:pt x="15829" y="190350"/>
                      </a:lnTo>
                      <a:lnTo>
                        <a:pt x="18134" y="178382"/>
                      </a:lnTo>
                      <a:lnTo>
                        <a:pt x="12167" y="166953"/>
                      </a:lnTo>
                      <a:lnTo>
                        <a:pt x="0" y="156548"/>
                      </a:lnTo>
                      <a:lnTo>
                        <a:pt x="5037" y="148500"/>
                      </a:lnTo>
                      <a:lnTo>
                        <a:pt x="95431" y="148651"/>
                      </a:lnTo>
                      <a:lnTo>
                        <a:pt x="91054" y="113671"/>
                      </a:lnTo>
                      <a:lnTo>
                        <a:pt x="96698" y="101174"/>
                      </a:lnTo>
                      <a:lnTo>
                        <a:pt x="118326" y="98987"/>
                      </a:lnTo>
                      <a:lnTo>
                        <a:pt x="117583" y="36239"/>
                      </a:lnTo>
                      <a:lnTo>
                        <a:pt x="193343" y="37530"/>
                      </a:lnTo>
                      <a:lnTo>
                        <a:pt x="193410" y="0"/>
                      </a:lnTo>
                      <a:lnTo>
                        <a:pt x="280226" y="59846"/>
                      </a:lnTo>
                      <a:lnTo>
                        <a:pt x="244899" y="60288"/>
                      </a:lnTo>
                      <a:lnTo>
                        <a:pt x="256040" y="165196"/>
                      </a:lnTo>
                      <a:lnTo>
                        <a:pt x="267180" y="268245"/>
                      </a:lnTo>
                      <a:lnTo>
                        <a:pt x="271179" y="271164"/>
                      </a:lnTo>
                      <a:lnTo>
                        <a:pt x="266044" y="287730"/>
                      </a:lnTo>
                      <a:lnTo>
                        <a:pt x="173424" y="288089"/>
                      </a:lnTo>
                      <a:lnTo>
                        <a:pt x="169962" y="293343"/>
                      </a:lnTo>
                      <a:lnTo>
                        <a:pt x="161038" y="291775"/>
                      </a:lnTo>
                      <a:lnTo>
                        <a:pt x="148021" y="296445"/>
                      </a:lnTo>
                      <a:lnTo>
                        <a:pt x="131902" y="289867"/>
                      </a:lnTo>
                      <a:lnTo>
                        <a:pt x="124585" y="290412"/>
                      </a:lnTo>
                      <a:lnTo>
                        <a:pt x="120704" y="30431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" name="Freeform 118">
                  <a:extLst>
                    <a:ext uri="{FF2B5EF4-FFF2-40B4-BE49-F238E27FC236}">
                      <a16:creationId xmlns:a16="http://schemas.microsoft.com/office/drawing/2014/main" id="{AB476FBE-D0B3-4EC5-B670-BAAD2648D78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0"/>
                  </p:custDataLst>
                </p:nvPr>
              </p:nvSpPr>
              <p:spPr>
                <a:xfrm>
                  <a:off x="7725357" y="4819332"/>
                  <a:ext cx="76379" cy="19074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182" h="177767">
                      <a:moveTo>
                        <a:pt x="43207" y="53408"/>
                      </a:moveTo>
                      <a:lnTo>
                        <a:pt x="36744" y="71196"/>
                      </a:lnTo>
                      <a:lnTo>
                        <a:pt x="43207" y="101699"/>
                      </a:lnTo>
                      <a:lnTo>
                        <a:pt x="51220" y="101356"/>
                      </a:lnTo>
                      <a:lnTo>
                        <a:pt x="59548" y="108937"/>
                      </a:lnTo>
                      <a:lnTo>
                        <a:pt x="69217" y="125967"/>
                      </a:lnTo>
                      <a:lnTo>
                        <a:pt x="71181" y="156333"/>
                      </a:lnTo>
                      <a:lnTo>
                        <a:pt x="61190" y="161318"/>
                      </a:lnTo>
                      <a:lnTo>
                        <a:pt x="54143" y="177766"/>
                      </a:lnTo>
                      <a:lnTo>
                        <a:pt x="39082" y="163121"/>
                      </a:lnTo>
                      <a:lnTo>
                        <a:pt x="37374" y="146443"/>
                      </a:lnTo>
                      <a:lnTo>
                        <a:pt x="42229" y="135464"/>
                      </a:lnTo>
                      <a:lnTo>
                        <a:pt x="40890" y="126013"/>
                      </a:lnTo>
                      <a:lnTo>
                        <a:pt x="31777" y="120050"/>
                      </a:lnTo>
                      <a:lnTo>
                        <a:pt x="25426" y="122215"/>
                      </a:lnTo>
                      <a:lnTo>
                        <a:pt x="12138" y="110914"/>
                      </a:lnTo>
                      <a:lnTo>
                        <a:pt x="0" y="104822"/>
                      </a:lnTo>
                      <a:lnTo>
                        <a:pt x="7008" y="83006"/>
                      </a:lnTo>
                      <a:lnTo>
                        <a:pt x="14271" y="74845"/>
                      </a:lnTo>
                      <a:lnTo>
                        <a:pt x="9836" y="55447"/>
                      </a:lnTo>
                      <a:lnTo>
                        <a:pt x="14476" y="36503"/>
                      </a:lnTo>
                      <a:lnTo>
                        <a:pt x="18409" y="30178"/>
                      </a:lnTo>
                      <a:lnTo>
                        <a:pt x="12539" y="10388"/>
                      </a:lnTo>
                      <a:lnTo>
                        <a:pt x="1644" y="0"/>
                      </a:lnTo>
                      <a:lnTo>
                        <a:pt x="24273" y="4343"/>
                      </a:lnTo>
                      <a:lnTo>
                        <a:pt x="28915" y="10783"/>
                      </a:lnTo>
                      <a:lnTo>
                        <a:pt x="36744" y="2165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" name="Freeform 119">
                  <a:extLst>
                    <a:ext uri="{FF2B5EF4-FFF2-40B4-BE49-F238E27FC236}">
                      <a16:creationId xmlns:a16="http://schemas.microsoft.com/office/drawing/2014/main" id="{7C9FEC07-57BD-44A2-9DB9-885D2161276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1"/>
                  </p:custDataLst>
                </p:nvPr>
              </p:nvSpPr>
              <p:spPr>
                <a:xfrm>
                  <a:off x="9394665" y="4418210"/>
                  <a:ext cx="472975" cy="1527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0791" h="142321">
                      <a:moveTo>
                        <a:pt x="4013" y="6613"/>
                      </a:moveTo>
                      <a:lnTo>
                        <a:pt x="22847" y="16763"/>
                      </a:lnTo>
                      <a:lnTo>
                        <a:pt x="24664" y="28657"/>
                      </a:lnTo>
                      <a:lnTo>
                        <a:pt x="39899" y="25891"/>
                      </a:lnTo>
                      <a:lnTo>
                        <a:pt x="47445" y="16375"/>
                      </a:lnTo>
                      <a:lnTo>
                        <a:pt x="52753" y="18539"/>
                      </a:lnTo>
                      <a:lnTo>
                        <a:pt x="66385" y="32521"/>
                      </a:lnTo>
                      <a:lnTo>
                        <a:pt x="76068" y="48015"/>
                      </a:lnTo>
                      <a:lnTo>
                        <a:pt x="77392" y="63590"/>
                      </a:lnTo>
                      <a:lnTo>
                        <a:pt x="74935" y="74106"/>
                      </a:lnTo>
                      <a:lnTo>
                        <a:pt x="77181" y="82053"/>
                      </a:lnTo>
                      <a:lnTo>
                        <a:pt x="78867" y="95727"/>
                      </a:lnTo>
                      <a:lnTo>
                        <a:pt x="86997" y="102092"/>
                      </a:lnTo>
                      <a:lnTo>
                        <a:pt x="96075" y="122513"/>
                      </a:lnTo>
                      <a:lnTo>
                        <a:pt x="95634" y="130319"/>
                      </a:lnTo>
                      <a:lnTo>
                        <a:pt x="79265" y="131859"/>
                      </a:lnTo>
                      <a:lnTo>
                        <a:pt x="57427" y="114756"/>
                      </a:lnTo>
                      <a:lnTo>
                        <a:pt x="30121" y="96425"/>
                      </a:lnTo>
                      <a:lnTo>
                        <a:pt x="27418" y="84654"/>
                      </a:lnTo>
                      <a:lnTo>
                        <a:pt x="14074" y="69196"/>
                      </a:lnTo>
                      <a:lnTo>
                        <a:pt x="10888" y="50045"/>
                      </a:lnTo>
                      <a:lnTo>
                        <a:pt x="2562" y="37428"/>
                      </a:lnTo>
                      <a:lnTo>
                        <a:pt x="5091" y="20570"/>
                      </a:lnTo>
                      <a:lnTo>
                        <a:pt x="0" y="10747"/>
                      </a:lnTo>
                      <a:close/>
                      <a:moveTo>
                        <a:pt x="393419" y="0"/>
                      </a:moveTo>
                      <a:lnTo>
                        <a:pt x="405278" y="11728"/>
                      </a:lnTo>
                      <a:lnTo>
                        <a:pt x="406333" y="21799"/>
                      </a:lnTo>
                      <a:lnTo>
                        <a:pt x="421535" y="28256"/>
                      </a:lnTo>
                      <a:lnTo>
                        <a:pt x="440791" y="35222"/>
                      </a:lnTo>
                      <a:lnTo>
                        <a:pt x="439147" y="44287"/>
                      </a:lnTo>
                      <a:lnTo>
                        <a:pt x="423660" y="45435"/>
                      </a:lnTo>
                      <a:lnTo>
                        <a:pt x="427782" y="56731"/>
                      </a:lnTo>
                      <a:lnTo>
                        <a:pt x="410786" y="64609"/>
                      </a:lnTo>
                      <a:lnTo>
                        <a:pt x="390778" y="60712"/>
                      </a:lnTo>
                      <a:lnTo>
                        <a:pt x="364240" y="60701"/>
                      </a:lnTo>
                      <a:lnTo>
                        <a:pt x="356243" y="86989"/>
                      </a:lnTo>
                      <a:lnTo>
                        <a:pt x="347355" y="95023"/>
                      </a:lnTo>
                      <a:lnTo>
                        <a:pt x="335521" y="127141"/>
                      </a:lnTo>
                      <a:lnTo>
                        <a:pt x="316697" y="132062"/>
                      </a:lnTo>
                      <a:lnTo>
                        <a:pt x="294860" y="125592"/>
                      </a:lnTo>
                      <a:lnTo>
                        <a:pt x="283791" y="127616"/>
                      </a:lnTo>
                      <a:lnTo>
                        <a:pt x="270340" y="139290"/>
                      </a:lnTo>
                      <a:lnTo>
                        <a:pt x="255604" y="137627"/>
                      </a:lnTo>
                      <a:lnTo>
                        <a:pt x="240713" y="142321"/>
                      </a:lnTo>
                      <a:lnTo>
                        <a:pt x="224929" y="129278"/>
                      </a:lnTo>
                      <a:lnTo>
                        <a:pt x="221075" y="113847"/>
                      </a:lnTo>
                      <a:lnTo>
                        <a:pt x="237992" y="121760"/>
                      </a:lnTo>
                      <a:lnTo>
                        <a:pt x="255828" y="117445"/>
                      </a:lnTo>
                      <a:lnTo>
                        <a:pt x="260473" y="97892"/>
                      </a:lnTo>
                      <a:lnTo>
                        <a:pt x="270325" y="93536"/>
                      </a:lnTo>
                      <a:lnTo>
                        <a:pt x="297994" y="88534"/>
                      </a:lnTo>
                      <a:lnTo>
                        <a:pt x="314552" y="70251"/>
                      </a:lnTo>
                      <a:lnTo>
                        <a:pt x="325888" y="55629"/>
                      </a:lnTo>
                      <a:lnTo>
                        <a:pt x="336404" y="67612"/>
                      </a:lnTo>
                      <a:lnTo>
                        <a:pt x="341251" y="59735"/>
                      </a:lnTo>
                      <a:lnTo>
                        <a:pt x="352282" y="60468"/>
                      </a:lnTo>
                      <a:lnTo>
                        <a:pt x="353626" y="45696"/>
                      </a:lnTo>
                      <a:lnTo>
                        <a:pt x="354665" y="34298"/>
                      </a:lnTo>
                      <a:lnTo>
                        <a:pt x="372439" y="18192"/>
                      </a:lnTo>
                      <a:lnTo>
                        <a:pt x="384081" y="76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Freeform 120">
                  <a:extLst>
                    <a:ext uri="{FF2B5EF4-FFF2-40B4-BE49-F238E27FC236}">
                      <a16:creationId xmlns:a16="http://schemas.microsoft.com/office/drawing/2014/main" id="{B6867DF3-E4A4-42E1-AC16-B6F00531E02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2"/>
                  </p:custDataLst>
                </p:nvPr>
              </p:nvSpPr>
              <p:spPr>
                <a:xfrm>
                  <a:off x="7206368" y="5013646"/>
                  <a:ext cx="330660" cy="3164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08160" h="294870">
                      <a:moveTo>
                        <a:pt x="106429" y="283110"/>
                      </a:moveTo>
                      <a:lnTo>
                        <a:pt x="89275" y="264227"/>
                      </a:lnTo>
                      <a:lnTo>
                        <a:pt x="80242" y="246050"/>
                      </a:lnTo>
                      <a:lnTo>
                        <a:pt x="75146" y="221932"/>
                      </a:lnTo>
                      <a:lnTo>
                        <a:pt x="69456" y="204067"/>
                      </a:lnTo>
                      <a:lnTo>
                        <a:pt x="61722" y="166311"/>
                      </a:lnTo>
                      <a:lnTo>
                        <a:pt x="61204" y="137173"/>
                      </a:lnTo>
                      <a:lnTo>
                        <a:pt x="58250" y="123942"/>
                      </a:lnTo>
                      <a:lnTo>
                        <a:pt x="49269" y="113965"/>
                      </a:lnTo>
                      <a:lnTo>
                        <a:pt x="37355" y="94019"/>
                      </a:lnTo>
                      <a:lnTo>
                        <a:pt x="25221" y="65180"/>
                      </a:lnTo>
                      <a:lnTo>
                        <a:pt x="20183" y="50142"/>
                      </a:lnTo>
                      <a:lnTo>
                        <a:pt x="1402" y="26830"/>
                      </a:lnTo>
                      <a:lnTo>
                        <a:pt x="0" y="8566"/>
                      </a:lnTo>
                      <a:lnTo>
                        <a:pt x="11109" y="4045"/>
                      </a:lnTo>
                      <a:lnTo>
                        <a:pt x="24927" y="0"/>
                      </a:lnTo>
                      <a:lnTo>
                        <a:pt x="39891" y="709"/>
                      </a:lnTo>
                      <a:lnTo>
                        <a:pt x="53651" y="11455"/>
                      </a:lnTo>
                      <a:lnTo>
                        <a:pt x="57141" y="9783"/>
                      </a:lnTo>
                      <a:lnTo>
                        <a:pt x="150710" y="8757"/>
                      </a:lnTo>
                      <a:lnTo>
                        <a:pt x="166703" y="20158"/>
                      </a:lnTo>
                      <a:lnTo>
                        <a:pt x="222586" y="23529"/>
                      </a:lnTo>
                      <a:lnTo>
                        <a:pt x="265009" y="13827"/>
                      </a:lnTo>
                      <a:lnTo>
                        <a:pt x="283909" y="8422"/>
                      </a:lnTo>
                      <a:lnTo>
                        <a:pt x="298878" y="9791"/>
                      </a:lnTo>
                      <a:lnTo>
                        <a:pt x="307987" y="15152"/>
                      </a:lnTo>
                      <a:lnTo>
                        <a:pt x="308159" y="17127"/>
                      </a:lnTo>
                      <a:lnTo>
                        <a:pt x="295147" y="22493"/>
                      </a:lnTo>
                      <a:lnTo>
                        <a:pt x="288145" y="22546"/>
                      </a:lnTo>
                      <a:lnTo>
                        <a:pt x="273410" y="31889"/>
                      </a:lnTo>
                      <a:lnTo>
                        <a:pt x="264589" y="22062"/>
                      </a:lnTo>
                      <a:lnTo>
                        <a:pt x="229000" y="30407"/>
                      </a:lnTo>
                      <a:lnTo>
                        <a:pt x="211817" y="31196"/>
                      </a:lnTo>
                      <a:lnTo>
                        <a:pt x="211136" y="116754"/>
                      </a:lnTo>
                      <a:lnTo>
                        <a:pt x="188384" y="117597"/>
                      </a:lnTo>
                      <a:lnTo>
                        <a:pt x="188391" y="188705"/>
                      </a:lnTo>
                      <a:lnTo>
                        <a:pt x="188367" y="280215"/>
                      </a:lnTo>
                      <a:lnTo>
                        <a:pt x="167763" y="293035"/>
                      </a:lnTo>
                      <a:lnTo>
                        <a:pt x="155363" y="294869"/>
                      </a:lnTo>
                      <a:lnTo>
                        <a:pt x="140849" y="290121"/>
                      </a:lnTo>
                      <a:lnTo>
                        <a:pt x="130493" y="288293"/>
                      </a:lnTo>
                      <a:lnTo>
                        <a:pt x="126603" y="277583"/>
                      </a:lnTo>
                      <a:lnTo>
                        <a:pt x="117487" y="27073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" name="Freeform 121">
                  <a:extLst>
                    <a:ext uri="{FF2B5EF4-FFF2-40B4-BE49-F238E27FC236}">
                      <a16:creationId xmlns:a16="http://schemas.microsoft.com/office/drawing/2014/main" id="{31219B1B-0516-4C9A-B587-5C692C7AB2D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3"/>
                  </p:custDataLst>
                </p:nvPr>
              </p:nvSpPr>
              <p:spPr>
                <a:xfrm>
                  <a:off x="6923059" y="3998030"/>
                  <a:ext cx="386571" cy="30196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60266" h="281413">
                      <a:moveTo>
                        <a:pt x="42907" y="274860"/>
                      </a:moveTo>
                      <a:lnTo>
                        <a:pt x="43429" y="258816"/>
                      </a:lnTo>
                      <a:lnTo>
                        <a:pt x="16814" y="253497"/>
                      </a:lnTo>
                      <a:lnTo>
                        <a:pt x="16098" y="242137"/>
                      </a:lnTo>
                      <a:lnTo>
                        <a:pt x="3099" y="226786"/>
                      </a:lnTo>
                      <a:lnTo>
                        <a:pt x="0" y="216062"/>
                      </a:lnTo>
                      <a:lnTo>
                        <a:pt x="1829" y="204635"/>
                      </a:lnTo>
                      <a:lnTo>
                        <a:pt x="16623" y="203708"/>
                      </a:lnTo>
                      <a:lnTo>
                        <a:pt x="25157" y="195318"/>
                      </a:lnTo>
                      <a:lnTo>
                        <a:pt x="56653" y="193287"/>
                      </a:lnTo>
                      <a:lnTo>
                        <a:pt x="77156" y="189539"/>
                      </a:lnTo>
                      <a:lnTo>
                        <a:pt x="79122" y="174959"/>
                      </a:lnTo>
                      <a:lnTo>
                        <a:pt x="91743" y="159122"/>
                      </a:lnTo>
                      <a:lnTo>
                        <a:pt x="91679" y="104234"/>
                      </a:lnTo>
                      <a:lnTo>
                        <a:pt x="124229" y="93552"/>
                      </a:lnTo>
                      <a:lnTo>
                        <a:pt x="191061" y="46266"/>
                      </a:lnTo>
                      <a:lnTo>
                        <a:pt x="270156" y="0"/>
                      </a:lnTo>
                      <a:lnTo>
                        <a:pt x="306671" y="10502"/>
                      </a:lnTo>
                      <a:lnTo>
                        <a:pt x="319654" y="23848"/>
                      </a:lnTo>
                      <a:lnTo>
                        <a:pt x="335983" y="14820"/>
                      </a:lnTo>
                      <a:lnTo>
                        <a:pt x="341652" y="52478"/>
                      </a:lnTo>
                      <a:lnTo>
                        <a:pt x="350289" y="58753"/>
                      </a:lnTo>
                      <a:lnTo>
                        <a:pt x="350660" y="66418"/>
                      </a:lnTo>
                      <a:lnTo>
                        <a:pt x="360265" y="74668"/>
                      </a:lnTo>
                      <a:lnTo>
                        <a:pt x="355245" y="85011"/>
                      </a:lnTo>
                      <a:lnTo>
                        <a:pt x="346350" y="133541"/>
                      </a:lnTo>
                      <a:lnTo>
                        <a:pt x="345134" y="164459"/>
                      </a:lnTo>
                      <a:lnTo>
                        <a:pt x="315691" y="186790"/>
                      </a:lnTo>
                      <a:lnTo>
                        <a:pt x="305724" y="217878"/>
                      </a:lnTo>
                      <a:lnTo>
                        <a:pt x="315333" y="226599"/>
                      </a:lnTo>
                      <a:lnTo>
                        <a:pt x="315282" y="241722"/>
                      </a:lnTo>
                      <a:lnTo>
                        <a:pt x="330085" y="242263"/>
                      </a:lnTo>
                      <a:lnTo>
                        <a:pt x="327777" y="253319"/>
                      </a:lnTo>
                      <a:lnTo>
                        <a:pt x="321262" y="254665"/>
                      </a:lnTo>
                      <a:lnTo>
                        <a:pt x="320519" y="262130"/>
                      </a:lnTo>
                      <a:lnTo>
                        <a:pt x="316226" y="262648"/>
                      </a:lnTo>
                      <a:lnTo>
                        <a:pt x="300607" y="236954"/>
                      </a:lnTo>
                      <a:lnTo>
                        <a:pt x="295189" y="236019"/>
                      </a:lnTo>
                      <a:lnTo>
                        <a:pt x="277140" y="249147"/>
                      </a:lnTo>
                      <a:lnTo>
                        <a:pt x="259268" y="242296"/>
                      </a:lnTo>
                      <a:lnTo>
                        <a:pt x="246845" y="240926"/>
                      </a:lnTo>
                      <a:lnTo>
                        <a:pt x="240184" y="244224"/>
                      </a:lnTo>
                      <a:lnTo>
                        <a:pt x="226652" y="243511"/>
                      </a:lnTo>
                      <a:lnTo>
                        <a:pt x="213036" y="253514"/>
                      </a:lnTo>
                      <a:lnTo>
                        <a:pt x="201264" y="254087"/>
                      </a:lnTo>
                      <a:lnTo>
                        <a:pt x="173328" y="241955"/>
                      </a:lnTo>
                      <a:lnTo>
                        <a:pt x="162389" y="247719"/>
                      </a:lnTo>
                      <a:lnTo>
                        <a:pt x="150609" y="247319"/>
                      </a:lnTo>
                      <a:lnTo>
                        <a:pt x="141953" y="238449"/>
                      </a:lnTo>
                      <a:lnTo>
                        <a:pt x="118816" y="229675"/>
                      </a:lnTo>
                      <a:lnTo>
                        <a:pt x="94009" y="232461"/>
                      </a:lnTo>
                      <a:lnTo>
                        <a:pt x="87998" y="237545"/>
                      </a:lnTo>
                      <a:lnTo>
                        <a:pt x="84751" y="251050"/>
                      </a:lnTo>
                      <a:lnTo>
                        <a:pt x="78134" y="260507"/>
                      </a:lnTo>
                      <a:lnTo>
                        <a:pt x="76531" y="281412"/>
                      </a:lnTo>
                      <a:lnTo>
                        <a:pt x="58930" y="267941"/>
                      </a:lnTo>
                      <a:lnTo>
                        <a:pt x="50655" y="26800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Freeform 122">
                  <a:extLst>
                    <a:ext uri="{FF2B5EF4-FFF2-40B4-BE49-F238E27FC236}">
                      <a16:creationId xmlns:a16="http://schemas.microsoft.com/office/drawing/2014/main" id="{F4A5818C-76A8-4A88-A7DA-C15F05BD4DE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4"/>
                  </p:custDataLst>
                </p:nvPr>
              </p:nvSpPr>
              <p:spPr>
                <a:xfrm>
                  <a:off x="6982403" y="4244474"/>
                  <a:ext cx="294382" cy="24050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74350" h="224141">
                      <a:moveTo>
                        <a:pt x="134078" y="211850"/>
                      </a:moveTo>
                      <a:lnTo>
                        <a:pt x="110114" y="220174"/>
                      </a:lnTo>
                      <a:lnTo>
                        <a:pt x="101354" y="218958"/>
                      </a:lnTo>
                      <a:lnTo>
                        <a:pt x="92478" y="224140"/>
                      </a:lnTo>
                      <a:lnTo>
                        <a:pt x="74014" y="223635"/>
                      </a:lnTo>
                      <a:lnTo>
                        <a:pt x="61656" y="209166"/>
                      </a:lnTo>
                      <a:lnTo>
                        <a:pt x="54057" y="192413"/>
                      </a:lnTo>
                      <a:lnTo>
                        <a:pt x="37715" y="177153"/>
                      </a:lnTo>
                      <a:lnTo>
                        <a:pt x="20370" y="177439"/>
                      </a:lnTo>
                      <a:lnTo>
                        <a:pt x="0" y="177427"/>
                      </a:lnTo>
                      <a:lnTo>
                        <a:pt x="1324" y="140037"/>
                      </a:lnTo>
                      <a:lnTo>
                        <a:pt x="741" y="125257"/>
                      </a:lnTo>
                      <a:lnTo>
                        <a:pt x="5092" y="110587"/>
                      </a:lnTo>
                      <a:lnTo>
                        <a:pt x="12203" y="103451"/>
                      </a:lnTo>
                      <a:lnTo>
                        <a:pt x="23400" y="89028"/>
                      </a:lnTo>
                      <a:lnTo>
                        <a:pt x="20968" y="82755"/>
                      </a:lnTo>
                      <a:lnTo>
                        <a:pt x="25516" y="73362"/>
                      </a:lnTo>
                      <a:lnTo>
                        <a:pt x="20325" y="59505"/>
                      </a:lnTo>
                      <a:lnTo>
                        <a:pt x="21224" y="51737"/>
                      </a:lnTo>
                      <a:lnTo>
                        <a:pt x="22827" y="30832"/>
                      </a:lnTo>
                      <a:lnTo>
                        <a:pt x="29444" y="21375"/>
                      </a:lnTo>
                      <a:lnTo>
                        <a:pt x="32691" y="7870"/>
                      </a:lnTo>
                      <a:lnTo>
                        <a:pt x="38702" y="2786"/>
                      </a:lnTo>
                      <a:lnTo>
                        <a:pt x="63509" y="0"/>
                      </a:lnTo>
                      <a:lnTo>
                        <a:pt x="86646" y="8774"/>
                      </a:lnTo>
                      <a:lnTo>
                        <a:pt x="95302" y="17644"/>
                      </a:lnTo>
                      <a:lnTo>
                        <a:pt x="107082" y="18044"/>
                      </a:lnTo>
                      <a:lnTo>
                        <a:pt x="118021" y="12280"/>
                      </a:lnTo>
                      <a:lnTo>
                        <a:pt x="145957" y="24412"/>
                      </a:lnTo>
                      <a:lnTo>
                        <a:pt x="157729" y="23839"/>
                      </a:lnTo>
                      <a:lnTo>
                        <a:pt x="171345" y="13836"/>
                      </a:lnTo>
                      <a:lnTo>
                        <a:pt x="184877" y="14549"/>
                      </a:lnTo>
                      <a:lnTo>
                        <a:pt x="191538" y="11251"/>
                      </a:lnTo>
                      <a:lnTo>
                        <a:pt x="203961" y="12621"/>
                      </a:lnTo>
                      <a:lnTo>
                        <a:pt x="221833" y="19472"/>
                      </a:lnTo>
                      <a:lnTo>
                        <a:pt x="239882" y="6344"/>
                      </a:lnTo>
                      <a:lnTo>
                        <a:pt x="245300" y="7279"/>
                      </a:lnTo>
                      <a:lnTo>
                        <a:pt x="260919" y="32973"/>
                      </a:lnTo>
                      <a:lnTo>
                        <a:pt x="265212" y="32455"/>
                      </a:lnTo>
                      <a:lnTo>
                        <a:pt x="274349" y="41786"/>
                      </a:lnTo>
                      <a:lnTo>
                        <a:pt x="271833" y="46014"/>
                      </a:lnTo>
                      <a:lnTo>
                        <a:pt x="270614" y="53791"/>
                      </a:lnTo>
                      <a:lnTo>
                        <a:pt x="251168" y="71872"/>
                      </a:lnTo>
                      <a:lnTo>
                        <a:pt x="245068" y="86763"/>
                      </a:lnTo>
                      <a:lnTo>
                        <a:pt x="241812" y="98875"/>
                      </a:lnTo>
                      <a:lnTo>
                        <a:pt x="236915" y="104065"/>
                      </a:lnTo>
                      <a:lnTo>
                        <a:pt x="232257" y="120354"/>
                      </a:lnTo>
                      <a:lnTo>
                        <a:pt x="219913" y="129930"/>
                      </a:lnTo>
                      <a:lnTo>
                        <a:pt x="216336" y="141684"/>
                      </a:lnTo>
                      <a:lnTo>
                        <a:pt x="211151" y="151034"/>
                      </a:lnTo>
                      <a:lnTo>
                        <a:pt x="208992" y="160677"/>
                      </a:lnTo>
                      <a:lnTo>
                        <a:pt x="193135" y="168490"/>
                      </a:lnTo>
                      <a:lnTo>
                        <a:pt x="180176" y="158961"/>
                      </a:lnTo>
                      <a:lnTo>
                        <a:pt x="171425" y="159346"/>
                      </a:lnTo>
                      <a:lnTo>
                        <a:pt x="157678" y="172916"/>
                      </a:lnTo>
                      <a:lnTo>
                        <a:pt x="150995" y="173124"/>
                      </a:lnTo>
                      <a:lnTo>
                        <a:pt x="140016" y="195473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" name="Freeform 123">
                  <a:extLst>
                    <a:ext uri="{FF2B5EF4-FFF2-40B4-BE49-F238E27FC236}">
                      <a16:creationId xmlns:a16="http://schemas.microsoft.com/office/drawing/2014/main" id="{D39233DD-66E0-4817-A16F-64038260CE5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5"/>
                  </p:custDataLst>
                </p:nvPr>
              </p:nvSpPr>
              <p:spPr>
                <a:xfrm>
                  <a:off x="6997840" y="3120814"/>
                  <a:ext cx="93552" cy="8983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7186" h="83725">
                      <a:moveTo>
                        <a:pt x="63690" y="0"/>
                      </a:moveTo>
                      <a:lnTo>
                        <a:pt x="82871" y="888"/>
                      </a:lnTo>
                      <a:lnTo>
                        <a:pt x="87185" y="11499"/>
                      </a:lnTo>
                      <a:lnTo>
                        <a:pt x="81433" y="40006"/>
                      </a:lnTo>
                      <a:lnTo>
                        <a:pt x="75582" y="51631"/>
                      </a:lnTo>
                      <a:lnTo>
                        <a:pt x="61716" y="51644"/>
                      </a:lnTo>
                      <a:lnTo>
                        <a:pt x="65594" y="83724"/>
                      </a:lnTo>
                      <a:lnTo>
                        <a:pt x="52905" y="76609"/>
                      </a:lnTo>
                      <a:lnTo>
                        <a:pt x="38295" y="63220"/>
                      </a:lnTo>
                      <a:lnTo>
                        <a:pt x="16899" y="69584"/>
                      </a:lnTo>
                      <a:lnTo>
                        <a:pt x="0" y="67181"/>
                      </a:lnTo>
                      <a:lnTo>
                        <a:pt x="11895" y="58753"/>
                      </a:lnTo>
                      <a:lnTo>
                        <a:pt x="32109" y="13135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" name="Freeform 124">
                  <a:extLst>
                    <a:ext uri="{FF2B5EF4-FFF2-40B4-BE49-F238E27FC236}">
                      <a16:creationId xmlns:a16="http://schemas.microsoft.com/office/drawing/2014/main" id="{FC2FD93D-7DB3-415A-A0C7-958410A1F34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6"/>
                  </p:custDataLst>
                </p:nvPr>
              </p:nvSpPr>
              <p:spPr>
                <a:xfrm>
                  <a:off x="7039380" y="1952242"/>
                  <a:ext cx="651433" cy="10094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7105" h="940787">
                      <a:moveTo>
                        <a:pt x="534906" y="449692"/>
                      </a:moveTo>
                      <a:lnTo>
                        <a:pt x="607105" y="480419"/>
                      </a:lnTo>
                      <a:lnTo>
                        <a:pt x="577375" y="491536"/>
                      </a:lnTo>
                      <a:lnTo>
                        <a:pt x="602666" y="517398"/>
                      </a:lnTo>
                      <a:lnTo>
                        <a:pt x="563391" y="533742"/>
                      </a:lnTo>
                      <a:lnTo>
                        <a:pt x="544748" y="537476"/>
                      </a:lnTo>
                      <a:lnTo>
                        <a:pt x="554526" y="508855"/>
                      </a:lnTo>
                      <a:lnTo>
                        <a:pt x="524905" y="492450"/>
                      </a:lnTo>
                      <a:lnTo>
                        <a:pt x="489065" y="506438"/>
                      </a:lnTo>
                      <a:lnTo>
                        <a:pt x="477745" y="536369"/>
                      </a:lnTo>
                      <a:lnTo>
                        <a:pt x="455735" y="554222"/>
                      </a:lnTo>
                      <a:lnTo>
                        <a:pt x="430953" y="544492"/>
                      </a:lnTo>
                      <a:lnTo>
                        <a:pt x="400811" y="546489"/>
                      </a:lnTo>
                      <a:lnTo>
                        <a:pt x="375159" y="525059"/>
                      </a:lnTo>
                      <a:lnTo>
                        <a:pt x="361325" y="535796"/>
                      </a:lnTo>
                      <a:lnTo>
                        <a:pt x="347006" y="537462"/>
                      </a:lnTo>
                      <a:lnTo>
                        <a:pt x="343620" y="563933"/>
                      </a:lnTo>
                      <a:lnTo>
                        <a:pt x="300116" y="557520"/>
                      </a:lnTo>
                      <a:lnTo>
                        <a:pt x="294007" y="579725"/>
                      </a:lnTo>
                      <a:lnTo>
                        <a:pt x="271840" y="579591"/>
                      </a:lnTo>
                      <a:lnTo>
                        <a:pt x="256601" y="607617"/>
                      </a:lnTo>
                      <a:lnTo>
                        <a:pt x="233512" y="650536"/>
                      </a:lnTo>
                      <a:lnTo>
                        <a:pt x="197671" y="703754"/>
                      </a:lnTo>
                      <a:lnTo>
                        <a:pt x="206078" y="716474"/>
                      </a:lnTo>
                      <a:lnTo>
                        <a:pt x="198046" y="731136"/>
                      </a:lnTo>
                      <a:lnTo>
                        <a:pt x="175148" y="730506"/>
                      </a:lnTo>
                      <a:lnTo>
                        <a:pt x="160159" y="764817"/>
                      </a:lnTo>
                      <a:lnTo>
                        <a:pt x="161578" y="812479"/>
                      </a:lnTo>
                      <a:lnTo>
                        <a:pt x="176330" y="830396"/>
                      </a:lnTo>
                      <a:lnTo>
                        <a:pt x="168695" y="871404"/>
                      </a:lnTo>
                      <a:lnTo>
                        <a:pt x="149488" y="894970"/>
                      </a:lnTo>
                      <a:lnTo>
                        <a:pt x="139311" y="914590"/>
                      </a:lnTo>
                      <a:lnTo>
                        <a:pt x="123827" y="893691"/>
                      </a:lnTo>
                      <a:lnTo>
                        <a:pt x="78248" y="932918"/>
                      </a:lnTo>
                      <a:lnTo>
                        <a:pt x="47474" y="940787"/>
                      </a:lnTo>
                      <a:lnTo>
                        <a:pt x="15552" y="923657"/>
                      </a:lnTo>
                      <a:lnTo>
                        <a:pt x="7298" y="887062"/>
                      </a:lnTo>
                      <a:lnTo>
                        <a:pt x="0" y="806413"/>
                      </a:lnTo>
                      <a:lnTo>
                        <a:pt x="21255" y="783385"/>
                      </a:lnTo>
                      <a:lnTo>
                        <a:pt x="82205" y="752965"/>
                      </a:lnTo>
                      <a:lnTo>
                        <a:pt x="127777" y="714966"/>
                      </a:lnTo>
                      <a:lnTo>
                        <a:pt x="170033" y="662538"/>
                      </a:lnTo>
                      <a:lnTo>
                        <a:pt x="225496" y="587638"/>
                      </a:lnTo>
                      <a:lnTo>
                        <a:pt x="264155" y="557687"/>
                      </a:lnTo>
                      <a:lnTo>
                        <a:pt x="327588" y="506761"/>
                      </a:lnTo>
                      <a:lnTo>
                        <a:pt x="378241" y="488678"/>
                      </a:lnTo>
                      <a:lnTo>
                        <a:pt x="416219" y="490881"/>
                      </a:lnTo>
                      <a:lnTo>
                        <a:pt x="451369" y="456240"/>
                      </a:lnTo>
                      <a:lnTo>
                        <a:pt x="493461" y="458105"/>
                      </a:lnTo>
                      <a:close/>
                      <a:moveTo>
                        <a:pt x="412999" y="114547"/>
                      </a:moveTo>
                      <a:lnTo>
                        <a:pt x="422165" y="133385"/>
                      </a:lnTo>
                      <a:lnTo>
                        <a:pt x="455468" y="144619"/>
                      </a:lnTo>
                      <a:lnTo>
                        <a:pt x="403906" y="164805"/>
                      </a:lnTo>
                      <a:lnTo>
                        <a:pt x="363181" y="153374"/>
                      </a:lnTo>
                      <a:lnTo>
                        <a:pt x="379111" y="140586"/>
                      </a:lnTo>
                      <a:lnTo>
                        <a:pt x="365164" y="124623"/>
                      </a:lnTo>
                      <a:close/>
                      <a:moveTo>
                        <a:pt x="276964" y="32253"/>
                      </a:moveTo>
                      <a:lnTo>
                        <a:pt x="306071" y="50571"/>
                      </a:lnTo>
                      <a:lnTo>
                        <a:pt x="382059" y="89096"/>
                      </a:lnTo>
                      <a:lnTo>
                        <a:pt x="323972" y="109109"/>
                      </a:lnTo>
                      <a:lnTo>
                        <a:pt x="311146" y="145967"/>
                      </a:lnTo>
                      <a:lnTo>
                        <a:pt x="290896" y="155303"/>
                      </a:lnTo>
                      <a:lnTo>
                        <a:pt x="279903" y="195750"/>
                      </a:lnTo>
                      <a:lnTo>
                        <a:pt x="252087" y="197630"/>
                      </a:lnTo>
                      <a:lnTo>
                        <a:pt x="202447" y="167973"/>
                      </a:lnTo>
                      <a:lnTo>
                        <a:pt x="223382" y="150477"/>
                      </a:lnTo>
                      <a:lnTo>
                        <a:pt x="188782" y="136109"/>
                      </a:lnTo>
                      <a:lnTo>
                        <a:pt x="143810" y="93529"/>
                      </a:lnTo>
                      <a:lnTo>
                        <a:pt x="125857" y="53146"/>
                      </a:lnTo>
                      <a:lnTo>
                        <a:pt x="188786" y="34382"/>
                      </a:lnTo>
                      <a:lnTo>
                        <a:pt x="201430" y="52729"/>
                      </a:lnTo>
                      <a:lnTo>
                        <a:pt x="234306" y="52003"/>
                      </a:lnTo>
                      <a:lnTo>
                        <a:pt x="243071" y="34086"/>
                      </a:lnTo>
                      <a:close/>
                      <a:moveTo>
                        <a:pt x="413807" y="0"/>
                      </a:moveTo>
                      <a:lnTo>
                        <a:pt x="472169" y="13358"/>
                      </a:lnTo>
                      <a:lnTo>
                        <a:pt x="517408" y="31960"/>
                      </a:lnTo>
                      <a:lnTo>
                        <a:pt x="483180" y="60148"/>
                      </a:lnTo>
                      <a:lnTo>
                        <a:pt x="416236" y="66258"/>
                      </a:lnTo>
                      <a:lnTo>
                        <a:pt x="348159" y="57602"/>
                      </a:lnTo>
                      <a:lnTo>
                        <a:pt x="344052" y="43215"/>
                      </a:lnTo>
                      <a:lnTo>
                        <a:pt x="310928" y="42296"/>
                      </a:lnTo>
                      <a:lnTo>
                        <a:pt x="285670" y="18064"/>
                      </a:lnTo>
                      <a:lnTo>
                        <a:pt x="356948" y="3163"/>
                      </a:lnTo>
                      <a:lnTo>
                        <a:pt x="390463" y="1600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" name="Freeform 125">
                  <a:extLst>
                    <a:ext uri="{FF2B5EF4-FFF2-40B4-BE49-F238E27FC236}">
                      <a16:creationId xmlns:a16="http://schemas.microsoft.com/office/drawing/2014/main" id="{53A24768-2D4A-4B23-97A3-7DAABB456EE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7"/>
                  </p:custDataLst>
                </p:nvPr>
              </p:nvSpPr>
              <p:spPr>
                <a:xfrm>
                  <a:off x="8899371" y="3812821"/>
                  <a:ext cx="200285" cy="1081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86656" h="100744">
                      <a:moveTo>
                        <a:pt x="185400" y="64005"/>
                      </a:moveTo>
                      <a:lnTo>
                        <a:pt x="183615" y="74738"/>
                      </a:lnTo>
                      <a:lnTo>
                        <a:pt x="186655" y="90524"/>
                      </a:lnTo>
                      <a:lnTo>
                        <a:pt x="184010" y="100329"/>
                      </a:lnTo>
                      <a:lnTo>
                        <a:pt x="164788" y="100743"/>
                      </a:lnTo>
                      <a:lnTo>
                        <a:pt x="137018" y="94972"/>
                      </a:lnTo>
                      <a:lnTo>
                        <a:pt x="119184" y="92612"/>
                      </a:lnTo>
                      <a:lnTo>
                        <a:pt x="105871" y="79984"/>
                      </a:lnTo>
                      <a:lnTo>
                        <a:pt x="74229" y="76761"/>
                      </a:lnTo>
                      <a:lnTo>
                        <a:pt x="44124" y="62784"/>
                      </a:lnTo>
                      <a:lnTo>
                        <a:pt x="22362" y="50523"/>
                      </a:lnTo>
                      <a:lnTo>
                        <a:pt x="0" y="41043"/>
                      </a:lnTo>
                      <a:lnTo>
                        <a:pt x="8963" y="17514"/>
                      </a:lnTo>
                      <a:lnTo>
                        <a:pt x="23609" y="6056"/>
                      </a:lnTo>
                      <a:lnTo>
                        <a:pt x="33178" y="0"/>
                      </a:lnTo>
                      <a:lnTo>
                        <a:pt x="51684" y="7781"/>
                      </a:lnTo>
                      <a:lnTo>
                        <a:pt x="74988" y="24222"/>
                      </a:lnTo>
                      <a:lnTo>
                        <a:pt x="87958" y="27835"/>
                      </a:lnTo>
                      <a:lnTo>
                        <a:pt x="95704" y="39903"/>
                      </a:lnTo>
                      <a:lnTo>
                        <a:pt x="113641" y="44846"/>
                      </a:lnTo>
                      <a:lnTo>
                        <a:pt x="132376" y="55838"/>
                      </a:lnTo>
                      <a:lnTo>
                        <a:pt x="158488" y="6156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Freeform 126">
                  <a:extLst>
                    <a:ext uri="{FF2B5EF4-FFF2-40B4-BE49-F238E27FC236}">
                      <a16:creationId xmlns:a16="http://schemas.microsoft.com/office/drawing/2014/main" id="{95F6E815-63DA-4E53-8BE5-A87083D19B5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8"/>
                  </p:custDataLst>
                </p:nvPr>
              </p:nvSpPr>
              <p:spPr>
                <a:xfrm>
                  <a:off x="11039843" y="5478295"/>
                  <a:ext cx="297414" cy="3585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176" h="334138">
                      <a:moveTo>
                        <a:pt x="145177" y="161119"/>
                      </a:moveTo>
                      <a:lnTo>
                        <a:pt x="150297" y="172762"/>
                      </a:lnTo>
                      <a:lnTo>
                        <a:pt x="155534" y="184115"/>
                      </a:lnTo>
                      <a:lnTo>
                        <a:pt x="171949" y="172972"/>
                      </a:lnTo>
                      <a:lnTo>
                        <a:pt x="178625" y="184587"/>
                      </a:lnTo>
                      <a:lnTo>
                        <a:pt x="178645" y="196203"/>
                      </a:lnTo>
                      <a:lnTo>
                        <a:pt x="170058" y="209040"/>
                      </a:lnTo>
                      <a:lnTo>
                        <a:pt x="154968" y="229575"/>
                      </a:lnTo>
                      <a:lnTo>
                        <a:pt x="143161" y="240847"/>
                      </a:lnTo>
                      <a:lnTo>
                        <a:pt x="151676" y="254384"/>
                      </a:lnTo>
                      <a:lnTo>
                        <a:pt x="133867" y="254733"/>
                      </a:lnTo>
                      <a:lnTo>
                        <a:pt x="114116" y="265383"/>
                      </a:lnTo>
                      <a:lnTo>
                        <a:pt x="107934" y="283979"/>
                      </a:lnTo>
                      <a:lnTo>
                        <a:pt x="94813" y="312967"/>
                      </a:lnTo>
                      <a:lnTo>
                        <a:pt x="76687" y="325866"/>
                      </a:lnTo>
                      <a:lnTo>
                        <a:pt x="65167" y="334138"/>
                      </a:lnTo>
                      <a:lnTo>
                        <a:pt x="43908" y="333521"/>
                      </a:lnTo>
                      <a:lnTo>
                        <a:pt x="28960" y="323970"/>
                      </a:lnTo>
                      <a:lnTo>
                        <a:pt x="3872" y="321938"/>
                      </a:lnTo>
                      <a:lnTo>
                        <a:pt x="0" y="311348"/>
                      </a:lnTo>
                      <a:lnTo>
                        <a:pt x="12401" y="290080"/>
                      </a:lnTo>
                      <a:lnTo>
                        <a:pt x="41424" y="262028"/>
                      </a:lnTo>
                      <a:lnTo>
                        <a:pt x="56327" y="256711"/>
                      </a:lnTo>
                      <a:lnTo>
                        <a:pt x="72911" y="245990"/>
                      </a:lnTo>
                      <a:lnTo>
                        <a:pt x="92695" y="231300"/>
                      </a:lnTo>
                      <a:lnTo>
                        <a:pt x="106548" y="216814"/>
                      </a:lnTo>
                      <a:lnTo>
                        <a:pt x="116812" y="196132"/>
                      </a:lnTo>
                      <a:lnTo>
                        <a:pt x="125560" y="189143"/>
                      </a:lnTo>
                      <a:lnTo>
                        <a:pt x="128988" y="173779"/>
                      </a:lnTo>
                      <a:close/>
                      <a:moveTo>
                        <a:pt x="149989" y="0"/>
                      </a:moveTo>
                      <a:lnTo>
                        <a:pt x="162552" y="14494"/>
                      </a:lnTo>
                      <a:lnTo>
                        <a:pt x="180512" y="21280"/>
                      </a:lnTo>
                      <a:lnTo>
                        <a:pt x="187036" y="44695"/>
                      </a:lnTo>
                      <a:lnTo>
                        <a:pt x="203762" y="72572"/>
                      </a:lnTo>
                      <a:lnTo>
                        <a:pt x="204246" y="54462"/>
                      </a:lnTo>
                      <a:lnTo>
                        <a:pt x="214663" y="61683"/>
                      </a:lnTo>
                      <a:lnTo>
                        <a:pt x="218117" y="81793"/>
                      </a:lnTo>
                      <a:lnTo>
                        <a:pt x="236692" y="90494"/>
                      </a:lnTo>
                      <a:lnTo>
                        <a:pt x="252286" y="92634"/>
                      </a:lnTo>
                      <a:lnTo>
                        <a:pt x="265479" y="82445"/>
                      </a:lnTo>
                      <a:lnTo>
                        <a:pt x="277176" y="85528"/>
                      </a:lnTo>
                      <a:lnTo>
                        <a:pt x="271582" y="109305"/>
                      </a:lnTo>
                      <a:lnTo>
                        <a:pt x="264558" y="125036"/>
                      </a:lnTo>
                      <a:lnTo>
                        <a:pt x="246935" y="124480"/>
                      </a:lnTo>
                      <a:lnTo>
                        <a:pt x="240772" y="132703"/>
                      </a:lnTo>
                      <a:lnTo>
                        <a:pt x="242918" y="144379"/>
                      </a:lnTo>
                      <a:lnTo>
                        <a:pt x="239522" y="149442"/>
                      </a:lnTo>
                      <a:lnTo>
                        <a:pt x="230800" y="164151"/>
                      </a:lnTo>
                      <a:lnTo>
                        <a:pt x="219362" y="182948"/>
                      </a:lnTo>
                      <a:lnTo>
                        <a:pt x="201522" y="193945"/>
                      </a:lnTo>
                      <a:lnTo>
                        <a:pt x="197559" y="186702"/>
                      </a:lnTo>
                      <a:lnTo>
                        <a:pt x="187935" y="182733"/>
                      </a:lnTo>
                      <a:lnTo>
                        <a:pt x="201246" y="160170"/>
                      </a:lnTo>
                      <a:lnTo>
                        <a:pt x="193687" y="145167"/>
                      </a:lnTo>
                      <a:lnTo>
                        <a:pt x="168848" y="134305"/>
                      </a:lnTo>
                      <a:lnTo>
                        <a:pt x="169499" y="124502"/>
                      </a:lnTo>
                      <a:lnTo>
                        <a:pt x="186177" y="115089"/>
                      </a:lnTo>
                      <a:lnTo>
                        <a:pt x="190070" y="94415"/>
                      </a:lnTo>
                      <a:lnTo>
                        <a:pt x="188998" y="77150"/>
                      </a:lnTo>
                      <a:lnTo>
                        <a:pt x="179649" y="59356"/>
                      </a:lnTo>
                      <a:lnTo>
                        <a:pt x="180273" y="54690"/>
                      </a:lnTo>
                      <a:lnTo>
                        <a:pt x="169239" y="43788"/>
                      </a:lnTo>
                      <a:lnTo>
                        <a:pt x="151077" y="20537"/>
                      </a:lnTo>
                      <a:lnTo>
                        <a:pt x="141424" y="2043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" name="Freeform 127">
                  <a:extLst>
                    <a:ext uri="{FF2B5EF4-FFF2-40B4-BE49-F238E27FC236}">
                      <a16:creationId xmlns:a16="http://schemas.microsoft.com/office/drawing/2014/main" id="{A69042AF-9F06-4D0A-8434-0AE2ADFC711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9"/>
                  </p:custDataLst>
                </p:nvPr>
              </p:nvSpPr>
              <p:spPr>
                <a:xfrm>
                  <a:off x="8203675" y="3920972"/>
                  <a:ext cx="193391" cy="252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231" h="235710">
                      <a:moveTo>
                        <a:pt x="101490" y="36263"/>
                      </a:moveTo>
                      <a:lnTo>
                        <a:pt x="111838" y="53007"/>
                      </a:lnTo>
                      <a:lnTo>
                        <a:pt x="124726" y="61884"/>
                      </a:lnTo>
                      <a:lnTo>
                        <a:pt x="141657" y="65075"/>
                      </a:lnTo>
                      <a:lnTo>
                        <a:pt x="155328" y="69522"/>
                      </a:lnTo>
                      <a:lnTo>
                        <a:pt x="165745" y="83486"/>
                      </a:lnTo>
                      <a:lnTo>
                        <a:pt x="171968" y="91559"/>
                      </a:lnTo>
                      <a:lnTo>
                        <a:pt x="180231" y="94635"/>
                      </a:lnTo>
                      <a:lnTo>
                        <a:pt x="180186" y="100047"/>
                      </a:lnTo>
                      <a:lnTo>
                        <a:pt x="171785" y="114480"/>
                      </a:lnTo>
                      <a:lnTo>
                        <a:pt x="168097" y="121264"/>
                      </a:lnTo>
                      <a:lnTo>
                        <a:pt x="158373" y="128985"/>
                      </a:lnTo>
                      <a:lnTo>
                        <a:pt x="149760" y="145487"/>
                      </a:lnTo>
                      <a:lnTo>
                        <a:pt x="139288" y="144225"/>
                      </a:lnTo>
                      <a:lnTo>
                        <a:pt x="134488" y="149959"/>
                      </a:lnTo>
                      <a:lnTo>
                        <a:pt x="130781" y="162133"/>
                      </a:lnTo>
                      <a:lnTo>
                        <a:pt x="133618" y="178147"/>
                      </a:lnTo>
                      <a:lnTo>
                        <a:pt x="131441" y="181086"/>
                      </a:lnTo>
                      <a:lnTo>
                        <a:pt x="120820" y="181007"/>
                      </a:lnTo>
                      <a:lnTo>
                        <a:pt x="106403" y="189938"/>
                      </a:lnTo>
                      <a:lnTo>
                        <a:pt x="104153" y="201562"/>
                      </a:lnTo>
                      <a:lnTo>
                        <a:pt x="98875" y="206591"/>
                      </a:lnTo>
                      <a:lnTo>
                        <a:pt x="84517" y="206399"/>
                      </a:lnTo>
                      <a:lnTo>
                        <a:pt x="75478" y="212395"/>
                      </a:lnTo>
                      <a:lnTo>
                        <a:pt x="75593" y="222002"/>
                      </a:lnTo>
                      <a:lnTo>
                        <a:pt x="64423" y="228599"/>
                      </a:lnTo>
                      <a:lnTo>
                        <a:pt x="51688" y="226359"/>
                      </a:lnTo>
                      <a:lnTo>
                        <a:pt x="36251" y="234367"/>
                      </a:lnTo>
                      <a:lnTo>
                        <a:pt x="25589" y="235710"/>
                      </a:lnTo>
                      <a:lnTo>
                        <a:pt x="18054" y="219117"/>
                      </a:lnTo>
                      <a:lnTo>
                        <a:pt x="0" y="179763"/>
                      </a:lnTo>
                      <a:lnTo>
                        <a:pt x="69247" y="155798"/>
                      </a:lnTo>
                      <a:lnTo>
                        <a:pt x="84636" y="107572"/>
                      </a:lnTo>
                      <a:lnTo>
                        <a:pt x="74057" y="90391"/>
                      </a:lnTo>
                      <a:lnTo>
                        <a:pt x="74660" y="80600"/>
                      </a:lnTo>
                      <a:lnTo>
                        <a:pt x="81385" y="70517"/>
                      </a:lnTo>
                      <a:lnTo>
                        <a:pt x="81450" y="60540"/>
                      </a:lnTo>
                      <a:lnTo>
                        <a:pt x="91897" y="55725"/>
                      </a:lnTo>
                      <a:lnTo>
                        <a:pt x="87809" y="52323"/>
                      </a:lnTo>
                      <a:lnTo>
                        <a:pt x="89704" y="36359"/>
                      </a:lnTo>
                      <a:close/>
                      <a:moveTo>
                        <a:pt x="100687" y="0"/>
                      </a:moveTo>
                      <a:lnTo>
                        <a:pt x="103541" y="2148"/>
                      </a:lnTo>
                      <a:lnTo>
                        <a:pt x="101365" y="12355"/>
                      </a:lnTo>
                      <a:lnTo>
                        <a:pt x="98356" y="16828"/>
                      </a:lnTo>
                      <a:lnTo>
                        <a:pt x="93965" y="8417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" name="Freeform 128">
                  <a:extLst>
                    <a:ext uri="{FF2B5EF4-FFF2-40B4-BE49-F238E27FC236}">
                      <a16:creationId xmlns:a16="http://schemas.microsoft.com/office/drawing/2014/main" id="{AA102D6A-9717-49E2-98DD-672B510DA98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0"/>
                  </p:custDataLst>
                </p:nvPr>
              </p:nvSpPr>
              <p:spPr>
                <a:xfrm>
                  <a:off x="8423472" y="3626148"/>
                  <a:ext cx="420147" cy="3661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1557" h="341204">
                      <a:moveTo>
                        <a:pt x="329708" y="0"/>
                      </a:moveTo>
                      <a:lnTo>
                        <a:pt x="346763" y="12367"/>
                      </a:lnTo>
                      <a:lnTo>
                        <a:pt x="353594" y="32652"/>
                      </a:lnTo>
                      <a:lnTo>
                        <a:pt x="391556" y="43279"/>
                      </a:lnTo>
                      <a:lnTo>
                        <a:pt x="369264" y="65264"/>
                      </a:lnTo>
                      <a:lnTo>
                        <a:pt x="343535" y="69137"/>
                      </a:lnTo>
                      <a:lnTo>
                        <a:pt x="308522" y="62777"/>
                      </a:lnTo>
                      <a:lnTo>
                        <a:pt x="297206" y="74010"/>
                      </a:lnTo>
                      <a:lnTo>
                        <a:pt x="305385" y="96731"/>
                      </a:lnTo>
                      <a:lnTo>
                        <a:pt x="313401" y="114180"/>
                      </a:lnTo>
                      <a:lnTo>
                        <a:pt x="332030" y="126863"/>
                      </a:lnTo>
                      <a:lnTo>
                        <a:pt x="312347" y="141667"/>
                      </a:lnTo>
                      <a:lnTo>
                        <a:pt x="312704" y="159832"/>
                      </a:lnTo>
                      <a:lnTo>
                        <a:pt x="290297" y="185262"/>
                      </a:lnTo>
                      <a:lnTo>
                        <a:pt x="275826" y="210820"/>
                      </a:lnTo>
                      <a:lnTo>
                        <a:pt x="251680" y="237062"/>
                      </a:lnTo>
                      <a:lnTo>
                        <a:pt x="224877" y="235164"/>
                      </a:lnTo>
                      <a:lnTo>
                        <a:pt x="199438" y="261256"/>
                      </a:lnTo>
                      <a:lnTo>
                        <a:pt x="214546" y="272388"/>
                      </a:lnTo>
                      <a:lnTo>
                        <a:pt x="217176" y="291403"/>
                      </a:lnTo>
                      <a:lnTo>
                        <a:pt x="230145" y="303890"/>
                      </a:lnTo>
                      <a:lnTo>
                        <a:pt x="234728" y="324957"/>
                      </a:lnTo>
                      <a:lnTo>
                        <a:pt x="183931" y="324893"/>
                      </a:lnTo>
                      <a:lnTo>
                        <a:pt x="168559" y="341203"/>
                      </a:lnTo>
                      <a:lnTo>
                        <a:pt x="151640" y="335027"/>
                      </a:lnTo>
                      <a:lnTo>
                        <a:pt x="144756" y="317433"/>
                      </a:lnTo>
                      <a:lnTo>
                        <a:pt x="126922" y="298722"/>
                      </a:lnTo>
                      <a:lnTo>
                        <a:pt x="84394" y="303350"/>
                      </a:lnTo>
                      <a:lnTo>
                        <a:pt x="46891" y="303809"/>
                      </a:lnTo>
                      <a:lnTo>
                        <a:pt x="14383" y="307254"/>
                      </a:lnTo>
                      <a:lnTo>
                        <a:pt x="23081" y="278620"/>
                      </a:lnTo>
                      <a:lnTo>
                        <a:pt x="56377" y="265831"/>
                      </a:lnTo>
                      <a:lnTo>
                        <a:pt x="54467" y="254399"/>
                      </a:lnTo>
                      <a:lnTo>
                        <a:pt x="43423" y="250374"/>
                      </a:lnTo>
                      <a:lnTo>
                        <a:pt x="42786" y="228408"/>
                      </a:lnTo>
                      <a:lnTo>
                        <a:pt x="20719" y="217400"/>
                      </a:lnTo>
                      <a:lnTo>
                        <a:pt x="11427" y="202232"/>
                      </a:lnTo>
                      <a:lnTo>
                        <a:pt x="0" y="188978"/>
                      </a:lnTo>
                      <a:lnTo>
                        <a:pt x="38678" y="201847"/>
                      </a:lnTo>
                      <a:lnTo>
                        <a:pt x="61770" y="198078"/>
                      </a:lnTo>
                      <a:lnTo>
                        <a:pt x="75567" y="201287"/>
                      </a:lnTo>
                      <a:lnTo>
                        <a:pt x="80239" y="195767"/>
                      </a:lnTo>
                      <a:lnTo>
                        <a:pt x="96315" y="197980"/>
                      </a:lnTo>
                      <a:lnTo>
                        <a:pt x="126314" y="187496"/>
                      </a:lnTo>
                      <a:lnTo>
                        <a:pt x="127121" y="165952"/>
                      </a:lnTo>
                      <a:lnTo>
                        <a:pt x="139988" y="151558"/>
                      </a:lnTo>
                      <a:lnTo>
                        <a:pt x="157173" y="151603"/>
                      </a:lnTo>
                      <a:lnTo>
                        <a:pt x="159696" y="144468"/>
                      </a:lnTo>
                      <a:lnTo>
                        <a:pt x="177337" y="141139"/>
                      </a:lnTo>
                      <a:lnTo>
                        <a:pt x="185872" y="143517"/>
                      </a:lnTo>
                      <a:lnTo>
                        <a:pt x="194899" y="136331"/>
                      </a:lnTo>
                      <a:lnTo>
                        <a:pt x="193624" y="120939"/>
                      </a:lnTo>
                      <a:lnTo>
                        <a:pt x="203425" y="105406"/>
                      </a:lnTo>
                      <a:lnTo>
                        <a:pt x="218116" y="98875"/>
                      </a:lnTo>
                      <a:lnTo>
                        <a:pt x="209044" y="81743"/>
                      </a:lnTo>
                      <a:lnTo>
                        <a:pt x="231001" y="82554"/>
                      </a:lnTo>
                      <a:lnTo>
                        <a:pt x="237348" y="73198"/>
                      </a:lnTo>
                      <a:lnTo>
                        <a:pt x="236385" y="63188"/>
                      </a:lnTo>
                      <a:lnTo>
                        <a:pt x="247881" y="52211"/>
                      </a:lnTo>
                      <a:lnTo>
                        <a:pt x="245243" y="39169"/>
                      </a:lnTo>
                      <a:lnTo>
                        <a:pt x="239785" y="28017"/>
                      </a:lnTo>
                      <a:lnTo>
                        <a:pt x="253264" y="16518"/>
                      </a:lnTo>
                      <a:lnTo>
                        <a:pt x="278049" y="10958"/>
                      </a:lnTo>
                      <a:lnTo>
                        <a:pt x="304537" y="7880"/>
                      </a:lnTo>
                      <a:lnTo>
                        <a:pt x="316271" y="2980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" name="Freeform 129">
                  <a:extLst>
                    <a:ext uri="{FF2B5EF4-FFF2-40B4-BE49-F238E27FC236}">
                      <a16:creationId xmlns:a16="http://schemas.microsoft.com/office/drawing/2014/main" id="{A1A815F2-E5F7-405D-9D88-ADF95B2F4E6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1"/>
                  </p:custDataLst>
                </p:nvPr>
              </p:nvSpPr>
              <p:spPr>
                <a:xfrm>
                  <a:off x="9817914" y="4126548"/>
                  <a:ext cx="231907" cy="3251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127" h="303029">
                      <a:moveTo>
                        <a:pt x="190152" y="205988"/>
                      </a:moveTo>
                      <a:lnTo>
                        <a:pt x="208862" y="217033"/>
                      </a:lnTo>
                      <a:lnTo>
                        <a:pt x="210799" y="228750"/>
                      </a:lnTo>
                      <a:lnTo>
                        <a:pt x="212420" y="237301"/>
                      </a:lnTo>
                      <a:lnTo>
                        <a:pt x="214767" y="252734"/>
                      </a:lnTo>
                      <a:lnTo>
                        <a:pt x="216127" y="265754"/>
                      </a:lnTo>
                      <a:lnTo>
                        <a:pt x="208264" y="286971"/>
                      </a:lnTo>
                      <a:lnTo>
                        <a:pt x="199830" y="263333"/>
                      </a:lnTo>
                      <a:lnTo>
                        <a:pt x="189038" y="275099"/>
                      </a:lnTo>
                      <a:lnTo>
                        <a:pt x="196408" y="292175"/>
                      </a:lnTo>
                      <a:lnTo>
                        <a:pt x="189791" y="303029"/>
                      </a:lnTo>
                      <a:lnTo>
                        <a:pt x="162630" y="289587"/>
                      </a:lnTo>
                      <a:lnTo>
                        <a:pt x="156142" y="272811"/>
                      </a:lnTo>
                      <a:lnTo>
                        <a:pt x="163181" y="261781"/>
                      </a:lnTo>
                      <a:lnTo>
                        <a:pt x="148559" y="250803"/>
                      </a:lnTo>
                      <a:lnTo>
                        <a:pt x="141308" y="260429"/>
                      </a:lnTo>
                      <a:lnTo>
                        <a:pt x="130445" y="259536"/>
                      </a:lnTo>
                      <a:lnTo>
                        <a:pt x="113364" y="272480"/>
                      </a:lnTo>
                      <a:lnTo>
                        <a:pt x="109543" y="265691"/>
                      </a:lnTo>
                      <a:lnTo>
                        <a:pt x="118600" y="246125"/>
                      </a:lnTo>
                      <a:lnTo>
                        <a:pt x="133144" y="239590"/>
                      </a:lnTo>
                      <a:lnTo>
                        <a:pt x="145731" y="230831"/>
                      </a:lnTo>
                      <a:lnTo>
                        <a:pt x="153890" y="241354"/>
                      </a:lnTo>
                      <a:lnTo>
                        <a:pt x="171440" y="234989"/>
                      </a:lnTo>
                      <a:lnTo>
                        <a:pt x="175206" y="224612"/>
                      </a:lnTo>
                      <a:lnTo>
                        <a:pt x="191520" y="223993"/>
                      </a:lnTo>
                      <a:close/>
                      <a:moveTo>
                        <a:pt x="159355" y="171633"/>
                      </a:moveTo>
                      <a:lnTo>
                        <a:pt x="157151" y="193903"/>
                      </a:lnTo>
                      <a:lnTo>
                        <a:pt x="148858" y="201567"/>
                      </a:lnTo>
                      <a:lnTo>
                        <a:pt x="141628" y="216284"/>
                      </a:lnTo>
                      <a:lnTo>
                        <a:pt x="134379" y="223174"/>
                      </a:lnTo>
                      <a:lnTo>
                        <a:pt x="120164" y="207083"/>
                      </a:lnTo>
                      <a:lnTo>
                        <a:pt x="124919" y="200845"/>
                      </a:lnTo>
                      <a:lnTo>
                        <a:pt x="130713" y="194314"/>
                      </a:lnTo>
                      <a:lnTo>
                        <a:pt x="133260" y="179829"/>
                      </a:lnTo>
                      <a:lnTo>
                        <a:pt x="145989" y="178457"/>
                      </a:lnTo>
                      <a:lnTo>
                        <a:pt x="142270" y="194169"/>
                      </a:lnTo>
                      <a:close/>
                      <a:moveTo>
                        <a:pt x="53949" y="168432"/>
                      </a:moveTo>
                      <a:lnTo>
                        <a:pt x="58062" y="187476"/>
                      </a:lnTo>
                      <a:lnTo>
                        <a:pt x="42823" y="200318"/>
                      </a:lnTo>
                      <a:lnTo>
                        <a:pt x="30707" y="216328"/>
                      </a:lnTo>
                      <a:lnTo>
                        <a:pt x="0" y="238398"/>
                      </a:lnTo>
                      <a:lnTo>
                        <a:pt x="11316" y="222134"/>
                      </a:lnTo>
                      <a:lnTo>
                        <a:pt x="27991" y="207755"/>
                      </a:lnTo>
                      <a:lnTo>
                        <a:pt x="41851" y="191629"/>
                      </a:lnTo>
                      <a:close/>
                      <a:moveTo>
                        <a:pt x="108703" y="156220"/>
                      </a:moveTo>
                      <a:lnTo>
                        <a:pt x="122558" y="163463"/>
                      </a:lnTo>
                      <a:lnTo>
                        <a:pt x="137248" y="163428"/>
                      </a:lnTo>
                      <a:lnTo>
                        <a:pt x="136802" y="173193"/>
                      </a:lnTo>
                      <a:lnTo>
                        <a:pt x="126111" y="183111"/>
                      </a:lnTo>
                      <a:lnTo>
                        <a:pt x="111451" y="190119"/>
                      </a:lnTo>
                      <a:lnTo>
                        <a:pt x="110638" y="179273"/>
                      </a:lnTo>
                      <a:lnTo>
                        <a:pt x="112277" y="167352"/>
                      </a:lnTo>
                      <a:close/>
                      <a:moveTo>
                        <a:pt x="163714" y="140620"/>
                      </a:moveTo>
                      <a:lnTo>
                        <a:pt x="185882" y="141137"/>
                      </a:lnTo>
                      <a:lnTo>
                        <a:pt x="192239" y="149877"/>
                      </a:lnTo>
                      <a:lnTo>
                        <a:pt x="198723" y="175993"/>
                      </a:lnTo>
                      <a:lnTo>
                        <a:pt x="180914" y="169793"/>
                      </a:lnTo>
                      <a:lnTo>
                        <a:pt x="181395" y="177635"/>
                      </a:lnTo>
                      <a:lnTo>
                        <a:pt x="187043" y="192038"/>
                      </a:lnTo>
                      <a:lnTo>
                        <a:pt x="176064" y="197263"/>
                      </a:lnTo>
                      <a:lnTo>
                        <a:pt x="175103" y="180853"/>
                      </a:lnTo>
                      <a:lnTo>
                        <a:pt x="168153" y="179641"/>
                      </a:lnTo>
                      <a:lnTo>
                        <a:pt x="164539" y="165493"/>
                      </a:lnTo>
                      <a:lnTo>
                        <a:pt x="178123" y="167359"/>
                      </a:lnTo>
                      <a:lnTo>
                        <a:pt x="177822" y="158503"/>
                      </a:lnTo>
                      <a:close/>
                      <a:moveTo>
                        <a:pt x="72691" y="119295"/>
                      </a:moveTo>
                      <a:lnTo>
                        <a:pt x="92466" y="120158"/>
                      </a:lnTo>
                      <a:lnTo>
                        <a:pt x="100482" y="128614"/>
                      </a:lnTo>
                      <a:lnTo>
                        <a:pt x="94360" y="148873"/>
                      </a:lnTo>
                      <a:lnTo>
                        <a:pt x="84474" y="137180"/>
                      </a:lnTo>
                      <a:close/>
                      <a:moveTo>
                        <a:pt x="81750" y="0"/>
                      </a:moveTo>
                      <a:lnTo>
                        <a:pt x="95725" y="27"/>
                      </a:lnTo>
                      <a:lnTo>
                        <a:pt x="109951" y="6840"/>
                      </a:lnTo>
                      <a:lnTo>
                        <a:pt x="117070" y="627"/>
                      </a:lnTo>
                      <a:lnTo>
                        <a:pt x="119169" y="6690"/>
                      </a:lnTo>
                      <a:lnTo>
                        <a:pt x="115414" y="16571"/>
                      </a:lnTo>
                      <a:lnTo>
                        <a:pt x="123294" y="33619"/>
                      </a:lnTo>
                      <a:lnTo>
                        <a:pt x="117215" y="53335"/>
                      </a:lnTo>
                      <a:lnTo>
                        <a:pt x="103607" y="61183"/>
                      </a:lnTo>
                      <a:lnTo>
                        <a:pt x="99967" y="80238"/>
                      </a:lnTo>
                      <a:lnTo>
                        <a:pt x="105131" y="99018"/>
                      </a:lnTo>
                      <a:lnTo>
                        <a:pt x="117368" y="101612"/>
                      </a:lnTo>
                      <a:lnTo>
                        <a:pt x="127578" y="98826"/>
                      </a:lnTo>
                      <a:lnTo>
                        <a:pt x="156409" y="111873"/>
                      </a:lnTo>
                      <a:lnTo>
                        <a:pt x="154212" y="124665"/>
                      </a:lnTo>
                      <a:lnTo>
                        <a:pt x="161741" y="130305"/>
                      </a:lnTo>
                      <a:lnTo>
                        <a:pt x="159344" y="141114"/>
                      </a:lnTo>
                      <a:lnTo>
                        <a:pt x="141353" y="129601"/>
                      </a:lnTo>
                      <a:lnTo>
                        <a:pt x="132827" y="117262"/>
                      </a:lnTo>
                      <a:lnTo>
                        <a:pt x="126888" y="125885"/>
                      </a:lnTo>
                      <a:lnTo>
                        <a:pt x="112191" y="111818"/>
                      </a:lnTo>
                      <a:lnTo>
                        <a:pt x="91225" y="115293"/>
                      </a:lnTo>
                      <a:lnTo>
                        <a:pt x="79736" y="110097"/>
                      </a:lnTo>
                      <a:lnTo>
                        <a:pt x="80907" y="100368"/>
                      </a:lnTo>
                      <a:lnTo>
                        <a:pt x="88119" y="94376"/>
                      </a:lnTo>
                      <a:lnTo>
                        <a:pt x="81230" y="88924"/>
                      </a:lnTo>
                      <a:lnTo>
                        <a:pt x="78248" y="97418"/>
                      </a:lnTo>
                      <a:lnTo>
                        <a:pt x="66851" y="83871"/>
                      </a:lnTo>
                      <a:lnTo>
                        <a:pt x="63400" y="73589"/>
                      </a:lnTo>
                      <a:lnTo>
                        <a:pt x="62543" y="50935"/>
                      </a:lnTo>
                      <a:lnTo>
                        <a:pt x="71838" y="58730"/>
                      </a:lnTo>
                      <a:lnTo>
                        <a:pt x="74229" y="21598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" name="Freeform 130">
                  <a:extLst>
                    <a:ext uri="{FF2B5EF4-FFF2-40B4-BE49-F238E27FC236}">
                      <a16:creationId xmlns:a16="http://schemas.microsoft.com/office/drawing/2014/main" id="{27EFF0B8-74E4-4FB2-A675-74BE838E025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2"/>
                  </p:custDataLst>
                </p:nvPr>
              </p:nvSpPr>
              <p:spPr>
                <a:xfrm>
                  <a:off x="10408035" y="4652005"/>
                  <a:ext cx="372011" cy="2028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697" h="189081">
                      <a:moveTo>
                        <a:pt x="315131" y="58771"/>
                      </a:moveTo>
                      <a:lnTo>
                        <a:pt x="317614" y="65657"/>
                      </a:lnTo>
                      <a:lnTo>
                        <a:pt x="324605" y="70908"/>
                      </a:lnTo>
                      <a:lnTo>
                        <a:pt x="335797" y="85588"/>
                      </a:lnTo>
                      <a:lnTo>
                        <a:pt x="346697" y="93453"/>
                      </a:lnTo>
                      <a:lnTo>
                        <a:pt x="343466" y="99944"/>
                      </a:lnTo>
                      <a:lnTo>
                        <a:pt x="337002" y="102262"/>
                      </a:lnTo>
                      <a:lnTo>
                        <a:pt x="327008" y="93358"/>
                      </a:lnTo>
                      <a:lnTo>
                        <a:pt x="316902" y="78643"/>
                      </a:lnTo>
                      <a:lnTo>
                        <a:pt x="311938" y="61008"/>
                      </a:lnTo>
                      <a:close/>
                      <a:moveTo>
                        <a:pt x="257063" y="38100"/>
                      </a:moveTo>
                      <a:lnTo>
                        <a:pt x="261725" y="41897"/>
                      </a:lnTo>
                      <a:lnTo>
                        <a:pt x="261262" y="54727"/>
                      </a:lnTo>
                      <a:lnTo>
                        <a:pt x="253508" y="68853"/>
                      </a:lnTo>
                      <a:lnTo>
                        <a:pt x="241420" y="70757"/>
                      </a:lnTo>
                      <a:lnTo>
                        <a:pt x="237780" y="77251"/>
                      </a:lnTo>
                      <a:lnTo>
                        <a:pt x="225155" y="82880"/>
                      </a:lnTo>
                      <a:lnTo>
                        <a:pt x="213307" y="88302"/>
                      </a:lnTo>
                      <a:lnTo>
                        <a:pt x="201045" y="88273"/>
                      </a:lnTo>
                      <a:lnTo>
                        <a:pt x="182119" y="81543"/>
                      </a:lnTo>
                      <a:lnTo>
                        <a:pt x="168937" y="75083"/>
                      </a:lnTo>
                      <a:lnTo>
                        <a:pt x="170850" y="67920"/>
                      </a:lnTo>
                      <a:lnTo>
                        <a:pt x="191545" y="71300"/>
                      </a:lnTo>
                      <a:lnTo>
                        <a:pt x="204175" y="69489"/>
                      </a:lnTo>
                      <a:lnTo>
                        <a:pt x="207653" y="58393"/>
                      </a:lnTo>
                      <a:lnTo>
                        <a:pt x="210966" y="57820"/>
                      </a:lnTo>
                      <a:lnTo>
                        <a:pt x="213208" y="70107"/>
                      </a:lnTo>
                      <a:lnTo>
                        <a:pt x="226378" y="68339"/>
                      </a:lnTo>
                      <a:lnTo>
                        <a:pt x="232892" y="60420"/>
                      </a:lnTo>
                      <a:lnTo>
                        <a:pt x="245778" y="52169"/>
                      </a:lnTo>
                      <a:lnTo>
                        <a:pt x="243237" y="38540"/>
                      </a:lnTo>
                      <a:close/>
                      <a:moveTo>
                        <a:pt x="0" y="2313"/>
                      </a:moveTo>
                      <a:lnTo>
                        <a:pt x="40050" y="18231"/>
                      </a:lnTo>
                      <a:lnTo>
                        <a:pt x="82723" y="31457"/>
                      </a:lnTo>
                      <a:lnTo>
                        <a:pt x="98632" y="43302"/>
                      </a:lnTo>
                      <a:lnTo>
                        <a:pt x="111480" y="54931"/>
                      </a:lnTo>
                      <a:lnTo>
                        <a:pt x="114992" y="68565"/>
                      </a:lnTo>
                      <a:lnTo>
                        <a:pt x="153451" y="82878"/>
                      </a:lnTo>
                      <a:lnTo>
                        <a:pt x="159061" y="95168"/>
                      </a:lnTo>
                      <a:lnTo>
                        <a:pt x="137820" y="97664"/>
                      </a:lnTo>
                      <a:lnTo>
                        <a:pt x="142921" y="113120"/>
                      </a:lnTo>
                      <a:lnTo>
                        <a:pt x="163528" y="128353"/>
                      </a:lnTo>
                      <a:lnTo>
                        <a:pt x="178520" y="153010"/>
                      </a:lnTo>
                      <a:lnTo>
                        <a:pt x="191740" y="152237"/>
                      </a:lnTo>
                      <a:lnTo>
                        <a:pt x="190812" y="162548"/>
                      </a:lnTo>
                      <a:lnTo>
                        <a:pt x="208633" y="166506"/>
                      </a:lnTo>
                      <a:lnTo>
                        <a:pt x="201711" y="170901"/>
                      </a:lnTo>
                      <a:lnTo>
                        <a:pt x="226243" y="180710"/>
                      </a:lnTo>
                      <a:lnTo>
                        <a:pt x="223680" y="187453"/>
                      </a:lnTo>
                      <a:lnTo>
                        <a:pt x="208395" y="189081"/>
                      </a:lnTo>
                      <a:lnTo>
                        <a:pt x="202715" y="183032"/>
                      </a:lnTo>
                      <a:lnTo>
                        <a:pt x="182883" y="180412"/>
                      </a:lnTo>
                      <a:lnTo>
                        <a:pt x="159567" y="176903"/>
                      </a:lnTo>
                      <a:lnTo>
                        <a:pt x="141618" y="162037"/>
                      </a:lnTo>
                      <a:lnTo>
                        <a:pt x="128517" y="149238"/>
                      </a:lnTo>
                      <a:lnTo>
                        <a:pt x="116528" y="128894"/>
                      </a:lnTo>
                      <a:lnTo>
                        <a:pt x="86421" y="118739"/>
                      </a:lnTo>
                      <a:lnTo>
                        <a:pt x="66868" y="125362"/>
                      </a:lnTo>
                      <a:lnTo>
                        <a:pt x="52772" y="133032"/>
                      </a:lnTo>
                      <a:lnTo>
                        <a:pt x="55716" y="150181"/>
                      </a:lnTo>
                      <a:lnTo>
                        <a:pt x="37584" y="158181"/>
                      </a:lnTo>
                      <a:lnTo>
                        <a:pt x="24654" y="154288"/>
                      </a:lnTo>
                      <a:lnTo>
                        <a:pt x="777" y="153318"/>
                      </a:lnTo>
                      <a:lnTo>
                        <a:pt x="389" y="77674"/>
                      </a:lnTo>
                      <a:close/>
                      <a:moveTo>
                        <a:pt x="229437" y="0"/>
                      </a:moveTo>
                      <a:lnTo>
                        <a:pt x="241902" y="6467"/>
                      </a:lnTo>
                      <a:lnTo>
                        <a:pt x="249751" y="11549"/>
                      </a:lnTo>
                      <a:lnTo>
                        <a:pt x="259445" y="17095"/>
                      </a:lnTo>
                      <a:lnTo>
                        <a:pt x="268679" y="26801"/>
                      </a:lnTo>
                      <a:lnTo>
                        <a:pt x="277449" y="34198"/>
                      </a:lnTo>
                      <a:lnTo>
                        <a:pt x="280220" y="46222"/>
                      </a:lnTo>
                      <a:lnTo>
                        <a:pt x="273002" y="52385"/>
                      </a:lnTo>
                      <a:lnTo>
                        <a:pt x="268648" y="38733"/>
                      </a:lnTo>
                      <a:lnTo>
                        <a:pt x="263277" y="29800"/>
                      </a:lnTo>
                      <a:lnTo>
                        <a:pt x="252825" y="22226"/>
                      </a:lnTo>
                      <a:lnTo>
                        <a:pt x="239693" y="12368"/>
                      </a:lnTo>
                      <a:lnTo>
                        <a:pt x="223022" y="557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" name="Freeform 131">
                  <a:extLst>
                    <a:ext uri="{FF2B5EF4-FFF2-40B4-BE49-F238E27FC236}">
                      <a16:creationId xmlns:a16="http://schemas.microsoft.com/office/drawing/2014/main" id="{74515BF6-7499-4126-9B70-1577162E688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3"/>
                  </p:custDataLst>
                </p:nvPr>
              </p:nvSpPr>
              <p:spPr>
                <a:xfrm>
                  <a:off x="7264333" y="3075136"/>
                  <a:ext cx="246579" cy="19289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29800" h="179771">
                      <a:moveTo>
                        <a:pt x="21755" y="117061"/>
                      </a:moveTo>
                      <a:lnTo>
                        <a:pt x="12293" y="97491"/>
                      </a:lnTo>
                      <a:lnTo>
                        <a:pt x="14092" y="86859"/>
                      </a:lnTo>
                      <a:lnTo>
                        <a:pt x="8381" y="70275"/>
                      </a:lnTo>
                      <a:lnTo>
                        <a:pt x="0" y="59162"/>
                      </a:lnTo>
                      <a:lnTo>
                        <a:pt x="6435" y="50806"/>
                      </a:lnTo>
                      <a:lnTo>
                        <a:pt x="1043" y="34797"/>
                      </a:lnTo>
                      <a:lnTo>
                        <a:pt x="16813" y="25510"/>
                      </a:lnTo>
                      <a:lnTo>
                        <a:pt x="52835" y="10812"/>
                      </a:lnTo>
                      <a:lnTo>
                        <a:pt x="81905" y="0"/>
                      </a:lnTo>
                      <a:lnTo>
                        <a:pt x="104942" y="5404"/>
                      </a:lnTo>
                      <a:lnTo>
                        <a:pt x="106682" y="13184"/>
                      </a:lnTo>
                      <a:lnTo>
                        <a:pt x="128943" y="13586"/>
                      </a:lnTo>
                      <a:lnTo>
                        <a:pt x="157371" y="17200"/>
                      </a:lnTo>
                      <a:lnTo>
                        <a:pt x="199817" y="16722"/>
                      </a:lnTo>
                      <a:lnTo>
                        <a:pt x="211656" y="20122"/>
                      </a:lnTo>
                      <a:lnTo>
                        <a:pt x="217199" y="29885"/>
                      </a:lnTo>
                      <a:lnTo>
                        <a:pt x="218201" y="43837"/>
                      </a:lnTo>
                      <a:lnTo>
                        <a:pt x="224604" y="55770"/>
                      </a:lnTo>
                      <a:lnTo>
                        <a:pt x="224472" y="68213"/>
                      </a:lnTo>
                      <a:lnTo>
                        <a:pt x="210629" y="74560"/>
                      </a:lnTo>
                      <a:lnTo>
                        <a:pt x="217750" y="88908"/>
                      </a:lnTo>
                      <a:lnTo>
                        <a:pt x="218190" y="102616"/>
                      </a:lnTo>
                      <a:lnTo>
                        <a:pt x="229799" y="129283"/>
                      </a:lnTo>
                      <a:lnTo>
                        <a:pt x="227324" y="137793"/>
                      </a:lnTo>
                      <a:lnTo>
                        <a:pt x="215869" y="141315"/>
                      </a:lnTo>
                      <a:lnTo>
                        <a:pt x="194909" y="166346"/>
                      </a:lnTo>
                      <a:lnTo>
                        <a:pt x="200863" y="179770"/>
                      </a:lnTo>
                      <a:lnTo>
                        <a:pt x="195824" y="178030"/>
                      </a:lnTo>
                      <a:lnTo>
                        <a:pt x="173889" y="166545"/>
                      </a:lnTo>
                      <a:lnTo>
                        <a:pt x="157272" y="170774"/>
                      </a:lnTo>
                      <a:lnTo>
                        <a:pt x="146375" y="167702"/>
                      </a:lnTo>
                      <a:lnTo>
                        <a:pt x="132737" y="174110"/>
                      </a:lnTo>
                      <a:lnTo>
                        <a:pt x="121096" y="163505"/>
                      </a:lnTo>
                      <a:lnTo>
                        <a:pt x="111606" y="167571"/>
                      </a:lnTo>
                      <a:lnTo>
                        <a:pt x="110303" y="165763"/>
                      </a:lnTo>
                      <a:lnTo>
                        <a:pt x="99680" y="150970"/>
                      </a:lnTo>
                      <a:lnTo>
                        <a:pt x="82519" y="149149"/>
                      </a:lnTo>
                      <a:lnTo>
                        <a:pt x="80329" y="139692"/>
                      </a:lnTo>
                      <a:lnTo>
                        <a:pt x="64499" y="136306"/>
                      </a:lnTo>
                      <a:lnTo>
                        <a:pt x="61053" y="144118"/>
                      </a:lnTo>
                      <a:lnTo>
                        <a:pt x="48514" y="137862"/>
                      </a:lnTo>
                      <a:lnTo>
                        <a:pt x="49954" y="129517"/>
                      </a:lnTo>
                      <a:lnTo>
                        <a:pt x="32696" y="12687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" name="Freeform 132">
                  <a:extLst>
                    <a:ext uri="{FF2B5EF4-FFF2-40B4-BE49-F238E27FC236}">
                      <a16:creationId xmlns:a16="http://schemas.microsoft.com/office/drawing/2014/main" id="{C0D847C4-6F63-4638-9163-F125FFBB42D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4"/>
                  </p:custDataLst>
                </p:nvPr>
              </p:nvSpPr>
              <p:spPr>
                <a:xfrm>
                  <a:off x="9993553" y="3455051"/>
                  <a:ext cx="161349" cy="15577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0370" h="145179">
                      <a:moveTo>
                        <a:pt x="147138" y="16467"/>
                      </a:moveTo>
                      <a:lnTo>
                        <a:pt x="150369" y="21331"/>
                      </a:lnTo>
                      <a:lnTo>
                        <a:pt x="141598" y="19664"/>
                      </a:lnTo>
                      <a:lnTo>
                        <a:pt x="131578" y="29059"/>
                      </a:lnTo>
                      <a:lnTo>
                        <a:pt x="124686" y="38468"/>
                      </a:lnTo>
                      <a:lnTo>
                        <a:pt x="125559" y="58236"/>
                      </a:lnTo>
                      <a:lnTo>
                        <a:pt x="113624" y="64293"/>
                      </a:lnTo>
                      <a:lnTo>
                        <a:pt x="109522" y="69118"/>
                      </a:lnTo>
                      <a:lnTo>
                        <a:pt x="100819" y="77187"/>
                      </a:lnTo>
                      <a:lnTo>
                        <a:pt x="85447" y="81667"/>
                      </a:lnTo>
                      <a:lnTo>
                        <a:pt x="75429" y="88970"/>
                      </a:lnTo>
                      <a:lnTo>
                        <a:pt x="74707" y="100707"/>
                      </a:lnTo>
                      <a:lnTo>
                        <a:pt x="72013" y="103694"/>
                      </a:lnTo>
                      <a:lnTo>
                        <a:pt x="81198" y="108087"/>
                      </a:lnTo>
                      <a:lnTo>
                        <a:pt x="94271" y="119907"/>
                      </a:lnTo>
                      <a:lnTo>
                        <a:pt x="90948" y="126406"/>
                      </a:lnTo>
                      <a:lnTo>
                        <a:pt x="81122" y="128173"/>
                      </a:lnTo>
                      <a:lnTo>
                        <a:pt x="64808" y="129472"/>
                      </a:lnTo>
                      <a:lnTo>
                        <a:pt x="55816" y="141554"/>
                      </a:lnTo>
                      <a:lnTo>
                        <a:pt x="45512" y="140603"/>
                      </a:lnTo>
                      <a:lnTo>
                        <a:pt x="44067" y="143026"/>
                      </a:lnTo>
                      <a:lnTo>
                        <a:pt x="32857" y="137939"/>
                      </a:lnTo>
                      <a:lnTo>
                        <a:pt x="30072" y="142961"/>
                      </a:lnTo>
                      <a:lnTo>
                        <a:pt x="23306" y="145178"/>
                      </a:lnTo>
                      <a:lnTo>
                        <a:pt x="22493" y="140152"/>
                      </a:lnTo>
                      <a:lnTo>
                        <a:pt x="16513" y="137703"/>
                      </a:lnTo>
                      <a:lnTo>
                        <a:pt x="10307" y="133433"/>
                      </a:lnTo>
                      <a:lnTo>
                        <a:pt x="16627" y="121622"/>
                      </a:lnTo>
                      <a:lnTo>
                        <a:pt x="22074" y="118465"/>
                      </a:lnTo>
                      <a:lnTo>
                        <a:pt x="20018" y="113545"/>
                      </a:lnTo>
                      <a:lnTo>
                        <a:pt x="25875" y="98974"/>
                      </a:lnTo>
                      <a:lnTo>
                        <a:pt x="24363" y="94546"/>
                      </a:lnTo>
                      <a:lnTo>
                        <a:pt x="10891" y="91590"/>
                      </a:lnTo>
                      <a:lnTo>
                        <a:pt x="0" y="84305"/>
                      </a:lnTo>
                      <a:lnTo>
                        <a:pt x="18796" y="66810"/>
                      </a:lnTo>
                      <a:lnTo>
                        <a:pt x="44236" y="52071"/>
                      </a:lnTo>
                      <a:lnTo>
                        <a:pt x="60094" y="32513"/>
                      </a:lnTo>
                      <a:lnTo>
                        <a:pt x="71052" y="41172"/>
                      </a:lnTo>
                      <a:lnTo>
                        <a:pt x="91010" y="42175"/>
                      </a:lnTo>
                      <a:lnTo>
                        <a:pt x="87404" y="27592"/>
                      </a:lnTo>
                      <a:lnTo>
                        <a:pt x="123054" y="15633"/>
                      </a:lnTo>
                      <a:lnTo>
                        <a:pt x="132232" y="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" name="Freeform 133">
                  <a:extLst>
                    <a:ext uri="{FF2B5EF4-FFF2-40B4-BE49-F238E27FC236}">
                      <a16:creationId xmlns:a16="http://schemas.microsoft.com/office/drawing/2014/main" id="{AA77B9DA-00DC-411B-8A8F-BB6975C91A2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5"/>
                  </p:custDataLst>
                </p:nvPr>
              </p:nvSpPr>
              <p:spPr>
                <a:xfrm>
                  <a:off x="6679782" y="3476138"/>
                  <a:ext cx="77710" cy="15840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2422" h="147628">
                      <a:moveTo>
                        <a:pt x="11351" y="11091"/>
                      </a:moveTo>
                      <a:lnTo>
                        <a:pt x="19727" y="4048"/>
                      </a:lnTo>
                      <a:lnTo>
                        <a:pt x="29147" y="0"/>
                      </a:lnTo>
                      <a:lnTo>
                        <a:pt x="34933" y="13572"/>
                      </a:lnTo>
                      <a:lnTo>
                        <a:pt x="48567" y="13540"/>
                      </a:lnTo>
                      <a:lnTo>
                        <a:pt x="52519" y="10045"/>
                      </a:lnTo>
                      <a:lnTo>
                        <a:pt x="65969" y="11013"/>
                      </a:lnTo>
                      <a:lnTo>
                        <a:pt x="72421" y="24866"/>
                      </a:lnTo>
                      <a:lnTo>
                        <a:pt x="61756" y="32317"/>
                      </a:lnTo>
                      <a:lnTo>
                        <a:pt x="61459" y="53689"/>
                      </a:lnTo>
                      <a:lnTo>
                        <a:pt x="57710" y="57681"/>
                      </a:lnTo>
                      <a:lnTo>
                        <a:pt x="56783" y="70540"/>
                      </a:lnTo>
                      <a:lnTo>
                        <a:pt x="46810" y="72774"/>
                      </a:lnTo>
                      <a:lnTo>
                        <a:pt x="56057" y="88998"/>
                      </a:lnTo>
                      <a:lnTo>
                        <a:pt x="49685" y="106683"/>
                      </a:lnTo>
                      <a:lnTo>
                        <a:pt x="57644" y="114654"/>
                      </a:lnTo>
                      <a:lnTo>
                        <a:pt x="54476" y="121927"/>
                      </a:lnTo>
                      <a:lnTo>
                        <a:pt x="45922" y="131931"/>
                      </a:lnTo>
                      <a:lnTo>
                        <a:pt x="47847" y="140740"/>
                      </a:lnTo>
                      <a:lnTo>
                        <a:pt x="38570" y="147627"/>
                      </a:lnTo>
                      <a:lnTo>
                        <a:pt x="26401" y="143897"/>
                      </a:lnTo>
                      <a:lnTo>
                        <a:pt x="14489" y="146817"/>
                      </a:lnTo>
                      <a:lnTo>
                        <a:pt x="18015" y="126000"/>
                      </a:lnTo>
                      <a:lnTo>
                        <a:pt x="15848" y="109550"/>
                      </a:lnTo>
                      <a:lnTo>
                        <a:pt x="5519" y="107075"/>
                      </a:lnTo>
                      <a:lnTo>
                        <a:pt x="0" y="96887"/>
                      </a:lnTo>
                      <a:lnTo>
                        <a:pt x="1837" y="79211"/>
                      </a:lnTo>
                      <a:lnTo>
                        <a:pt x="11039" y="69367"/>
                      </a:lnTo>
                      <a:lnTo>
                        <a:pt x="12677" y="58369"/>
                      </a:lnTo>
                      <a:lnTo>
                        <a:pt x="17494" y="41935"/>
                      </a:lnTo>
                      <a:lnTo>
                        <a:pt x="16982" y="30303"/>
                      </a:lnTo>
                      <a:lnTo>
                        <a:pt x="12367" y="2040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Freeform 134">
                  <a:extLst>
                    <a:ext uri="{FF2B5EF4-FFF2-40B4-BE49-F238E27FC236}">
                      <a16:creationId xmlns:a16="http://schemas.microsoft.com/office/drawing/2014/main" id="{8D6C3B33-45E8-41EC-B43C-443F7361D48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6"/>
                  </p:custDataLst>
                </p:nvPr>
              </p:nvSpPr>
              <p:spPr>
                <a:xfrm>
                  <a:off x="8172563" y="3928437"/>
                  <a:ext cx="21370" cy="4114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9916" h="38345">
                      <a:moveTo>
                        <a:pt x="1528" y="33479"/>
                      </a:moveTo>
                      <a:lnTo>
                        <a:pt x="0" y="15592"/>
                      </a:lnTo>
                      <a:lnTo>
                        <a:pt x="6219" y="2658"/>
                      </a:lnTo>
                      <a:lnTo>
                        <a:pt x="12523" y="0"/>
                      </a:lnTo>
                      <a:lnTo>
                        <a:pt x="19508" y="7738"/>
                      </a:lnTo>
                      <a:lnTo>
                        <a:pt x="19915" y="22157"/>
                      </a:lnTo>
                      <a:lnTo>
                        <a:pt x="14904" y="36602"/>
                      </a:lnTo>
                      <a:lnTo>
                        <a:pt x="8506" y="3834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" name="Freeform 135">
                  <a:extLst>
                    <a:ext uri="{FF2B5EF4-FFF2-40B4-BE49-F238E27FC236}">
                      <a16:creationId xmlns:a16="http://schemas.microsoft.com/office/drawing/2014/main" id="{45163710-B1D1-46C6-AE3A-22C3688EE76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7"/>
                  </p:custDataLst>
                </p:nvPr>
              </p:nvSpPr>
              <p:spPr>
                <a:xfrm>
                  <a:off x="7416550" y="3293699"/>
                  <a:ext cx="232977" cy="1401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17124" h="130641">
                      <a:moveTo>
                        <a:pt x="57483" y="9981"/>
                      </a:moveTo>
                      <a:lnTo>
                        <a:pt x="67448" y="3675"/>
                      </a:lnTo>
                      <a:lnTo>
                        <a:pt x="81730" y="6937"/>
                      </a:lnTo>
                      <a:lnTo>
                        <a:pt x="96528" y="7047"/>
                      </a:lnTo>
                      <a:lnTo>
                        <a:pt x="107245" y="14233"/>
                      </a:lnTo>
                      <a:lnTo>
                        <a:pt x="115126" y="9720"/>
                      </a:lnTo>
                      <a:lnTo>
                        <a:pt x="132165" y="6892"/>
                      </a:lnTo>
                      <a:lnTo>
                        <a:pt x="137971" y="0"/>
                      </a:lnTo>
                      <a:lnTo>
                        <a:pt x="147709" y="4"/>
                      </a:lnTo>
                      <a:lnTo>
                        <a:pt x="154745" y="2880"/>
                      </a:lnTo>
                      <a:lnTo>
                        <a:pt x="161894" y="11611"/>
                      </a:lnTo>
                      <a:lnTo>
                        <a:pt x="169218" y="23978"/>
                      </a:lnTo>
                      <a:lnTo>
                        <a:pt x="182534" y="41322"/>
                      </a:lnTo>
                      <a:lnTo>
                        <a:pt x="183272" y="54054"/>
                      </a:lnTo>
                      <a:lnTo>
                        <a:pt x="180835" y="66383"/>
                      </a:lnTo>
                      <a:lnTo>
                        <a:pt x="184969" y="79498"/>
                      </a:lnTo>
                      <a:lnTo>
                        <a:pt x="195270" y="84776"/>
                      </a:lnTo>
                      <a:lnTo>
                        <a:pt x="206117" y="80168"/>
                      </a:lnTo>
                      <a:lnTo>
                        <a:pt x="216587" y="85083"/>
                      </a:lnTo>
                      <a:lnTo>
                        <a:pt x="217123" y="92454"/>
                      </a:lnTo>
                      <a:lnTo>
                        <a:pt x="205930" y="98589"/>
                      </a:lnTo>
                      <a:lnTo>
                        <a:pt x="198918" y="95920"/>
                      </a:lnTo>
                      <a:lnTo>
                        <a:pt x="192461" y="130105"/>
                      </a:lnTo>
                      <a:lnTo>
                        <a:pt x="178888" y="127146"/>
                      </a:lnTo>
                      <a:lnTo>
                        <a:pt x="162091" y="116878"/>
                      </a:lnTo>
                      <a:lnTo>
                        <a:pt x="134917" y="123449"/>
                      </a:lnTo>
                      <a:lnTo>
                        <a:pt x="123471" y="130640"/>
                      </a:lnTo>
                      <a:lnTo>
                        <a:pt x="89571" y="129159"/>
                      </a:lnTo>
                      <a:lnTo>
                        <a:pt x="71835" y="124761"/>
                      </a:lnTo>
                      <a:lnTo>
                        <a:pt x="62892" y="126827"/>
                      </a:lnTo>
                      <a:lnTo>
                        <a:pt x="56251" y="115210"/>
                      </a:lnTo>
                      <a:lnTo>
                        <a:pt x="52024" y="110270"/>
                      </a:lnTo>
                      <a:lnTo>
                        <a:pt x="57372" y="105479"/>
                      </a:lnTo>
                      <a:lnTo>
                        <a:pt x="51678" y="101939"/>
                      </a:lnTo>
                      <a:lnTo>
                        <a:pt x="44432" y="108307"/>
                      </a:lnTo>
                      <a:lnTo>
                        <a:pt x="30973" y="100049"/>
                      </a:lnTo>
                      <a:lnTo>
                        <a:pt x="29161" y="88290"/>
                      </a:lnTo>
                      <a:lnTo>
                        <a:pt x="15098" y="81559"/>
                      </a:lnTo>
                      <a:lnTo>
                        <a:pt x="12510" y="72427"/>
                      </a:lnTo>
                      <a:lnTo>
                        <a:pt x="0" y="61109"/>
                      </a:lnTo>
                      <a:lnTo>
                        <a:pt x="18506" y="55659"/>
                      </a:lnTo>
                      <a:lnTo>
                        <a:pt x="32461" y="35974"/>
                      </a:lnTo>
                      <a:lnTo>
                        <a:pt x="43385" y="16144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" name="Freeform 136">
                  <a:extLst>
                    <a:ext uri="{FF2B5EF4-FFF2-40B4-BE49-F238E27FC236}">
                      <a16:creationId xmlns:a16="http://schemas.microsoft.com/office/drawing/2014/main" id="{56CBD731-F20B-4DCF-8F35-C0A8E72894E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8"/>
                  </p:custDataLst>
                </p:nvPr>
              </p:nvSpPr>
              <p:spPr>
                <a:xfrm>
                  <a:off x="7402690" y="1917778"/>
                  <a:ext cx="4221462" cy="1591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4206" h="1483526">
                      <a:moveTo>
                        <a:pt x="2839034" y="1094106"/>
                      </a:moveTo>
                      <a:lnTo>
                        <a:pt x="2845032" y="1115055"/>
                      </a:lnTo>
                      <a:lnTo>
                        <a:pt x="2853023" y="1145269"/>
                      </a:lnTo>
                      <a:lnTo>
                        <a:pt x="2852433" y="1175741"/>
                      </a:lnTo>
                      <a:lnTo>
                        <a:pt x="2861960" y="1206604"/>
                      </a:lnTo>
                      <a:lnTo>
                        <a:pt x="2885184" y="1259892"/>
                      </a:lnTo>
                      <a:lnTo>
                        <a:pt x="2851017" y="1250042"/>
                      </a:lnTo>
                      <a:lnTo>
                        <a:pt x="2836815" y="1292882"/>
                      </a:lnTo>
                      <a:lnTo>
                        <a:pt x="2859317" y="1322853"/>
                      </a:lnTo>
                      <a:lnTo>
                        <a:pt x="2858666" y="1343101"/>
                      </a:lnTo>
                      <a:lnTo>
                        <a:pt x="2841178" y="1325642"/>
                      </a:lnTo>
                      <a:lnTo>
                        <a:pt x="2826044" y="1348038"/>
                      </a:lnTo>
                      <a:lnTo>
                        <a:pt x="2821771" y="1323749"/>
                      </a:lnTo>
                      <a:lnTo>
                        <a:pt x="2824345" y="1295276"/>
                      </a:lnTo>
                      <a:lnTo>
                        <a:pt x="2821714" y="1263380"/>
                      </a:lnTo>
                      <a:lnTo>
                        <a:pt x="2827054" y="1240801"/>
                      </a:lnTo>
                      <a:lnTo>
                        <a:pt x="2828074" y="1200372"/>
                      </a:lnTo>
                      <a:lnTo>
                        <a:pt x="2814550" y="1170233"/>
                      </a:lnTo>
                      <a:lnTo>
                        <a:pt x="2816592" y="1127722"/>
                      </a:lnTo>
                      <a:lnTo>
                        <a:pt x="2837929" y="1113239"/>
                      </a:lnTo>
                      <a:lnTo>
                        <a:pt x="2828761" y="1098569"/>
                      </a:lnTo>
                      <a:close/>
                      <a:moveTo>
                        <a:pt x="37112" y="1067723"/>
                      </a:moveTo>
                      <a:lnTo>
                        <a:pt x="61286" y="1073353"/>
                      </a:lnTo>
                      <a:lnTo>
                        <a:pt x="71490" y="1078441"/>
                      </a:lnTo>
                      <a:lnTo>
                        <a:pt x="69026" y="1087196"/>
                      </a:lnTo>
                      <a:lnTo>
                        <a:pt x="70874" y="1095325"/>
                      </a:lnTo>
                      <a:lnTo>
                        <a:pt x="28428" y="1095803"/>
                      </a:lnTo>
                      <a:lnTo>
                        <a:pt x="0" y="1092189"/>
                      </a:lnTo>
                      <a:lnTo>
                        <a:pt x="5259" y="1078134"/>
                      </a:lnTo>
                      <a:close/>
                      <a:moveTo>
                        <a:pt x="3704019" y="465997"/>
                      </a:moveTo>
                      <a:lnTo>
                        <a:pt x="3723583" y="466086"/>
                      </a:lnTo>
                      <a:lnTo>
                        <a:pt x="3756969" y="478252"/>
                      </a:lnTo>
                      <a:lnTo>
                        <a:pt x="3754992" y="484040"/>
                      </a:lnTo>
                      <a:lnTo>
                        <a:pt x="3731212" y="494149"/>
                      </a:lnTo>
                      <a:lnTo>
                        <a:pt x="3701062" y="496705"/>
                      </a:lnTo>
                      <a:lnTo>
                        <a:pt x="3675749" y="498849"/>
                      </a:lnTo>
                      <a:lnTo>
                        <a:pt x="3671638" y="485475"/>
                      </a:lnTo>
                      <a:lnTo>
                        <a:pt x="3701062" y="467783"/>
                      </a:lnTo>
                      <a:close/>
                      <a:moveTo>
                        <a:pt x="2825352" y="365319"/>
                      </a:moveTo>
                      <a:lnTo>
                        <a:pt x="2858147" y="382421"/>
                      </a:lnTo>
                      <a:lnTo>
                        <a:pt x="2860941" y="394089"/>
                      </a:lnTo>
                      <a:lnTo>
                        <a:pt x="2825942" y="394399"/>
                      </a:lnTo>
                      <a:lnTo>
                        <a:pt x="2778635" y="389459"/>
                      </a:lnTo>
                      <a:lnTo>
                        <a:pt x="2774594" y="387110"/>
                      </a:lnTo>
                      <a:lnTo>
                        <a:pt x="2796490" y="369471"/>
                      </a:lnTo>
                      <a:close/>
                      <a:moveTo>
                        <a:pt x="2924525" y="290217"/>
                      </a:moveTo>
                      <a:lnTo>
                        <a:pt x="2967545" y="297259"/>
                      </a:lnTo>
                      <a:lnTo>
                        <a:pt x="3025469" y="309407"/>
                      </a:lnTo>
                      <a:lnTo>
                        <a:pt x="2998792" y="327599"/>
                      </a:lnTo>
                      <a:lnTo>
                        <a:pt x="2961895" y="323497"/>
                      </a:lnTo>
                      <a:lnTo>
                        <a:pt x="2919002" y="305289"/>
                      </a:lnTo>
                      <a:close/>
                      <a:moveTo>
                        <a:pt x="2750772" y="260076"/>
                      </a:moveTo>
                      <a:lnTo>
                        <a:pt x="2811723" y="262158"/>
                      </a:lnTo>
                      <a:lnTo>
                        <a:pt x="2895160" y="287140"/>
                      </a:lnTo>
                      <a:lnTo>
                        <a:pt x="2877010" y="321584"/>
                      </a:lnTo>
                      <a:lnTo>
                        <a:pt x="2791923" y="320311"/>
                      </a:lnTo>
                      <a:lnTo>
                        <a:pt x="2753643" y="331144"/>
                      </a:lnTo>
                      <a:lnTo>
                        <a:pt x="2707915" y="301173"/>
                      </a:lnTo>
                      <a:lnTo>
                        <a:pt x="2720319" y="268961"/>
                      </a:lnTo>
                      <a:close/>
                      <a:moveTo>
                        <a:pt x="1119427" y="221565"/>
                      </a:moveTo>
                      <a:lnTo>
                        <a:pt x="1135473" y="240603"/>
                      </a:lnTo>
                      <a:lnTo>
                        <a:pt x="1119970" y="255471"/>
                      </a:lnTo>
                      <a:lnTo>
                        <a:pt x="1038182" y="278925"/>
                      </a:lnTo>
                      <a:lnTo>
                        <a:pt x="967692" y="301210"/>
                      </a:lnTo>
                      <a:lnTo>
                        <a:pt x="895987" y="344926"/>
                      </a:lnTo>
                      <a:lnTo>
                        <a:pt x="861587" y="388743"/>
                      </a:lnTo>
                      <a:lnTo>
                        <a:pt x="825406" y="430972"/>
                      </a:lnTo>
                      <a:lnTo>
                        <a:pt x="830103" y="466723"/>
                      </a:lnTo>
                      <a:lnTo>
                        <a:pt x="874257" y="501393"/>
                      </a:lnTo>
                      <a:lnTo>
                        <a:pt x="860622" y="505066"/>
                      </a:lnTo>
                      <a:lnTo>
                        <a:pt x="785197" y="499624"/>
                      </a:lnTo>
                      <a:lnTo>
                        <a:pt x="779072" y="480913"/>
                      </a:lnTo>
                      <a:lnTo>
                        <a:pt x="737289" y="469528"/>
                      </a:lnTo>
                      <a:lnTo>
                        <a:pt x="733916" y="446390"/>
                      </a:lnTo>
                      <a:lnTo>
                        <a:pt x="757518" y="437122"/>
                      </a:lnTo>
                      <a:lnTo>
                        <a:pt x="756731" y="413368"/>
                      </a:lnTo>
                      <a:lnTo>
                        <a:pt x="802514" y="375627"/>
                      </a:lnTo>
                      <a:lnTo>
                        <a:pt x="781294" y="370154"/>
                      </a:lnTo>
                      <a:lnTo>
                        <a:pt x="836558" y="330412"/>
                      </a:lnTo>
                      <a:lnTo>
                        <a:pt x="830313" y="309530"/>
                      </a:lnTo>
                      <a:lnTo>
                        <a:pt x="881943" y="284949"/>
                      </a:lnTo>
                      <a:lnTo>
                        <a:pt x="958148" y="254602"/>
                      </a:lnTo>
                      <a:lnTo>
                        <a:pt x="1034974" y="245669"/>
                      </a:lnTo>
                      <a:lnTo>
                        <a:pt x="1074506" y="227850"/>
                      </a:lnTo>
                      <a:close/>
                      <a:moveTo>
                        <a:pt x="1954894" y="184460"/>
                      </a:moveTo>
                      <a:lnTo>
                        <a:pt x="1994481" y="200407"/>
                      </a:lnTo>
                      <a:lnTo>
                        <a:pt x="1963051" y="212448"/>
                      </a:lnTo>
                      <a:lnTo>
                        <a:pt x="2015337" y="219893"/>
                      </a:lnTo>
                      <a:lnTo>
                        <a:pt x="2021566" y="243709"/>
                      </a:lnTo>
                      <a:lnTo>
                        <a:pt x="2042658" y="232019"/>
                      </a:lnTo>
                      <a:lnTo>
                        <a:pt x="2110140" y="232662"/>
                      </a:lnTo>
                      <a:lnTo>
                        <a:pt x="2162174" y="256013"/>
                      </a:lnTo>
                      <a:lnTo>
                        <a:pt x="2180702" y="273753"/>
                      </a:lnTo>
                      <a:lnTo>
                        <a:pt x="2174959" y="298099"/>
                      </a:lnTo>
                      <a:lnTo>
                        <a:pt x="2149425" y="311820"/>
                      </a:lnTo>
                      <a:lnTo>
                        <a:pt x="2088765" y="337297"/>
                      </a:lnTo>
                      <a:lnTo>
                        <a:pt x="2071424" y="350778"/>
                      </a:lnTo>
                      <a:lnTo>
                        <a:pt x="2100047" y="357105"/>
                      </a:lnTo>
                      <a:lnTo>
                        <a:pt x="2134191" y="368454"/>
                      </a:lnTo>
                      <a:lnTo>
                        <a:pt x="2154973" y="359949"/>
                      </a:lnTo>
                      <a:lnTo>
                        <a:pt x="2166746" y="388654"/>
                      </a:lnTo>
                      <a:lnTo>
                        <a:pt x="2176885" y="377086"/>
                      </a:lnTo>
                      <a:lnTo>
                        <a:pt x="2213793" y="370018"/>
                      </a:lnTo>
                      <a:lnTo>
                        <a:pt x="2287855" y="377406"/>
                      </a:lnTo>
                      <a:lnTo>
                        <a:pt x="2293479" y="398177"/>
                      </a:lnTo>
                      <a:lnTo>
                        <a:pt x="2389980" y="404738"/>
                      </a:lnTo>
                      <a:lnTo>
                        <a:pt x="2391299" y="370817"/>
                      </a:lnTo>
                      <a:lnTo>
                        <a:pt x="2440285" y="378643"/>
                      </a:lnTo>
                      <a:lnTo>
                        <a:pt x="2477136" y="378398"/>
                      </a:lnTo>
                      <a:lnTo>
                        <a:pt x="2514410" y="401764"/>
                      </a:lnTo>
                      <a:lnTo>
                        <a:pt x="2525035" y="429779"/>
                      </a:lnTo>
                      <a:lnTo>
                        <a:pt x="2511380" y="447893"/>
                      </a:lnTo>
                      <a:lnTo>
                        <a:pt x="2540372" y="481490"/>
                      </a:lnTo>
                      <a:lnTo>
                        <a:pt x="2576671" y="498604"/>
                      </a:lnTo>
                      <a:lnTo>
                        <a:pt x="2598944" y="454071"/>
                      </a:lnTo>
                      <a:lnTo>
                        <a:pt x="2635972" y="473287"/>
                      </a:lnTo>
                      <a:lnTo>
                        <a:pt x="2675312" y="461827"/>
                      </a:lnTo>
                      <a:lnTo>
                        <a:pt x="2719990" y="474935"/>
                      </a:lnTo>
                      <a:lnTo>
                        <a:pt x="2736992" y="462990"/>
                      </a:lnTo>
                      <a:lnTo>
                        <a:pt x="2774749" y="468972"/>
                      </a:lnTo>
                      <a:lnTo>
                        <a:pt x="2758086" y="429020"/>
                      </a:lnTo>
                      <a:lnTo>
                        <a:pt x="2788561" y="410093"/>
                      </a:lnTo>
                      <a:lnTo>
                        <a:pt x="2997039" y="438397"/>
                      </a:lnTo>
                      <a:lnTo>
                        <a:pt x="3016687" y="463913"/>
                      </a:lnTo>
                      <a:lnTo>
                        <a:pt x="3077111" y="496285"/>
                      </a:lnTo>
                      <a:lnTo>
                        <a:pt x="3170319" y="488320"/>
                      </a:lnTo>
                      <a:lnTo>
                        <a:pt x="3216274" y="495255"/>
                      </a:lnTo>
                      <a:lnTo>
                        <a:pt x="3235491" y="512560"/>
                      </a:lnTo>
                      <a:lnTo>
                        <a:pt x="3232682" y="542801"/>
                      </a:lnTo>
                      <a:lnTo>
                        <a:pt x="3261118" y="554452"/>
                      </a:lnTo>
                      <a:lnTo>
                        <a:pt x="3292014" y="546079"/>
                      </a:lnTo>
                      <a:lnTo>
                        <a:pt x="3332949" y="545006"/>
                      </a:lnTo>
                      <a:lnTo>
                        <a:pt x="3376527" y="553035"/>
                      </a:lnTo>
                      <a:lnTo>
                        <a:pt x="3420276" y="548510"/>
                      </a:lnTo>
                      <a:lnTo>
                        <a:pt x="3460486" y="584562"/>
                      </a:lnTo>
                      <a:lnTo>
                        <a:pt x="3489090" y="571664"/>
                      </a:lnTo>
                      <a:lnTo>
                        <a:pt x="3470424" y="545640"/>
                      </a:lnTo>
                      <a:lnTo>
                        <a:pt x="3480701" y="527348"/>
                      </a:lnTo>
                      <a:lnTo>
                        <a:pt x="3554345" y="538880"/>
                      </a:lnTo>
                      <a:lnTo>
                        <a:pt x="3602361" y="536418"/>
                      </a:lnTo>
                      <a:lnTo>
                        <a:pt x="3668746" y="555972"/>
                      </a:lnTo>
                      <a:lnTo>
                        <a:pt x="3701062" y="573686"/>
                      </a:lnTo>
                      <a:lnTo>
                        <a:pt x="3757613" y="604316"/>
                      </a:lnTo>
                      <a:lnTo>
                        <a:pt x="3818130" y="643510"/>
                      </a:lnTo>
                      <a:lnTo>
                        <a:pt x="3816145" y="667638"/>
                      </a:lnTo>
                      <a:lnTo>
                        <a:pt x="3831713" y="677218"/>
                      </a:lnTo>
                      <a:lnTo>
                        <a:pt x="3826358" y="649113"/>
                      </a:lnTo>
                      <a:lnTo>
                        <a:pt x="3889016" y="654912"/>
                      </a:lnTo>
                      <a:lnTo>
                        <a:pt x="3934206" y="690938"/>
                      </a:lnTo>
                      <a:lnTo>
                        <a:pt x="3911320" y="707505"/>
                      </a:lnTo>
                      <a:lnTo>
                        <a:pt x="3873483" y="711419"/>
                      </a:lnTo>
                      <a:lnTo>
                        <a:pt x="3872912" y="748022"/>
                      </a:lnTo>
                      <a:lnTo>
                        <a:pt x="3863671" y="755735"/>
                      </a:lnTo>
                      <a:lnTo>
                        <a:pt x="3842054" y="754628"/>
                      </a:lnTo>
                      <a:lnTo>
                        <a:pt x="3824463" y="741682"/>
                      </a:lnTo>
                      <a:lnTo>
                        <a:pt x="3793772" y="730791"/>
                      </a:lnTo>
                      <a:lnTo>
                        <a:pt x="3788611" y="714487"/>
                      </a:lnTo>
                      <a:lnTo>
                        <a:pt x="3765169" y="708305"/>
                      </a:lnTo>
                      <a:lnTo>
                        <a:pt x="3738918" y="713209"/>
                      </a:lnTo>
                      <a:lnTo>
                        <a:pt x="3726376" y="699955"/>
                      </a:lnTo>
                      <a:lnTo>
                        <a:pt x="3731389" y="685785"/>
                      </a:lnTo>
                      <a:lnTo>
                        <a:pt x="3703744" y="694853"/>
                      </a:lnTo>
                      <a:lnTo>
                        <a:pt x="3714156" y="712696"/>
                      </a:lnTo>
                      <a:lnTo>
                        <a:pt x="3701062" y="728662"/>
                      </a:lnTo>
                      <a:lnTo>
                        <a:pt x="3700896" y="728864"/>
                      </a:lnTo>
                      <a:lnTo>
                        <a:pt x="3671220" y="745267"/>
                      </a:lnTo>
                      <a:lnTo>
                        <a:pt x="3641306" y="742540"/>
                      </a:lnTo>
                      <a:lnTo>
                        <a:pt x="3662121" y="762266"/>
                      </a:lnTo>
                      <a:lnTo>
                        <a:pt x="3675861" y="792443"/>
                      </a:lnTo>
                      <a:lnTo>
                        <a:pt x="3686527" y="802216"/>
                      </a:lnTo>
                      <a:lnTo>
                        <a:pt x="3689205" y="817140"/>
                      </a:lnTo>
                      <a:lnTo>
                        <a:pt x="3683247" y="826641"/>
                      </a:lnTo>
                      <a:lnTo>
                        <a:pt x="3640222" y="818831"/>
                      </a:lnTo>
                      <a:lnTo>
                        <a:pt x="3575706" y="845705"/>
                      </a:lnTo>
                      <a:lnTo>
                        <a:pt x="3555181" y="849836"/>
                      </a:lnTo>
                      <a:lnTo>
                        <a:pt x="3519862" y="874577"/>
                      </a:lnTo>
                      <a:lnTo>
                        <a:pt x="3486358" y="895966"/>
                      </a:lnTo>
                      <a:lnTo>
                        <a:pt x="3477871" y="911668"/>
                      </a:lnTo>
                      <a:lnTo>
                        <a:pt x="3444854" y="887719"/>
                      </a:lnTo>
                      <a:lnTo>
                        <a:pt x="3384713" y="914876"/>
                      </a:lnTo>
                      <a:lnTo>
                        <a:pt x="3374210" y="902067"/>
                      </a:lnTo>
                      <a:lnTo>
                        <a:pt x="3351976" y="916833"/>
                      </a:lnTo>
                      <a:lnTo>
                        <a:pt x="3321104" y="912118"/>
                      </a:lnTo>
                      <a:lnTo>
                        <a:pt x="3313667" y="934646"/>
                      </a:lnTo>
                      <a:lnTo>
                        <a:pt x="3285973" y="967389"/>
                      </a:lnTo>
                      <a:lnTo>
                        <a:pt x="3286795" y="980926"/>
                      </a:lnTo>
                      <a:lnTo>
                        <a:pt x="3313085" y="988396"/>
                      </a:lnTo>
                      <a:lnTo>
                        <a:pt x="3309993" y="1036350"/>
                      </a:lnTo>
                      <a:lnTo>
                        <a:pt x="3288564" y="1037557"/>
                      </a:lnTo>
                      <a:lnTo>
                        <a:pt x="3278682" y="1064659"/>
                      </a:lnTo>
                      <a:lnTo>
                        <a:pt x="3288285" y="1078488"/>
                      </a:lnTo>
                      <a:lnTo>
                        <a:pt x="3247919" y="1094791"/>
                      </a:lnTo>
                      <a:lnTo>
                        <a:pt x="3239909" y="1130839"/>
                      </a:lnTo>
                      <a:lnTo>
                        <a:pt x="3205498" y="1138470"/>
                      </a:lnTo>
                      <a:lnTo>
                        <a:pt x="3198578" y="1170009"/>
                      </a:lnTo>
                      <a:lnTo>
                        <a:pt x="3165307" y="1198582"/>
                      </a:lnTo>
                      <a:lnTo>
                        <a:pt x="3156772" y="1177484"/>
                      </a:lnTo>
                      <a:lnTo>
                        <a:pt x="3146888" y="1132205"/>
                      </a:lnTo>
                      <a:lnTo>
                        <a:pt x="3134004" y="1061586"/>
                      </a:lnTo>
                      <a:lnTo>
                        <a:pt x="3145101" y="1016420"/>
                      </a:lnTo>
                      <a:lnTo>
                        <a:pt x="3164577" y="996713"/>
                      </a:lnTo>
                      <a:lnTo>
                        <a:pt x="3165782" y="981162"/>
                      </a:lnTo>
                      <a:lnTo>
                        <a:pt x="3201652" y="973680"/>
                      </a:lnTo>
                      <a:lnTo>
                        <a:pt x="3242885" y="931107"/>
                      </a:lnTo>
                      <a:lnTo>
                        <a:pt x="3282620" y="895730"/>
                      </a:lnTo>
                      <a:lnTo>
                        <a:pt x="3324114" y="867882"/>
                      </a:lnTo>
                      <a:lnTo>
                        <a:pt x="3342670" y="817799"/>
                      </a:lnTo>
                      <a:lnTo>
                        <a:pt x="3314621" y="820828"/>
                      </a:lnTo>
                      <a:lnTo>
                        <a:pt x="3300759" y="850194"/>
                      </a:lnTo>
                      <a:lnTo>
                        <a:pt x="3242211" y="888739"/>
                      </a:lnTo>
                      <a:lnTo>
                        <a:pt x="3223303" y="845534"/>
                      </a:lnTo>
                      <a:lnTo>
                        <a:pt x="3163712" y="857549"/>
                      </a:lnTo>
                      <a:lnTo>
                        <a:pt x="3105945" y="915920"/>
                      </a:lnTo>
                      <a:lnTo>
                        <a:pt x="3125005" y="936897"/>
                      </a:lnTo>
                      <a:lnTo>
                        <a:pt x="3073486" y="945769"/>
                      </a:lnTo>
                      <a:lnTo>
                        <a:pt x="3037797" y="949258"/>
                      </a:lnTo>
                      <a:lnTo>
                        <a:pt x="3039469" y="924640"/>
                      </a:lnTo>
                      <a:lnTo>
                        <a:pt x="3003589" y="919438"/>
                      </a:lnTo>
                      <a:lnTo>
                        <a:pt x="2974991" y="936232"/>
                      </a:lnTo>
                      <a:lnTo>
                        <a:pt x="2904413" y="930370"/>
                      </a:lnTo>
                      <a:lnTo>
                        <a:pt x="2828485" y="940468"/>
                      </a:lnTo>
                      <a:lnTo>
                        <a:pt x="2753713" y="1005870"/>
                      </a:lnTo>
                      <a:lnTo>
                        <a:pt x="2665253" y="1082505"/>
                      </a:lnTo>
                      <a:lnTo>
                        <a:pt x="2701620" y="1086531"/>
                      </a:lnTo>
                      <a:lnTo>
                        <a:pt x="2712971" y="1106437"/>
                      </a:lnTo>
                      <a:lnTo>
                        <a:pt x="2735390" y="1113464"/>
                      </a:lnTo>
                      <a:lnTo>
                        <a:pt x="2750161" y="1097645"/>
                      </a:lnTo>
                      <a:lnTo>
                        <a:pt x="2775481" y="1099705"/>
                      </a:lnTo>
                      <a:lnTo>
                        <a:pt x="2808808" y="1134378"/>
                      </a:lnTo>
                      <a:lnTo>
                        <a:pt x="2809590" y="1160859"/>
                      </a:lnTo>
                      <a:lnTo>
                        <a:pt x="2791544" y="1191601"/>
                      </a:lnTo>
                      <a:lnTo>
                        <a:pt x="2789597" y="1227858"/>
                      </a:lnTo>
                      <a:lnTo>
                        <a:pt x="2779184" y="1275618"/>
                      </a:lnTo>
                      <a:lnTo>
                        <a:pt x="2744393" y="1318111"/>
                      </a:lnTo>
                      <a:lnTo>
                        <a:pt x="2736660" y="1338188"/>
                      </a:lnTo>
                      <a:lnTo>
                        <a:pt x="2705328" y="1371661"/>
                      </a:lnTo>
                      <a:lnTo>
                        <a:pt x="2674237" y="1404458"/>
                      </a:lnTo>
                      <a:lnTo>
                        <a:pt x="2659326" y="1421097"/>
                      </a:lnTo>
                      <a:lnTo>
                        <a:pt x="2628567" y="1437527"/>
                      </a:lnTo>
                      <a:lnTo>
                        <a:pt x="2614012" y="1437890"/>
                      </a:lnTo>
                      <a:lnTo>
                        <a:pt x="2599512" y="1424286"/>
                      </a:lnTo>
                      <a:lnTo>
                        <a:pt x="2568530" y="1444743"/>
                      </a:lnTo>
                      <a:lnTo>
                        <a:pt x="2564932" y="1453998"/>
                      </a:lnTo>
                      <a:lnTo>
                        <a:pt x="2561700" y="1449134"/>
                      </a:lnTo>
                      <a:lnTo>
                        <a:pt x="2561559" y="1434970"/>
                      </a:lnTo>
                      <a:lnTo>
                        <a:pt x="2573350" y="1434216"/>
                      </a:lnTo>
                      <a:lnTo>
                        <a:pt x="2576671" y="1400995"/>
                      </a:lnTo>
                      <a:lnTo>
                        <a:pt x="2570592" y="1376672"/>
                      </a:lnTo>
                      <a:lnTo>
                        <a:pt x="2590402" y="1366580"/>
                      </a:lnTo>
                      <a:lnTo>
                        <a:pt x="2618418" y="1371644"/>
                      </a:lnTo>
                      <a:lnTo>
                        <a:pt x="2633941" y="1343707"/>
                      </a:lnTo>
                      <a:lnTo>
                        <a:pt x="2641851" y="1311903"/>
                      </a:lnTo>
                      <a:lnTo>
                        <a:pt x="2650818" y="1301195"/>
                      </a:lnTo>
                      <a:lnTo>
                        <a:pt x="2662948" y="1274684"/>
                      </a:lnTo>
                      <a:lnTo>
                        <a:pt x="2624799" y="1283399"/>
                      </a:lnTo>
                      <a:lnTo>
                        <a:pt x="2604788" y="1295016"/>
                      </a:lnTo>
                      <a:lnTo>
                        <a:pt x="2569716" y="1294982"/>
                      </a:lnTo>
                      <a:lnTo>
                        <a:pt x="2560368" y="1267228"/>
                      </a:lnTo>
                      <a:lnTo>
                        <a:pt x="2533027" y="1246032"/>
                      </a:lnTo>
                      <a:lnTo>
                        <a:pt x="2492854" y="1236444"/>
                      </a:lnTo>
                      <a:lnTo>
                        <a:pt x="2484314" y="1206841"/>
                      </a:lnTo>
                      <a:lnTo>
                        <a:pt x="2476275" y="1188105"/>
                      </a:lnTo>
                      <a:lnTo>
                        <a:pt x="2467624" y="1174891"/>
                      </a:lnTo>
                      <a:lnTo>
                        <a:pt x="2453359" y="1143647"/>
                      </a:lnTo>
                      <a:lnTo>
                        <a:pt x="2433089" y="1132140"/>
                      </a:lnTo>
                      <a:lnTo>
                        <a:pt x="2398540" y="1122796"/>
                      </a:lnTo>
                      <a:lnTo>
                        <a:pt x="2367938" y="1123647"/>
                      </a:lnTo>
                      <a:lnTo>
                        <a:pt x="2339255" y="1129308"/>
                      </a:lnTo>
                      <a:lnTo>
                        <a:pt x="2320189" y="1144860"/>
                      </a:lnTo>
                      <a:lnTo>
                        <a:pt x="2332854" y="1152255"/>
                      </a:lnTo>
                      <a:lnTo>
                        <a:pt x="2333140" y="1169348"/>
                      </a:lnTo>
                      <a:lnTo>
                        <a:pt x="2320303" y="1179219"/>
                      </a:lnTo>
                      <a:lnTo>
                        <a:pt x="2299467" y="1211605"/>
                      </a:lnTo>
                      <a:lnTo>
                        <a:pt x="2299677" y="1224921"/>
                      </a:lnTo>
                      <a:lnTo>
                        <a:pt x="2267148" y="1243924"/>
                      </a:lnTo>
                      <a:lnTo>
                        <a:pt x="2239438" y="1232587"/>
                      </a:lnTo>
                      <a:lnTo>
                        <a:pt x="2211898" y="1235094"/>
                      </a:lnTo>
                      <a:lnTo>
                        <a:pt x="2199813" y="1225001"/>
                      </a:lnTo>
                      <a:lnTo>
                        <a:pt x="2185971" y="1221738"/>
                      </a:lnTo>
                      <a:lnTo>
                        <a:pt x="2152162" y="1242947"/>
                      </a:lnTo>
                      <a:lnTo>
                        <a:pt x="2121773" y="1247906"/>
                      </a:lnTo>
                      <a:lnTo>
                        <a:pt x="2100555" y="1255310"/>
                      </a:lnTo>
                      <a:lnTo>
                        <a:pt x="2071481" y="1250448"/>
                      </a:lnTo>
                      <a:lnTo>
                        <a:pt x="2050076" y="1250759"/>
                      </a:lnTo>
                      <a:lnTo>
                        <a:pt x="2036066" y="1235439"/>
                      </a:lnTo>
                      <a:lnTo>
                        <a:pt x="2013459" y="1220952"/>
                      </a:lnTo>
                      <a:lnTo>
                        <a:pt x="1990326" y="1216967"/>
                      </a:lnTo>
                      <a:lnTo>
                        <a:pt x="1961125" y="1220921"/>
                      </a:lnTo>
                      <a:lnTo>
                        <a:pt x="1939312" y="1226518"/>
                      </a:lnTo>
                      <a:lnTo>
                        <a:pt x="1906519" y="1213800"/>
                      </a:lnTo>
                      <a:lnTo>
                        <a:pt x="1902118" y="1190981"/>
                      </a:lnTo>
                      <a:lnTo>
                        <a:pt x="1874978" y="1183110"/>
                      </a:lnTo>
                      <a:lnTo>
                        <a:pt x="1854025" y="1179512"/>
                      </a:lnTo>
                      <a:lnTo>
                        <a:pt x="1828167" y="1166778"/>
                      </a:lnTo>
                      <a:lnTo>
                        <a:pt x="1804260" y="1198584"/>
                      </a:lnTo>
                      <a:lnTo>
                        <a:pt x="1813631" y="1216471"/>
                      </a:lnTo>
                      <a:lnTo>
                        <a:pt x="1791195" y="1237472"/>
                      </a:lnTo>
                      <a:lnTo>
                        <a:pt x="1757824" y="1229910"/>
                      </a:lnTo>
                      <a:lnTo>
                        <a:pt x="1734785" y="1228826"/>
                      </a:lnTo>
                      <a:lnTo>
                        <a:pt x="1719357" y="1214710"/>
                      </a:lnTo>
                      <a:lnTo>
                        <a:pt x="1695274" y="1214263"/>
                      </a:lnTo>
                      <a:lnTo>
                        <a:pt x="1675203" y="1204944"/>
                      </a:lnTo>
                      <a:lnTo>
                        <a:pt x="1640094" y="1219213"/>
                      </a:lnTo>
                      <a:lnTo>
                        <a:pt x="1596050" y="1245136"/>
                      </a:lnTo>
                      <a:lnTo>
                        <a:pt x="1571714" y="1250321"/>
                      </a:lnTo>
                      <a:lnTo>
                        <a:pt x="1562681" y="1252777"/>
                      </a:lnTo>
                      <a:lnTo>
                        <a:pt x="1550433" y="1234448"/>
                      </a:lnTo>
                      <a:lnTo>
                        <a:pt x="1520701" y="1238469"/>
                      </a:lnTo>
                      <a:lnTo>
                        <a:pt x="1510874" y="1225694"/>
                      </a:lnTo>
                      <a:lnTo>
                        <a:pt x="1494735" y="1219830"/>
                      </a:lnTo>
                      <a:lnTo>
                        <a:pt x="1483626" y="1202294"/>
                      </a:lnTo>
                      <a:lnTo>
                        <a:pt x="1470882" y="1196809"/>
                      </a:lnTo>
                      <a:lnTo>
                        <a:pt x="1437712" y="1204640"/>
                      </a:lnTo>
                      <a:lnTo>
                        <a:pt x="1405914" y="1187050"/>
                      </a:lnTo>
                      <a:lnTo>
                        <a:pt x="1393614" y="1203040"/>
                      </a:lnTo>
                      <a:lnTo>
                        <a:pt x="1342033" y="1124505"/>
                      </a:lnTo>
                      <a:lnTo>
                        <a:pt x="1312585" y="1100108"/>
                      </a:lnTo>
                      <a:lnTo>
                        <a:pt x="1321032" y="1090136"/>
                      </a:lnTo>
                      <a:lnTo>
                        <a:pt x="1263180" y="1120026"/>
                      </a:lnTo>
                      <a:lnTo>
                        <a:pt x="1241041" y="1121820"/>
                      </a:lnTo>
                      <a:lnTo>
                        <a:pt x="1242953" y="1104591"/>
                      </a:lnTo>
                      <a:lnTo>
                        <a:pt x="1213306" y="1093763"/>
                      </a:lnTo>
                      <a:lnTo>
                        <a:pt x="1189208" y="1101495"/>
                      </a:lnTo>
                      <a:lnTo>
                        <a:pt x="1181939" y="1068391"/>
                      </a:lnTo>
                      <a:lnTo>
                        <a:pt x="1140458" y="1061449"/>
                      </a:lnTo>
                      <a:lnTo>
                        <a:pt x="1119705" y="1074794"/>
                      </a:lnTo>
                      <a:lnTo>
                        <a:pt x="1061947" y="1086605"/>
                      </a:lnTo>
                      <a:lnTo>
                        <a:pt x="1050675" y="1094476"/>
                      </a:lnTo>
                      <a:lnTo>
                        <a:pt x="964301" y="1105521"/>
                      </a:lnTo>
                      <a:lnTo>
                        <a:pt x="953716" y="1116304"/>
                      </a:lnTo>
                      <a:lnTo>
                        <a:pt x="970380" y="1137804"/>
                      </a:lnTo>
                      <a:lnTo>
                        <a:pt x="948221" y="1145916"/>
                      </a:lnTo>
                      <a:lnTo>
                        <a:pt x="952544" y="1154387"/>
                      </a:lnTo>
                      <a:lnTo>
                        <a:pt x="930390" y="1169462"/>
                      </a:lnTo>
                      <a:lnTo>
                        <a:pt x="967795" y="1190592"/>
                      </a:lnTo>
                      <a:lnTo>
                        <a:pt x="962011" y="1205039"/>
                      </a:lnTo>
                      <a:lnTo>
                        <a:pt x="929589" y="1203727"/>
                      </a:lnTo>
                      <a:lnTo>
                        <a:pt x="922883" y="1212742"/>
                      </a:lnTo>
                      <a:lnTo>
                        <a:pt x="893361" y="1196978"/>
                      </a:lnTo>
                      <a:lnTo>
                        <a:pt x="856767" y="1197591"/>
                      </a:lnTo>
                      <a:lnTo>
                        <a:pt x="832275" y="1210428"/>
                      </a:lnTo>
                      <a:lnTo>
                        <a:pt x="804944" y="1198119"/>
                      </a:lnTo>
                      <a:lnTo>
                        <a:pt x="754066" y="1176910"/>
                      </a:lnTo>
                      <a:lnTo>
                        <a:pt x="718010" y="1177706"/>
                      </a:lnTo>
                      <a:lnTo>
                        <a:pt x="670361" y="1210931"/>
                      </a:lnTo>
                      <a:lnTo>
                        <a:pt x="667486" y="1233002"/>
                      </a:lnTo>
                      <a:lnTo>
                        <a:pt x="643749" y="1215493"/>
                      </a:lnTo>
                      <a:lnTo>
                        <a:pt x="625332" y="1248563"/>
                      </a:lnTo>
                      <a:lnTo>
                        <a:pt x="632073" y="1254656"/>
                      </a:lnTo>
                      <a:lnTo>
                        <a:pt x="618749" y="1277173"/>
                      </a:lnTo>
                      <a:lnTo>
                        <a:pt x="638342" y="1297164"/>
                      </a:lnTo>
                      <a:lnTo>
                        <a:pt x="655470" y="1296344"/>
                      </a:lnTo>
                      <a:lnTo>
                        <a:pt x="670184" y="1315896"/>
                      </a:lnTo>
                      <a:lnTo>
                        <a:pt x="667842" y="1330859"/>
                      </a:lnTo>
                      <a:lnTo>
                        <a:pt x="679565" y="1335544"/>
                      </a:lnTo>
                      <a:lnTo>
                        <a:pt x="669046" y="1352658"/>
                      </a:lnTo>
                      <a:lnTo>
                        <a:pt x="646667" y="1357396"/>
                      </a:lnTo>
                      <a:lnTo>
                        <a:pt x="623725" y="1386886"/>
                      </a:lnTo>
                      <a:lnTo>
                        <a:pt x="644706" y="1413731"/>
                      </a:lnTo>
                      <a:lnTo>
                        <a:pt x="642434" y="1432633"/>
                      </a:lnTo>
                      <a:lnTo>
                        <a:pt x="667637" y="1465393"/>
                      </a:lnTo>
                      <a:lnTo>
                        <a:pt x="653854" y="1476522"/>
                      </a:lnTo>
                      <a:lnTo>
                        <a:pt x="649893" y="1483526"/>
                      </a:lnTo>
                      <a:lnTo>
                        <a:pt x="639682" y="1481647"/>
                      </a:lnTo>
                      <a:lnTo>
                        <a:pt x="623819" y="1464888"/>
                      </a:lnTo>
                      <a:lnTo>
                        <a:pt x="617330" y="1463960"/>
                      </a:lnTo>
                      <a:lnTo>
                        <a:pt x="602821" y="1457538"/>
                      </a:lnTo>
                      <a:lnTo>
                        <a:pt x="595755" y="1446135"/>
                      </a:lnTo>
                      <a:lnTo>
                        <a:pt x="574227" y="1440304"/>
                      </a:lnTo>
                      <a:lnTo>
                        <a:pt x="560229" y="1444682"/>
                      </a:lnTo>
                      <a:lnTo>
                        <a:pt x="556185" y="1439499"/>
                      </a:lnTo>
                      <a:lnTo>
                        <a:pt x="524756" y="1426089"/>
                      </a:lnTo>
                      <a:lnTo>
                        <a:pt x="490773" y="1421547"/>
                      </a:lnTo>
                      <a:lnTo>
                        <a:pt x="471263" y="1416743"/>
                      </a:lnTo>
                      <a:lnTo>
                        <a:pt x="468448" y="1420063"/>
                      </a:lnTo>
                      <a:lnTo>
                        <a:pt x="439017" y="1396227"/>
                      </a:lnTo>
                      <a:lnTo>
                        <a:pt x="412683" y="1385522"/>
                      </a:lnTo>
                      <a:lnTo>
                        <a:pt x="392747" y="1368768"/>
                      </a:lnTo>
                      <a:lnTo>
                        <a:pt x="409545" y="1364193"/>
                      </a:lnTo>
                      <a:lnTo>
                        <a:pt x="428698" y="1340128"/>
                      </a:lnTo>
                      <a:lnTo>
                        <a:pt x="415790" y="1328668"/>
                      </a:lnTo>
                      <a:lnTo>
                        <a:pt x="449812" y="1316796"/>
                      </a:lnTo>
                      <a:lnTo>
                        <a:pt x="449202" y="1310417"/>
                      </a:lnTo>
                      <a:lnTo>
                        <a:pt x="428481" y="1315122"/>
                      </a:lnTo>
                      <a:lnTo>
                        <a:pt x="429210" y="1302134"/>
                      </a:lnTo>
                      <a:lnTo>
                        <a:pt x="441108" y="1293939"/>
                      </a:lnTo>
                      <a:lnTo>
                        <a:pt x="463445" y="1291782"/>
                      </a:lnTo>
                      <a:lnTo>
                        <a:pt x="467077" y="1281953"/>
                      </a:lnTo>
                      <a:lnTo>
                        <a:pt x="461976" y="1265620"/>
                      </a:lnTo>
                      <a:lnTo>
                        <a:pt x="471351" y="1250015"/>
                      </a:lnTo>
                      <a:lnTo>
                        <a:pt x="471080" y="1241224"/>
                      </a:lnTo>
                      <a:lnTo>
                        <a:pt x="437055" y="1231445"/>
                      </a:lnTo>
                      <a:lnTo>
                        <a:pt x="423567" y="1231771"/>
                      </a:lnTo>
                      <a:lnTo>
                        <a:pt x="409321" y="1217635"/>
                      </a:lnTo>
                      <a:lnTo>
                        <a:pt x="391609" y="1222424"/>
                      </a:lnTo>
                      <a:lnTo>
                        <a:pt x="362293" y="1211779"/>
                      </a:lnTo>
                      <a:lnTo>
                        <a:pt x="362796" y="1205803"/>
                      </a:lnTo>
                      <a:lnTo>
                        <a:pt x="354585" y="1192582"/>
                      </a:lnTo>
                      <a:lnTo>
                        <a:pt x="336180" y="1191101"/>
                      </a:lnTo>
                      <a:lnTo>
                        <a:pt x="334267" y="1181589"/>
                      </a:lnTo>
                      <a:lnTo>
                        <a:pt x="340033" y="1175364"/>
                      </a:lnTo>
                      <a:lnTo>
                        <a:pt x="325282" y="1157876"/>
                      </a:lnTo>
                      <a:lnTo>
                        <a:pt x="301347" y="1160869"/>
                      </a:lnTo>
                      <a:lnTo>
                        <a:pt x="294337" y="1159313"/>
                      </a:lnTo>
                      <a:lnTo>
                        <a:pt x="288506" y="1166349"/>
                      </a:lnTo>
                      <a:lnTo>
                        <a:pt x="279885" y="1165100"/>
                      </a:lnTo>
                      <a:lnTo>
                        <a:pt x="274208" y="1145229"/>
                      </a:lnTo>
                      <a:lnTo>
                        <a:pt x="268787" y="1134865"/>
                      </a:lnTo>
                      <a:lnTo>
                        <a:pt x="273229" y="1131940"/>
                      </a:lnTo>
                      <a:lnTo>
                        <a:pt x="291854" y="1133027"/>
                      </a:lnTo>
                      <a:lnTo>
                        <a:pt x="300836" y="1126170"/>
                      </a:lnTo>
                      <a:lnTo>
                        <a:pt x="294187" y="1117783"/>
                      </a:lnTo>
                      <a:lnTo>
                        <a:pt x="278622" y="1112232"/>
                      </a:lnTo>
                      <a:lnTo>
                        <a:pt x="280011" y="1106522"/>
                      </a:lnTo>
                      <a:lnTo>
                        <a:pt x="270617" y="1100741"/>
                      </a:lnTo>
                      <a:lnTo>
                        <a:pt x="256146" y="1079876"/>
                      </a:lnTo>
                      <a:lnTo>
                        <a:pt x="261092" y="1071225"/>
                      </a:lnTo>
                      <a:lnTo>
                        <a:pt x="258832" y="1056097"/>
                      </a:lnTo>
                      <a:lnTo>
                        <a:pt x="236266" y="1048374"/>
                      </a:lnTo>
                      <a:lnTo>
                        <a:pt x="224154" y="1052243"/>
                      </a:lnTo>
                      <a:lnTo>
                        <a:pt x="220875" y="1044191"/>
                      </a:lnTo>
                      <a:lnTo>
                        <a:pt x="196573" y="1036027"/>
                      </a:lnTo>
                      <a:lnTo>
                        <a:pt x="189154" y="1016703"/>
                      </a:lnTo>
                      <a:lnTo>
                        <a:pt x="187186" y="1000704"/>
                      </a:lnTo>
                      <a:lnTo>
                        <a:pt x="176064" y="993068"/>
                      </a:lnTo>
                      <a:lnTo>
                        <a:pt x="185955" y="982502"/>
                      </a:lnTo>
                      <a:lnTo>
                        <a:pt x="179110" y="951164"/>
                      </a:lnTo>
                      <a:lnTo>
                        <a:pt x="195534" y="931583"/>
                      </a:lnTo>
                      <a:lnTo>
                        <a:pt x="192059" y="925618"/>
                      </a:lnTo>
                      <a:lnTo>
                        <a:pt x="218294" y="906626"/>
                      </a:lnTo>
                      <a:lnTo>
                        <a:pt x="194110" y="890155"/>
                      </a:lnTo>
                      <a:lnTo>
                        <a:pt x="243533" y="845319"/>
                      </a:lnTo>
                      <a:lnTo>
                        <a:pt x="264974" y="824722"/>
                      </a:lnTo>
                      <a:lnTo>
                        <a:pt x="273655" y="806373"/>
                      </a:lnTo>
                      <a:lnTo>
                        <a:pt x="239488" y="781474"/>
                      </a:lnTo>
                      <a:lnTo>
                        <a:pt x="248924" y="757519"/>
                      </a:lnTo>
                      <a:lnTo>
                        <a:pt x="228144" y="729825"/>
                      </a:lnTo>
                      <a:lnTo>
                        <a:pt x="243683" y="697463"/>
                      </a:lnTo>
                      <a:lnTo>
                        <a:pt x="216837" y="653700"/>
                      </a:lnTo>
                      <a:lnTo>
                        <a:pt x="238139" y="624190"/>
                      </a:lnTo>
                      <a:lnTo>
                        <a:pt x="202788" y="597752"/>
                      </a:lnTo>
                      <a:lnTo>
                        <a:pt x="206158" y="569594"/>
                      </a:lnTo>
                      <a:lnTo>
                        <a:pt x="224800" y="565859"/>
                      </a:lnTo>
                      <a:lnTo>
                        <a:pt x="264076" y="549515"/>
                      </a:lnTo>
                      <a:lnTo>
                        <a:pt x="287889" y="535236"/>
                      </a:lnTo>
                      <a:lnTo>
                        <a:pt x="325808" y="559988"/>
                      </a:lnTo>
                      <a:lnTo>
                        <a:pt x="389020" y="569649"/>
                      </a:lnTo>
                      <a:lnTo>
                        <a:pt x="476234" y="614940"/>
                      </a:lnTo>
                      <a:lnTo>
                        <a:pt x="493951" y="633675"/>
                      </a:lnTo>
                      <a:lnTo>
                        <a:pt x="495476" y="659625"/>
                      </a:lnTo>
                      <a:lnTo>
                        <a:pt x="469852" y="679882"/>
                      </a:lnTo>
                      <a:lnTo>
                        <a:pt x="432161" y="690087"/>
                      </a:lnTo>
                      <a:lnTo>
                        <a:pt x="329114" y="660863"/>
                      </a:lnTo>
                      <a:lnTo>
                        <a:pt x="312165" y="665778"/>
                      </a:lnTo>
                      <a:lnTo>
                        <a:pt x="349798" y="693878"/>
                      </a:lnTo>
                      <a:lnTo>
                        <a:pt x="351270" y="711483"/>
                      </a:lnTo>
                      <a:lnTo>
                        <a:pt x="352778" y="749745"/>
                      </a:lnTo>
                      <a:lnTo>
                        <a:pt x="382494" y="761029"/>
                      </a:lnTo>
                      <a:lnTo>
                        <a:pt x="400532" y="770589"/>
                      </a:lnTo>
                      <a:lnTo>
                        <a:pt x="403516" y="752698"/>
                      </a:lnTo>
                      <a:lnTo>
                        <a:pt x="389611" y="736714"/>
                      </a:lnTo>
                      <a:lnTo>
                        <a:pt x="404302" y="722525"/>
                      </a:lnTo>
                      <a:lnTo>
                        <a:pt x="460102" y="745792"/>
                      </a:lnTo>
                      <a:lnTo>
                        <a:pt x="479541" y="736714"/>
                      </a:lnTo>
                      <a:lnTo>
                        <a:pt x="464006" y="709192"/>
                      </a:lnTo>
                      <a:lnTo>
                        <a:pt x="517800" y="671807"/>
                      </a:lnTo>
                      <a:lnTo>
                        <a:pt x="539105" y="674026"/>
                      </a:lnTo>
                      <a:lnTo>
                        <a:pt x="560657" y="687430"/>
                      </a:lnTo>
                      <a:lnTo>
                        <a:pt x="574103" y="660990"/>
                      </a:lnTo>
                      <a:lnTo>
                        <a:pt x="554855" y="637778"/>
                      </a:lnTo>
                      <a:lnTo>
                        <a:pt x="566156" y="614223"/>
                      </a:lnTo>
                      <a:lnTo>
                        <a:pt x="549187" y="589501"/>
                      </a:lnTo>
                      <a:lnTo>
                        <a:pt x="613753" y="602324"/>
                      </a:lnTo>
                      <a:lnTo>
                        <a:pt x="626941" y="624518"/>
                      </a:lnTo>
                      <a:lnTo>
                        <a:pt x="597715" y="629378"/>
                      </a:lnTo>
                      <a:lnTo>
                        <a:pt x="597873" y="651143"/>
                      </a:lnTo>
                      <a:lnTo>
                        <a:pt x="616042" y="664420"/>
                      </a:lnTo>
                      <a:lnTo>
                        <a:pt x="651705" y="656020"/>
                      </a:lnTo>
                      <a:lnTo>
                        <a:pt x="657351" y="631113"/>
                      </a:lnTo>
                      <a:lnTo>
                        <a:pt x="705568" y="612314"/>
                      </a:lnTo>
                      <a:lnTo>
                        <a:pt x="786121" y="577976"/>
                      </a:lnTo>
                      <a:lnTo>
                        <a:pt x="803532" y="579960"/>
                      </a:lnTo>
                      <a:lnTo>
                        <a:pt x="780776" y="604264"/>
                      </a:lnTo>
                      <a:lnTo>
                        <a:pt x="809408" y="608411"/>
                      </a:lnTo>
                      <a:lnTo>
                        <a:pt x="825945" y="594793"/>
                      </a:lnTo>
                      <a:lnTo>
                        <a:pt x="869210" y="593688"/>
                      </a:lnTo>
                      <a:lnTo>
                        <a:pt x="903487" y="577030"/>
                      </a:lnTo>
                      <a:lnTo>
                        <a:pt x="929788" y="601191"/>
                      </a:lnTo>
                      <a:lnTo>
                        <a:pt x="956019" y="574613"/>
                      </a:lnTo>
                      <a:lnTo>
                        <a:pt x="931833" y="551074"/>
                      </a:lnTo>
                      <a:lnTo>
                        <a:pt x="943835" y="537540"/>
                      </a:lnTo>
                      <a:lnTo>
                        <a:pt x="1012022" y="549954"/>
                      </a:lnTo>
                      <a:lnTo>
                        <a:pt x="1043971" y="562696"/>
                      </a:lnTo>
                      <a:lnTo>
                        <a:pt x="1127623" y="608597"/>
                      </a:lnTo>
                      <a:lnTo>
                        <a:pt x="1143055" y="587702"/>
                      </a:lnTo>
                      <a:lnTo>
                        <a:pt x="1119597" y="566369"/>
                      </a:lnTo>
                      <a:lnTo>
                        <a:pt x="1118923" y="557746"/>
                      </a:lnTo>
                      <a:lnTo>
                        <a:pt x="1091105" y="553744"/>
                      </a:lnTo>
                      <a:lnTo>
                        <a:pt x="1098715" y="534297"/>
                      </a:lnTo>
                      <a:lnTo>
                        <a:pt x="1086369" y="501878"/>
                      </a:lnTo>
                      <a:lnTo>
                        <a:pt x="1085671" y="488423"/>
                      </a:lnTo>
                      <a:lnTo>
                        <a:pt x="1128267" y="449851"/>
                      </a:lnTo>
                      <a:lnTo>
                        <a:pt x="1143417" y="410359"/>
                      </a:lnTo>
                      <a:lnTo>
                        <a:pt x="1160582" y="401708"/>
                      </a:lnTo>
                      <a:lnTo>
                        <a:pt x="1221694" y="413300"/>
                      </a:lnTo>
                      <a:lnTo>
                        <a:pt x="1226506" y="437528"/>
                      </a:lnTo>
                      <a:lnTo>
                        <a:pt x="1204626" y="472328"/>
                      </a:lnTo>
                      <a:lnTo>
                        <a:pt x="1218984" y="485839"/>
                      </a:lnTo>
                      <a:lnTo>
                        <a:pt x="1226411" y="515146"/>
                      </a:lnTo>
                      <a:lnTo>
                        <a:pt x="1221167" y="571373"/>
                      </a:lnTo>
                      <a:lnTo>
                        <a:pt x="1246631" y="596023"/>
                      </a:lnTo>
                      <a:lnTo>
                        <a:pt x="1236724" y="622529"/>
                      </a:lnTo>
                      <a:lnTo>
                        <a:pt x="1191512" y="677816"/>
                      </a:lnTo>
                      <a:lnTo>
                        <a:pt x="1217896" y="683466"/>
                      </a:lnTo>
                      <a:lnTo>
                        <a:pt x="1227078" y="669632"/>
                      </a:lnTo>
                      <a:lnTo>
                        <a:pt x="1252474" y="659707"/>
                      </a:lnTo>
                      <a:lnTo>
                        <a:pt x="1258603" y="640446"/>
                      </a:lnTo>
                      <a:lnTo>
                        <a:pt x="1278580" y="621738"/>
                      </a:lnTo>
                      <a:lnTo>
                        <a:pt x="1265129" y="599174"/>
                      </a:lnTo>
                      <a:lnTo>
                        <a:pt x="1275899" y="572654"/>
                      </a:lnTo>
                      <a:lnTo>
                        <a:pt x="1250659" y="569324"/>
                      </a:lnTo>
                      <a:lnTo>
                        <a:pt x="1245108" y="546669"/>
                      </a:lnTo>
                      <a:lnTo>
                        <a:pt x="1263526" y="505107"/>
                      </a:lnTo>
                      <a:lnTo>
                        <a:pt x="1233548" y="470703"/>
                      </a:lnTo>
                      <a:lnTo>
                        <a:pt x="1274860" y="441804"/>
                      </a:lnTo>
                      <a:lnTo>
                        <a:pt x="1269515" y="410845"/>
                      </a:lnTo>
                      <a:lnTo>
                        <a:pt x="1281028" y="409849"/>
                      </a:lnTo>
                      <a:lnTo>
                        <a:pt x="1293157" y="434041"/>
                      </a:lnTo>
                      <a:lnTo>
                        <a:pt x="1284051" y="475448"/>
                      </a:lnTo>
                      <a:lnTo>
                        <a:pt x="1308752" y="483190"/>
                      </a:lnTo>
                      <a:lnTo>
                        <a:pt x="1298227" y="452452"/>
                      </a:lnTo>
                      <a:lnTo>
                        <a:pt x="1336856" y="435488"/>
                      </a:lnTo>
                      <a:lnTo>
                        <a:pt x="1384761" y="433193"/>
                      </a:lnTo>
                      <a:lnTo>
                        <a:pt x="1427418" y="457772"/>
                      </a:lnTo>
                      <a:lnTo>
                        <a:pt x="1406890" y="421761"/>
                      </a:lnTo>
                      <a:lnTo>
                        <a:pt x="1404591" y="374703"/>
                      </a:lnTo>
                      <a:lnTo>
                        <a:pt x="1444730" y="365660"/>
                      </a:lnTo>
                      <a:lnTo>
                        <a:pt x="1500249" y="367639"/>
                      </a:lnTo>
                      <a:lnTo>
                        <a:pt x="1550271" y="361752"/>
                      </a:lnTo>
                      <a:lnTo>
                        <a:pt x="1531510" y="338075"/>
                      </a:lnTo>
                      <a:lnTo>
                        <a:pt x="1558223" y="307909"/>
                      </a:lnTo>
                      <a:lnTo>
                        <a:pt x="1584742" y="306636"/>
                      </a:lnTo>
                      <a:lnTo>
                        <a:pt x="1629622" y="283515"/>
                      </a:lnTo>
                      <a:lnTo>
                        <a:pt x="1690573" y="277252"/>
                      </a:lnTo>
                      <a:lnTo>
                        <a:pt x="1698275" y="264323"/>
                      </a:lnTo>
                      <a:lnTo>
                        <a:pt x="1758885" y="259922"/>
                      </a:lnTo>
                      <a:lnTo>
                        <a:pt x="1777771" y="270552"/>
                      </a:lnTo>
                      <a:lnTo>
                        <a:pt x="1829577" y="245294"/>
                      </a:lnTo>
                      <a:lnTo>
                        <a:pt x="1871983" y="246089"/>
                      </a:lnTo>
                      <a:lnTo>
                        <a:pt x="1878345" y="225332"/>
                      </a:lnTo>
                      <a:lnTo>
                        <a:pt x="1900401" y="204634"/>
                      </a:lnTo>
                      <a:close/>
                      <a:moveTo>
                        <a:pt x="1902605" y="101148"/>
                      </a:moveTo>
                      <a:lnTo>
                        <a:pt x="1919952" y="104512"/>
                      </a:lnTo>
                      <a:lnTo>
                        <a:pt x="1978457" y="133586"/>
                      </a:lnTo>
                      <a:lnTo>
                        <a:pt x="1971603" y="154117"/>
                      </a:lnTo>
                      <a:lnTo>
                        <a:pt x="1841478" y="173402"/>
                      </a:lnTo>
                      <a:lnTo>
                        <a:pt x="1883645" y="106950"/>
                      </a:lnTo>
                      <a:close/>
                      <a:moveTo>
                        <a:pt x="701231" y="18017"/>
                      </a:moveTo>
                      <a:lnTo>
                        <a:pt x="735467" y="29832"/>
                      </a:lnTo>
                      <a:lnTo>
                        <a:pt x="726539" y="38005"/>
                      </a:lnTo>
                      <a:lnTo>
                        <a:pt x="695551" y="45045"/>
                      </a:lnTo>
                      <a:lnTo>
                        <a:pt x="674793" y="49083"/>
                      </a:lnTo>
                      <a:lnTo>
                        <a:pt x="671574" y="57788"/>
                      </a:lnTo>
                      <a:lnTo>
                        <a:pt x="644594" y="66515"/>
                      </a:lnTo>
                      <a:lnTo>
                        <a:pt x="619589" y="53986"/>
                      </a:lnTo>
                      <a:lnTo>
                        <a:pt x="632738" y="37355"/>
                      </a:lnTo>
                      <a:lnTo>
                        <a:pt x="581367" y="35728"/>
                      </a:lnTo>
                      <a:lnTo>
                        <a:pt x="626429" y="25948"/>
                      </a:lnTo>
                      <a:lnTo>
                        <a:pt x="661499" y="25297"/>
                      </a:lnTo>
                      <a:lnTo>
                        <a:pt x="666216" y="39754"/>
                      </a:lnTo>
                      <a:lnTo>
                        <a:pt x="679474" y="26914"/>
                      </a:lnTo>
                      <a:close/>
                      <a:moveTo>
                        <a:pt x="1760752" y="0"/>
                      </a:moveTo>
                      <a:lnTo>
                        <a:pt x="1805601" y="27291"/>
                      </a:lnTo>
                      <a:lnTo>
                        <a:pt x="1858755" y="78592"/>
                      </a:lnTo>
                      <a:lnTo>
                        <a:pt x="1853057" y="125054"/>
                      </a:lnTo>
                      <a:lnTo>
                        <a:pt x="1802695" y="131408"/>
                      </a:lnTo>
                      <a:lnTo>
                        <a:pt x="1738401" y="116676"/>
                      </a:lnTo>
                      <a:lnTo>
                        <a:pt x="1700091" y="97004"/>
                      </a:lnTo>
                      <a:lnTo>
                        <a:pt x="1682375" y="59464"/>
                      </a:lnTo>
                      <a:lnTo>
                        <a:pt x="1650882" y="48982"/>
                      </a:lnTo>
                      <a:lnTo>
                        <a:pt x="1710819" y="12291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Freeform 137">
                  <a:extLst>
                    <a:ext uri="{FF2B5EF4-FFF2-40B4-BE49-F238E27FC236}">
                      <a16:creationId xmlns:a16="http://schemas.microsoft.com/office/drawing/2014/main" id="{62B61688-C6C4-4C01-9946-45861AEF4F2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9"/>
                  </p:custDataLst>
                </p:nvPr>
              </p:nvSpPr>
              <p:spPr>
                <a:xfrm>
                  <a:off x="7634627" y="4618177"/>
                  <a:ext cx="44366" cy="4418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1347" h="41179">
                      <a:moveTo>
                        <a:pt x="32181" y="0"/>
                      </a:moveTo>
                      <a:lnTo>
                        <a:pt x="41346" y="13027"/>
                      </a:lnTo>
                      <a:lnTo>
                        <a:pt x="40011" y="26612"/>
                      </a:lnTo>
                      <a:lnTo>
                        <a:pt x="33349" y="29536"/>
                      </a:lnTo>
                      <a:lnTo>
                        <a:pt x="21084" y="28027"/>
                      </a:lnTo>
                      <a:lnTo>
                        <a:pt x="14016" y="41178"/>
                      </a:lnTo>
                      <a:lnTo>
                        <a:pt x="0" y="39362"/>
                      </a:lnTo>
                      <a:lnTo>
                        <a:pt x="2136" y="26727"/>
                      </a:lnTo>
                      <a:lnTo>
                        <a:pt x="5306" y="24946"/>
                      </a:lnTo>
                      <a:lnTo>
                        <a:pt x="6162" y="11206"/>
                      </a:lnTo>
                      <a:lnTo>
                        <a:pt x="12800" y="4770"/>
                      </a:lnTo>
                      <a:lnTo>
                        <a:pt x="18387" y="712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" name="Freeform 138">
                  <a:extLst>
                    <a:ext uri="{FF2B5EF4-FFF2-40B4-BE49-F238E27FC236}">
                      <a16:creationId xmlns:a16="http://schemas.microsoft.com/office/drawing/2014/main" id="{7925B78C-C4CE-4E15-955F-515DF0839AF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0"/>
                  </p:custDataLst>
                </p:nvPr>
              </p:nvSpPr>
              <p:spPr>
                <a:xfrm>
                  <a:off x="6493107" y="3887388"/>
                  <a:ext cx="208010" cy="1749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93856" h="163040">
                      <a:moveTo>
                        <a:pt x="190860" y="13329"/>
                      </a:moveTo>
                      <a:lnTo>
                        <a:pt x="190330" y="0"/>
                      </a:lnTo>
                      <a:lnTo>
                        <a:pt x="193845" y="0"/>
                      </a:lnTo>
                      <a:lnTo>
                        <a:pt x="193855" y="1668"/>
                      </a:lnTo>
                      <a:lnTo>
                        <a:pt x="193410" y="6491"/>
                      </a:lnTo>
                      <a:lnTo>
                        <a:pt x="193343" y="44021"/>
                      </a:lnTo>
                      <a:lnTo>
                        <a:pt x="117583" y="42730"/>
                      </a:lnTo>
                      <a:lnTo>
                        <a:pt x="118326" y="105478"/>
                      </a:lnTo>
                      <a:lnTo>
                        <a:pt x="96698" y="107665"/>
                      </a:lnTo>
                      <a:lnTo>
                        <a:pt x="91054" y="120162"/>
                      </a:lnTo>
                      <a:lnTo>
                        <a:pt x="95431" y="155142"/>
                      </a:lnTo>
                      <a:lnTo>
                        <a:pt x="5037" y="154991"/>
                      </a:lnTo>
                      <a:lnTo>
                        <a:pt x="0" y="163039"/>
                      </a:lnTo>
                      <a:lnTo>
                        <a:pt x="992" y="152841"/>
                      </a:lnTo>
                      <a:lnTo>
                        <a:pt x="1395" y="152880"/>
                      </a:lnTo>
                      <a:lnTo>
                        <a:pt x="53378" y="150950"/>
                      </a:lnTo>
                      <a:lnTo>
                        <a:pt x="56151" y="142236"/>
                      </a:lnTo>
                      <a:lnTo>
                        <a:pt x="65607" y="131354"/>
                      </a:lnTo>
                      <a:lnTo>
                        <a:pt x="73226" y="97762"/>
                      </a:lnTo>
                      <a:lnTo>
                        <a:pt x="105314" y="71356"/>
                      </a:lnTo>
                      <a:lnTo>
                        <a:pt x="116168" y="40323"/>
                      </a:lnTo>
                      <a:lnTo>
                        <a:pt x="123381" y="38514"/>
                      </a:lnTo>
                      <a:lnTo>
                        <a:pt x="130899" y="19220"/>
                      </a:lnTo>
                      <a:lnTo>
                        <a:pt x="150318" y="16555"/>
                      </a:lnTo>
                      <a:lnTo>
                        <a:pt x="158670" y="19777"/>
                      </a:lnTo>
                      <a:lnTo>
                        <a:pt x="169152" y="19777"/>
                      </a:lnTo>
                      <a:lnTo>
                        <a:pt x="176591" y="1413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Freeform 139">
                  <a:extLst>
                    <a:ext uri="{FF2B5EF4-FFF2-40B4-BE49-F238E27FC236}">
                      <a16:creationId xmlns:a16="http://schemas.microsoft.com/office/drawing/2014/main" id="{62E69B63-F0E9-4ED7-A57B-4E0665FA71A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1"/>
                  </p:custDataLst>
                </p:nvPr>
              </p:nvSpPr>
              <p:spPr>
                <a:xfrm>
                  <a:off x="7773511" y="3765302"/>
                  <a:ext cx="520980" cy="4163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85529" h="387975">
                      <a:moveTo>
                        <a:pt x="188054" y="387974"/>
                      </a:moveTo>
                      <a:lnTo>
                        <a:pt x="185059" y="377855"/>
                      </a:lnTo>
                      <a:lnTo>
                        <a:pt x="178097" y="370704"/>
                      </a:lnTo>
                      <a:lnTo>
                        <a:pt x="176318" y="361222"/>
                      </a:lnTo>
                      <a:lnTo>
                        <a:pt x="164395" y="352693"/>
                      </a:lnTo>
                      <a:lnTo>
                        <a:pt x="152093" y="332690"/>
                      </a:lnTo>
                      <a:lnTo>
                        <a:pt x="145582" y="313193"/>
                      </a:lnTo>
                      <a:lnTo>
                        <a:pt x="129616" y="296679"/>
                      </a:lnTo>
                      <a:lnTo>
                        <a:pt x="119322" y="292732"/>
                      </a:lnTo>
                      <a:lnTo>
                        <a:pt x="104035" y="269770"/>
                      </a:lnTo>
                      <a:lnTo>
                        <a:pt x="101364" y="252967"/>
                      </a:lnTo>
                      <a:lnTo>
                        <a:pt x="102348" y="238593"/>
                      </a:lnTo>
                      <a:lnTo>
                        <a:pt x="89108" y="211604"/>
                      </a:lnTo>
                      <a:lnTo>
                        <a:pt x="78285" y="202070"/>
                      </a:lnTo>
                      <a:lnTo>
                        <a:pt x="65815" y="197011"/>
                      </a:lnTo>
                      <a:lnTo>
                        <a:pt x="58225" y="182967"/>
                      </a:lnTo>
                      <a:lnTo>
                        <a:pt x="59487" y="177415"/>
                      </a:lnTo>
                      <a:lnTo>
                        <a:pt x="53073" y="164658"/>
                      </a:lnTo>
                      <a:lnTo>
                        <a:pt x="46332" y="159153"/>
                      </a:lnTo>
                      <a:lnTo>
                        <a:pt x="37320" y="140765"/>
                      </a:lnTo>
                      <a:lnTo>
                        <a:pt x="23263" y="120748"/>
                      </a:lnTo>
                      <a:lnTo>
                        <a:pt x="11491" y="103628"/>
                      </a:lnTo>
                      <a:lnTo>
                        <a:pt x="0" y="103748"/>
                      </a:lnTo>
                      <a:lnTo>
                        <a:pt x="3587" y="90018"/>
                      </a:lnTo>
                      <a:lnTo>
                        <a:pt x="4613" y="81238"/>
                      </a:lnTo>
                      <a:lnTo>
                        <a:pt x="7471" y="71206"/>
                      </a:lnTo>
                      <a:lnTo>
                        <a:pt x="33160" y="75208"/>
                      </a:lnTo>
                      <a:lnTo>
                        <a:pt x="43138" y="67462"/>
                      </a:lnTo>
                      <a:lnTo>
                        <a:pt x="48662" y="58383"/>
                      </a:lnTo>
                      <a:lnTo>
                        <a:pt x="66275" y="54885"/>
                      </a:lnTo>
                      <a:lnTo>
                        <a:pt x="70074" y="46414"/>
                      </a:lnTo>
                      <a:lnTo>
                        <a:pt x="77708" y="42112"/>
                      </a:lnTo>
                      <a:lnTo>
                        <a:pt x="54702" y="16685"/>
                      </a:lnTo>
                      <a:lnTo>
                        <a:pt x="100930" y="3862"/>
                      </a:lnTo>
                      <a:lnTo>
                        <a:pt x="105329" y="0"/>
                      </a:lnTo>
                      <a:lnTo>
                        <a:pt x="133133" y="6938"/>
                      </a:lnTo>
                      <a:lnTo>
                        <a:pt x="167525" y="24800"/>
                      </a:lnTo>
                      <a:lnTo>
                        <a:pt x="232607" y="75675"/>
                      </a:lnTo>
                      <a:lnTo>
                        <a:pt x="275523" y="77683"/>
                      </a:lnTo>
                      <a:lnTo>
                        <a:pt x="296092" y="80107"/>
                      </a:lnTo>
                      <a:lnTo>
                        <a:pt x="301840" y="92056"/>
                      </a:lnTo>
                      <a:lnTo>
                        <a:pt x="318165" y="91406"/>
                      </a:lnTo>
                      <a:lnTo>
                        <a:pt x="327202" y="112952"/>
                      </a:lnTo>
                      <a:lnTo>
                        <a:pt x="338558" y="118641"/>
                      </a:lnTo>
                      <a:lnTo>
                        <a:pt x="342514" y="127374"/>
                      </a:lnTo>
                      <a:lnTo>
                        <a:pt x="358245" y="137803"/>
                      </a:lnTo>
                      <a:lnTo>
                        <a:pt x="359642" y="148019"/>
                      </a:lnTo>
                      <a:lnTo>
                        <a:pt x="357342" y="156247"/>
                      </a:lnTo>
                      <a:lnTo>
                        <a:pt x="360263" y="164532"/>
                      </a:lnTo>
                      <a:lnTo>
                        <a:pt x="366900" y="171432"/>
                      </a:lnTo>
                      <a:lnTo>
                        <a:pt x="369974" y="179494"/>
                      </a:lnTo>
                      <a:lnTo>
                        <a:pt x="373426" y="185513"/>
                      </a:lnTo>
                      <a:lnTo>
                        <a:pt x="380404" y="190378"/>
                      </a:lnTo>
                      <a:lnTo>
                        <a:pt x="386802" y="188636"/>
                      </a:lnTo>
                      <a:lnTo>
                        <a:pt x="391186" y="197990"/>
                      </a:lnTo>
                      <a:lnTo>
                        <a:pt x="392067" y="203647"/>
                      </a:lnTo>
                      <a:lnTo>
                        <a:pt x="400908" y="228350"/>
                      </a:lnTo>
                      <a:lnTo>
                        <a:pt x="470297" y="240601"/>
                      </a:lnTo>
                      <a:lnTo>
                        <a:pt x="474949" y="235468"/>
                      </a:lnTo>
                      <a:lnTo>
                        <a:pt x="485528" y="252649"/>
                      </a:lnTo>
                      <a:lnTo>
                        <a:pt x="470139" y="300875"/>
                      </a:lnTo>
                      <a:lnTo>
                        <a:pt x="400892" y="324840"/>
                      </a:lnTo>
                      <a:lnTo>
                        <a:pt x="334337" y="334002"/>
                      </a:lnTo>
                      <a:lnTo>
                        <a:pt x="312793" y="344742"/>
                      </a:lnTo>
                      <a:lnTo>
                        <a:pt x="296251" y="369733"/>
                      </a:lnTo>
                      <a:lnTo>
                        <a:pt x="285478" y="373692"/>
                      </a:lnTo>
                      <a:lnTo>
                        <a:pt x="279707" y="365772"/>
                      </a:lnTo>
                      <a:lnTo>
                        <a:pt x="270859" y="366962"/>
                      </a:lnTo>
                      <a:lnTo>
                        <a:pt x="248546" y="364584"/>
                      </a:lnTo>
                      <a:lnTo>
                        <a:pt x="244314" y="362206"/>
                      </a:lnTo>
                      <a:lnTo>
                        <a:pt x="217675" y="362752"/>
                      </a:lnTo>
                      <a:lnTo>
                        <a:pt x="211418" y="364901"/>
                      </a:lnTo>
                      <a:lnTo>
                        <a:pt x="201937" y="358717"/>
                      </a:lnTo>
                      <a:lnTo>
                        <a:pt x="195821" y="370404"/>
                      </a:lnTo>
                      <a:lnTo>
                        <a:pt x="198188" y="380411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Freeform 140">
                  <a:extLst>
                    <a:ext uri="{FF2B5EF4-FFF2-40B4-BE49-F238E27FC236}">
                      <a16:creationId xmlns:a16="http://schemas.microsoft.com/office/drawing/2014/main" id="{BCAD5F86-5C3D-4EA3-8735-4C84AD01A40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2"/>
                  </p:custDataLst>
                </p:nvPr>
              </p:nvSpPr>
              <p:spPr>
                <a:xfrm>
                  <a:off x="7459067" y="4036398"/>
                  <a:ext cx="408012" cy="33966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0248" h="316551">
                      <a:moveTo>
                        <a:pt x="277606" y="296899"/>
                      </a:moveTo>
                      <a:lnTo>
                        <a:pt x="274410" y="296438"/>
                      </a:lnTo>
                      <a:lnTo>
                        <a:pt x="274807" y="284840"/>
                      </a:lnTo>
                      <a:lnTo>
                        <a:pt x="272032" y="276834"/>
                      </a:lnTo>
                      <a:lnTo>
                        <a:pt x="260144" y="267621"/>
                      </a:lnTo>
                      <a:lnTo>
                        <a:pt x="257370" y="250776"/>
                      </a:lnTo>
                      <a:lnTo>
                        <a:pt x="260144" y="233502"/>
                      </a:lnTo>
                      <a:lnTo>
                        <a:pt x="249445" y="231894"/>
                      </a:lnTo>
                      <a:lnTo>
                        <a:pt x="247860" y="237120"/>
                      </a:lnTo>
                      <a:lnTo>
                        <a:pt x="233991" y="238326"/>
                      </a:lnTo>
                      <a:lnTo>
                        <a:pt x="239539" y="245155"/>
                      </a:lnTo>
                      <a:lnTo>
                        <a:pt x="241520" y="259201"/>
                      </a:lnTo>
                      <a:lnTo>
                        <a:pt x="228839" y="272028"/>
                      </a:lnTo>
                      <a:lnTo>
                        <a:pt x="217347" y="288841"/>
                      </a:lnTo>
                      <a:lnTo>
                        <a:pt x="205459" y="291241"/>
                      </a:lnTo>
                      <a:lnTo>
                        <a:pt x="186042" y="277635"/>
                      </a:lnTo>
                      <a:lnTo>
                        <a:pt x="177324" y="282439"/>
                      </a:lnTo>
                      <a:lnTo>
                        <a:pt x="174947" y="289241"/>
                      </a:lnTo>
                      <a:lnTo>
                        <a:pt x="163059" y="293640"/>
                      </a:lnTo>
                      <a:lnTo>
                        <a:pt x="162266" y="298437"/>
                      </a:lnTo>
                      <a:lnTo>
                        <a:pt x="139282" y="298437"/>
                      </a:lnTo>
                      <a:lnTo>
                        <a:pt x="136112" y="293640"/>
                      </a:lnTo>
                      <a:lnTo>
                        <a:pt x="119469" y="292840"/>
                      </a:lnTo>
                      <a:lnTo>
                        <a:pt x="111147" y="296838"/>
                      </a:lnTo>
                      <a:lnTo>
                        <a:pt x="104807" y="294839"/>
                      </a:lnTo>
                      <a:lnTo>
                        <a:pt x="92919" y="281238"/>
                      </a:lnTo>
                      <a:lnTo>
                        <a:pt x="88956" y="274832"/>
                      </a:lnTo>
                      <a:lnTo>
                        <a:pt x="72313" y="278035"/>
                      </a:lnTo>
                      <a:lnTo>
                        <a:pt x="65973" y="288841"/>
                      </a:lnTo>
                      <a:lnTo>
                        <a:pt x="60029" y="309624"/>
                      </a:lnTo>
                      <a:lnTo>
                        <a:pt x="52103" y="314016"/>
                      </a:lnTo>
                      <a:lnTo>
                        <a:pt x="45015" y="316550"/>
                      </a:lnTo>
                      <a:lnTo>
                        <a:pt x="43141" y="315467"/>
                      </a:lnTo>
                      <a:lnTo>
                        <a:pt x="35136" y="308769"/>
                      </a:lnTo>
                      <a:lnTo>
                        <a:pt x="33653" y="301537"/>
                      </a:lnTo>
                      <a:lnTo>
                        <a:pt x="37404" y="291846"/>
                      </a:lnTo>
                      <a:lnTo>
                        <a:pt x="37336" y="282338"/>
                      </a:lnTo>
                      <a:lnTo>
                        <a:pt x="24023" y="267752"/>
                      </a:lnTo>
                      <a:lnTo>
                        <a:pt x="21406" y="257758"/>
                      </a:lnTo>
                      <a:lnTo>
                        <a:pt x="21684" y="252098"/>
                      </a:lnTo>
                      <a:lnTo>
                        <a:pt x="13200" y="245205"/>
                      </a:lnTo>
                      <a:lnTo>
                        <a:pt x="12945" y="231607"/>
                      </a:lnTo>
                      <a:lnTo>
                        <a:pt x="8106" y="222565"/>
                      </a:lnTo>
                      <a:lnTo>
                        <a:pt x="0" y="223922"/>
                      </a:lnTo>
                      <a:lnTo>
                        <a:pt x="2326" y="215308"/>
                      </a:lnTo>
                      <a:lnTo>
                        <a:pt x="8304" y="205521"/>
                      </a:lnTo>
                      <a:lnTo>
                        <a:pt x="5689" y="195786"/>
                      </a:lnTo>
                      <a:lnTo>
                        <a:pt x="13277" y="188570"/>
                      </a:lnTo>
                      <a:lnTo>
                        <a:pt x="8464" y="183069"/>
                      </a:lnTo>
                      <a:lnTo>
                        <a:pt x="14568" y="168514"/>
                      </a:lnTo>
                      <a:lnTo>
                        <a:pt x="25109" y="151118"/>
                      </a:lnTo>
                      <a:lnTo>
                        <a:pt x="45013" y="152771"/>
                      </a:lnTo>
                      <a:lnTo>
                        <a:pt x="43876" y="58291"/>
                      </a:lnTo>
                      <a:lnTo>
                        <a:pt x="44161" y="48225"/>
                      </a:lnTo>
                      <a:lnTo>
                        <a:pt x="70706" y="48152"/>
                      </a:lnTo>
                      <a:lnTo>
                        <a:pt x="70706" y="0"/>
                      </a:lnTo>
                      <a:lnTo>
                        <a:pt x="163499" y="0"/>
                      </a:lnTo>
                      <a:lnTo>
                        <a:pt x="253059" y="0"/>
                      </a:lnTo>
                      <a:lnTo>
                        <a:pt x="344611" y="0"/>
                      </a:lnTo>
                      <a:lnTo>
                        <a:pt x="352055" y="23709"/>
                      </a:lnTo>
                      <a:lnTo>
                        <a:pt x="346992" y="28082"/>
                      </a:lnTo>
                      <a:lnTo>
                        <a:pt x="350346" y="52835"/>
                      </a:lnTo>
                      <a:lnTo>
                        <a:pt x="358819" y="81415"/>
                      </a:lnTo>
                      <a:lnTo>
                        <a:pt x="367613" y="87294"/>
                      </a:lnTo>
                      <a:lnTo>
                        <a:pt x="380247" y="96106"/>
                      </a:lnTo>
                      <a:lnTo>
                        <a:pt x="368565" y="109695"/>
                      </a:lnTo>
                      <a:lnTo>
                        <a:pt x="351564" y="113604"/>
                      </a:lnTo>
                      <a:lnTo>
                        <a:pt x="344295" y="120887"/>
                      </a:lnTo>
                      <a:lnTo>
                        <a:pt x="342018" y="136653"/>
                      </a:lnTo>
                      <a:lnTo>
                        <a:pt x="332077" y="171387"/>
                      </a:lnTo>
                      <a:lnTo>
                        <a:pt x="334530" y="180825"/>
                      </a:lnTo>
                      <a:lnTo>
                        <a:pt x="330853" y="201032"/>
                      </a:lnTo>
                      <a:lnTo>
                        <a:pt x="321468" y="224154"/>
                      </a:lnTo>
                      <a:lnTo>
                        <a:pt x="307546" y="235761"/>
                      </a:lnTo>
                      <a:lnTo>
                        <a:pt x="297647" y="253632"/>
                      </a:lnTo>
                      <a:lnTo>
                        <a:pt x="295327" y="263183"/>
                      </a:lnTo>
                      <a:lnTo>
                        <a:pt x="284393" y="269722"/>
                      </a:lnTo>
                      <a:lnTo>
                        <a:pt x="277565" y="294121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Freeform 141">
                  <a:extLst>
                    <a:ext uri="{FF2B5EF4-FFF2-40B4-BE49-F238E27FC236}">
                      <a16:creationId xmlns:a16="http://schemas.microsoft.com/office/drawing/2014/main" id="{FD24728D-868C-4912-AD1C-69618199FAA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3"/>
                  </p:custDataLst>
                </p:nvPr>
              </p:nvSpPr>
              <p:spPr>
                <a:xfrm>
                  <a:off x="7507369" y="4285224"/>
                  <a:ext cx="282630" cy="21789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3398" h="203072">
                      <a:moveTo>
                        <a:pt x="232591" y="65005"/>
                      </a:moveTo>
                      <a:lnTo>
                        <a:pt x="232858" y="83149"/>
                      </a:lnTo>
                      <a:lnTo>
                        <a:pt x="229408" y="90249"/>
                      </a:lnTo>
                      <a:lnTo>
                        <a:pt x="217157" y="90820"/>
                      </a:lnTo>
                      <a:lnTo>
                        <a:pt x="209295" y="104052"/>
                      </a:lnTo>
                      <a:lnTo>
                        <a:pt x="223470" y="105715"/>
                      </a:lnTo>
                      <a:lnTo>
                        <a:pt x="235169" y="117027"/>
                      </a:lnTo>
                      <a:lnTo>
                        <a:pt x="239213" y="126301"/>
                      </a:lnTo>
                      <a:lnTo>
                        <a:pt x="249755" y="131677"/>
                      </a:lnTo>
                      <a:lnTo>
                        <a:pt x="263397" y="156886"/>
                      </a:lnTo>
                      <a:lnTo>
                        <a:pt x="247751" y="172135"/>
                      </a:lnTo>
                      <a:lnTo>
                        <a:pt x="233551" y="185948"/>
                      </a:lnTo>
                      <a:lnTo>
                        <a:pt x="219355" y="196580"/>
                      </a:lnTo>
                      <a:lnTo>
                        <a:pt x="203115" y="196527"/>
                      </a:lnTo>
                      <a:lnTo>
                        <a:pt x="184533" y="201936"/>
                      </a:lnTo>
                      <a:lnTo>
                        <a:pt x="169856" y="196768"/>
                      </a:lnTo>
                      <a:lnTo>
                        <a:pt x="160352" y="203071"/>
                      </a:lnTo>
                      <a:lnTo>
                        <a:pt x="140031" y="187710"/>
                      </a:lnTo>
                      <a:lnTo>
                        <a:pt x="134549" y="177833"/>
                      </a:lnTo>
                      <a:lnTo>
                        <a:pt x="121694" y="182725"/>
                      </a:lnTo>
                      <a:lnTo>
                        <a:pt x="111021" y="181203"/>
                      </a:lnTo>
                      <a:lnTo>
                        <a:pt x="104842" y="185087"/>
                      </a:lnTo>
                      <a:lnTo>
                        <a:pt x="94477" y="182282"/>
                      </a:lnTo>
                      <a:lnTo>
                        <a:pt x="80495" y="163184"/>
                      </a:lnTo>
                      <a:lnTo>
                        <a:pt x="76783" y="155845"/>
                      </a:lnTo>
                      <a:lnTo>
                        <a:pt x="59528" y="146680"/>
                      </a:lnTo>
                      <a:lnTo>
                        <a:pt x="53700" y="132780"/>
                      </a:lnTo>
                      <a:lnTo>
                        <a:pt x="44080" y="122748"/>
                      </a:lnTo>
                      <a:lnTo>
                        <a:pt x="28557" y="110665"/>
                      </a:lnTo>
                      <a:lnTo>
                        <a:pt x="28344" y="103120"/>
                      </a:lnTo>
                      <a:lnTo>
                        <a:pt x="15705" y="93734"/>
                      </a:lnTo>
                      <a:lnTo>
                        <a:pt x="0" y="84656"/>
                      </a:lnTo>
                      <a:lnTo>
                        <a:pt x="7088" y="82122"/>
                      </a:lnTo>
                      <a:lnTo>
                        <a:pt x="15014" y="77730"/>
                      </a:lnTo>
                      <a:lnTo>
                        <a:pt x="20958" y="56947"/>
                      </a:lnTo>
                      <a:lnTo>
                        <a:pt x="27298" y="46141"/>
                      </a:lnTo>
                      <a:lnTo>
                        <a:pt x="43941" y="42938"/>
                      </a:lnTo>
                      <a:lnTo>
                        <a:pt x="47904" y="49344"/>
                      </a:lnTo>
                      <a:lnTo>
                        <a:pt x="59792" y="62945"/>
                      </a:lnTo>
                      <a:lnTo>
                        <a:pt x="66132" y="64944"/>
                      </a:lnTo>
                      <a:lnTo>
                        <a:pt x="74454" y="60946"/>
                      </a:lnTo>
                      <a:lnTo>
                        <a:pt x="91097" y="61746"/>
                      </a:lnTo>
                      <a:lnTo>
                        <a:pt x="94267" y="66543"/>
                      </a:lnTo>
                      <a:lnTo>
                        <a:pt x="117251" y="66543"/>
                      </a:lnTo>
                      <a:lnTo>
                        <a:pt x="118044" y="61746"/>
                      </a:lnTo>
                      <a:lnTo>
                        <a:pt x="129932" y="57347"/>
                      </a:lnTo>
                      <a:lnTo>
                        <a:pt x="132309" y="50545"/>
                      </a:lnTo>
                      <a:lnTo>
                        <a:pt x="141027" y="45741"/>
                      </a:lnTo>
                      <a:lnTo>
                        <a:pt x="160444" y="59347"/>
                      </a:lnTo>
                      <a:lnTo>
                        <a:pt x="172332" y="56947"/>
                      </a:lnTo>
                      <a:lnTo>
                        <a:pt x="183824" y="40134"/>
                      </a:lnTo>
                      <a:lnTo>
                        <a:pt x="196505" y="27307"/>
                      </a:lnTo>
                      <a:lnTo>
                        <a:pt x="194524" y="13261"/>
                      </a:lnTo>
                      <a:lnTo>
                        <a:pt x="188976" y="6432"/>
                      </a:lnTo>
                      <a:lnTo>
                        <a:pt x="202845" y="5226"/>
                      </a:lnTo>
                      <a:lnTo>
                        <a:pt x="204430" y="0"/>
                      </a:lnTo>
                      <a:lnTo>
                        <a:pt x="215129" y="1608"/>
                      </a:lnTo>
                      <a:lnTo>
                        <a:pt x="212355" y="18882"/>
                      </a:lnTo>
                      <a:lnTo>
                        <a:pt x="215129" y="35727"/>
                      </a:lnTo>
                      <a:lnTo>
                        <a:pt x="227017" y="44940"/>
                      </a:lnTo>
                      <a:lnTo>
                        <a:pt x="229792" y="52946"/>
                      </a:lnTo>
                      <a:lnTo>
                        <a:pt x="229395" y="64544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Freeform 142">
                  <a:extLst>
                    <a:ext uri="{FF2B5EF4-FFF2-40B4-BE49-F238E27FC236}">
                      <a16:creationId xmlns:a16="http://schemas.microsoft.com/office/drawing/2014/main" id="{6E5BDAF0-AE3A-4BC6-BB73-4D6C229E7EE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4"/>
                  </p:custDataLst>
                </p:nvPr>
              </p:nvSpPr>
              <p:spPr>
                <a:xfrm>
                  <a:off x="6479198" y="4175236"/>
                  <a:ext cx="152502" cy="1078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2125" h="100535">
                      <a:moveTo>
                        <a:pt x="21036" y="70899"/>
                      </a:moveTo>
                      <a:lnTo>
                        <a:pt x="11517" y="52580"/>
                      </a:lnTo>
                      <a:lnTo>
                        <a:pt x="0" y="44189"/>
                      </a:lnTo>
                      <a:lnTo>
                        <a:pt x="10154" y="39709"/>
                      </a:lnTo>
                      <a:lnTo>
                        <a:pt x="21337" y="23128"/>
                      </a:lnTo>
                      <a:lnTo>
                        <a:pt x="26821" y="10978"/>
                      </a:lnTo>
                      <a:lnTo>
                        <a:pt x="34725" y="3381"/>
                      </a:lnTo>
                      <a:lnTo>
                        <a:pt x="46197" y="5427"/>
                      </a:lnTo>
                      <a:lnTo>
                        <a:pt x="57460" y="260"/>
                      </a:lnTo>
                      <a:lnTo>
                        <a:pt x="70349" y="0"/>
                      </a:lnTo>
                      <a:lnTo>
                        <a:pt x="81379" y="6968"/>
                      </a:lnTo>
                      <a:lnTo>
                        <a:pt x="96701" y="13243"/>
                      </a:lnTo>
                      <a:lnTo>
                        <a:pt x="110668" y="30639"/>
                      </a:lnTo>
                      <a:lnTo>
                        <a:pt x="125900" y="46846"/>
                      </a:lnTo>
                      <a:lnTo>
                        <a:pt x="126959" y="61497"/>
                      </a:lnTo>
                      <a:lnTo>
                        <a:pt x="131510" y="74962"/>
                      </a:lnTo>
                      <a:lnTo>
                        <a:pt x="140150" y="81558"/>
                      </a:lnTo>
                      <a:lnTo>
                        <a:pt x="142124" y="90632"/>
                      </a:lnTo>
                      <a:lnTo>
                        <a:pt x="141061" y="97935"/>
                      </a:lnTo>
                      <a:lnTo>
                        <a:pt x="137729" y="99257"/>
                      </a:lnTo>
                      <a:lnTo>
                        <a:pt x="125143" y="97404"/>
                      </a:lnTo>
                      <a:lnTo>
                        <a:pt x="123411" y="100010"/>
                      </a:lnTo>
                      <a:lnTo>
                        <a:pt x="118322" y="100534"/>
                      </a:lnTo>
                      <a:lnTo>
                        <a:pt x="101731" y="94821"/>
                      </a:lnTo>
                      <a:lnTo>
                        <a:pt x="90590" y="94579"/>
                      </a:lnTo>
                      <a:lnTo>
                        <a:pt x="47933" y="93594"/>
                      </a:lnTo>
                      <a:lnTo>
                        <a:pt x="41745" y="96234"/>
                      </a:lnTo>
                      <a:lnTo>
                        <a:pt x="34101" y="95479"/>
                      </a:lnTo>
                      <a:lnTo>
                        <a:pt x="21873" y="99298"/>
                      </a:lnTo>
                      <a:lnTo>
                        <a:pt x="18086" y="81319"/>
                      </a:lnTo>
                      <a:lnTo>
                        <a:pt x="39097" y="81814"/>
                      </a:lnTo>
                      <a:lnTo>
                        <a:pt x="44643" y="78525"/>
                      </a:lnTo>
                      <a:lnTo>
                        <a:pt x="48779" y="78332"/>
                      </a:lnTo>
                      <a:lnTo>
                        <a:pt x="57335" y="72907"/>
                      </a:lnTo>
                      <a:lnTo>
                        <a:pt x="67236" y="77871"/>
                      </a:lnTo>
                      <a:lnTo>
                        <a:pt x="77266" y="78285"/>
                      </a:lnTo>
                      <a:lnTo>
                        <a:pt x="87255" y="73012"/>
                      </a:lnTo>
                      <a:lnTo>
                        <a:pt x="82591" y="66218"/>
                      </a:lnTo>
                      <a:lnTo>
                        <a:pt x="74981" y="70177"/>
                      </a:lnTo>
                      <a:lnTo>
                        <a:pt x="67817" y="70067"/>
                      </a:lnTo>
                      <a:lnTo>
                        <a:pt x="58707" y="64279"/>
                      </a:lnTo>
                      <a:lnTo>
                        <a:pt x="51389" y="64658"/>
                      </a:lnTo>
                      <a:lnTo>
                        <a:pt x="46176" y="7022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" name="Freeform 143">
                  <a:extLst>
                    <a:ext uri="{FF2B5EF4-FFF2-40B4-BE49-F238E27FC236}">
                      <a16:creationId xmlns:a16="http://schemas.microsoft.com/office/drawing/2014/main" id="{F179E3BE-9AC8-4BA3-820A-7252B6462BB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5"/>
                  </p:custDataLst>
                </p:nvPr>
              </p:nvSpPr>
              <p:spPr>
                <a:xfrm>
                  <a:off x="10791722" y="4753755"/>
                  <a:ext cx="146312" cy="105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356" h="98312">
                      <a:moveTo>
                        <a:pt x="111453" y="83808"/>
                      </a:moveTo>
                      <a:lnTo>
                        <a:pt x="125247" y="89451"/>
                      </a:lnTo>
                      <a:lnTo>
                        <a:pt x="129901" y="90291"/>
                      </a:lnTo>
                      <a:lnTo>
                        <a:pt x="136356" y="98312"/>
                      </a:lnTo>
                      <a:lnTo>
                        <a:pt x="120230" y="98164"/>
                      </a:lnTo>
                      <a:close/>
                      <a:moveTo>
                        <a:pt x="74132" y="61400"/>
                      </a:moveTo>
                      <a:lnTo>
                        <a:pt x="89367" y="65063"/>
                      </a:lnTo>
                      <a:lnTo>
                        <a:pt x="96881" y="69950"/>
                      </a:lnTo>
                      <a:lnTo>
                        <a:pt x="100660" y="76073"/>
                      </a:lnTo>
                      <a:lnTo>
                        <a:pt x="91666" y="76592"/>
                      </a:lnTo>
                      <a:lnTo>
                        <a:pt x="77514" y="74234"/>
                      </a:lnTo>
                      <a:lnTo>
                        <a:pt x="72679" y="70645"/>
                      </a:lnTo>
                      <a:close/>
                      <a:moveTo>
                        <a:pt x="94377" y="39935"/>
                      </a:moveTo>
                      <a:lnTo>
                        <a:pt x="102225" y="39935"/>
                      </a:lnTo>
                      <a:lnTo>
                        <a:pt x="110534" y="58539"/>
                      </a:lnTo>
                      <a:lnTo>
                        <a:pt x="119767" y="69714"/>
                      </a:lnTo>
                      <a:lnTo>
                        <a:pt x="116291" y="74008"/>
                      </a:lnTo>
                      <a:lnTo>
                        <a:pt x="99184" y="53828"/>
                      </a:lnTo>
                      <a:close/>
                      <a:moveTo>
                        <a:pt x="43132" y="16714"/>
                      </a:moveTo>
                      <a:lnTo>
                        <a:pt x="53752" y="22284"/>
                      </a:lnTo>
                      <a:lnTo>
                        <a:pt x="72679" y="32965"/>
                      </a:lnTo>
                      <a:lnTo>
                        <a:pt x="78104" y="40337"/>
                      </a:lnTo>
                      <a:lnTo>
                        <a:pt x="79082" y="45009"/>
                      </a:lnTo>
                      <a:lnTo>
                        <a:pt x="60991" y="35153"/>
                      </a:lnTo>
                      <a:lnTo>
                        <a:pt x="48353" y="26807"/>
                      </a:lnTo>
                      <a:lnTo>
                        <a:pt x="39697" y="19078"/>
                      </a:lnTo>
                      <a:close/>
                      <a:moveTo>
                        <a:pt x="1188" y="0"/>
                      </a:moveTo>
                      <a:lnTo>
                        <a:pt x="14972" y="9792"/>
                      </a:lnTo>
                      <a:lnTo>
                        <a:pt x="24169" y="17359"/>
                      </a:lnTo>
                      <a:lnTo>
                        <a:pt x="19575" y="18681"/>
                      </a:lnTo>
                      <a:lnTo>
                        <a:pt x="9479" y="13393"/>
                      </a:lnTo>
                      <a:lnTo>
                        <a:pt x="0" y="386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Freeform 144">
                  <a:extLst>
                    <a:ext uri="{FF2B5EF4-FFF2-40B4-BE49-F238E27FC236}">
                      <a16:creationId xmlns:a16="http://schemas.microsoft.com/office/drawing/2014/main" id="{7D83F5A0-D20E-4393-AC04-2EA64120178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6"/>
                  </p:custDataLst>
                </p:nvPr>
              </p:nvSpPr>
              <p:spPr>
                <a:xfrm>
                  <a:off x="6587644" y="4340408"/>
                  <a:ext cx="74713" cy="8134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629" h="75805">
                      <a:moveTo>
                        <a:pt x="41728" y="75804"/>
                      </a:moveTo>
                      <a:lnTo>
                        <a:pt x="35509" y="74084"/>
                      </a:lnTo>
                      <a:lnTo>
                        <a:pt x="18892" y="64739"/>
                      </a:lnTo>
                      <a:lnTo>
                        <a:pt x="6867" y="52305"/>
                      </a:lnTo>
                      <a:lnTo>
                        <a:pt x="2828" y="43820"/>
                      </a:lnTo>
                      <a:lnTo>
                        <a:pt x="0" y="26638"/>
                      </a:lnTo>
                      <a:lnTo>
                        <a:pt x="12340" y="16407"/>
                      </a:lnTo>
                      <a:lnTo>
                        <a:pt x="15000" y="9945"/>
                      </a:lnTo>
                      <a:lnTo>
                        <a:pt x="18942" y="4921"/>
                      </a:lnTo>
                      <a:lnTo>
                        <a:pt x="25303" y="4391"/>
                      </a:lnTo>
                      <a:lnTo>
                        <a:pt x="30683" y="0"/>
                      </a:lnTo>
                      <a:lnTo>
                        <a:pt x="49144" y="26"/>
                      </a:lnTo>
                      <a:lnTo>
                        <a:pt x="55569" y="8360"/>
                      </a:lnTo>
                      <a:lnTo>
                        <a:pt x="60572" y="18148"/>
                      </a:lnTo>
                      <a:lnTo>
                        <a:pt x="59825" y="24913"/>
                      </a:lnTo>
                      <a:lnTo>
                        <a:pt x="63529" y="30999"/>
                      </a:lnTo>
                      <a:lnTo>
                        <a:pt x="63271" y="39523"/>
                      </a:lnTo>
                      <a:lnTo>
                        <a:pt x="69628" y="38191"/>
                      </a:lnTo>
                      <a:lnTo>
                        <a:pt x="58883" y="49035"/>
                      </a:lnTo>
                      <a:lnTo>
                        <a:pt x="48470" y="61636"/>
                      </a:lnTo>
                      <a:lnTo>
                        <a:pt x="47244" y="6838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" name="Freeform 145">
                  <a:extLst>
                    <a:ext uri="{FF2B5EF4-FFF2-40B4-BE49-F238E27FC236}">
                      <a16:creationId xmlns:a16="http://schemas.microsoft.com/office/drawing/2014/main" id="{000E93D2-0D50-4A29-B6DF-9A329F55CB4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7"/>
                  </p:custDataLst>
                </p:nvPr>
              </p:nvSpPr>
              <p:spPr>
                <a:xfrm>
                  <a:off x="7969833" y="4304959"/>
                  <a:ext cx="158256" cy="8663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7487" h="80739">
                      <a:moveTo>
                        <a:pt x="147253" y="46904"/>
                      </a:moveTo>
                      <a:lnTo>
                        <a:pt x="136834" y="61196"/>
                      </a:lnTo>
                      <a:lnTo>
                        <a:pt x="120738" y="80595"/>
                      </a:lnTo>
                      <a:lnTo>
                        <a:pt x="101324" y="80738"/>
                      </a:lnTo>
                      <a:lnTo>
                        <a:pt x="25853" y="53147"/>
                      </a:lnTo>
                      <a:lnTo>
                        <a:pt x="17040" y="44838"/>
                      </a:lnTo>
                      <a:lnTo>
                        <a:pt x="8526" y="33620"/>
                      </a:lnTo>
                      <a:lnTo>
                        <a:pt x="0" y="20777"/>
                      </a:lnTo>
                      <a:lnTo>
                        <a:pt x="5035" y="12506"/>
                      </a:lnTo>
                      <a:lnTo>
                        <a:pt x="13540" y="0"/>
                      </a:lnTo>
                      <a:lnTo>
                        <a:pt x="21050" y="4309"/>
                      </a:lnTo>
                      <a:lnTo>
                        <a:pt x="25574" y="13970"/>
                      </a:lnTo>
                      <a:lnTo>
                        <a:pt x="35987" y="23741"/>
                      </a:lnTo>
                      <a:lnTo>
                        <a:pt x="47447" y="23819"/>
                      </a:lnTo>
                      <a:lnTo>
                        <a:pt x="69207" y="17849"/>
                      </a:lnTo>
                      <a:lnTo>
                        <a:pt x="94331" y="15082"/>
                      </a:lnTo>
                      <a:lnTo>
                        <a:pt x="114650" y="7826"/>
                      </a:lnTo>
                      <a:lnTo>
                        <a:pt x="126097" y="6287"/>
                      </a:lnTo>
                      <a:lnTo>
                        <a:pt x="134342" y="2024"/>
                      </a:lnTo>
                      <a:lnTo>
                        <a:pt x="147486" y="1202"/>
                      </a:lnTo>
                      <a:lnTo>
                        <a:pt x="147343" y="1585"/>
                      </a:lnTo>
                      <a:lnTo>
                        <a:pt x="147262" y="11211"/>
                      </a:lnTo>
                      <a:lnTo>
                        <a:pt x="147256" y="3474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Freeform 146">
                  <a:extLst>
                    <a:ext uri="{FF2B5EF4-FFF2-40B4-BE49-F238E27FC236}">
                      <a16:creationId xmlns:a16="http://schemas.microsoft.com/office/drawing/2014/main" id="{7D3BFB59-5303-4ACE-B42B-9D6915CCC03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8"/>
                  </p:custDataLst>
                </p:nvPr>
              </p:nvSpPr>
              <p:spPr>
                <a:xfrm>
                  <a:off x="7930756" y="4290835"/>
                  <a:ext cx="251466" cy="3409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34355" h="317733">
                      <a:moveTo>
                        <a:pt x="201917" y="10430"/>
                      </a:moveTo>
                      <a:lnTo>
                        <a:pt x="214155" y="8076"/>
                      </a:lnTo>
                      <a:lnTo>
                        <a:pt x="225078" y="64"/>
                      </a:lnTo>
                      <a:lnTo>
                        <a:pt x="233831" y="0"/>
                      </a:lnTo>
                      <a:lnTo>
                        <a:pt x="234354" y="6471"/>
                      </a:lnTo>
                      <a:lnTo>
                        <a:pt x="232223" y="20071"/>
                      </a:lnTo>
                      <a:lnTo>
                        <a:pt x="232310" y="32345"/>
                      </a:lnTo>
                      <a:lnTo>
                        <a:pt x="227436" y="40772"/>
                      </a:lnTo>
                      <a:lnTo>
                        <a:pt x="220932" y="65957"/>
                      </a:lnTo>
                      <a:lnTo>
                        <a:pt x="209818" y="91929"/>
                      </a:lnTo>
                      <a:lnTo>
                        <a:pt x="195548" y="121568"/>
                      </a:lnTo>
                      <a:lnTo>
                        <a:pt x="175740" y="155519"/>
                      </a:lnTo>
                      <a:lnTo>
                        <a:pt x="156033" y="181423"/>
                      </a:lnTo>
                      <a:lnTo>
                        <a:pt x="128887" y="212949"/>
                      </a:lnTo>
                      <a:lnTo>
                        <a:pt x="105786" y="231646"/>
                      </a:lnTo>
                      <a:lnTo>
                        <a:pt x="71258" y="254572"/>
                      </a:lnTo>
                      <a:lnTo>
                        <a:pt x="49741" y="272130"/>
                      </a:lnTo>
                      <a:lnTo>
                        <a:pt x="24479" y="300092"/>
                      </a:lnTo>
                      <a:lnTo>
                        <a:pt x="19156" y="312265"/>
                      </a:lnTo>
                      <a:lnTo>
                        <a:pt x="13944" y="317732"/>
                      </a:lnTo>
                      <a:lnTo>
                        <a:pt x="275" y="298687"/>
                      </a:lnTo>
                      <a:lnTo>
                        <a:pt x="0" y="214584"/>
                      </a:lnTo>
                      <a:lnTo>
                        <a:pt x="20175" y="188370"/>
                      </a:lnTo>
                      <a:lnTo>
                        <a:pt x="26489" y="181082"/>
                      </a:lnTo>
                      <a:lnTo>
                        <a:pt x="41286" y="180656"/>
                      </a:lnTo>
                      <a:lnTo>
                        <a:pt x="61857" y="164350"/>
                      </a:lnTo>
                      <a:lnTo>
                        <a:pt x="91928" y="163330"/>
                      </a:lnTo>
                      <a:lnTo>
                        <a:pt x="157155" y="93758"/>
                      </a:lnTo>
                      <a:lnTo>
                        <a:pt x="173251" y="74359"/>
                      </a:lnTo>
                      <a:lnTo>
                        <a:pt x="183670" y="60067"/>
                      </a:lnTo>
                      <a:lnTo>
                        <a:pt x="183673" y="47912"/>
                      </a:lnTo>
                      <a:lnTo>
                        <a:pt x="183679" y="24374"/>
                      </a:lnTo>
                      <a:lnTo>
                        <a:pt x="183760" y="14748"/>
                      </a:lnTo>
                      <a:lnTo>
                        <a:pt x="183903" y="14365"/>
                      </a:lnTo>
                      <a:lnTo>
                        <a:pt x="191279" y="13905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Freeform 147">
                  <a:extLst>
                    <a:ext uri="{FF2B5EF4-FFF2-40B4-BE49-F238E27FC236}">
                      <a16:creationId xmlns:a16="http://schemas.microsoft.com/office/drawing/2014/main" id="{323EAAC5-10CE-4765-8D2A-B592F8771AF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9"/>
                  </p:custDataLst>
                </p:nvPr>
              </p:nvSpPr>
              <p:spPr>
                <a:xfrm>
                  <a:off x="7382114" y="3357899"/>
                  <a:ext cx="102942" cy="11929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5937" h="111173">
                      <a:moveTo>
                        <a:pt x="47192" y="21728"/>
                      </a:moveTo>
                      <a:lnTo>
                        <a:pt x="61255" y="28459"/>
                      </a:lnTo>
                      <a:lnTo>
                        <a:pt x="63067" y="40218"/>
                      </a:lnTo>
                      <a:lnTo>
                        <a:pt x="76526" y="48476"/>
                      </a:lnTo>
                      <a:lnTo>
                        <a:pt x="83772" y="42108"/>
                      </a:lnTo>
                      <a:lnTo>
                        <a:pt x="89466" y="45648"/>
                      </a:lnTo>
                      <a:lnTo>
                        <a:pt x="84118" y="50439"/>
                      </a:lnTo>
                      <a:lnTo>
                        <a:pt x="88345" y="55379"/>
                      </a:lnTo>
                      <a:lnTo>
                        <a:pt x="82650" y="61794"/>
                      </a:lnTo>
                      <a:lnTo>
                        <a:pt x="84721" y="72094"/>
                      </a:lnTo>
                      <a:lnTo>
                        <a:pt x="95936" y="84219"/>
                      </a:lnTo>
                      <a:lnTo>
                        <a:pt x="87137" y="92970"/>
                      </a:lnTo>
                      <a:lnTo>
                        <a:pt x="83254" y="101850"/>
                      </a:lnTo>
                      <a:lnTo>
                        <a:pt x="85757" y="105163"/>
                      </a:lnTo>
                      <a:lnTo>
                        <a:pt x="81960" y="109087"/>
                      </a:lnTo>
                      <a:lnTo>
                        <a:pt x="71262" y="109549"/>
                      </a:lnTo>
                      <a:lnTo>
                        <a:pt x="63404" y="111172"/>
                      </a:lnTo>
                      <a:lnTo>
                        <a:pt x="62635" y="109088"/>
                      </a:lnTo>
                      <a:lnTo>
                        <a:pt x="65396" y="105779"/>
                      </a:lnTo>
                      <a:lnTo>
                        <a:pt x="67984" y="98996"/>
                      </a:lnTo>
                      <a:lnTo>
                        <a:pt x="64705" y="99150"/>
                      </a:lnTo>
                      <a:lnTo>
                        <a:pt x="60219" y="93975"/>
                      </a:lnTo>
                      <a:lnTo>
                        <a:pt x="56423" y="92661"/>
                      </a:lnTo>
                      <a:lnTo>
                        <a:pt x="53404" y="88211"/>
                      </a:lnTo>
                      <a:lnTo>
                        <a:pt x="49090" y="86467"/>
                      </a:lnTo>
                      <a:lnTo>
                        <a:pt x="45811" y="82512"/>
                      </a:lnTo>
                      <a:lnTo>
                        <a:pt x="41670" y="84064"/>
                      </a:lnTo>
                      <a:lnTo>
                        <a:pt x="38478" y="93357"/>
                      </a:lnTo>
                      <a:lnTo>
                        <a:pt x="32957" y="95366"/>
                      </a:lnTo>
                      <a:lnTo>
                        <a:pt x="34854" y="92970"/>
                      </a:lnTo>
                      <a:lnTo>
                        <a:pt x="26055" y="87165"/>
                      </a:lnTo>
                      <a:lnTo>
                        <a:pt x="18470" y="84146"/>
                      </a:lnTo>
                      <a:lnTo>
                        <a:pt x="15098" y="80261"/>
                      </a:lnTo>
                      <a:lnTo>
                        <a:pt x="8972" y="75441"/>
                      </a:lnTo>
                      <a:lnTo>
                        <a:pt x="14408" y="74197"/>
                      </a:lnTo>
                      <a:lnTo>
                        <a:pt x="17773" y="60935"/>
                      </a:lnTo>
                      <a:lnTo>
                        <a:pt x="6643" y="50046"/>
                      </a:lnTo>
                      <a:lnTo>
                        <a:pt x="12423" y="37539"/>
                      </a:lnTo>
                      <a:lnTo>
                        <a:pt x="4055" y="37618"/>
                      </a:lnTo>
                      <a:lnTo>
                        <a:pt x="12941" y="26877"/>
                      </a:lnTo>
                      <a:lnTo>
                        <a:pt x="5608" y="18714"/>
                      </a:lnTo>
                      <a:lnTo>
                        <a:pt x="0" y="7580"/>
                      </a:lnTo>
                      <a:lnTo>
                        <a:pt x="17687" y="0"/>
                      </a:lnTo>
                      <a:lnTo>
                        <a:pt x="32094" y="1278"/>
                      </a:lnTo>
                      <a:lnTo>
                        <a:pt x="44604" y="12596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" name="Freeform 148">
                  <a:extLst>
                    <a:ext uri="{FF2B5EF4-FFF2-40B4-BE49-F238E27FC236}">
                      <a16:creationId xmlns:a16="http://schemas.microsoft.com/office/drawing/2014/main" id="{C0B663FA-6021-4D08-9C1D-8483D993F94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0"/>
                  </p:custDataLst>
                </p:nvPr>
              </p:nvSpPr>
              <p:spPr>
                <a:xfrm>
                  <a:off x="7333821" y="3250579"/>
                  <a:ext cx="140637" cy="577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1067" h="53806">
                      <a:moveTo>
                        <a:pt x="45545" y="2258"/>
                      </a:moveTo>
                      <a:lnTo>
                        <a:pt x="46848" y="4066"/>
                      </a:lnTo>
                      <a:lnTo>
                        <a:pt x="56338" y="0"/>
                      </a:lnTo>
                      <a:lnTo>
                        <a:pt x="67979" y="10605"/>
                      </a:lnTo>
                      <a:lnTo>
                        <a:pt x="81617" y="4197"/>
                      </a:lnTo>
                      <a:lnTo>
                        <a:pt x="92514" y="7269"/>
                      </a:lnTo>
                      <a:lnTo>
                        <a:pt x="109131" y="3040"/>
                      </a:lnTo>
                      <a:lnTo>
                        <a:pt x="131066" y="14525"/>
                      </a:lnTo>
                      <a:lnTo>
                        <a:pt x="124666" y="22276"/>
                      </a:lnTo>
                      <a:lnTo>
                        <a:pt x="120159" y="34233"/>
                      </a:lnTo>
                      <a:lnTo>
                        <a:pt x="115234" y="37259"/>
                      </a:lnTo>
                      <a:lnTo>
                        <a:pt x="90514" y="28261"/>
                      </a:lnTo>
                      <a:lnTo>
                        <a:pt x="82949" y="30069"/>
                      </a:lnTo>
                      <a:lnTo>
                        <a:pt x="77536" y="37034"/>
                      </a:lnTo>
                      <a:lnTo>
                        <a:pt x="66697" y="40723"/>
                      </a:lnTo>
                      <a:lnTo>
                        <a:pt x="64201" y="38835"/>
                      </a:lnTo>
                      <a:lnTo>
                        <a:pt x="52960" y="43417"/>
                      </a:lnTo>
                      <a:lnTo>
                        <a:pt x="43788" y="44290"/>
                      </a:lnTo>
                      <a:lnTo>
                        <a:pt x="41930" y="50204"/>
                      </a:lnTo>
                      <a:lnTo>
                        <a:pt x="22555" y="53805"/>
                      </a:lnTo>
                      <a:lnTo>
                        <a:pt x="14045" y="50600"/>
                      </a:lnTo>
                      <a:lnTo>
                        <a:pt x="2301" y="43059"/>
                      </a:lnTo>
                      <a:lnTo>
                        <a:pt x="0" y="32820"/>
                      </a:lnTo>
                      <a:lnTo>
                        <a:pt x="1853" y="29058"/>
                      </a:lnTo>
                      <a:lnTo>
                        <a:pt x="5124" y="22527"/>
                      </a:lnTo>
                      <a:lnTo>
                        <a:pt x="15350" y="23030"/>
                      </a:lnTo>
                      <a:lnTo>
                        <a:pt x="23232" y="19954"/>
                      </a:lnTo>
                      <a:lnTo>
                        <a:pt x="23856" y="17185"/>
                      </a:lnTo>
                      <a:lnTo>
                        <a:pt x="28276" y="15770"/>
                      </a:lnTo>
                      <a:lnTo>
                        <a:pt x="29788" y="8981"/>
                      </a:lnTo>
                      <a:lnTo>
                        <a:pt x="35086" y="7681"/>
                      </a:lnTo>
                      <a:lnTo>
                        <a:pt x="38663" y="2294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" name="Freeform 149">
                  <a:extLst>
                    <a:ext uri="{FF2B5EF4-FFF2-40B4-BE49-F238E27FC236}">
                      <a16:creationId xmlns:a16="http://schemas.microsoft.com/office/drawing/2014/main" id="{4035E80C-1D41-41EA-B5BE-59EA476C40D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1"/>
                  </p:custDataLst>
                </p:nvPr>
              </p:nvSpPr>
              <p:spPr>
                <a:xfrm>
                  <a:off x="7255011" y="3336732"/>
                  <a:ext cx="71005" cy="4337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6173" h="40426">
                      <a:moveTo>
                        <a:pt x="2502" y="9961"/>
                      </a:moveTo>
                      <a:lnTo>
                        <a:pt x="21568" y="12206"/>
                      </a:lnTo>
                      <a:lnTo>
                        <a:pt x="33216" y="5628"/>
                      </a:lnTo>
                      <a:lnTo>
                        <a:pt x="53404" y="4904"/>
                      </a:lnTo>
                      <a:lnTo>
                        <a:pt x="57804" y="0"/>
                      </a:lnTo>
                      <a:lnTo>
                        <a:pt x="61687" y="321"/>
                      </a:lnTo>
                      <a:lnTo>
                        <a:pt x="66172" y="10122"/>
                      </a:lnTo>
                      <a:lnTo>
                        <a:pt x="47796" y="17809"/>
                      </a:lnTo>
                      <a:lnTo>
                        <a:pt x="45552" y="29459"/>
                      </a:lnTo>
                      <a:lnTo>
                        <a:pt x="37529" y="32403"/>
                      </a:lnTo>
                      <a:lnTo>
                        <a:pt x="37615" y="40425"/>
                      </a:lnTo>
                      <a:lnTo>
                        <a:pt x="28557" y="39870"/>
                      </a:lnTo>
                      <a:lnTo>
                        <a:pt x="20706" y="35186"/>
                      </a:lnTo>
                      <a:lnTo>
                        <a:pt x="16478" y="40028"/>
                      </a:lnTo>
                      <a:lnTo>
                        <a:pt x="392" y="39049"/>
                      </a:lnTo>
                      <a:lnTo>
                        <a:pt x="5529" y="36447"/>
                      </a:lnTo>
                      <a:lnTo>
                        <a:pt x="0" y="2419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Freeform 150">
                  <a:extLst>
                    <a:ext uri="{FF2B5EF4-FFF2-40B4-BE49-F238E27FC236}">
                      <a16:creationId xmlns:a16="http://schemas.microsoft.com/office/drawing/2014/main" id="{B4B427E6-58A6-4135-B11B-A750682348E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2"/>
                  </p:custDataLst>
                </p:nvPr>
              </p:nvSpPr>
              <p:spPr>
                <a:xfrm>
                  <a:off x="7188863" y="2527159"/>
                  <a:ext cx="318914" cy="53038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7213" h="494295">
                      <a:moveTo>
                        <a:pt x="257506" y="132676"/>
                      </a:moveTo>
                      <a:lnTo>
                        <a:pt x="235123" y="159012"/>
                      </a:lnTo>
                      <a:lnTo>
                        <a:pt x="238727" y="181860"/>
                      </a:lnTo>
                      <a:lnTo>
                        <a:pt x="202008" y="211485"/>
                      </a:lnTo>
                      <a:lnTo>
                        <a:pt x="157433" y="242729"/>
                      </a:lnTo>
                      <a:lnTo>
                        <a:pt x="140624" y="292923"/>
                      </a:lnTo>
                      <a:lnTo>
                        <a:pt x="157054" y="317610"/>
                      </a:lnTo>
                      <a:lnTo>
                        <a:pt x="179129" y="336852"/>
                      </a:lnTo>
                      <a:lnTo>
                        <a:pt x="157928" y="375482"/>
                      </a:lnTo>
                      <a:lnTo>
                        <a:pt x="133921" y="383411"/>
                      </a:lnTo>
                      <a:lnTo>
                        <a:pt x="125116" y="439506"/>
                      </a:lnTo>
                      <a:lnTo>
                        <a:pt x="112006" y="470226"/>
                      </a:lnTo>
                      <a:lnTo>
                        <a:pt x="84005" y="467078"/>
                      </a:lnTo>
                      <a:lnTo>
                        <a:pt x="70941" y="492808"/>
                      </a:lnTo>
                      <a:lnTo>
                        <a:pt x="44215" y="494294"/>
                      </a:lnTo>
                      <a:lnTo>
                        <a:pt x="36880" y="463611"/>
                      </a:lnTo>
                      <a:lnTo>
                        <a:pt x="17556" y="426240"/>
                      </a:lnTo>
                      <a:lnTo>
                        <a:pt x="0" y="378794"/>
                      </a:lnTo>
                      <a:lnTo>
                        <a:pt x="10177" y="359174"/>
                      </a:lnTo>
                      <a:lnTo>
                        <a:pt x="29384" y="335608"/>
                      </a:lnTo>
                      <a:lnTo>
                        <a:pt x="37019" y="294600"/>
                      </a:lnTo>
                      <a:lnTo>
                        <a:pt x="22267" y="276683"/>
                      </a:lnTo>
                      <a:lnTo>
                        <a:pt x="20848" y="229021"/>
                      </a:lnTo>
                      <a:lnTo>
                        <a:pt x="35837" y="194710"/>
                      </a:lnTo>
                      <a:lnTo>
                        <a:pt x="58735" y="195340"/>
                      </a:lnTo>
                      <a:lnTo>
                        <a:pt x="66767" y="180678"/>
                      </a:lnTo>
                      <a:lnTo>
                        <a:pt x="58360" y="167958"/>
                      </a:lnTo>
                      <a:lnTo>
                        <a:pt x="94201" y="114740"/>
                      </a:lnTo>
                      <a:lnTo>
                        <a:pt x="117290" y="71821"/>
                      </a:lnTo>
                      <a:lnTo>
                        <a:pt x="132529" y="43795"/>
                      </a:lnTo>
                      <a:lnTo>
                        <a:pt x="154696" y="43929"/>
                      </a:lnTo>
                      <a:lnTo>
                        <a:pt x="160805" y="21724"/>
                      </a:lnTo>
                      <a:lnTo>
                        <a:pt x="204309" y="28137"/>
                      </a:lnTo>
                      <a:lnTo>
                        <a:pt x="207695" y="1666"/>
                      </a:lnTo>
                      <a:lnTo>
                        <a:pt x="222014" y="0"/>
                      </a:lnTo>
                      <a:lnTo>
                        <a:pt x="252782" y="19740"/>
                      </a:lnTo>
                      <a:lnTo>
                        <a:pt x="288813" y="46883"/>
                      </a:lnTo>
                      <a:lnTo>
                        <a:pt x="289422" y="106979"/>
                      </a:lnTo>
                      <a:lnTo>
                        <a:pt x="297212" y="121891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" name="Freeform 151">
                  <a:extLst>
                    <a:ext uri="{FF2B5EF4-FFF2-40B4-BE49-F238E27FC236}">
                      <a16:creationId xmlns:a16="http://schemas.microsoft.com/office/drawing/2014/main" id="{55B98043-6B5E-48BC-AEF7-B8C2D325371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3"/>
                  </p:custDataLst>
                </p:nvPr>
              </p:nvSpPr>
              <p:spPr>
                <a:xfrm>
                  <a:off x="7675535" y="5239675"/>
                  <a:ext cx="34553" cy="4318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2202" h="40246">
                      <a:moveTo>
                        <a:pt x="32201" y="26538"/>
                      </a:moveTo>
                      <a:lnTo>
                        <a:pt x="27502" y="37561"/>
                      </a:lnTo>
                      <a:lnTo>
                        <a:pt x="13992" y="40245"/>
                      </a:lnTo>
                      <a:lnTo>
                        <a:pt x="216" y="26787"/>
                      </a:lnTo>
                      <a:lnTo>
                        <a:pt x="0" y="18223"/>
                      </a:lnTo>
                      <a:lnTo>
                        <a:pt x="6303" y="8942"/>
                      </a:lnTo>
                      <a:lnTo>
                        <a:pt x="8482" y="1757"/>
                      </a:lnTo>
                      <a:lnTo>
                        <a:pt x="15155" y="0"/>
                      </a:lnTo>
                      <a:lnTo>
                        <a:pt x="26802" y="4516"/>
                      </a:lnTo>
                      <a:lnTo>
                        <a:pt x="30219" y="1559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" name="Freeform 152">
                  <a:extLst>
                    <a:ext uri="{FF2B5EF4-FFF2-40B4-BE49-F238E27FC236}">
                      <a16:creationId xmlns:a16="http://schemas.microsoft.com/office/drawing/2014/main" id="{F8F0D4AB-EED8-49F9-B0FB-81877916E0D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4"/>
                  </p:custDataLst>
                </p:nvPr>
              </p:nvSpPr>
              <p:spPr>
                <a:xfrm>
                  <a:off x="7799975" y="3623385"/>
                  <a:ext cx="164679" cy="1377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3473" h="128366">
                      <a:moveTo>
                        <a:pt x="71362" y="100929"/>
                      </a:moveTo>
                      <a:lnTo>
                        <a:pt x="26159" y="128365"/>
                      </a:lnTo>
                      <a:lnTo>
                        <a:pt x="442" y="118187"/>
                      </a:lnTo>
                      <a:lnTo>
                        <a:pt x="0" y="118012"/>
                      </a:lnTo>
                      <a:lnTo>
                        <a:pt x="3130" y="114098"/>
                      </a:lnTo>
                      <a:lnTo>
                        <a:pt x="2777" y="103545"/>
                      </a:lnTo>
                      <a:lnTo>
                        <a:pt x="8441" y="89381"/>
                      </a:lnTo>
                      <a:lnTo>
                        <a:pt x="21028" y="79599"/>
                      </a:lnTo>
                      <a:lnTo>
                        <a:pt x="17252" y="69393"/>
                      </a:lnTo>
                      <a:lnTo>
                        <a:pt x="6870" y="68064"/>
                      </a:lnTo>
                      <a:lnTo>
                        <a:pt x="4714" y="48058"/>
                      </a:lnTo>
                      <a:lnTo>
                        <a:pt x="10364" y="37250"/>
                      </a:lnTo>
                      <a:lnTo>
                        <a:pt x="16545" y="31482"/>
                      </a:lnTo>
                      <a:lnTo>
                        <a:pt x="22727" y="25704"/>
                      </a:lnTo>
                      <a:lnTo>
                        <a:pt x="23976" y="10949"/>
                      </a:lnTo>
                      <a:lnTo>
                        <a:pt x="31531" y="16101"/>
                      </a:lnTo>
                      <a:lnTo>
                        <a:pt x="56944" y="8730"/>
                      </a:lnTo>
                      <a:lnTo>
                        <a:pt x="69228" y="13721"/>
                      </a:lnTo>
                      <a:lnTo>
                        <a:pt x="88217" y="13638"/>
                      </a:lnTo>
                      <a:lnTo>
                        <a:pt x="114778" y="3684"/>
                      </a:lnTo>
                      <a:lnTo>
                        <a:pt x="127216" y="4134"/>
                      </a:lnTo>
                      <a:lnTo>
                        <a:pt x="153472" y="0"/>
                      </a:lnTo>
                      <a:lnTo>
                        <a:pt x="141642" y="16556"/>
                      </a:lnTo>
                      <a:lnTo>
                        <a:pt x="129007" y="23087"/>
                      </a:lnTo>
                      <a:lnTo>
                        <a:pt x="131183" y="42329"/>
                      </a:lnTo>
                      <a:lnTo>
                        <a:pt x="122462" y="73940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" name="Freeform 153">
                  <a:extLst>
                    <a:ext uri="{FF2B5EF4-FFF2-40B4-BE49-F238E27FC236}">
                      <a16:creationId xmlns:a16="http://schemas.microsoft.com/office/drawing/2014/main" id="{F7092DA3-62F8-4636-80BA-9EC423EA4D4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5"/>
                  </p:custDataLst>
                </p:nvPr>
              </p:nvSpPr>
              <p:spPr>
                <a:xfrm>
                  <a:off x="7251104" y="3999650"/>
                  <a:ext cx="256264" cy="40626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38826" h="378621">
                      <a:moveTo>
                        <a:pt x="22053" y="251808"/>
                      </a:moveTo>
                      <a:lnTo>
                        <a:pt x="24361" y="240752"/>
                      </a:lnTo>
                      <a:lnTo>
                        <a:pt x="9558" y="240211"/>
                      </a:lnTo>
                      <a:lnTo>
                        <a:pt x="9609" y="225088"/>
                      </a:lnTo>
                      <a:lnTo>
                        <a:pt x="0" y="216367"/>
                      </a:lnTo>
                      <a:lnTo>
                        <a:pt x="9966" y="185279"/>
                      </a:lnTo>
                      <a:lnTo>
                        <a:pt x="39410" y="162948"/>
                      </a:lnTo>
                      <a:lnTo>
                        <a:pt x="40626" y="132030"/>
                      </a:lnTo>
                      <a:lnTo>
                        <a:pt x="49521" y="83500"/>
                      </a:lnTo>
                      <a:lnTo>
                        <a:pt x="54541" y="73157"/>
                      </a:lnTo>
                      <a:lnTo>
                        <a:pt x="44936" y="64907"/>
                      </a:lnTo>
                      <a:lnTo>
                        <a:pt x="44565" y="57242"/>
                      </a:lnTo>
                      <a:lnTo>
                        <a:pt x="35928" y="50967"/>
                      </a:lnTo>
                      <a:lnTo>
                        <a:pt x="30259" y="13309"/>
                      </a:lnTo>
                      <a:lnTo>
                        <a:pt x="53562" y="0"/>
                      </a:lnTo>
                      <a:lnTo>
                        <a:pt x="145626" y="46460"/>
                      </a:lnTo>
                      <a:lnTo>
                        <a:pt x="237688" y="92538"/>
                      </a:lnTo>
                      <a:lnTo>
                        <a:pt x="238825" y="187018"/>
                      </a:lnTo>
                      <a:lnTo>
                        <a:pt x="218921" y="185365"/>
                      </a:lnTo>
                      <a:lnTo>
                        <a:pt x="208380" y="202761"/>
                      </a:lnTo>
                      <a:lnTo>
                        <a:pt x="202276" y="217316"/>
                      </a:lnTo>
                      <a:lnTo>
                        <a:pt x="207089" y="222817"/>
                      </a:lnTo>
                      <a:lnTo>
                        <a:pt x="199501" y="230033"/>
                      </a:lnTo>
                      <a:lnTo>
                        <a:pt x="202116" y="239768"/>
                      </a:lnTo>
                      <a:lnTo>
                        <a:pt x="196138" y="249555"/>
                      </a:lnTo>
                      <a:lnTo>
                        <a:pt x="193812" y="258169"/>
                      </a:lnTo>
                      <a:lnTo>
                        <a:pt x="201918" y="256812"/>
                      </a:lnTo>
                      <a:lnTo>
                        <a:pt x="206757" y="265854"/>
                      </a:lnTo>
                      <a:lnTo>
                        <a:pt x="207012" y="279452"/>
                      </a:lnTo>
                      <a:lnTo>
                        <a:pt x="215496" y="286345"/>
                      </a:lnTo>
                      <a:lnTo>
                        <a:pt x="215218" y="292005"/>
                      </a:lnTo>
                      <a:lnTo>
                        <a:pt x="200605" y="295989"/>
                      </a:lnTo>
                      <a:lnTo>
                        <a:pt x="188895" y="305440"/>
                      </a:lnTo>
                      <a:lnTo>
                        <a:pt x="172208" y="330874"/>
                      </a:lnTo>
                      <a:lnTo>
                        <a:pt x="150483" y="341657"/>
                      </a:lnTo>
                      <a:lnTo>
                        <a:pt x="128192" y="340211"/>
                      </a:lnTo>
                      <a:lnTo>
                        <a:pt x="121683" y="342350"/>
                      </a:lnTo>
                      <a:lnTo>
                        <a:pt x="123968" y="350538"/>
                      </a:lnTo>
                      <a:lnTo>
                        <a:pt x="111931" y="358663"/>
                      </a:lnTo>
                      <a:lnTo>
                        <a:pt x="102130" y="367733"/>
                      </a:lnTo>
                      <a:lnTo>
                        <a:pt x="73070" y="376615"/>
                      </a:lnTo>
                      <a:lnTo>
                        <a:pt x="67304" y="371358"/>
                      </a:lnTo>
                      <a:lnTo>
                        <a:pt x="63481" y="370905"/>
                      </a:lnTo>
                      <a:lnTo>
                        <a:pt x="59227" y="376876"/>
                      </a:lnTo>
                      <a:lnTo>
                        <a:pt x="40142" y="378620"/>
                      </a:lnTo>
                      <a:lnTo>
                        <a:pt x="43758" y="372332"/>
                      </a:lnTo>
                      <a:lnTo>
                        <a:pt x="36481" y="356320"/>
                      </a:lnTo>
                      <a:lnTo>
                        <a:pt x="33230" y="346696"/>
                      </a:lnTo>
                      <a:lnTo>
                        <a:pt x="23177" y="342747"/>
                      </a:lnTo>
                      <a:lnTo>
                        <a:pt x="9552" y="329162"/>
                      </a:lnTo>
                      <a:lnTo>
                        <a:pt x="14567" y="318167"/>
                      </a:lnTo>
                      <a:lnTo>
                        <a:pt x="25086" y="320508"/>
                      </a:lnTo>
                      <a:lnTo>
                        <a:pt x="31599" y="318849"/>
                      </a:lnTo>
                      <a:lnTo>
                        <a:pt x="44491" y="319077"/>
                      </a:lnTo>
                      <a:lnTo>
                        <a:pt x="31927" y="297870"/>
                      </a:lnTo>
                      <a:lnTo>
                        <a:pt x="32772" y="282347"/>
                      </a:lnTo>
                      <a:lnTo>
                        <a:pt x="31230" y="266819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" name="Freeform 154">
                  <a:extLst>
                    <a:ext uri="{FF2B5EF4-FFF2-40B4-BE49-F238E27FC236}">
                      <a16:creationId xmlns:a16="http://schemas.microsoft.com/office/drawing/2014/main" id="{B8C61BCC-A5FF-4490-B612-0AF9773C0F7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6"/>
                  </p:custDataLst>
                </p:nvPr>
              </p:nvSpPr>
              <p:spPr>
                <a:xfrm>
                  <a:off x="6914503" y="4316079"/>
                  <a:ext cx="47433" cy="12698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4205" h="118341">
                      <a:moveTo>
                        <a:pt x="44204" y="113398"/>
                      </a:moveTo>
                      <a:lnTo>
                        <a:pt x="25620" y="118340"/>
                      </a:lnTo>
                      <a:lnTo>
                        <a:pt x="20468" y="110205"/>
                      </a:lnTo>
                      <a:lnTo>
                        <a:pt x="14315" y="95499"/>
                      </a:lnTo>
                      <a:lnTo>
                        <a:pt x="12482" y="83960"/>
                      </a:lnTo>
                      <a:lnTo>
                        <a:pt x="17585" y="63043"/>
                      </a:lnTo>
                      <a:lnTo>
                        <a:pt x="11795" y="54564"/>
                      </a:lnTo>
                      <a:lnTo>
                        <a:pt x="9596" y="36233"/>
                      </a:lnTo>
                      <a:lnTo>
                        <a:pt x="9634" y="19311"/>
                      </a:lnTo>
                      <a:lnTo>
                        <a:pt x="0" y="7279"/>
                      </a:lnTo>
                      <a:lnTo>
                        <a:pt x="1699" y="0"/>
                      </a:lnTo>
                      <a:lnTo>
                        <a:pt x="21914" y="498"/>
                      </a:lnTo>
                      <a:lnTo>
                        <a:pt x="18977" y="12790"/>
                      </a:lnTo>
                      <a:lnTo>
                        <a:pt x="26028" y="19675"/>
                      </a:lnTo>
                      <a:lnTo>
                        <a:pt x="34044" y="27838"/>
                      </a:lnTo>
                      <a:lnTo>
                        <a:pt x="34920" y="39269"/>
                      </a:lnTo>
                      <a:lnTo>
                        <a:pt x="39570" y="44064"/>
                      </a:lnTo>
                      <a:lnTo>
                        <a:pt x="38519" y="97408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" name="Freeform 155">
                  <a:extLst>
                    <a:ext uri="{FF2B5EF4-FFF2-40B4-BE49-F238E27FC236}">
                      <a16:creationId xmlns:a16="http://schemas.microsoft.com/office/drawing/2014/main" id="{10C6B532-0D6E-44C1-9D83-058C0FCB0AB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7"/>
                  </p:custDataLst>
                </p:nvPr>
              </p:nvSpPr>
              <p:spPr>
                <a:xfrm>
                  <a:off x="9327547" y="4077369"/>
                  <a:ext cx="203424" cy="37159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89582" h="346306">
                      <a:moveTo>
                        <a:pt x="120238" y="195149"/>
                      </a:moveTo>
                      <a:lnTo>
                        <a:pt x="99515" y="184389"/>
                      </a:lnTo>
                      <a:lnTo>
                        <a:pt x="79772" y="184827"/>
                      </a:lnTo>
                      <a:lnTo>
                        <a:pt x="83157" y="166388"/>
                      </a:lnTo>
                      <a:lnTo>
                        <a:pt x="62828" y="166526"/>
                      </a:lnTo>
                      <a:lnTo>
                        <a:pt x="61004" y="192329"/>
                      </a:lnTo>
                      <a:lnTo>
                        <a:pt x="48543" y="226490"/>
                      </a:lnTo>
                      <a:lnTo>
                        <a:pt x="41037" y="247096"/>
                      </a:lnTo>
                      <a:lnTo>
                        <a:pt x="42622" y="263955"/>
                      </a:lnTo>
                      <a:lnTo>
                        <a:pt x="57659" y="264686"/>
                      </a:lnTo>
                      <a:lnTo>
                        <a:pt x="67026" y="285912"/>
                      </a:lnTo>
                      <a:lnTo>
                        <a:pt x="71172" y="306013"/>
                      </a:lnTo>
                      <a:lnTo>
                        <a:pt x="84053" y="319298"/>
                      </a:lnTo>
                      <a:lnTo>
                        <a:pt x="98036" y="321994"/>
                      </a:lnTo>
                      <a:lnTo>
                        <a:pt x="109995" y="334023"/>
                      </a:lnTo>
                      <a:lnTo>
                        <a:pt x="102449" y="343539"/>
                      </a:lnTo>
                      <a:lnTo>
                        <a:pt x="87214" y="346305"/>
                      </a:lnTo>
                      <a:lnTo>
                        <a:pt x="85397" y="334411"/>
                      </a:lnTo>
                      <a:lnTo>
                        <a:pt x="66563" y="324261"/>
                      </a:lnTo>
                      <a:lnTo>
                        <a:pt x="62550" y="328395"/>
                      </a:lnTo>
                      <a:lnTo>
                        <a:pt x="53431" y="319499"/>
                      </a:lnTo>
                      <a:lnTo>
                        <a:pt x="49483" y="308011"/>
                      </a:lnTo>
                      <a:lnTo>
                        <a:pt x="37218" y="294906"/>
                      </a:lnTo>
                      <a:lnTo>
                        <a:pt x="26035" y="283886"/>
                      </a:lnTo>
                      <a:lnTo>
                        <a:pt x="22246" y="297541"/>
                      </a:lnTo>
                      <a:lnTo>
                        <a:pt x="17868" y="284637"/>
                      </a:lnTo>
                      <a:lnTo>
                        <a:pt x="20388" y="270129"/>
                      </a:lnTo>
                      <a:lnTo>
                        <a:pt x="27183" y="247798"/>
                      </a:lnTo>
                      <a:lnTo>
                        <a:pt x="38369" y="223824"/>
                      </a:lnTo>
                      <a:lnTo>
                        <a:pt x="51045" y="202028"/>
                      </a:lnTo>
                      <a:lnTo>
                        <a:pt x="42020" y="180660"/>
                      </a:lnTo>
                      <a:lnTo>
                        <a:pt x="42382" y="169757"/>
                      </a:lnTo>
                      <a:lnTo>
                        <a:pt x="39745" y="156638"/>
                      </a:lnTo>
                      <a:lnTo>
                        <a:pt x="24350" y="137930"/>
                      </a:lnTo>
                      <a:lnTo>
                        <a:pt x="18840" y="126096"/>
                      </a:lnTo>
                      <a:lnTo>
                        <a:pt x="26810" y="121733"/>
                      </a:lnTo>
                      <a:lnTo>
                        <a:pt x="35257" y="101171"/>
                      </a:lnTo>
                      <a:lnTo>
                        <a:pt x="25803" y="85523"/>
                      </a:lnTo>
                      <a:lnTo>
                        <a:pt x="11154" y="68172"/>
                      </a:lnTo>
                      <a:lnTo>
                        <a:pt x="0" y="47259"/>
                      </a:lnTo>
                      <a:lnTo>
                        <a:pt x="9738" y="42922"/>
                      </a:lnTo>
                      <a:lnTo>
                        <a:pt x="20262" y="17045"/>
                      </a:lnTo>
                      <a:lnTo>
                        <a:pt x="36558" y="15971"/>
                      </a:lnTo>
                      <a:lnTo>
                        <a:pt x="50029" y="5560"/>
                      </a:lnTo>
                      <a:lnTo>
                        <a:pt x="63249" y="0"/>
                      </a:lnTo>
                      <a:lnTo>
                        <a:pt x="73241" y="7419"/>
                      </a:lnTo>
                      <a:lnTo>
                        <a:pt x="74566" y="21837"/>
                      </a:lnTo>
                      <a:lnTo>
                        <a:pt x="90163" y="22933"/>
                      </a:lnTo>
                      <a:lnTo>
                        <a:pt x="84483" y="48131"/>
                      </a:lnTo>
                      <a:lnTo>
                        <a:pt x="85029" y="69491"/>
                      </a:lnTo>
                      <a:lnTo>
                        <a:pt x="109359" y="55282"/>
                      </a:lnTo>
                      <a:lnTo>
                        <a:pt x="116269" y="59485"/>
                      </a:lnTo>
                      <a:lnTo>
                        <a:pt x="129789" y="58796"/>
                      </a:lnTo>
                      <a:lnTo>
                        <a:pt x="134440" y="50500"/>
                      </a:lnTo>
                      <a:lnTo>
                        <a:pt x="151897" y="52138"/>
                      </a:lnTo>
                      <a:lnTo>
                        <a:pt x="169451" y="71480"/>
                      </a:lnTo>
                      <a:lnTo>
                        <a:pt x="170891" y="94915"/>
                      </a:lnTo>
                      <a:lnTo>
                        <a:pt x="189581" y="115546"/>
                      </a:lnTo>
                      <a:lnTo>
                        <a:pt x="188549" y="135528"/>
                      </a:lnTo>
                      <a:lnTo>
                        <a:pt x="181034" y="146149"/>
                      </a:lnTo>
                      <a:lnTo>
                        <a:pt x="159398" y="142768"/>
                      </a:lnTo>
                      <a:lnTo>
                        <a:pt x="129551" y="147267"/>
                      </a:lnTo>
                      <a:lnTo>
                        <a:pt x="114772" y="166822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" name="Freeform 156">
                  <a:extLst>
                    <a:ext uri="{FF2B5EF4-FFF2-40B4-BE49-F238E27FC236}">
                      <a16:creationId xmlns:a16="http://schemas.microsoft.com/office/drawing/2014/main" id="{C7F9931B-EF80-4BAE-B071-0B30D35D09E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8"/>
                  </p:custDataLst>
                </p:nvPr>
              </p:nvSpPr>
              <p:spPr>
                <a:xfrm>
                  <a:off x="8586148" y="3515260"/>
                  <a:ext cx="186697" cy="12213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3993" h="113820">
                      <a:moveTo>
                        <a:pt x="82451" y="19589"/>
                      </a:moveTo>
                      <a:lnTo>
                        <a:pt x="73999" y="27995"/>
                      </a:lnTo>
                      <a:lnTo>
                        <a:pt x="48875" y="23437"/>
                      </a:lnTo>
                      <a:lnTo>
                        <a:pt x="46689" y="39103"/>
                      </a:lnTo>
                      <a:lnTo>
                        <a:pt x="71717" y="37002"/>
                      </a:lnTo>
                      <a:lnTo>
                        <a:pt x="100236" y="45798"/>
                      </a:lnTo>
                      <a:lnTo>
                        <a:pt x="143878" y="41690"/>
                      </a:lnTo>
                      <a:lnTo>
                        <a:pt x="149729" y="66657"/>
                      </a:lnTo>
                      <a:lnTo>
                        <a:pt x="157316" y="63950"/>
                      </a:lnTo>
                      <a:lnTo>
                        <a:pt x="171334" y="70067"/>
                      </a:lnTo>
                      <a:lnTo>
                        <a:pt x="170530" y="80489"/>
                      </a:lnTo>
                      <a:lnTo>
                        <a:pt x="173992" y="95707"/>
                      </a:lnTo>
                      <a:lnTo>
                        <a:pt x="150187" y="95665"/>
                      </a:lnTo>
                      <a:lnTo>
                        <a:pt x="134291" y="93702"/>
                      </a:lnTo>
                      <a:lnTo>
                        <a:pt x="119907" y="105613"/>
                      </a:lnTo>
                      <a:lnTo>
                        <a:pt x="109662" y="108248"/>
                      </a:lnTo>
                      <a:lnTo>
                        <a:pt x="101620" y="113819"/>
                      </a:lnTo>
                      <a:lnTo>
                        <a:pt x="92480" y="105132"/>
                      </a:lnTo>
                      <a:lnTo>
                        <a:pt x="94632" y="82742"/>
                      </a:lnTo>
                      <a:lnTo>
                        <a:pt x="87650" y="81472"/>
                      </a:lnTo>
                      <a:lnTo>
                        <a:pt x="90159" y="73285"/>
                      </a:lnTo>
                      <a:lnTo>
                        <a:pt x="77664" y="67182"/>
                      </a:lnTo>
                      <a:lnTo>
                        <a:pt x="67727" y="76516"/>
                      </a:lnTo>
                      <a:lnTo>
                        <a:pt x="65286" y="87302"/>
                      </a:lnTo>
                      <a:lnTo>
                        <a:pt x="61732" y="91223"/>
                      </a:lnTo>
                      <a:lnTo>
                        <a:pt x="47933" y="90669"/>
                      </a:lnTo>
                      <a:lnTo>
                        <a:pt x="40489" y="102861"/>
                      </a:lnTo>
                      <a:lnTo>
                        <a:pt x="32714" y="97722"/>
                      </a:lnTo>
                      <a:lnTo>
                        <a:pt x="16004" y="106262"/>
                      </a:lnTo>
                      <a:lnTo>
                        <a:pt x="8951" y="103024"/>
                      </a:lnTo>
                      <a:lnTo>
                        <a:pt x="21925" y="76017"/>
                      </a:lnTo>
                      <a:lnTo>
                        <a:pt x="16938" y="56004"/>
                      </a:lnTo>
                      <a:lnTo>
                        <a:pt x="0" y="49564"/>
                      </a:lnTo>
                      <a:lnTo>
                        <a:pt x="5984" y="37645"/>
                      </a:lnTo>
                      <a:lnTo>
                        <a:pt x="25257" y="38920"/>
                      </a:lnTo>
                      <a:lnTo>
                        <a:pt x="36227" y="23901"/>
                      </a:lnTo>
                      <a:lnTo>
                        <a:pt x="43564" y="6373"/>
                      </a:lnTo>
                      <a:lnTo>
                        <a:pt x="74428" y="0"/>
                      </a:lnTo>
                      <a:lnTo>
                        <a:pt x="69616" y="12704"/>
                      </a:lnTo>
                      <a:lnTo>
                        <a:pt x="72923" y="2029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" name="Freeform 157">
                  <a:extLst>
                    <a:ext uri="{FF2B5EF4-FFF2-40B4-BE49-F238E27FC236}">
                      <a16:creationId xmlns:a16="http://schemas.microsoft.com/office/drawing/2014/main" id="{B77458CE-1DDA-4761-B903-0D56A4CCD64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9"/>
                  </p:custDataLst>
                </p:nvPr>
              </p:nvSpPr>
              <p:spPr>
                <a:xfrm>
                  <a:off x="8216120" y="3462061"/>
                  <a:ext cx="347836" cy="21681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24167" h="202057">
                      <a:moveTo>
                        <a:pt x="201012" y="192103"/>
                      </a:moveTo>
                      <a:lnTo>
                        <a:pt x="198987" y="169924"/>
                      </a:lnTo>
                      <a:lnTo>
                        <a:pt x="181780" y="168978"/>
                      </a:lnTo>
                      <a:lnTo>
                        <a:pt x="155399" y="145473"/>
                      </a:lnTo>
                      <a:lnTo>
                        <a:pt x="136965" y="142560"/>
                      </a:lnTo>
                      <a:lnTo>
                        <a:pt x="111442" y="129018"/>
                      </a:lnTo>
                      <a:lnTo>
                        <a:pt x="95029" y="126550"/>
                      </a:lnTo>
                      <a:lnTo>
                        <a:pt x="84896" y="131536"/>
                      </a:lnTo>
                      <a:lnTo>
                        <a:pt x="69458" y="130761"/>
                      </a:lnTo>
                      <a:lnTo>
                        <a:pt x="53040" y="146020"/>
                      </a:lnTo>
                      <a:lnTo>
                        <a:pt x="32757" y="151170"/>
                      </a:lnTo>
                      <a:lnTo>
                        <a:pt x="28462" y="132312"/>
                      </a:lnTo>
                      <a:lnTo>
                        <a:pt x="31818" y="104220"/>
                      </a:lnTo>
                      <a:lnTo>
                        <a:pt x="13816" y="95076"/>
                      </a:lnTo>
                      <a:lnTo>
                        <a:pt x="19743" y="76499"/>
                      </a:lnTo>
                      <a:lnTo>
                        <a:pt x="4421" y="74910"/>
                      </a:lnTo>
                      <a:lnTo>
                        <a:pt x="9528" y="51876"/>
                      </a:lnTo>
                      <a:lnTo>
                        <a:pt x="31293" y="58602"/>
                      </a:lnTo>
                      <a:lnTo>
                        <a:pt x="51575" y="49832"/>
                      </a:lnTo>
                      <a:lnTo>
                        <a:pt x="34759" y="33313"/>
                      </a:lnTo>
                      <a:lnTo>
                        <a:pt x="28144" y="17485"/>
                      </a:lnTo>
                      <a:lnTo>
                        <a:pt x="9562" y="24554"/>
                      </a:lnTo>
                      <a:lnTo>
                        <a:pt x="7207" y="44767"/>
                      </a:lnTo>
                      <a:lnTo>
                        <a:pt x="0" y="26900"/>
                      </a:lnTo>
                      <a:lnTo>
                        <a:pt x="10198" y="17684"/>
                      </a:lnTo>
                      <a:lnTo>
                        <a:pt x="36400" y="11905"/>
                      </a:lnTo>
                      <a:lnTo>
                        <a:pt x="52003" y="19682"/>
                      </a:lnTo>
                      <a:lnTo>
                        <a:pt x="68158" y="41343"/>
                      </a:lnTo>
                      <a:lnTo>
                        <a:pt x="79998" y="40000"/>
                      </a:lnTo>
                      <a:lnTo>
                        <a:pt x="106040" y="39623"/>
                      </a:lnTo>
                      <a:lnTo>
                        <a:pt x="102250" y="25718"/>
                      </a:lnTo>
                      <a:lnTo>
                        <a:pt x="121970" y="16171"/>
                      </a:lnTo>
                      <a:lnTo>
                        <a:pt x="141417" y="0"/>
                      </a:lnTo>
                      <a:lnTo>
                        <a:pt x="172519" y="14712"/>
                      </a:lnTo>
                      <a:lnTo>
                        <a:pt x="174986" y="36790"/>
                      </a:lnTo>
                      <a:lnTo>
                        <a:pt x="183819" y="42431"/>
                      </a:lnTo>
                      <a:lnTo>
                        <a:pt x="208776" y="41164"/>
                      </a:lnTo>
                      <a:lnTo>
                        <a:pt x="216521" y="46156"/>
                      </a:lnTo>
                      <a:lnTo>
                        <a:pt x="227867" y="74359"/>
                      </a:lnTo>
                      <a:lnTo>
                        <a:pt x="254268" y="93110"/>
                      </a:lnTo>
                      <a:lnTo>
                        <a:pt x="269323" y="105829"/>
                      </a:lnTo>
                      <a:lnTo>
                        <a:pt x="293462" y="119006"/>
                      </a:lnTo>
                      <a:lnTo>
                        <a:pt x="324166" y="130478"/>
                      </a:lnTo>
                      <a:lnTo>
                        <a:pt x="323530" y="146810"/>
                      </a:lnTo>
                      <a:lnTo>
                        <a:pt x="316577" y="145984"/>
                      </a:lnTo>
                      <a:lnTo>
                        <a:pt x="305687" y="138856"/>
                      </a:lnTo>
                      <a:lnTo>
                        <a:pt x="302071" y="148342"/>
                      </a:lnTo>
                      <a:lnTo>
                        <a:pt x="282616" y="153485"/>
                      </a:lnTo>
                      <a:lnTo>
                        <a:pt x="278008" y="174668"/>
                      </a:lnTo>
                      <a:lnTo>
                        <a:pt x="264999" y="182688"/>
                      </a:lnTo>
                      <a:lnTo>
                        <a:pt x="246779" y="186658"/>
                      </a:lnTo>
                      <a:lnTo>
                        <a:pt x="241957" y="198561"/>
                      </a:lnTo>
                      <a:lnTo>
                        <a:pt x="224552" y="20205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" name="Freeform 158">
                  <a:extLst>
                    <a:ext uri="{FF2B5EF4-FFF2-40B4-BE49-F238E27FC236}">
                      <a16:creationId xmlns:a16="http://schemas.microsoft.com/office/drawing/2014/main" id="{F25C09C0-5B1B-4B27-9B8F-51ECC096CA6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0"/>
                  </p:custDataLst>
                </p:nvPr>
              </p:nvSpPr>
              <p:spPr>
                <a:xfrm>
                  <a:off x="10010967" y="4795445"/>
                  <a:ext cx="58633" cy="2795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4643" h="26048">
                      <a:moveTo>
                        <a:pt x="0" y="14402"/>
                      </a:moveTo>
                      <a:lnTo>
                        <a:pt x="2714" y="8915"/>
                      </a:lnTo>
                      <a:lnTo>
                        <a:pt x="22584" y="3689"/>
                      </a:lnTo>
                      <a:lnTo>
                        <a:pt x="38688" y="2902"/>
                      </a:lnTo>
                      <a:lnTo>
                        <a:pt x="45901" y="0"/>
                      </a:lnTo>
                      <a:lnTo>
                        <a:pt x="54642" y="2881"/>
                      </a:lnTo>
                      <a:lnTo>
                        <a:pt x="46150" y="9179"/>
                      </a:lnTo>
                      <a:lnTo>
                        <a:pt x="22095" y="19362"/>
                      </a:lnTo>
                      <a:lnTo>
                        <a:pt x="2767" y="26047"/>
                      </a:lnTo>
                      <a:lnTo>
                        <a:pt x="2339" y="18989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" name="Freeform 159">
                  <a:extLst>
                    <a:ext uri="{FF2B5EF4-FFF2-40B4-BE49-F238E27FC236}">
                      <a16:creationId xmlns:a16="http://schemas.microsoft.com/office/drawing/2014/main" id="{D979C506-1105-48D1-BC25-99337CF107E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1"/>
                  </p:custDataLst>
                </p:nvPr>
              </p:nvSpPr>
              <p:spPr>
                <a:xfrm>
                  <a:off x="7102102" y="3619956"/>
                  <a:ext cx="98188" cy="19599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1507" h="182659">
                      <a:moveTo>
                        <a:pt x="45188" y="182658"/>
                      </a:moveTo>
                      <a:lnTo>
                        <a:pt x="35342" y="136950"/>
                      </a:lnTo>
                      <a:lnTo>
                        <a:pt x="21112" y="126598"/>
                      </a:lnTo>
                      <a:lnTo>
                        <a:pt x="20912" y="120377"/>
                      </a:lnTo>
                      <a:lnTo>
                        <a:pt x="2034" y="105018"/>
                      </a:lnTo>
                      <a:lnTo>
                        <a:pt x="0" y="85508"/>
                      </a:lnTo>
                      <a:lnTo>
                        <a:pt x="14230" y="70993"/>
                      </a:lnTo>
                      <a:lnTo>
                        <a:pt x="19664" y="49421"/>
                      </a:lnTo>
                      <a:lnTo>
                        <a:pt x="16004" y="24318"/>
                      </a:lnTo>
                      <a:lnTo>
                        <a:pt x="20693" y="10727"/>
                      </a:lnTo>
                      <a:lnTo>
                        <a:pt x="45831" y="0"/>
                      </a:lnTo>
                      <a:lnTo>
                        <a:pt x="61989" y="3193"/>
                      </a:lnTo>
                      <a:lnTo>
                        <a:pt x="61311" y="16623"/>
                      </a:lnTo>
                      <a:lnTo>
                        <a:pt x="80890" y="6859"/>
                      </a:lnTo>
                      <a:lnTo>
                        <a:pt x="82533" y="11958"/>
                      </a:lnTo>
                      <a:lnTo>
                        <a:pt x="70991" y="24931"/>
                      </a:lnTo>
                      <a:lnTo>
                        <a:pt x="70836" y="37132"/>
                      </a:lnTo>
                      <a:lnTo>
                        <a:pt x="78828" y="43668"/>
                      </a:lnTo>
                      <a:lnTo>
                        <a:pt x="75788" y="66339"/>
                      </a:lnTo>
                      <a:lnTo>
                        <a:pt x="60594" y="79441"/>
                      </a:lnTo>
                      <a:lnTo>
                        <a:pt x="64981" y="93593"/>
                      </a:lnTo>
                      <a:lnTo>
                        <a:pt x="76919" y="94033"/>
                      </a:lnTo>
                      <a:lnTo>
                        <a:pt x="82728" y="106330"/>
                      </a:lnTo>
                      <a:lnTo>
                        <a:pt x="91506" y="110365"/>
                      </a:lnTo>
                      <a:lnTo>
                        <a:pt x="90202" y="130125"/>
                      </a:lnTo>
                      <a:lnTo>
                        <a:pt x="78950" y="137484"/>
                      </a:lnTo>
                      <a:lnTo>
                        <a:pt x="71843" y="145681"/>
                      </a:lnTo>
                      <a:lnTo>
                        <a:pt x="55992" y="155515"/>
                      </a:lnTo>
                      <a:lnTo>
                        <a:pt x="58447" y="166060"/>
                      </a:lnTo>
                      <a:lnTo>
                        <a:pt x="56449" y="17678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Freeform 160">
                  <a:extLst>
                    <a:ext uri="{FF2B5EF4-FFF2-40B4-BE49-F238E27FC236}">
                      <a16:creationId xmlns:a16="http://schemas.microsoft.com/office/drawing/2014/main" id="{7194ACE1-498F-4289-9FFD-D76B97E4D41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2"/>
                  </p:custDataLst>
                </p:nvPr>
              </p:nvSpPr>
              <p:spPr>
                <a:xfrm>
                  <a:off x="7560778" y="3480278"/>
                  <a:ext cx="464417" cy="1830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2815" h="170618">
                      <a:moveTo>
                        <a:pt x="210614" y="2808"/>
                      </a:moveTo>
                      <a:lnTo>
                        <a:pt x="250903" y="22286"/>
                      </a:lnTo>
                      <a:lnTo>
                        <a:pt x="284016" y="32921"/>
                      </a:lnTo>
                      <a:lnTo>
                        <a:pt x="310906" y="28686"/>
                      </a:lnTo>
                      <a:lnTo>
                        <a:pt x="330776" y="31134"/>
                      </a:lnTo>
                      <a:lnTo>
                        <a:pt x="358029" y="16764"/>
                      </a:lnTo>
                      <a:lnTo>
                        <a:pt x="382623" y="15452"/>
                      </a:lnTo>
                      <a:lnTo>
                        <a:pt x="404856" y="28978"/>
                      </a:lnTo>
                      <a:lnTo>
                        <a:pt x="408778" y="38635"/>
                      </a:lnTo>
                      <a:lnTo>
                        <a:pt x="406557" y="51939"/>
                      </a:lnTo>
                      <a:lnTo>
                        <a:pt x="423721" y="58712"/>
                      </a:lnTo>
                      <a:lnTo>
                        <a:pt x="432815" y="66650"/>
                      </a:lnTo>
                      <a:lnTo>
                        <a:pt x="417008" y="74375"/>
                      </a:lnTo>
                      <a:lnTo>
                        <a:pt x="424214" y="105286"/>
                      </a:lnTo>
                      <a:lnTo>
                        <a:pt x="419698" y="113583"/>
                      </a:lnTo>
                      <a:lnTo>
                        <a:pt x="432323" y="134949"/>
                      </a:lnTo>
                      <a:lnTo>
                        <a:pt x="421261" y="139436"/>
                      </a:lnTo>
                      <a:lnTo>
                        <a:pt x="413154" y="132667"/>
                      </a:lnTo>
                      <a:lnTo>
                        <a:pt x="386306" y="129233"/>
                      </a:lnTo>
                      <a:lnTo>
                        <a:pt x="376391" y="133368"/>
                      </a:lnTo>
                      <a:lnTo>
                        <a:pt x="350135" y="137502"/>
                      </a:lnTo>
                      <a:lnTo>
                        <a:pt x="337697" y="137052"/>
                      </a:lnTo>
                      <a:lnTo>
                        <a:pt x="311136" y="147006"/>
                      </a:lnTo>
                      <a:lnTo>
                        <a:pt x="292147" y="147089"/>
                      </a:lnTo>
                      <a:lnTo>
                        <a:pt x="279863" y="142098"/>
                      </a:lnTo>
                      <a:lnTo>
                        <a:pt x="254450" y="149469"/>
                      </a:lnTo>
                      <a:lnTo>
                        <a:pt x="246895" y="144317"/>
                      </a:lnTo>
                      <a:lnTo>
                        <a:pt x="245646" y="159072"/>
                      </a:lnTo>
                      <a:lnTo>
                        <a:pt x="239464" y="164850"/>
                      </a:lnTo>
                      <a:lnTo>
                        <a:pt x="233283" y="170618"/>
                      </a:lnTo>
                      <a:lnTo>
                        <a:pt x="224796" y="158668"/>
                      </a:lnTo>
                      <a:lnTo>
                        <a:pt x="233538" y="148739"/>
                      </a:lnTo>
                      <a:lnTo>
                        <a:pt x="219460" y="150993"/>
                      </a:lnTo>
                      <a:lnTo>
                        <a:pt x="200154" y="144900"/>
                      </a:lnTo>
                      <a:lnTo>
                        <a:pt x="184281" y="160121"/>
                      </a:lnTo>
                      <a:lnTo>
                        <a:pt x="149248" y="163085"/>
                      </a:lnTo>
                      <a:lnTo>
                        <a:pt x="130561" y="148907"/>
                      </a:lnTo>
                      <a:lnTo>
                        <a:pt x="105678" y="148018"/>
                      </a:lnTo>
                      <a:lnTo>
                        <a:pt x="100357" y="158986"/>
                      </a:lnTo>
                      <a:lnTo>
                        <a:pt x="84404" y="162115"/>
                      </a:lnTo>
                      <a:lnTo>
                        <a:pt x="62082" y="148045"/>
                      </a:lnTo>
                      <a:lnTo>
                        <a:pt x="36882" y="148522"/>
                      </a:lnTo>
                      <a:lnTo>
                        <a:pt x="23208" y="122086"/>
                      </a:lnTo>
                      <a:lnTo>
                        <a:pt x="6344" y="107248"/>
                      </a:lnTo>
                      <a:lnTo>
                        <a:pt x="17574" y="86334"/>
                      </a:lnTo>
                      <a:lnTo>
                        <a:pt x="2941" y="73414"/>
                      </a:lnTo>
                      <a:lnTo>
                        <a:pt x="28545" y="47395"/>
                      </a:lnTo>
                      <a:lnTo>
                        <a:pt x="64091" y="46302"/>
                      </a:lnTo>
                      <a:lnTo>
                        <a:pt x="73787" y="25462"/>
                      </a:lnTo>
                      <a:lnTo>
                        <a:pt x="117781" y="29102"/>
                      </a:lnTo>
                      <a:lnTo>
                        <a:pt x="145528" y="11223"/>
                      </a:lnTo>
                      <a:lnTo>
                        <a:pt x="172426" y="3398"/>
                      </a:lnTo>
                      <a:close/>
                      <a:moveTo>
                        <a:pt x="25215" y="0"/>
                      </a:moveTo>
                      <a:lnTo>
                        <a:pt x="45089" y="3719"/>
                      </a:lnTo>
                      <a:lnTo>
                        <a:pt x="47831" y="14356"/>
                      </a:lnTo>
                      <a:lnTo>
                        <a:pt x="67980" y="23262"/>
                      </a:lnTo>
                      <a:lnTo>
                        <a:pt x="63779" y="29999"/>
                      </a:lnTo>
                      <a:lnTo>
                        <a:pt x="36370" y="31514"/>
                      </a:lnTo>
                      <a:lnTo>
                        <a:pt x="26522" y="39995"/>
                      </a:lnTo>
                      <a:lnTo>
                        <a:pt x="7263" y="54708"/>
                      </a:lnTo>
                      <a:lnTo>
                        <a:pt x="0" y="41988"/>
                      </a:lnTo>
                      <a:lnTo>
                        <a:pt x="313" y="36335"/>
                      </a:lnTo>
                      <a:lnTo>
                        <a:pt x="5799" y="33259"/>
                      </a:lnTo>
                      <a:lnTo>
                        <a:pt x="12945" y="16034"/>
                      </a:lnTo>
                      <a:lnTo>
                        <a:pt x="1701" y="8716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" name="Freeform 161">
                  <a:extLst>
                    <a:ext uri="{FF2B5EF4-FFF2-40B4-BE49-F238E27FC236}">
                      <a16:creationId xmlns:a16="http://schemas.microsoft.com/office/drawing/2014/main" id="{19BFDCAA-DF8D-497B-B4E7-D74F5209887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3"/>
                  </p:custDataLst>
                </p:nvPr>
              </p:nvSpPr>
              <p:spPr>
                <a:xfrm>
                  <a:off x="9890531" y="3950105"/>
                  <a:ext cx="45700" cy="870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2590" h="81135">
                      <a:moveTo>
                        <a:pt x="38586" y="22120"/>
                      </a:moveTo>
                      <a:lnTo>
                        <a:pt x="24686" y="61235"/>
                      </a:lnTo>
                      <a:lnTo>
                        <a:pt x="14794" y="81134"/>
                      </a:lnTo>
                      <a:lnTo>
                        <a:pt x="2630" y="60652"/>
                      </a:lnTo>
                      <a:lnTo>
                        <a:pt x="0" y="42601"/>
                      </a:lnTo>
                      <a:lnTo>
                        <a:pt x="13585" y="18588"/>
                      </a:lnTo>
                      <a:lnTo>
                        <a:pt x="32059" y="0"/>
                      </a:lnTo>
                      <a:lnTo>
                        <a:pt x="42589" y="7323"/>
                      </a:lnTo>
                      <a:close/>
                    </a:path>
                  </a:pathLst>
                </a:custGeom>
                <a:solidFill>
                  <a:srgbClr val="7A162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Freeform 162">
                  <a:extLst>
                    <a:ext uri="{FF2B5EF4-FFF2-40B4-BE49-F238E27FC236}">
                      <a16:creationId xmlns:a16="http://schemas.microsoft.com/office/drawing/2014/main" id="{7196BA88-1054-4C75-A662-3B554600528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4"/>
                  </p:custDataLst>
                </p:nvPr>
              </p:nvSpPr>
              <p:spPr>
                <a:xfrm>
                  <a:off x="7642430" y="4613602"/>
                  <a:ext cx="271870" cy="26808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53370" h="249838">
                      <a:moveTo>
                        <a:pt x="105343" y="0"/>
                      </a:moveTo>
                      <a:lnTo>
                        <a:pt x="109242" y="2535"/>
                      </a:lnTo>
                      <a:lnTo>
                        <a:pt x="192941" y="49580"/>
                      </a:lnTo>
                      <a:lnTo>
                        <a:pt x="194516" y="62985"/>
                      </a:lnTo>
                      <a:lnTo>
                        <a:pt x="227647" y="86100"/>
                      </a:lnTo>
                      <a:lnTo>
                        <a:pt x="216990" y="114620"/>
                      </a:lnTo>
                      <a:lnTo>
                        <a:pt x="218357" y="127750"/>
                      </a:lnTo>
                      <a:lnTo>
                        <a:pt x="233135" y="136197"/>
                      </a:lnTo>
                      <a:lnTo>
                        <a:pt x="233828" y="142227"/>
                      </a:lnTo>
                      <a:lnTo>
                        <a:pt x="227473" y="156241"/>
                      </a:lnTo>
                      <a:lnTo>
                        <a:pt x="228796" y="163299"/>
                      </a:lnTo>
                      <a:lnTo>
                        <a:pt x="227284" y="174399"/>
                      </a:lnTo>
                      <a:lnTo>
                        <a:pt x="235345" y="188978"/>
                      </a:lnTo>
                      <a:lnTo>
                        <a:pt x="244898" y="211945"/>
                      </a:lnTo>
                      <a:lnTo>
                        <a:pt x="253369" y="217045"/>
                      </a:lnTo>
                      <a:lnTo>
                        <a:pt x="235005" y="230576"/>
                      </a:lnTo>
                      <a:lnTo>
                        <a:pt x="209765" y="239648"/>
                      </a:lnTo>
                      <a:lnTo>
                        <a:pt x="195918" y="239264"/>
                      </a:lnTo>
                      <a:lnTo>
                        <a:pt x="187692" y="246277"/>
                      </a:lnTo>
                      <a:lnTo>
                        <a:pt x="171623" y="246880"/>
                      </a:lnTo>
                      <a:lnTo>
                        <a:pt x="165597" y="249837"/>
                      </a:lnTo>
                      <a:lnTo>
                        <a:pt x="137859" y="243247"/>
                      </a:lnTo>
                      <a:lnTo>
                        <a:pt x="120492" y="245138"/>
                      </a:lnTo>
                      <a:lnTo>
                        <a:pt x="114029" y="213381"/>
                      </a:lnTo>
                      <a:lnTo>
                        <a:pt x="106200" y="202513"/>
                      </a:lnTo>
                      <a:lnTo>
                        <a:pt x="101557" y="196073"/>
                      </a:lnTo>
                      <a:lnTo>
                        <a:pt x="78929" y="191730"/>
                      </a:lnTo>
                      <a:lnTo>
                        <a:pt x="65829" y="184744"/>
                      </a:lnTo>
                      <a:lnTo>
                        <a:pt x="51159" y="180829"/>
                      </a:lnTo>
                      <a:lnTo>
                        <a:pt x="41959" y="176934"/>
                      </a:lnTo>
                      <a:lnTo>
                        <a:pt x="32316" y="171016"/>
                      </a:lnTo>
                      <a:lnTo>
                        <a:pt x="19852" y="141763"/>
                      </a:lnTo>
                      <a:lnTo>
                        <a:pt x="6463" y="128778"/>
                      </a:lnTo>
                      <a:lnTo>
                        <a:pt x="1846" y="115339"/>
                      </a:lnTo>
                      <a:lnTo>
                        <a:pt x="4155" y="103298"/>
                      </a:lnTo>
                      <a:lnTo>
                        <a:pt x="0" y="82011"/>
                      </a:lnTo>
                      <a:lnTo>
                        <a:pt x="9545" y="80910"/>
                      </a:lnTo>
                      <a:lnTo>
                        <a:pt x="17920" y="72533"/>
                      </a:lnTo>
                      <a:lnTo>
                        <a:pt x="26904" y="60477"/>
                      </a:lnTo>
                      <a:lnTo>
                        <a:pt x="32598" y="55641"/>
                      </a:lnTo>
                      <a:lnTo>
                        <a:pt x="32385" y="48132"/>
                      </a:lnTo>
                      <a:lnTo>
                        <a:pt x="27415" y="42894"/>
                      </a:lnTo>
                      <a:lnTo>
                        <a:pt x="26076" y="33799"/>
                      </a:lnTo>
                      <a:lnTo>
                        <a:pt x="32739" y="30875"/>
                      </a:lnTo>
                      <a:lnTo>
                        <a:pt x="34074" y="17290"/>
                      </a:lnTo>
                      <a:lnTo>
                        <a:pt x="24909" y="4263"/>
                      </a:lnTo>
                      <a:lnTo>
                        <a:pt x="33005" y="1490"/>
                      </a:lnTo>
                      <a:lnTo>
                        <a:pt x="58311" y="178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6" name="Freeform 163">
                  <a:extLst>
                    <a:ext uri="{FF2B5EF4-FFF2-40B4-BE49-F238E27FC236}">
                      <a16:creationId xmlns:a16="http://schemas.microsoft.com/office/drawing/2014/main" id="{6EAEC0CB-6D30-456E-B34D-4D0D1B2C7BC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5"/>
                  </p:custDataLst>
                </p:nvPr>
              </p:nvSpPr>
              <p:spPr>
                <a:xfrm>
                  <a:off x="7648361" y="4484748"/>
                  <a:ext cx="135148" cy="1410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5952" h="131476">
                      <a:moveTo>
                        <a:pt x="52783" y="121872"/>
                      </a:moveTo>
                      <a:lnTo>
                        <a:pt x="27477" y="121576"/>
                      </a:lnTo>
                      <a:lnTo>
                        <a:pt x="19381" y="124349"/>
                      </a:lnTo>
                      <a:lnTo>
                        <a:pt x="5587" y="131475"/>
                      </a:lnTo>
                      <a:lnTo>
                        <a:pt x="0" y="129119"/>
                      </a:lnTo>
                      <a:lnTo>
                        <a:pt x="193" y="111716"/>
                      </a:lnTo>
                      <a:lnTo>
                        <a:pt x="5540" y="102895"/>
                      </a:lnTo>
                      <a:lnTo>
                        <a:pt x="6839" y="84367"/>
                      </a:lnTo>
                      <a:lnTo>
                        <a:pt x="11695" y="73635"/>
                      </a:lnTo>
                      <a:lnTo>
                        <a:pt x="20521" y="61595"/>
                      </a:lnTo>
                      <a:lnTo>
                        <a:pt x="29388" y="55463"/>
                      </a:lnTo>
                      <a:lnTo>
                        <a:pt x="36809" y="47263"/>
                      </a:lnTo>
                      <a:lnTo>
                        <a:pt x="27557" y="44136"/>
                      </a:lnTo>
                      <a:lnTo>
                        <a:pt x="28954" y="17123"/>
                      </a:lnTo>
                      <a:lnTo>
                        <a:pt x="38458" y="10820"/>
                      </a:lnTo>
                      <a:lnTo>
                        <a:pt x="53135" y="15988"/>
                      </a:lnTo>
                      <a:lnTo>
                        <a:pt x="71717" y="10579"/>
                      </a:lnTo>
                      <a:lnTo>
                        <a:pt x="87957" y="10632"/>
                      </a:lnTo>
                      <a:lnTo>
                        <a:pt x="102153" y="0"/>
                      </a:lnTo>
                      <a:lnTo>
                        <a:pt x="113097" y="16050"/>
                      </a:lnTo>
                      <a:lnTo>
                        <a:pt x="115796" y="27647"/>
                      </a:lnTo>
                      <a:lnTo>
                        <a:pt x="125951" y="54160"/>
                      </a:lnTo>
                      <a:lnTo>
                        <a:pt x="117551" y="70988"/>
                      </a:lnTo>
                      <a:lnTo>
                        <a:pt x="106192" y="86269"/>
                      </a:lnTo>
                      <a:lnTo>
                        <a:pt x="99581" y="95622"/>
                      </a:lnTo>
                      <a:lnTo>
                        <a:pt x="99815" y="120086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7" name="Freeform 164">
                  <a:extLst>
                    <a:ext uri="{FF2B5EF4-FFF2-40B4-BE49-F238E27FC236}">
                      <a16:creationId xmlns:a16="http://schemas.microsoft.com/office/drawing/2014/main" id="{2F73A7C0-6D60-4A2D-8B35-930E02D2987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6"/>
                  </p:custDataLst>
                </p:nvPr>
              </p:nvSpPr>
              <p:spPr>
                <a:xfrm>
                  <a:off x="7462752" y="3160197"/>
                  <a:ext cx="445707" cy="25327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15378" h="236043">
                      <a:moveTo>
                        <a:pt x="223911" y="7224"/>
                      </a:moveTo>
                      <a:lnTo>
                        <a:pt x="232531" y="8473"/>
                      </a:lnTo>
                      <a:lnTo>
                        <a:pt x="238363" y="1437"/>
                      </a:lnTo>
                      <a:lnTo>
                        <a:pt x="245373" y="2993"/>
                      </a:lnTo>
                      <a:lnTo>
                        <a:pt x="269308" y="0"/>
                      </a:lnTo>
                      <a:lnTo>
                        <a:pt x="284059" y="17488"/>
                      </a:lnTo>
                      <a:lnTo>
                        <a:pt x="278293" y="23713"/>
                      </a:lnTo>
                      <a:lnTo>
                        <a:pt x="280206" y="33225"/>
                      </a:lnTo>
                      <a:lnTo>
                        <a:pt x="298611" y="34706"/>
                      </a:lnTo>
                      <a:lnTo>
                        <a:pt x="306822" y="47927"/>
                      </a:lnTo>
                      <a:lnTo>
                        <a:pt x="306319" y="53903"/>
                      </a:lnTo>
                      <a:lnTo>
                        <a:pt x="335635" y="64548"/>
                      </a:lnTo>
                      <a:lnTo>
                        <a:pt x="353347" y="59759"/>
                      </a:lnTo>
                      <a:lnTo>
                        <a:pt x="367593" y="73895"/>
                      </a:lnTo>
                      <a:lnTo>
                        <a:pt x="381081" y="73569"/>
                      </a:lnTo>
                      <a:lnTo>
                        <a:pt x="415106" y="83348"/>
                      </a:lnTo>
                      <a:lnTo>
                        <a:pt x="415377" y="92139"/>
                      </a:lnTo>
                      <a:lnTo>
                        <a:pt x="406003" y="107744"/>
                      </a:lnTo>
                      <a:lnTo>
                        <a:pt x="411104" y="124077"/>
                      </a:lnTo>
                      <a:lnTo>
                        <a:pt x="407471" y="133906"/>
                      </a:lnTo>
                      <a:lnTo>
                        <a:pt x="385134" y="136063"/>
                      </a:lnTo>
                      <a:lnTo>
                        <a:pt x="373236" y="144258"/>
                      </a:lnTo>
                      <a:lnTo>
                        <a:pt x="372507" y="157246"/>
                      </a:lnTo>
                      <a:lnTo>
                        <a:pt x="354078" y="159577"/>
                      </a:lnTo>
                      <a:lnTo>
                        <a:pt x="338721" y="168988"/>
                      </a:lnTo>
                      <a:lnTo>
                        <a:pt x="317112" y="170519"/>
                      </a:lnTo>
                      <a:lnTo>
                        <a:pt x="297230" y="181317"/>
                      </a:lnTo>
                      <a:lnTo>
                        <a:pt x="298579" y="199240"/>
                      </a:lnTo>
                      <a:lnTo>
                        <a:pt x="309871" y="206160"/>
                      </a:lnTo>
                      <a:lnTo>
                        <a:pt x="333416" y="204441"/>
                      </a:lnTo>
                      <a:lnTo>
                        <a:pt x="328908" y="214650"/>
                      </a:lnTo>
                      <a:lnTo>
                        <a:pt x="303639" y="219594"/>
                      </a:lnTo>
                      <a:lnTo>
                        <a:pt x="272305" y="236042"/>
                      </a:lnTo>
                      <a:lnTo>
                        <a:pt x="259468" y="230270"/>
                      </a:lnTo>
                      <a:lnTo>
                        <a:pt x="264558" y="216890"/>
                      </a:lnTo>
                      <a:lnTo>
                        <a:pt x="239335" y="208524"/>
                      </a:lnTo>
                      <a:lnTo>
                        <a:pt x="243412" y="203030"/>
                      </a:lnTo>
                      <a:lnTo>
                        <a:pt x="265510" y="193480"/>
                      </a:lnTo>
                      <a:lnTo>
                        <a:pt x="258826" y="186880"/>
                      </a:lnTo>
                      <a:lnTo>
                        <a:pt x="222945" y="179578"/>
                      </a:lnTo>
                      <a:lnTo>
                        <a:pt x="221356" y="168769"/>
                      </a:lnTo>
                      <a:lnTo>
                        <a:pt x="199969" y="172343"/>
                      </a:lnTo>
                      <a:lnTo>
                        <a:pt x="191402" y="188269"/>
                      </a:lnTo>
                      <a:lnTo>
                        <a:pt x="173529" y="209501"/>
                      </a:lnTo>
                      <a:lnTo>
                        <a:pt x="163059" y="204586"/>
                      </a:lnTo>
                      <a:lnTo>
                        <a:pt x="152212" y="209194"/>
                      </a:lnTo>
                      <a:lnTo>
                        <a:pt x="141911" y="203916"/>
                      </a:lnTo>
                      <a:lnTo>
                        <a:pt x="147722" y="200799"/>
                      </a:lnTo>
                      <a:lnTo>
                        <a:pt x="151755" y="190933"/>
                      </a:lnTo>
                      <a:lnTo>
                        <a:pt x="158073" y="181733"/>
                      </a:lnTo>
                      <a:lnTo>
                        <a:pt x="156440" y="176552"/>
                      </a:lnTo>
                      <a:lnTo>
                        <a:pt x="161267" y="174240"/>
                      </a:lnTo>
                      <a:lnTo>
                        <a:pt x="163542" y="178249"/>
                      </a:lnTo>
                      <a:lnTo>
                        <a:pt x="177145" y="179096"/>
                      </a:lnTo>
                      <a:lnTo>
                        <a:pt x="183255" y="176956"/>
                      </a:lnTo>
                      <a:lnTo>
                        <a:pt x="178951" y="174018"/>
                      </a:lnTo>
                      <a:lnTo>
                        <a:pt x="180582" y="169695"/>
                      </a:lnTo>
                      <a:lnTo>
                        <a:pt x="172522" y="162304"/>
                      </a:lnTo>
                      <a:lnTo>
                        <a:pt x="169185" y="150106"/>
                      </a:lnTo>
                      <a:lnTo>
                        <a:pt x="160777" y="145318"/>
                      </a:lnTo>
                      <a:lnTo>
                        <a:pt x="162435" y="135373"/>
                      </a:lnTo>
                      <a:lnTo>
                        <a:pt x="152006" y="127449"/>
                      </a:lnTo>
                      <a:lnTo>
                        <a:pt x="142511" y="126346"/>
                      </a:lnTo>
                      <a:lnTo>
                        <a:pt x="125499" y="117137"/>
                      </a:lnTo>
                      <a:lnTo>
                        <a:pt x="110156" y="120064"/>
                      </a:lnTo>
                      <a:lnTo>
                        <a:pt x="104651" y="124422"/>
                      </a:lnTo>
                      <a:lnTo>
                        <a:pt x="94913" y="124418"/>
                      </a:lnTo>
                      <a:lnTo>
                        <a:pt x="89107" y="131310"/>
                      </a:lnTo>
                      <a:lnTo>
                        <a:pt x="72068" y="134138"/>
                      </a:lnTo>
                      <a:lnTo>
                        <a:pt x="64187" y="138651"/>
                      </a:lnTo>
                      <a:lnTo>
                        <a:pt x="53470" y="131465"/>
                      </a:lnTo>
                      <a:lnTo>
                        <a:pt x="38672" y="131355"/>
                      </a:lnTo>
                      <a:lnTo>
                        <a:pt x="24390" y="128093"/>
                      </a:lnTo>
                      <a:lnTo>
                        <a:pt x="14425" y="134399"/>
                      </a:lnTo>
                      <a:lnTo>
                        <a:pt x="12816" y="126503"/>
                      </a:lnTo>
                      <a:lnTo>
                        <a:pt x="0" y="118465"/>
                      </a:lnTo>
                      <a:lnTo>
                        <a:pt x="4507" y="106508"/>
                      </a:lnTo>
                      <a:lnTo>
                        <a:pt x="10907" y="98757"/>
                      </a:lnTo>
                      <a:lnTo>
                        <a:pt x="15946" y="100497"/>
                      </a:lnTo>
                      <a:lnTo>
                        <a:pt x="9992" y="87073"/>
                      </a:lnTo>
                      <a:lnTo>
                        <a:pt x="30952" y="62042"/>
                      </a:lnTo>
                      <a:lnTo>
                        <a:pt x="42407" y="58520"/>
                      </a:lnTo>
                      <a:lnTo>
                        <a:pt x="44882" y="50010"/>
                      </a:lnTo>
                      <a:lnTo>
                        <a:pt x="33273" y="23343"/>
                      </a:lnTo>
                      <a:lnTo>
                        <a:pt x="44307" y="22145"/>
                      </a:lnTo>
                      <a:lnTo>
                        <a:pt x="56957" y="13805"/>
                      </a:lnTo>
                      <a:lnTo>
                        <a:pt x="74838" y="13121"/>
                      </a:lnTo>
                      <a:lnTo>
                        <a:pt x="98156" y="15536"/>
                      </a:lnTo>
                      <a:lnTo>
                        <a:pt x="123919" y="22918"/>
                      </a:lnTo>
                      <a:lnTo>
                        <a:pt x="142098" y="23534"/>
                      </a:lnTo>
                      <a:lnTo>
                        <a:pt x="150776" y="27967"/>
                      </a:lnTo>
                      <a:lnTo>
                        <a:pt x="159438" y="22618"/>
                      </a:lnTo>
                      <a:lnTo>
                        <a:pt x="165488" y="29790"/>
                      </a:lnTo>
                      <a:lnTo>
                        <a:pt x="186318" y="28322"/>
                      </a:lnTo>
                      <a:lnTo>
                        <a:pt x="195499" y="31282"/>
                      </a:lnTo>
                      <a:lnTo>
                        <a:pt x="196984" y="15828"/>
                      </a:lnTo>
                      <a:lnTo>
                        <a:pt x="204096" y="9057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8" name="Freeform 165">
                  <a:extLst>
                    <a:ext uri="{FF2B5EF4-FFF2-40B4-BE49-F238E27FC236}">
                      <a16:creationId xmlns:a16="http://schemas.microsoft.com/office/drawing/2014/main" id="{41A97762-14DE-498D-91D0-28841457F71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7"/>
                  </p:custDataLst>
                </p:nvPr>
              </p:nvSpPr>
              <p:spPr>
                <a:xfrm>
                  <a:off x="8300987" y="3375970"/>
                  <a:ext cx="424191" cy="2498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5326" h="232838">
                      <a:moveTo>
                        <a:pt x="244438" y="227044"/>
                      </a:moveTo>
                      <a:lnTo>
                        <a:pt x="245074" y="210712"/>
                      </a:lnTo>
                      <a:lnTo>
                        <a:pt x="214370" y="199240"/>
                      </a:lnTo>
                      <a:lnTo>
                        <a:pt x="190231" y="186063"/>
                      </a:lnTo>
                      <a:lnTo>
                        <a:pt x="175176" y="173344"/>
                      </a:lnTo>
                      <a:lnTo>
                        <a:pt x="148775" y="154593"/>
                      </a:lnTo>
                      <a:lnTo>
                        <a:pt x="137429" y="126390"/>
                      </a:lnTo>
                      <a:lnTo>
                        <a:pt x="129684" y="121398"/>
                      </a:lnTo>
                      <a:lnTo>
                        <a:pt x="104727" y="122665"/>
                      </a:lnTo>
                      <a:lnTo>
                        <a:pt x="95894" y="117024"/>
                      </a:lnTo>
                      <a:lnTo>
                        <a:pt x="93427" y="94946"/>
                      </a:lnTo>
                      <a:lnTo>
                        <a:pt x="62325" y="80234"/>
                      </a:lnTo>
                      <a:lnTo>
                        <a:pt x="42878" y="96405"/>
                      </a:lnTo>
                      <a:lnTo>
                        <a:pt x="23158" y="105952"/>
                      </a:lnTo>
                      <a:lnTo>
                        <a:pt x="26948" y="119857"/>
                      </a:lnTo>
                      <a:lnTo>
                        <a:pt x="906" y="120234"/>
                      </a:lnTo>
                      <a:lnTo>
                        <a:pt x="0" y="16911"/>
                      </a:lnTo>
                      <a:lnTo>
                        <a:pt x="59419" y="0"/>
                      </a:lnTo>
                      <a:lnTo>
                        <a:pt x="63733" y="2490"/>
                      </a:lnTo>
                      <a:lnTo>
                        <a:pt x="99510" y="22947"/>
                      </a:lnTo>
                      <a:lnTo>
                        <a:pt x="118400" y="33695"/>
                      </a:lnTo>
                      <a:lnTo>
                        <a:pt x="140443" y="59145"/>
                      </a:lnTo>
                      <a:lnTo>
                        <a:pt x="167508" y="55049"/>
                      </a:lnTo>
                      <a:lnTo>
                        <a:pt x="207095" y="52852"/>
                      </a:lnTo>
                      <a:lnTo>
                        <a:pt x="234729" y="73357"/>
                      </a:lnTo>
                      <a:lnTo>
                        <a:pt x="233007" y="101283"/>
                      </a:lnTo>
                      <a:lnTo>
                        <a:pt x="244254" y="101478"/>
                      </a:lnTo>
                      <a:lnTo>
                        <a:pt x="248949" y="124092"/>
                      </a:lnTo>
                      <a:lnTo>
                        <a:pt x="278306" y="124984"/>
                      </a:lnTo>
                      <a:lnTo>
                        <a:pt x="284631" y="137980"/>
                      </a:lnTo>
                      <a:lnTo>
                        <a:pt x="293232" y="137806"/>
                      </a:lnTo>
                      <a:lnTo>
                        <a:pt x="303331" y="118151"/>
                      </a:lnTo>
                      <a:lnTo>
                        <a:pt x="333776" y="98881"/>
                      </a:lnTo>
                      <a:lnTo>
                        <a:pt x="347011" y="93750"/>
                      </a:lnTo>
                      <a:lnTo>
                        <a:pt x="353864" y="96484"/>
                      </a:lnTo>
                      <a:lnTo>
                        <a:pt x="334493" y="114408"/>
                      </a:lnTo>
                      <a:lnTo>
                        <a:pt x="351524" y="124775"/>
                      </a:lnTo>
                      <a:lnTo>
                        <a:pt x="367965" y="117913"/>
                      </a:lnTo>
                      <a:lnTo>
                        <a:pt x="395325" y="132398"/>
                      </a:lnTo>
                      <a:lnTo>
                        <a:pt x="365766" y="152088"/>
                      </a:lnTo>
                      <a:lnTo>
                        <a:pt x="348208" y="149402"/>
                      </a:lnTo>
                      <a:lnTo>
                        <a:pt x="338680" y="150106"/>
                      </a:lnTo>
                      <a:lnTo>
                        <a:pt x="335373" y="142517"/>
                      </a:lnTo>
                      <a:lnTo>
                        <a:pt x="340185" y="129813"/>
                      </a:lnTo>
                      <a:lnTo>
                        <a:pt x="309321" y="136186"/>
                      </a:lnTo>
                      <a:lnTo>
                        <a:pt x="301984" y="153714"/>
                      </a:lnTo>
                      <a:lnTo>
                        <a:pt x="291014" y="168733"/>
                      </a:lnTo>
                      <a:lnTo>
                        <a:pt x="271741" y="167458"/>
                      </a:lnTo>
                      <a:lnTo>
                        <a:pt x="265757" y="179377"/>
                      </a:lnTo>
                      <a:lnTo>
                        <a:pt x="282695" y="185817"/>
                      </a:lnTo>
                      <a:lnTo>
                        <a:pt x="287682" y="205830"/>
                      </a:lnTo>
                      <a:lnTo>
                        <a:pt x="274708" y="232837"/>
                      </a:lnTo>
                      <a:lnTo>
                        <a:pt x="257299" y="22722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9" name="Freeform 166">
                  <a:extLst>
                    <a:ext uri="{FF2B5EF4-FFF2-40B4-BE49-F238E27FC236}">
                      <a16:creationId xmlns:a16="http://schemas.microsoft.com/office/drawing/2014/main" id="{13707DB5-4AA3-4AE3-916D-4AA66AF55A3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8"/>
                  </p:custDataLst>
                </p:nvPr>
              </p:nvSpPr>
              <p:spPr>
                <a:xfrm>
                  <a:off x="9446298" y="4001158"/>
                  <a:ext cx="177461" cy="375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5385" h="349858">
                      <a:moveTo>
                        <a:pt x="135721" y="43671"/>
                      </a:moveTo>
                      <a:lnTo>
                        <a:pt x="104903" y="64310"/>
                      </a:lnTo>
                      <a:lnTo>
                        <a:pt x="85666" y="87018"/>
                      </a:lnTo>
                      <a:lnTo>
                        <a:pt x="80596" y="103642"/>
                      </a:lnTo>
                      <a:lnTo>
                        <a:pt x="98249" y="128810"/>
                      </a:lnTo>
                      <a:lnTo>
                        <a:pt x="119835" y="159879"/>
                      </a:lnTo>
                      <a:lnTo>
                        <a:pt x="140783" y="174519"/>
                      </a:lnTo>
                      <a:lnTo>
                        <a:pt x="154809" y="193509"/>
                      </a:lnTo>
                      <a:lnTo>
                        <a:pt x="165384" y="237101"/>
                      </a:lnTo>
                      <a:lnTo>
                        <a:pt x="162265" y="278339"/>
                      </a:lnTo>
                      <a:lnTo>
                        <a:pt x="143013" y="293732"/>
                      </a:lnTo>
                      <a:lnTo>
                        <a:pt x="116579" y="308761"/>
                      </a:lnTo>
                      <a:lnTo>
                        <a:pt x="97748" y="328191"/>
                      </a:lnTo>
                      <a:lnTo>
                        <a:pt x="68968" y="349857"/>
                      </a:lnTo>
                      <a:lnTo>
                        <a:pt x="60587" y="334938"/>
                      </a:lnTo>
                      <a:lnTo>
                        <a:pt x="67073" y="319160"/>
                      </a:lnTo>
                      <a:lnTo>
                        <a:pt x="49949" y="305913"/>
                      </a:lnTo>
                      <a:lnTo>
                        <a:pt x="69929" y="296512"/>
                      </a:lnTo>
                      <a:lnTo>
                        <a:pt x="94161" y="294819"/>
                      </a:lnTo>
                      <a:lnTo>
                        <a:pt x="84023" y="280660"/>
                      </a:lnTo>
                      <a:lnTo>
                        <a:pt x="122822" y="262646"/>
                      </a:lnTo>
                      <a:lnTo>
                        <a:pt x="125665" y="234528"/>
                      </a:lnTo>
                      <a:lnTo>
                        <a:pt x="120314" y="218840"/>
                      </a:lnTo>
                      <a:lnTo>
                        <a:pt x="124511" y="195269"/>
                      </a:lnTo>
                      <a:lnTo>
                        <a:pt x="118698" y="178572"/>
                      </a:lnTo>
                      <a:lnTo>
                        <a:pt x="101231" y="162089"/>
                      </a:lnTo>
                      <a:lnTo>
                        <a:pt x="86684" y="141162"/>
                      </a:lnTo>
                      <a:lnTo>
                        <a:pt x="67498" y="112994"/>
                      </a:lnTo>
                      <a:lnTo>
                        <a:pt x="39843" y="98687"/>
                      </a:lnTo>
                      <a:lnTo>
                        <a:pt x="46465" y="90073"/>
                      </a:lnTo>
                      <a:lnTo>
                        <a:pt x="61219" y="83789"/>
                      </a:lnTo>
                      <a:lnTo>
                        <a:pt x="52272" y="62820"/>
                      </a:lnTo>
                      <a:lnTo>
                        <a:pt x="23855" y="62631"/>
                      </a:lnTo>
                      <a:lnTo>
                        <a:pt x="13491" y="40703"/>
                      </a:lnTo>
                      <a:lnTo>
                        <a:pt x="0" y="21576"/>
                      </a:lnTo>
                      <a:lnTo>
                        <a:pt x="12386" y="15650"/>
                      </a:lnTo>
                      <a:lnTo>
                        <a:pt x="30795" y="15773"/>
                      </a:lnTo>
                      <a:lnTo>
                        <a:pt x="53239" y="12969"/>
                      </a:lnTo>
                      <a:lnTo>
                        <a:pt x="72914" y="0"/>
                      </a:lnTo>
                      <a:lnTo>
                        <a:pt x="84040" y="9133"/>
                      </a:lnTo>
                      <a:lnTo>
                        <a:pt x="105141" y="13574"/>
                      </a:lnTo>
                      <a:lnTo>
                        <a:pt x="101491" y="27555"/>
                      </a:lnTo>
                      <a:lnTo>
                        <a:pt x="112482" y="37395"/>
                      </a:lnTo>
                      <a:close/>
                    </a:path>
                  </a:pathLst>
                </a:custGeom>
                <a:solidFill>
                  <a:srgbClr val="009999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Freeform 167">
                  <a:extLst>
                    <a:ext uri="{FF2B5EF4-FFF2-40B4-BE49-F238E27FC236}">
                      <a16:creationId xmlns:a16="http://schemas.microsoft.com/office/drawing/2014/main" id="{B62ABA14-65EB-4BB9-BBD3-7D6F190E2F15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9"/>
                  </p:custDataLst>
                </p:nvPr>
              </p:nvSpPr>
              <p:spPr>
                <a:xfrm>
                  <a:off x="11042814" y="4954887"/>
                  <a:ext cx="30112" cy="500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063" h="46609">
                      <a:moveTo>
                        <a:pt x="13565" y="29884"/>
                      </a:moveTo>
                      <a:lnTo>
                        <a:pt x="28063" y="43490"/>
                      </a:lnTo>
                      <a:lnTo>
                        <a:pt x="20453" y="46609"/>
                      </a:lnTo>
                      <a:lnTo>
                        <a:pt x="12717" y="36232"/>
                      </a:lnTo>
                      <a:close/>
                      <a:moveTo>
                        <a:pt x="0" y="0"/>
                      </a:moveTo>
                      <a:lnTo>
                        <a:pt x="11048" y="7250"/>
                      </a:lnTo>
                      <a:lnTo>
                        <a:pt x="14795" y="26292"/>
                      </a:lnTo>
                      <a:lnTo>
                        <a:pt x="8589" y="23326"/>
                      </a:lnTo>
                      <a:lnTo>
                        <a:pt x="3787" y="24608"/>
                      </a:lnTo>
                      <a:lnTo>
                        <a:pt x="479" y="1808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Freeform 168">
                  <a:extLst>
                    <a:ext uri="{FF2B5EF4-FFF2-40B4-BE49-F238E27FC236}">
                      <a16:creationId xmlns:a16="http://schemas.microsoft.com/office/drawing/2014/main" id="{C7C4CEFF-BB12-4877-96DC-2FC67E933200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0"/>
                  </p:custDataLst>
                </p:nvPr>
              </p:nvSpPr>
              <p:spPr>
                <a:xfrm>
                  <a:off x="7970976" y="4113860"/>
                  <a:ext cx="260158" cy="16286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42455" h="151784">
                      <a:moveTo>
                        <a:pt x="242454" y="55947"/>
                      </a:moveTo>
                      <a:lnTo>
                        <a:pt x="225756" y="62316"/>
                      </a:lnTo>
                      <a:lnTo>
                        <a:pt x="221290" y="72831"/>
                      </a:lnTo>
                      <a:lnTo>
                        <a:pt x="220746" y="80897"/>
                      </a:lnTo>
                      <a:lnTo>
                        <a:pt x="197764" y="90871"/>
                      </a:lnTo>
                      <a:lnTo>
                        <a:pt x="160879" y="101878"/>
                      </a:lnTo>
                      <a:lnTo>
                        <a:pt x="140212" y="118497"/>
                      </a:lnTo>
                      <a:lnTo>
                        <a:pt x="130050" y="119794"/>
                      </a:lnTo>
                      <a:lnTo>
                        <a:pt x="123124" y="118402"/>
                      </a:lnTo>
                      <a:lnTo>
                        <a:pt x="109633" y="128162"/>
                      </a:lnTo>
                      <a:lnTo>
                        <a:pt x="94921" y="132686"/>
                      </a:lnTo>
                      <a:lnTo>
                        <a:pt x="75543" y="133906"/>
                      </a:lnTo>
                      <a:lnTo>
                        <a:pt x="69714" y="135241"/>
                      </a:lnTo>
                      <a:lnTo>
                        <a:pt x="64668" y="141440"/>
                      </a:lnTo>
                      <a:lnTo>
                        <a:pt x="58618" y="143152"/>
                      </a:lnTo>
                      <a:lnTo>
                        <a:pt x="55044" y="149119"/>
                      </a:lnTo>
                      <a:lnTo>
                        <a:pt x="43619" y="148602"/>
                      </a:lnTo>
                      <a:lnTo>
                        <a:pt x="36245" y="151783"/>
                      </a:lnTo>
                      <a:lnTo>
                        <a:pt x="20269" y="150591"/>
                      </a:lnTo>
                      <a:lnTo>
                        <a:pt x="14265" y="136884"/>
                      </a:lnTo>
                      <a:lnTo>
                        <a:pt x="14925" y="124039"/>
                      </a:lnTo>
                      <a:lnTo>
                        <a:pt x="11151" y="117098"/>
                      </a:lnTo>
                      <a:lnTo>
                        <a:pt x="6633" y="99673"/>
                      </a:lnTo>
                      <a:lnTo>
                        <a:pt x="0" y="89972"/>
                      </a:lnTo>
                      <a:lnTo>
                        <a:pt x="4620" y="88824"/>
                      </a:lnTo>
                      <a:lnTo>
                        <a:pt x="2252" y="78025"/>
                      </a:lnTo>
                      <a:lnTo>
                        <a:pt x="5051" y="73463"/>
                      </a:lnTo>
                      <a:lnTo>
                        <a:pt x="4027" y="63134"/>
                      </a:lnTo>
                      <a:lnTo>
                        <a:pt x="14161" y="55571"/>
                      </a:lnTo>
                      <a:lnTo>
                        <a:pt x="11794" y="45564"/>
                      </a:lnTo>
                      <a:lnTo>
                        <a:pt x="17910" y="33877"/>
                      </a:lnTo>
                      <a:lnTo>
                        <a:pt x="27391" y="40061"/>
                      </a:lnTo>
                      <a:lnTo>
                        <a:pt x="33648" y="37912"/>
                      </a:lnTo>
                      <a:lnTo>
                        <a:pt x="60287" y="37366"/>
                      </a:lnTo>
                      <a:lnTo>
                        <a:pt x="64519" y="39744"/>
                      </a:lnTo>
                      <a:lnTo>
                        <a:pt x="86832" y="42122"/>
                      </a:lnTo>
                      <a:lnTo>
                        <a:pt x="95680" y="40932"/>
                      </a:lnTo>
                      <a:lnTo>
                        <a:pt x="101451" y="48852"/>
                      </a:lnTo>
                      <a:lnTo>
                        <a:pt x="112224" y="44893"/>
                      </a:lnTo>
                      <a:lnTo>
                        <a:pt x="128766" y="19902"/>
                      </a:lnTo>
                      <a:lnTo>
                        <a:pt x="150310" y="9162"/>
                      </a:lnTo>
                      <a:lnTo>
                        <a:pt x="216865" y="0"/>
                      </a:lnTo>
                      <a:lnTo>
                        <a:pt x="234919" y="3935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2" name="Freeform 169">
                  <a:extLst>
                    <a:ext uri="{FF2B5EF4-FFF2-40B4-BE49-F238E27FC236}">
                      <a16:creationId xmlns:a16="http://schemas.microsoft.com/office/drawing/2014/main" id="{ACE338BB-26E6-4AD3-BA01-15F99799E1F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1"/>
                  </p:custDataLst>
                </p:nvPr>
              </p:nvSpPr>
              <p:spPr>
                <a:xfrm>
                  <a:off x="7320569" y="5146119"/>
                  <a:ext cx="408305" cy="3424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521" h="319180">
                      <a:moveTo>
                        <a:pt x="281533" y="161424"/>
                      </a:moveTo>
                      <a:lnTo>
                        <a:pt x="270745" y="166538"/>
                      </a:lnTo>
                      <a:lnTo>
                        <a:pt x="258239" y="176367"/>
                      </a:lnTo>
                      <a:lnTo>
                        <a:pt x="245930" y="192323"/>
                      </a:lnTo>
                      <a:lnTo>
                        <a:pt x="263245" y="211790"/>
                      </a:lnTo>
                      <a:lnTo>
                        <a:pt x="271504" y="209269"/>
                      </a:lnTo>
                      <a:lnTo>
                        <a:pt x="275748" y="201176"/>
                      </a:lnTo>
                      <a:lnTo>
                        <a:pt x="288613" y="197227"/>
                      </a:lnTo>
                      <a:lnTo>
                        <a:pt x="292537" y="188987"/>
                      </a:lnTo>
                      <a:lnTo>
                        <a:pt x="299618" y="176735"/>
                      </a:lnTo>
                      <a:lnTo>
                        <a:pt x="291610" y="169152"/>
                      </a:lnTo>
                      <a:close/>
                      <a:moveTo>
                        <a:pt x="302088" y="0"/>
                      </a:moveTo>
                      <a:lnTo>
                        <a:pt x="311479" y="264"/>
                      </a:lnTo>
                      <a:lnTo>
                        <a:pt x="322648" y="4370"/>
                      </a:lnTo>
                      <a:lnTo>
                        <a:pt x="330426" y="1460"/>
                      </a:lnTo>
                      <a:lnTo>
                        <a:pt x="342696" y="3882"/>
                      </a:lnTo>
                      <a:lnTo>
                        <a:pt x="353752" y="38114"/>
                      </a:lnTo>
                      <a:lnTo>
                        <a:pt x="359758" y="55480"/>
                      </a:lnTo>
                      <a:lnTo>
                        <a:pt x="355645" y="82856"/>
                      </a:lnTo>
                      <a:lnTo>
                        <a:pt x="357615" y="91706"/>
                      </a:lnTo>
                      <a:lnTo>
                        <a:pt x="345968" y="87190"/>
                      </a:lnTo>
                      <a:lnTo>
                        <a:pt x="339295" y="88947"/>
                      </a:lnTo>
                      <a:lnTo>
                        <a:pt x="337116" y="96132"/>
                      </a:lnTo>
                      <a:lnTo>
                        <a:pt x="330813" y="105413"/>
                      </a:lnTo>
                      <a:lnTo>
                        <a:pt x="331029" y="113977"/>
                      </a:lnTo>
                      <a:lnTo>
                        <a:pt x="344805" y="127435"/>
                      </a:lnTo>
                      <a:lnTo>
                        <a:pt x="358315" y="124751"/>
                      </a:lnTo>
                      <a:lnTo>
                        <a:pt x="363014" y="113728"/>
                      </a:lnTo>
                      <a:lnTo>
                        <a:pt x="380521" y="113936"/>
                      </a:lnTo>
                      <a:lnTo>
                        <a:pt x="374754" y="132019"/>
                      </a:lnTo>
                      <a:lnTo>
                        <a:pt x="372027" y="152749"/>
                      </a:lnTo>
                      <a:lnTo>
                        <a:pt x="366055" y="164053"/>
                      </a:lnTo>
                      <a:lnTo>
                        <a:pt x="350303" y="176735"/>
                      </a:lnTo>
                      <a:lnTo>
                        <a:pt x="345792" y="180374"/>
                      </a:lnTo>
                      <a:lnTo>
                        <a:pt x="336010" y="193182"/>
                      </a:lnTo>
                      <a:lnTo>
                        <a:pt x="329571" y="206178"/>
                      </a:lnTo>
                      <a:lnTo>
                        <a:pt x="316481" y="224372"/>
                      </a:lnTo>
                      <a:lnTo>
                        <a:pt x="290394" y="250720"/>
                      </a:lnTo>
                      <a:lnTo>
                        <a:pt x="274102" y="266124"/>
                      </a:lnTo>
                      <a:lnTo>
                        <a:pt x="256671" y="277850"/>
                      </a:lnTo>
                      <a:lnTo>
                        <a:pt x="232546" y="287878"/>
                      </a:lnTo>
                      <a:lnTo>
                        <a:pt x="220779" y="289226"/>
                      </a:lnTo>
                      <a:lnTo>
                        <a:pt x="217800" y="296421"/>
                      </a:lnTo>
                      <a:lnTo>
                        <a:pt x="203771" y="292589"/>
                      </a:lnTo>
                      <a:lnTo>
                        <a:pt x="192345" y="297524"/>
                      </a:lnTo>
                      <a:lnTo>
                        <a:pt x="167328" y="292527"/>
                      </a:lnTo>
                      <a:lnTo>
                        <a:pt x="153343" y="295689"/>
                      </a:lnTo>
                      <a:lnTo>
                        <a:pt x="143787" y="294331"/>
                      </a:lnTo>
                      <a:lnTo>
                        <a:pt x="119980" y="304581"/>
                      </a:lnTo>
                      <a:lnTo>
                        <a:pt x="100273" y="308700"/>
                      </a:lnTo>
                      <a:lnTo>
                        <a:pt x="86013" y="318552"/>
                      </a:lnTo>
                      <a:lnTo>
                        <a:pt x="75514" y="319180"/>
                      </a:lnTo>
                      <a:lnTo>
                        <a:pt x="65747" y="309883"/>
                      </a:lnTo>
                      <a:lnTo>
                        <a:pt x="57946" y="309406"/>
                      </a:lnTo>
                      <a:lnTo>
                        <a:pt x="48004" y="297802"/>
                      </a:lnTo>
                      <a:lnTo>
                        <a:pt x="46914" y="301402"/>
                      </a:lnTo>
                      <a:lnTo>
                        <a:pt x="43846" y="294427"/>
                      </a:lnTo>
                      <a:lnTo>
                        <a:pt x="43975" y="279256"/>
                      </a:lnTo>
                      <a:lnTo>
                        <a:pt x="36476" y="261993"/>
                      </a:lnTo>
                      <a:lnTo>
                        <a:pt x="43925" y="257314"/>
                      </a:lnTo>
                      <a:lnTo>
                        <a:pt x="43321" y="237663"/>
                      </a:lnTo>
                      <a:lnTo>
                        <a:pt x="28206" y="213835"/>
                      </a:lnTo>
                      <a:lnTo>
                        <a:pt x="16607" y="192391"/>
                      </a:lnTo>
                      <a:lnTo>
                        <a:pt x="16572" y="192323"/>
                      </a:lnTo>
                      <a:lnTo>
                        <a:pt x="0" y="159650"/>
                      </a:lnTo>
                      <a:lnTo>
                        <a:pt x="11058" y="147279"/>
                      </a:lnTo>
                      <a:lnTo>
                        <a:pt x="20174" y="154123"/>
                      </a:lnTo>
                      <a:lnTo>
                        <a:pt x="24064" y="164833"/>
                      </a:lnTo>
                      <a:lnTo>
                        <a:pt x="34420" y="166661"/>
                      </a:lnTo>
                      <a:lnTo>
                        <a:pt x="48934" y="171409"/>
                      </a:lnTo>
                      <a:lnTo>
                        <a:pt x="61334" y="169575"/>
                      </a:lnTo>
                      <a:lnTo>
                        <a:pt x="81938" y="156755"/>
                      </a:lnTo>
                      <a:lnTo>
                        <a:pt x="81962" y="65245"/>
                      </a:lnTo>
                      <a:lnTo>
                        <a:pt x="88193" y="68931"/>
                      </a:lnTo>
                      <a:lnTo>
                        <a:pt x="101879" y="92318"/>
                      </a:lnTo>
                      <a:lnTo>
                        <a:pt x="99752" y="107377"/>
                      </a:lnTo>
                      <a:lnTo>
                        <a:pt x="104903" y="116077"/>
                      </a:lnTo>
                      <a:lnTo>
                        <a:pt x="121436" y="113547"/>
                      </a:lnTo>
                      <a:lnTo>
                        <a:pt x="132980" y="102498"/>
                      </a:lnTo>
                      <a:lnTo>
                        <a:pt x="143911" y="95066"/>
                      </a:lnTo>
                      <a:lnTo>
                        <a:pt x="149560" y="83255"/>
                      </a:lnTo>
                      <a:lnTo>
                        <a:pt x="160820" y="77550"/>
                      </a:lnTo>
                      <a:lnTo>
                        <a:pt x="170549" y="80538"/>
                      </a:lnTo>
                      <a:lnTo>
                        <a:pt x="181575" y="87437"/>
                      </a:lnTo>
                      <a:lnTo>
                        <a:pt x="200362" y="88656"/>
                      </a:lnTo>
                      <a:lnTo>
                        <a:pt x="215124" y="82919"/>
                      </a:lnTo>
                      <a:lnTo>
                        <a:pt x="217459" y="75242"/>
                      </a:lnTo>
                      <a:lnTo>
                        <a:pt x="221517" y="63493"/>
                      </a:lnTo>
                      <a:lnTo>
                        <a:pt x="234076" y="61530"/>
                      </a:lnTo>
                      <a:lnTo>
                        <a:pt x="241016" y="52329"/>
                      </a:lnTo>
                      <a:lnTo>
                        <a:pt x="248703" y="36049"/>
                      </a:lnTo>
                      <a:lnTo>
                        <a:pt x="269427" y="17871"/>
                      </a:lnTo>
                      <a:close/>
                    </a:path>
                  </a:pathLst>
                </a:custGeom>
                <a:solidFill>
                  <a:srgbClr val="E7001D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3" name="Freeform 170">
                  <a:extLst>
                    <a:ext uri="{FF2B5EF4-FFF2-40B4-BE49-F238E27FC236}">
                      <a16:creationId xmlns:a16="http://schemas.microsoft.com/office/drawing/2014/main" id="{495E5A7F-D6AA-450B-AF10-FDDB2CE5154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2"/>
                  </p:custDataLst>
                </p:nvPr>
              </p:nvSpPr>
              <p:spPr>
                <a:xfrm>
                  <a:off x="7457856" y="4794569"/>
                  <a:ext cx="287257" cy="24510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7710" h="228428">
                      <a:moveTo>
                        <a:pt x="250944" y="23078"/>
                      </a:moveTo>
                      <a:lnTo>
                        <a:pt x="261839" y="33466"/>
                      </a:lnTo>
                      <a:lnTo>
                        <a:pt x="267709" y="53256"/>
                      </a:lnTo>
                      <a:lnTo>
                        <a:pt x="263776" y="59581"/>
                      </a:lnTo>
                      <a:lnTo>
                        <a:pt x="259136" y="78525"/>
                      </a:lnTo>
                      <a:lnTo>
                        <a:pt x="263571" y="97923"/>
                      </a:lnTo>
                      <a:lnTo>
                        <a:pt x="256308" y="106084"/>
                      </a:lnTo>
                      <a:lnTo>
                        <a:pt x="249300" y="127900"/>
                      </a:lnTo>
                      <a:lnTo>
                        <a:pt x="261438" y="133992"/>
                      </a:lnTo>
                      <a:lnTo>
                        <a:pt x="191393" y="153408"/>
                      </a:lnTo>
                      <a:lnTo>
                        <a:pt x="193580" y="170210"/>
                      </a:lnTo>
                      <a:lnTo>
                        <a:pt x="176097" y="173446"/>
                      </a:lnTo>
                      <a:lnTo>
                        <a:pt x="162954" y="182871"/>
                      </a:lnTo>
                      <a:lnTo>
                        <a:pt x="160148" y="191084"/>
                      </a:lnTo>
                      <a:lnTo>
                        <a:pt x="151885" y="192948"/>
                      </a:lnTo>
                      <a:lnTo>
                        <a:pt x="131811" y="212472"/>
                      </a:lnTo>
                      <a:lnTo>
                        <a:pt x="119027" y="227874"/>
                      </a:lnTo>
                      <a:lnTo>
                        <a:pt x="111233" y="228427"/>
                      </a:lnTo>
                      <a:lnTo>
                        <a:pt x="103735" y="225683"/>
                      </a:lnTo>
                      <a:lnTo>
                        <a:pt x="77935" y="223075"/>
                      </a:lnTo>
                      <a:lnTo>
                        <a:pt x="73785" y="221296"/>
                      </a:lnTo>
                      <a:lnTo>
                        <a:pt x="73613" y="219321"/>
                      </a:lnTo>
                      <a:lnTo>
                        <a:pt x="64504" y="213960"/>
                      </a:lnTo>
                      <a:lnTo>
                        <a:pt x="49535" y="212591"/>
                      </a:lnTo>
                      <a:lnTo>
                        <a:pt x="30635" y="217996"/>
                      </a:lnTo>
                      <a:lnTo>
                        <a:pt x="15572" y="203150"/>
                      </a:lnTo>
                      <a:lnTo>
                        <a:pt x="0" y="183754"/>
                      </a:lnTo>
                      <a:lnTo>
                        <a:pt x="1062" y="108772"/>
                      </a:lnTo>
                      <a:lnTo>
                        <a:pt x="49126" y="109068"/>
                      </a:lnTo>
                      <a:lnTo>
                        <a:pt x="47159" y="100972"/>
                      </a:lnTo>
                      <a:lnTo>
                        <a:pt x="50598" y="92195"/>
                      </a:lnTo>
                      <a:lnTo>
                        <a:pt x="46541" y="81217"/>
                      </a:lnTo>
                      <a:lnTo>
                        <a:pt x="49167" y="69876"/>
                      </a:lnTo>
                      <a:lnTo>
                        <a:pt x="46727" y="62623"/>
                      </a:lnTo>
                      <a:lnTo>
                        <a:pt x="54690" y="63211"/>
                      </a:lnTo>
                      <a:lnTo>
                        <a:pt x="56014" y="70473"/>
                      </a:lnTo>
                      <a:lnTo>
                        <a:pt x="66832" y="69909"/>
                      </a:lnTo>
                      <a:lnTo>
                        <a:pt x="81488" y="72065"/>
                      </a:lnTo>
                      <a:lnTo>
                        <a:pt x="89202" y="82683"/>
                      </a:lnTo>
                      <a:lnTo>
                        <a:pt x="107686" y="85947"/>
                      </a:lnTo>
                      <a:lnTo>
                        <a:pt x="121797" y="78561"/>
                      </a:lnTo>
                      <a:lnTo>
                        <a:pt x="126976" y="90824"/>
                      </a:lnTo>
                      <a:lnTo>
                        <a:pt x="144665" y="94097"/>
                      </a:lnTo>
                      <a:lnTo>
                        <a:pt x="153170" y="104084"/>
                      </a:lnTo>
                      <a:lnTo>
                        <a:pt x="162650" y="116999"/>
                      </a:lnTo>
                      <a:lnTo>
                        <a:pt x="180316" y="117194"/>
                      </a:lnTo>
                      <a:lnTo>
                        <a:pt x="178386" y="91905"/>
                      </a:lnTo>
                      <a:lnTo>
                        <a:pt x="172051" y="96165"/>
                      </a:lnTo>
                      <a:lnTo>
                        <a:pt x="155913" y="87050"/>
                      </a:lnTo>
                      <a:lnTo>
                        <a:pt x="149677" y="82886"/>
                      </a:lnTo>
                      <a:lnTo>
                        <a:pt x="152535" y="59425"/>
                      </a:lnTo>
                      <a:lnTo>
                        <a:pt x="156635" y="31817"/>
                      </a:lnTo>
                      <a:lnTo>
                        <a:pt x="151469" y="21549"/>
                      </a:lnTo>
                      <a:lnTo>
                        <a:pt x="158047" y="6701"/>
                      </a:lnTo>
                      <a:lnTo>
                        <a:pt x="164234" y="3923"/>
                      </a:lnTo>
                      <a:lnTo>
                        <a:pt x="195238" y="0"/>
                      </a:lnTo>
                      <a:lnTo>
                        <a:pt x="204331" y="2365"/>
                      </a:lnTo>
                      <a:lnTo>
                        <a:pt x="213974" y="8282"/>
                      </a:lnTo>
                      <a:lnTo>
                        <a:pt x="223174" y="12177"/>
                      </a:lnTo>
                      <a:lnTo>
                        <a:pt x="237844" y="16092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4" name="Freeform 171">
                  <a:extLst>
                    <a:ext uri="{FF2B5EF4-FFF2-40B4-BE49-F238E27FC236}">
                      <a16:creationId xmlns:a16="http://schemas.microsoft.com/office/drawing/2014/main" id="{3DB34F2F-23CE-45CB-9FB2-AFA0A5A17AB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3"/>
                  </p:custDataLst>
                </p:nvPr>
              </p:nvSpPr>
              <p:spPr>
                <a:xfrm>
                  <a:off x="7541480" y="4977206"/>
                  <a:ext cx="187883" cy="1736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75098" h="161790">
                      <a:moveTo>
                        <a:pt x="136816" y="161301"/>
                      </a:moveTo>
                      <a:lnTo>
                        <a:pt x="124546" y="158879"/>
                      </a:lnTo>
                      <a:lnTo>
                        <a:pt x="116768" y="161789"/>
                      </a:lnTo>
                      <a:lnTo>
                        <a:pt x="105599" y="157683"/>
                      </a:lnTo>
                      <a:lnTo>
                        <a:pt x="96208" y="157419"/>
                      </a:lnTo>
                      <a:lnTo>
                        <a:pt x="81492" y="146483"/>
                      </a:lnTo>
                      <a:lnTo>
                        <a:pt x="63643" y="142774"/>
                      </a:lnTo>
                      <a:lnTo>
                        <a:pt x="56853" y="127472"/>
                      </a:lnTo>
                      <a:lnTo>
                        <a:pt x="56796" y="118978"/>
                      </a:lnTo>
                      <a:lnTo>
                        <a:pt x="46911" y="116391"/>
                      </a:lnTo>
                      <a:lnTo>
                        <a:pt x="20788" y="90031"/>
                      </a:lnTo>
                      <a:lnTo>
                        <a:pt x="13531" y="76189"/>
                      </a:lnTo>
                      <a:lnTo>
                        <a:pt x="8886" y="71928"/>
                      </a:lnTo>
                      <a:lnTo>
                        <a:pt x="0" y="52865"/>
                      </a:lnTo>
                      <a:lnTo>
                        <a:pt x="25800" y="55473"/>
                      </a:lnTo>
                      <a:lnTo>
                        <a:pt x="33298" y="58217"/>
                      </a:lnTo>
                      <a:lnTo>
                        <a:pt x="41092" y="57664"/>
                      </a:lnTo>
                      <a:lnTo>
                        <a:pt x="53876" y="42262"/>
                      </a:lnTo>
                      <a:lnTo>
                        <a:pt x="73950" y="22738"/>
                      </a:lnTo>
                      <a:lnTo>
                        <a:pt x="82213" y="20874"/>
                      </a:lnTo>
                      <a:lnTo>
                        <a:pt x="85019" y="12661"/>
                      </a:lnTo>
                      <a:lnTo>
                        <a:pt x="98162" y="3236"/>
                      </a:lnTo>
                      <a:lnTo>
                        <a:pt x="115645" y="0"/>
                      </a:lnTo>
                      <a:lnTo>
                        <a:pt x="117139" y="8822"/>
                      </a:lnTo>
                      <a:lnTo>
                        <a:pt x="136392" y="8351"/>
                      </a:lnTo>
                      <a:lnTo>
                        <a:pt x="147090" y="13347"/>
                      </a:lnTo>
                      <a:lnTo>
                        <a:pt x="152065" y="19207"/>
                      </a:lnTo>
                      <a:lnTo>
                        <a:pt x="163057" y="20929"/>
                      </a:lnTo>
                      <a:lnTo>
                        <a:pt x="175046" y="28549"/>
                      </a:lnTo>
                      <a:lnTo>
                        <a:pt x="175097" y="58642"/>
                      </a:lnTo>
                      <a:lnTo>
                        <a:pt x="170597" y="75178"/>
                      </a:lnTo>
                      <a:lnTo>
                        <a:pt x="169606" y="93056"/>
                      </a:lnTo>
                      <a:lnTo>
                        <a:pt x="173316" y="100156"/>
                      </a:lnTo>
                      <a:lnTo>
                        <a:pt x="170709" y="114293"/>
                      </a:lnTo>
                      <a:lnTo>
                        <a:pt x="167222" y="116482"/>
                      </a:lnTo>
                      <a:lnTo>
                        <a:pt x="161135" y="133853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5" name="Freeform 172">
                  <a:extLst>
                    <a:ext uri="{FF2B5EF4-FFF2-40B4-BE49-F238E27FC236}">
                      <a16:creationId xmlns:a16="http://schemas.microsoft.com/office/drawing/2014/main" id="{F80FAB8C-40F9-4141-B029-D8E6FE3B942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4"/>
                  </p:custDataLst>
                </p:nvPr>
              </p:nvSpPr>
              <p:spPr>
                <a:xfrm>
                  <a:off x="11306741" y="4990230"/>
                  <a:ext cx="72363" cy="578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439" h="53871">
                      <a:moveTo>
                        <a:pt x="25127" y="31292"/>
                      </a:moveTo>
                      <a:lnTo>
                        <a:pt x="33077" y="38156"/>
                      </a:lnTo>
                      <a:lnTo>
                        <a:pt x="29261" y="50594"/>
                      </a:lnTo>
                      <a:lnTo>
                        <a:pt x="14948" y="53871"/>
                      </a:lnTo>
                      <a:lnTo>
                        <a:pt x="2225" y="50921"/>
                      </a:lnTo>
                      <a:lnTo>
                        <a:pt x="0" y="40446"/>
                      </a:lnTo>
                      <a:lnTo>
                        <a:pt x="8905" y="32272"/>
                      </a:lnTo>
                      <a:lnTo>
                        <a:pt x="19401" y="35214"/>
                      </a:lnTo>
                      <a:close/>
                      <a:moveTo>
                        <a:pt x="67439" y="0"/>
                      </a:moveTo>
                      <a:lnTo>
                        <a:pt x="62669" y="12660"/>
                      </a:lnTo>
                      <a:lnTo>
                        <a:pt x="47991" y="18499"/>
                      </a:lnTo>
                      <a:lnTo>
                        <a:pt x="33239" y="23501"/>
                      </a:lnTo>
                      <a:lnTo>
                        <a:pt x="30279" y="14650"/>
                      </a:lnTo>
                      <a:lnTo>
                        <a:pt x="41816" y="9785"/>
                      </a:lnTo>
                      <a:lnTo>
                        <a:pt x="49131" y="8484"/>
                      </a:lnTo>
                      <a:lnTo>
                        <a:pt x="62669" y="1094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6" name="Freeform 173">
                  <a:extLst>
                    <a:ext uri="{FF2B5EF4-FFF2-40B4-BE49-F238E27FC236}">
                      <a16:creationId xmlns:a16="http://schemas.microsoft.com/office/drawing/2014/main" id="{9E07569A-630A-47B9-A7E1-12A9E63FEE4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5"/>
                  </p:custDataLst>
                </p:nvPr>
              </p:nvSpPr>
              <p:spPr>
                <a:xfrm>
                  <a:off x="5565263" y="4447341"/>
                  <a:ext cx="71009" cy="91866"/>
                </a:xfrm>
                <a:custGeom>
                  <a:avLst/>
                  <a:gdLst>
                    <a:gd name="connsiteX0" fmla="*/ 13081 w 66177"/>
                    <a:gd name="connsiteY0" fmla="*/ 0 h 85615"/>
                    <a:gd name="connsiteX1" fmla="*/ 20920 w 66177"/>
                    <a:gd name="connsiteY1" fmla="*/ 2547 h 85615"/>
                    <a:gd name="connsiteX2" fmla="*/ 37916 w 66177"/>
                    <a:gd name="connsiteY2" fmla="*/ 8027 h 85615"/>
                    <a:gd name="connsiteX3" fmla="*/ 62356 w 66177"/>
                    <a:gd name="connsiteY3" fmla="*/ 27558 h 85615"/>
                    <a:gd name="connsiteX4" fmla="*/ 66177 w 66177"/>
                    <a:gd name="connsiteY4" fmla="*/ 37029 h 85615"/>
                    <a:gd name="connsiteX5" fmla="*/ 52523 w 66177"/>
                    <a:gd name="connsiteY5" fmla="*/ 58181 h 85615"/>
                    <a:gd name="connsiteX6" fmla="*/ 45435 w 66177"/>
                    <a:gd name="connsiteY6" fmla="*/ 75192 h 85615"/>
                    <a:gd name="connsiteX7" fmla="*/ 36589 w 66177"/>
                    <a:gd name="connsiteY7" fmla="*/ 83965 h 85615"/>
                    <a:gd name="connsiteX8" fmla="*/ 25536 w 66177"/>
                    <a:gd name="connsiteY8" fmla="*/ 85615 h 85615"/>
                    <a:gd name="connsiteX9" fmla="*/ 22388 w 66177"/>
                    <a:gd name="connsiteY9" fmla="*/ 79114 h 85615"/>
                    <a:gd name="connsiteX10" fmla="*/ 17225 w 66177"/>
                    <a:gd name="connsiteY10" fmla="*/ 78149 h 85615"/>
                    <a:gd name="connsiteX11" fmla="*/ 10080 w 66177"/>
                    <a:gd name="connsiteY11" fmla="*/ 84411 h 85615"/>
                    <a:gd name="connsiteX12" fmla="*/ 0 w 66177"/>
                    <a:gd name="connsiteY12" fmla="*/ 79647 h 85615"/>
                    <a:gd name="connsiteX13" fmla="*/ 5852 w 66177"/>
                    <a:gd name="connsiteY13" fmla="*/ 69787 h 85615"/>
                    <a:gd name="connsiteX14" fmla="*/ 7859 w 66177"/>
                    <a:gd name="connsiteY14" fmla="*/ 59265 h 85615"/>
                    <a:gd name="connsiteX15" fmla="*/ 11847 w 66177"/>
                    <a:gd name="connsiteY15" fmla="*/ 49365 h 85615"/>
                    <a:gd name="connsiteX16" fmla="*/ 2890 w 66177"/>
                    <a:gd name="connsiteY16" fmla="*/ 35725 h 85615"/>
                    <a:gd name="connsiteX17" fmla="*/ 1065 w 66177"/>
                    <a:gd name="connsiteY17" fmla="*/ 19901 h 85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6177" h="85615">
                      <a:moveTo>
                        <a:pt x="13081" y="0"/>
                      </a:moveTo>
                      <a:lnTo>
                        <a:pt x="20920" y="2547"/>
                      </a:lnTo>
                      <a:lnTo>
                        <a:pt x="37916" y="8027"/>
                      </a:lnTo>
                      <a:lnTo>
                        <a:pt x="62356" y="27558"/>
                      </a:lnTo>
                      <a:lnTo>
                        <a:pt x="66177" y="37029"/>
                      </a:lnTo>
                      <a:lnTo>
                        <a:pt x="52523" y="58181"/>
                      </a:lnTo>
                      <a:lnTo>
                        <a:pt x="45435" y="75192"/>
                      </a:lnTo>
                      <a:lnTo>
                        <a:pt x="36589" y="83965"/>
                      </a:lnTo>
                      <a:lnTo>
                        <a:pt x="25536" y="85615"/>
                      </a:lnTo>
                      <a:lnTo>
                        <a:pt x="22388" y="79114"/>
                      </a:lnTo>
                      <a:lnTo>
                        <a:pt x="17225" y="78149"/>
                      </a:lnTo>
                      <a:lnTo>
                        <a:pt x="10080" y="84411"/>
                      </a:lnTo>
                      <a:lnTo>
                        <a:pt x="0" y="79647"/>
                      </a:lnTo>
                      <a:lnTo>
                        <a:pt x="5852" y="69787"/>
                      </a:lnTo>
                      <a:lnTo>
                        <a:pt x="7859" y="59265"/>
                      </a:lnTo>
                      <a:lnTo>
                        <a:pt x="11847" y="49365"/>
                      </a:lnTo>
                      <a:lnTo>
                        <a:pt x="2890" y="35725"/>
                      </a:lnTo>
                      <a:lnTo>
                        <a:pt x="1065" y="19901"/>
                      </a:lnTo>
                      <a:close/>
                    </a:path>
                  </a:pathLst>
                </a:custGeom>
                <a:solidFill>
                  <a:srgbClr val="EC6602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7" name="Freeform 174">
                  <a:extLst>
                    <a:ext uri="{FF2B5EF4-FFF2-40B4-BE49-F238E27FC236}">
                      <a16:creationId xmlns:a16="http://schemas.microsoft.com/office/drawing/2014/main" id="{624A04BC-34C3-4746-800A-5B72B7BFC8D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6"/>
                  </p:custDataLst>
                </p:nvPr>
              </p:nvSpPr>
              <p:spPr>
                <a:xfrm>
                  <a:off x="5399932" y="5979182"/>
                  <a:ext cx="85450" cy="39600"/>
                </a:xfrm>
                <a:custGeom>
                  <a:avLst/>
                  <a:gdLst>
                    <a:gd name="connsiteX0" fmla="*/ 61169 w 79635"/>
                    <a:gd name="connsiteY0" fmla="*/ 0 h 36905"/>
                    <a:gd name="connsiteX1" fmla="*/ 79635 w 79635"/>
                    <a:gd name="connsiteY1" fmla="*/ 13776 h 36905"/>
                    <a:gd name="connsiteX2" fmla="*/ 72710 w 79635"/>
                    <a:gd name="connsiteY2" fmla="*/ 24543 h 36905"/>
                    <a:gd name="connsiteX3" fmla="*/ 41548 w 79635"/>
                    <a:gd name="connsiteY3" fmla="*/ 33809 h 36905"/>
                    <a:gd name="connsiteX4" fmla="*/ 31161 w 79635"/>
                    <a:gd name="connsiteY4" fmla="*/ 23002 h 36905"/>
                    <a:gd name="connsiteX5" fmla="*/ 11541 w 79635"/>
                    <a:gd name="connsiteY5" fmla="*/ 36905 h 36905"/>
                    <a:gd name="connsiteX6" fmla="*/ 0 w 79635"/>
                    <a:gd name="connsiteY6" fmla="*/ 23002 h 36905"/>
                    <a:gd name="connsiteX7" fmla="*/ 27699 w 79635"/>
                    <a:gd name="connsiteY7" fmla="*/ 4584 h 36905"/>
                    <a:gd name="connsiteX8" fmla="*/ 47319 w 79635"/>
                    <a:gd name="connsiteY8" fmla="*/ 12241 h 36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635" h="36905">
                      <a:moveTo>
                        <a:pt x="61169" y="0"/>
                      </a:moveTo>
                      <a:lnTo>
                        <a:pt x="79635" y="13776"/>
                      </a:lnTo>
                      <a:lnTo>
                        <a:pt x="72710" y="24543"/>
                      </a:lnTo>
                      <a:lnTo>
                        <a:pt x="41548" y="33809"/>
                      </a:lnTo>
                      <a:lnTo>
                        <a:pt x="31161" y="23002"/>
                      </a:lnTo>
                      <a:lnTo>
                        <a:pt x="11541" y="36905"/>
                      </a:lnTo>
                      <a:lnTo>
                        <a:pt x="0" y="23002"/>
                      </a:lnTo>
                      <a:lnTo>
                        <a:pt x="27699" y="4584"/>
                      </a:lnTo>
                      <a:lnTo>
                        <a:pt x="47319" y="12241"/>
                      </a:lnTo>
                      <a:close/>
                    </a:path>
                  </a:pathLst>
                </a:custGeom>
                <a:solidFill>
                  <a:srgbClr val="BECDD7"/>
                </a:solidFill>
                <a:ln w="3175" cap="rnd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78" name="Freeform 175">
                <a:extLst>
                  <a:ext uri="{FF2B5EF4-FFF2-40B4-BE49-F238E27FC236}">
                    <a16:creationId xmlns:a16="http://schemas.microsoft.com/office/drawing/2014/main" id="{9C328642-D93F-460F-8DDC-D0ACFB521577}"/>
                  </a:ext>
                </a:extLst>
              </p:cNvPr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>
              <a:xfrm>
                <a:off x="5100310" y="1772116"/>
                <a:ext cx="1513041" cy="1118163"/>
              </a:xfrm>
              <a:custGeom>
                <a:avLst/>
                <a:gdLst>
                  <a:gd name="connsiteX0" fmla="*/ 881969 w 1410084"/>
                  <a:gd name="connsiteY0" fmla="*/ 0 h 1042076"/>
                  <a:gd name="connsiteX1" fmla="*/ 1066339 w 1410084"/>
                  <a:gd name="connsiteY1" fmla="*/ 7371 h 1042076"/>
                  <a:gd name="connsiteX2" fmla="*/ 1210723 w 1410084"/>
                  <a:gd name="connsiteY2" fmla="*/ 53274 h 1042076"/>
                  <a:gd name="connsiteX3" fmla="*/ 1168102 w 1410084"/>
                  <a:gd name="connsiteY3" fmla="*/ 75149 h 1042076"/>
                  <a:gd name="connsiteX4" fmla="*/ 1079795 w 1410084"/>
                  <a:gd name="connsiteY4" fmla="*/ 77632 h 1042076"/>
                  <a:gd name="connsiteX5" fmla="*/ 955553 w 1410084"/>
                  <a:gd name="connsiteY5" fmla="*/ 83131 h 1042076"/>
                  <a:gd name="connsiteX6" fmla="*/ 967176 w 1410084"/>
                  <a:gd name="connsiteY6" fmla="*/ 93137 h 1042076"/>
                  <a:gd name="connsiteX7" fmla="*/ 1048884 w 1410084"/>
                  <a:gd name="connsiteY7" fmla="*/ 86962 h 1042076"/>
                  <a:gd name="connsiteX8" fmla="*/ 1118414 w 1410084"/>
                  <a:gd name="connsiteY8" fmla="*/ 106205 h 1042076"/>
                  <a:gd name="connsiteX9" fmla="*/ 1163222 w 1410084"/>
                  <a:gd name="connsiteY9" fmla="*/ 89127 h 1042076"/>
                  <a:gd name="connsiteX10" fmla="*/ 1182415 w 1410084"/>
                  <a:gd name="connsiteY10" fmla="*/ 109116 h 1042076"/>
                  <a:gd name="connsiteX11" fmla="*/ 1157074 w 1410084"/>
                  <a:gd name="connsiteY11" fmla="*/ 141078 h 1042076"/>
                  <a:gd name="connsiteX12" fmla="*/ 1215842 w 1410084"/>
                  <a:gd name="connsiteY12" fmla="*/ 120711 h 1042076"/>
                  <a:gd name="connsiteX13" fmla="*/ 1327919 w 1410084"/>
                  <a:gd name="connsiteY13" fmla="*/ 99226 h 1042076"/>
                  <a:gd name="connsiteX14" fmla="*/ 1397121 w 1410084"/>
                  <a:gd name="connsiteY14" fmla="*/ 109983 h 1042076"/>
                  <a:gd name="connsiteX15" fmla="*/ 1410084 w 1410084"/>
                  <a:gd name="connsiteY15" fmla="*/ 133502 h 1042076"/>
                  <a:gd name="connsiteX16" fmla="*/ 1315981 w 1410084"/>
                  <a:gd name="connsiteY16" fmla="*/ 172003 h 1042076"/>
                  <a:gd name="connsiteX17" fmla="*/ 1302947 w 1410084"/>
                  <a:gd name="connsiteY17" fmla="*/ 184279 h 1042076"/>
                  <a:gd name="connsiteX18" fmla="*/ 1229170 w 1410084"/>
                  <a:gd name="connsiteY18" fmla="*/ 193454 h 1042076"/>
                  <a:gd name="connsiteX19" fmla="*/ 1282626 w 1410084"/>
                  <a:gd name="connsiteY19" fmla="*/ 195990 h 1042076"/>
                  <a:gd name="connsiteX20" fmla="*/ 1255628 w 1410084"/>
                  <a:gd name="connsiteY20" fmla="*/ 234127 h 1042076"/>
                  <a:gd name="connsiteX21" fmla="*/ 1237047 w 1410084"/>
                  <a:gd name="connsiteY21" fmla="*/ 267409 h 1042076"/>
                  <a:gd name="connsiteX22" fmla="*/ 1237773 w 1410084"/>
                  <a:gd name="connsiteY22" fmla="*/ 323141 h 1042076"/>
                  <a:gd name="connsiteX23" fmla="*/ 1265487 w 1410084"/>
                  <a:gd name="connsiteY23" fmla="*/ 355088 h 1042076"/>
                  <a:gd name="connsiteX24" fmla="*/ 1229428 w 1410084"/>
                  <a:gd name="connsiteY24" fmla="*/ 357091 h 1042076"/>
                  <a:gd name="connsiteX25" fmla="*/ 1191471 w 1410084"/>
                  <a:gd name="connsiteY25" fmla="*/ 372362 h 1042076"/>
                  <a:gd name="connsiteX26" fmla="*/ 1234067 w 1410084"/>
                  <a:gd name="connsiteY26" fmla="*/ 397662 h 1042076"/>
                  <a:gd name="connsiteX27" fmla="*/ 1239494 w 1410084"/>
                  <a:gd name="connsiteY27" fmla="*/ 437542 h 1042076"/>
                  <a:gd name="connsiteX28" fmla="*/ 1214813 w 1410084"/>
                  <a:gd name="connsiteY28" fmla="*/ 441834 h 1042076"/>
                  <a:gd name="connsiteX29" fmla="*/ 1244714 w 1410084"/>
                  <a:gd name="connsiteY29" fmla="*/ 481288 h 1042076"/>
                  <a:gd name="connsiteX30" fmla="*/ 1193438 w 1410084"/>
                  <a:gd name="connsiteY30" fmla="*/ 484544 h 1042076"/>
                  <a:gd name="connsiteX31" fmla="*/ 1220207 w 1410084"/>
                  <a:gd name="connsiteY31" fmla="*/ 502886 h 1042076"/>
                  <a:gd name="connsiteX32" fmla="*/ 1212640 w 1410084"/>
                  <a:gd name="connsiteY32" fmla="*/ 518656 h 1042076"/>
                  <a:gd name="connsiteX33" fmla="*/ 1180097 w 1410084"/>
                  <a:gd name="connsiteY33" fmla="*/ 525537 h 1042076"/>
                  <a:gd name="connsiteX34" fmla="*/ 1147926 w 1410084"/>
                  <a:gd name="connsiteY34" fmla="*/ 525666 h 1042076"/>
                  <a:gd name="connsiteX35" fmla="*/ 1176844 w 1410084"/>
                  <a:gd name="connsiteY35" fmla="*/ 555484 h 1042076"/>
                  <a:gd name="connsiteX36" fmla="*/ 1177157 w 1410084"/>
                  <a:gd name="connsiteY36" fmla="*/ 574836 h 1042076"/>
                  <a:gd name="connsiteX37" fmla="*/ 1131481 w 1410084"/>
                  <a:gd name="connsiteY37" fmla="*/ 556856 h 1042076"/>
                  <a:gd name="connsiteX38" fmla="*/ 1119603 w 1410084"/>
                  <a:gd name="connsiteY38" fmla="*/ 568506 h 1042076"/>
                  <a:gd name="connsiteX39" fmla="*/ 1150764 w 1410084"/>
                  <a:gd name="connsiteY39" fmla="*/ 579326 h 1042076"/>
                  <a:gd name="connsiteX40" fmla="*/ 1181006 w 1410084"/>
                  <a:gd name="connsiteY40" fmla="*/ 605526 h 1042076"/>
                  <a:gd name="connsiteX41" fmla="*/ 1189760 w 1410084"/>
                  <a:gd name="connsiteY41" fmla="*/ 639522 h 1042076"/>
                  <a:gd name="connsiteX42" fmla="*/ 1148616 w 1410084"/>
                  <a:gd name="connsiteY42" fmla="*/ 647571 h 1042076"/>
                  <a:gd name="connsiteX43" fmla="*/ 1130819 w 1410084"/>
                  <a:gd name="connsiteY43" fmla="*/ 631436 h 1042076"/>
                  <a:gd name="connsiteX44" fmla="*/ 1102280 w 1410084"/>
                  <a:gd name="connsiteY44" fmla="*/ 607145 h 1042076"/>
                  <a:gd name="connsiteX45" fmla="*/ 1110176 w 1410084"/>
                  <a:gd name="connsiteY45" fmla="*/ 635811 h 1042076"/>
                  <a:gd name="connsiteX46" fmla="*/ 1083367 w 1410084"/>
                  <a:gd name="connsiteY46" fmla="*/ 657738 h 1042076"/>
                  <a:gd name="connsiteX47" fmla="*/ 1144198 w 1410084"/>
                  <a:gd name="connsiteY47" fmla="*/ 659498 h 1042076"/>
                  <a:gd name="connsiteX48" fmla="*/ 1176015 w 1410084"/>
                  <a:gd name="connsiteY48" fmla="*/ 661757 h 1042076"/>
                  <a:gd name="connsiteX49" fmla="*/ 1114148 w 1410084"/>
                  <a:gd name="connsiteY49" fmla="*/ 697473 h 1042076"/>
                  <a:gd name="connsiteX50" fmla="*/ 1051407 w 1410084"/>
                  <a:gd name="connsiteY50" fmla="*/ 729271 h 1042076"/>
                  <a:gd name="connsiteX51" fmla="*/ 983859 w 1410084"/>
                  <a:gd name="connsiteY51" fmla="*/ 743049 h 1042076"/>
                  <a:gd name="connsiteX52" fmla="*/ 958400 w 1410084"/>
                  <a:gd name="connsiteY52" fmla="*/ 743218 h 1042076"/>
                  <a:gd name="connsiteX53" fmla="*/ 934524 w 1410084"/>
                  <a:gd name="connsiteY53" fmla="*/ 758475 h 1042076"/>
                  <a:gd name="connsiteX54" fmla="*/ 902418 w 1410084"/>
                  <a:gd name="connsiteY54" fmla="*/ 799705 h 1042076"/>
                  <a:gd name="connsiteX55" fmla="*/ 852770 w 1410084"/>
                  <a:gd name="connsiteY55" fmla="*/ 826626 h 1042076"/>
                  <a:gd name="connsiteX56" fmla="*/ 836821 w 1410084"/>
                  <a:gd name="connsiteY56" fmla="*/ 828198 h 1042076"/>
                  <a:gd name="connsiteX57" fmla="*/ 806092 w 1410084"/>
                  <a:gd name="connsiteY57" fmla="*/ 837541 h 1042076"/>
                  <a:gd name="connsiteX58" fmla="*/ 772918 w 1410084"/>
                  <a:gd name="connsiteY58" fmla="*/ 846392 h 1042076"/>
                  <a:gd name="connsiteX59" fmla="*/ 753141 w 1410084"/>
                  <a:gd name="connsiteY59" fmla="*/ 869644 h 1042076"/>
                  <a:gd name="connsiteX60" fmla="*/ 752822 w 1410084"/>
                  <a:gd name="connsiteY60" fmla="*/ 895688 h 1042076"/>
                  <a:gd name="connsiteX61" fmla="*/ 741145 w 1410084"/>
                  <a:gd name="connsiteY61" fmla="*/ 919795 h 1042076"/>
                  <a:gd name="connsiteX62" fmla="*/ 703505 w 1410084"/>
                  <a:gd name="connsiteY62" fmla="*/ 948811 h 1042076"/>
                  <a:gd name="connsiteX63" fmla="*/ 712800 w 1410084"/>
                  <a:gd name="connsiteY63" fmla="*/ 976775 h 1042076"/>
                  <a:gd name="connsiteX64" fmla="*/ 702424 w 1410084"/>
                  <a:gd name="connsiteY64" fmla="*/ 1005980 h 1042076"/>
                  <a:gd name="connsiteX65" fmla="*/ 690601 w 1410084"/>
                  <a:gd name="connsiteY65" fmla="*/ 1039971 h 1042076"/>
                  <a:gd name="connsiteX66" fmla="*/ 658075 w 1410084"/>
                  <a:gd name="connsiteY66" fmla="*/ 1042076 h 1042076"/>
                  <a:gd name="connsiteX67" fmla="*/ 624002 w 1410084"/>
                  <a:gd name="connsiteY67" fmla="*/ 1013712 h 1042076"/>
                  <a:gd name="connsiteX68" fmla="*/ 577853 w 1410084"/>
                  <a:gd name="connsiteY68" fmla="*/ 1013532 h 1042076"/>
                  <a:gd name="connsiteX69" fmla="*/ 555459 w 1410084"/>
                  <a:gd name="connsiteY69" fmla="*/ 994274 h 1042076"/>
                  <a:gd name="connsiteX70" fmla="*/ 540056 w 1410084"/>
                  <a:gd name="connsiteY70" fmla="*/ 959553 h 1042076"/>
                  <a:gd name="connsiteX71" fmla="*/ 500057 w 1410084"/>
                  <a:gd name="connsiteY71" fmla="*/ 914515 h 1042076"/>
                  <a:gd name="connsiteX72" fmla="*/ 488356 w 1410084"/>
                  <a:gd name="connsiteY72" fmla="*/ 890534 h 1042076"/>
                  <a:gd name="connsiteX73" fmla="*/ 485207 w 1410084"/>
                  <a:gd name="connsiteY73" fmla="*/ 857018 h 1042076"/>
                  <a:gd name="connsiteX74" fmla="*/ 453236 w 1410084"/>
                  <a:gd name="connsiteY74" fmla="*/ 822015 h 1042076"/>
                  <a:gd name="connsiteX75" fmla="*/ 461547 w 1410084"/>
                  <a:gd name="connsiteY75" fmla="*/ 793635 h 1042076"/>
                  <a:gd name="connsiteX76" fmla="*/ 446139 w 1410084"/>
                  <a:gd name="connsiteY76" fmla="*/ 779920 h 1042076"/>
                  <a:gd name="connsiteX77" fmla="*/ 468961 w 1410084"/>
                  <a:gd name="connsiteY77" fmla="*/ 733784 h 1042076"/>
                  <a:gd name="connsiteX78" fmla="*/ 503701 w 1410084"/>
                  <a:gd name="connsiteY78" fmla="*/ 718874 h 1042076"/>
                  <a:gd name="connsiteX79" fmla="*/ 512818 w 1410084"/>
                  <a:gd name="connsiteY79" fmla="*/ 701980 h 1042076"/>
                  <a:gd name="connsiteX80" fmla="*/ 517647 w 1410084"/>
                  <a:gd name="connsiteY80" fmla="*/ 670033 h 1042076"/>
                  <a:gd name="connsiteX81" fmla="*/ 491278 w 1410084"/>
                  <a:gd name="connsiteY81" fmla="*/ 684578 h 1042076"/>
                  <a:gd name="connsiteX82" fmla="*/ 478713 w 1410084"/>
                  <a:gd name="connsiteY82" fmla="*/ 690656 h 1042076"/>
                  <a:gd name="connsiteX83" fmla="*/ 457976 w 1410084"/>
                  <a:gd name="connsiteY83" fmla="*/ 696463 h 1042076"/>
                  <a:gd name="connsiteX84" fmla="*/ 429652 w 1410084"/>
                  <a:gd name="connsiteY84" fmla="*/ 683141 h 1042076"/>
                  <a:gd name="connsiteX85" fmla="*/ 428114 w 1410084"/>
                  <a:gd name="connsiteY85" fmla="*/ 655130 h 1042076"/>
                  <a:gd name="connsiteX86" fmla="*/ 437143 w 1410084"/>
                  <a:gd name="connsiteY86" fmla="*/ 632914 h 1042076"/>
                  <a:gd name="connsiteX87" fmla="*/ 458553 w 1410084"/>
                  <a:gd name="connsiteY87" fmla="*/ 632307 h 1042076"/>
                  <a:gd name="connsiteX88" fmla="*/ 505669 w 1410084"/>
                  <a:gd name="connsiteY88" fmla="*/ 643449 h 1042076"/>
                  <a:gd name="connsiteX89" fmla="*/ 465984 w 1410084"/>
                  <a:gd name="connsiteY89" fmla="*/ 616741 h 1042076"/>
                  <a:gd name="connsiteX90" fmla="*/ 445329 w 1410084"/>
                  <a:gd name="connsiteY90" fmla="*/ 602193 h 1042076"/>
                  <a:gd name="connsiteX91" fmla="*/ 422343 w 1410084"/>
                  <a:gd name="connsiteY91" fmla="*/ 608183 h 1042076"/>
                  <a:gd name="connsiteX92" fmla="*/ 403077 w 1410084"/>
                  <a:gd name="connsiteY92" fmla="*/ 597612 h 1042076"/>
                  <a:gd name="connsiteX93" fmla="*/ 428848 w 1410084"/>
                  <a:gd name="connsiteY93" fmla="*/ 557363 h 1042076"/>
                  <a:gd name="connsiteX94" fmla="*/ 414811 w 1410084"/>
                  <a:gd name="connsiteY94" fmla="*/ 541044 h 1042076"/>
                  <a:gd name="connsiteX95" fmla="*/ 396490 w 1410084"/>
                  <a:gd name="connsiteY95" fmla="*/ 510384 h 1042076"/>
                  <a:gd name="connsiteX96" fmla="*/ 368708 w 1410084"/>
                  <a:gd name="connsiteY96" fmla="*/ 462372 h 1042076"/>
                  <a:gd name="connsiteX97" fmla="*/ 339320 w 1410084"/>
                  <a:gd name="connsiteY97" fmla="*/ 444485 h 1042076"/>
                  <a:gd name="connsiteX98" fmla="*/ 339588 w 1410084"/>
                  <a:gd name="connsiteY98" fmla="*/ 425012 h 1042076"/>
                  <a:gd name="connsiteX99" fmla="*/ 277647 w 1410084"/>
                  <a:gd name="connsiteY99" fmla="*/ 397458 h 1042076"/>
                  <a:gd name="connsiteX100" fmla="*/ 228642 w 1410084"/>
                  <a:gd name="connsiteY100" fmla="*/ 394001 h 1042076"/>
                  <a:gd name="connsiteX101" fmla="*/ 166950 w 1410084"/>
                  <a:gd name="connsiteY101" fmla="*/ 395917 h 1042076"/>
                  <a:gd name="connsiteX102" fmla="*/ 110626 w 1410084"/>
                  <a:gd name="connsiteY102" fmla="*/ 399401 h 1042076"/>
                  <a:gd name="connsiteX103" fmla="*/ 83839 w 1410084"/>
                  <a:gd name="connsiteY103" fmla="*/ 384255 h 1042076"/>
                  <a:gd name="connsiteX104" fmla="*/ 43728 w 1410084"/>
                  <a:gd name="connsiteY104" fmla="*/ 353976 h 1042076"/>
                  <a:gd name="connsiteX105" fmla="*/ 104340 w 1410084"/>
                  <a:gd name="connsiteY105" fmla="*/ 338644 h 1042076"/>
                  <a:gd name="connsiteX106" fmla="*/ 150799 w 1410084"/>
                  <a:gd name="connsiteY106" fmla="*/ 336057 h 1042076"/>
                  <a:gd name="connsiteX107" fmla="*/ 52030 w 1410084"/>
                  <a:gd name="connsiteY107" fmla="*/ 323272 h 1042076"/>
                  <a:gd name="connsiteX108" fmla="*/ 0 w 1410084"/>
                  <a:gd name="connsiteY108" fmla="*/ 303018 h 1042076"/>
                  <a:gd name="connsiteX109" fmla="*/ 3176 w 1410084"/>
                  <a:gd name="connsiteY109" fmla="*/ 283537 h 1042076"/>
                  <a:gd name="connsiteX110" fmla="*/ 90566 w 1410084"/>
                  <a:gd name="connsiteY110" fmla="*/ 259123 h 1042076"/>
                  <a:gd name="connsiteX111" fmla="*/ 175112 w 1410084"/>
                  <a:gd name="connsiteY111" fmla="*/ 234419 h 1042076"/>
                  <a:gd name="connsiteX112" fmla="*/ 184040 w 1410084"/>
                  <a:gd name="connsiteY112" fmla="*/ 215493 h 1042076"/>
                  <a:gd name="connsiteX113" fmla="*/ 121738 w 1410084"/>
                  <a:gd name="connsiteY113" fmla="*/ 196620 h 1042076"/>
                  <a:gd name="connsiteX114" fmla="*/ 141859 w 1410084"/>
                  <a:gd name="connsiteY114" fmla="*/ 175438 h 1042076"/>
                  <a:gd name="connsiteX115" fmla="*/ 221772 w 1410084"/>
                  <a:gd name="connsiteY115" fmla="*/ 137740 h 1042076"/>
                  <a:gd name="connsiteX116" fmla="*/ 255353 w 1410084"/>
                  <a:gd name="connsiteY116" fmla="*/ 131885 h 1042076"/>
                  <a:gd name="connsiteX117" fmla="*/ 245734 w 1410084"/>
                  <a:gd name="connsiteY117" fmla="*/ 107124 h 1042076"/>
                  <a:gd name="connsiteX118" fmla="*/ 300409 w 1410084"/>
                  <a:gd name="connsiteY118" fmla="*/ 92461 h 1042076"/>
                  <a:gd name="connsiteX119" fmla="*/ 371390 w 1410084"/>
                  <a:gd name="connsiteY119" fmla="*/ 83651 h 1042076"/>
                  <a:gd name="connsiteX120" fmla="*/ 442323 w 1410084"/>
                  <a:gd name="connsiteY120" fmla="*/ 83152 h 1042076"/>
                  <a:gd name="connsiteX121" fmla="*/ 467509 w 1410084"/>
                  <a:gd name="connsiteY121" fmla="*/ 100570 h 1042076"/>
                  <a:gd name="connsiteX122" fmla="*/ 528740 w 1410084"/>
                  <a:gd name="connsiteY122" fmla="*/ 69654 h 1042076"/>
                  <a:gd name="connsiteX123" fmla="*/ 583833 w 1410084"/>
                  <a:gd name="connsiteY123" fmla="*/ 90716 h 1042076"/>
                  <a:gd name="connsiteX124" fmla="*/ 616241 w 1410084"/>
                  <a:gd name="connsiteY124" fmla="*/ 95126 h 1042076"/>
                  <a:gd name="connsiteX125" fmla="*/ 664180 w 1410084"/>
                  <a:gd name="connsiteY125" fmla="*/ 113202 h 1042076"/>
                  <a:gd name="connsiteX126" fmla="*/ 609297 w 1410084"/>
                  <a:gd name="connsiteY126" fmla="*/ 83143 h 1042076"/>
                  <a:gd name="connsiteX127" fmla="*/ 612457 w 1410084"/>
                  <a:gd name="connsiteY127" fmla="*/ 58909 h 1042076"/>
                  <a:gd name="connsiteX128" fmla="*/ 689954 w 1410084"/>
                  <a:gd name="connsiteY128" fmla="*/ 24556 h 1042076"/>
                  <a:gd name="connsiteX129" fmla="*/ 770949 w 1410084"/>
                  <a:gd name="connsiteY129" fmla="*/ 27166 h 1042076"/>
                  <a:gd name="connsiteX130" fmla="*/ 800388 w 1410084"/>
                  <a:gd name="connsiteY130" fmla="*/ 5647 h 104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1410084" h="1042076">
                    <a:moveTo>
                      <a:pt x="881969" y="0"/>
                    </a:moveTo>
                    <a:lnTo>
                      <a:pt x="1066339" y="7371"/>
                    </a:lnTo>
                    <a:lnTo>
                      <a:pt x="1210723" y="53274"/>
                    </a:lnTo>
                    <a:lnTo>
                      <a:pt x="1168102" y="75149"/>
                    </a:lnTo>
                    <a:lnTo>
                      <a:pt x="1079795" y="77632"/>
                    </a:lnTo>
                    <a:lnTo>
                      <a:pt x="955553" y="83131"/>
                    </a:lnTo>
                    <a:lnTo>
                      <a:pt x="967176" y="93137"/>
                    </a:lnTo>
                    <a:lnTo>
                      <a:pt x="1048884" y="86962"/>
                    </a:lnTo>
                    <a:lnTo>
                      <a:pt x="1118414" y="106205"/>
                    </a:lnTo>
                    <a:lnTo>
                      <a:pt x="1163222" y="89127"/>
                    </a:lnTo>
                    <a:lnTo>
                      <a:pt x="1182415" y="109116"/>
                    </a:lnTo>
                    <a:lnTo>
                      <a:pt x="1157074" y="141078"/>
                    </a:lnTo>
                    <a:lnTo>
                      <a:pt x="1215842" y="120711"/>
                    </a:lnTo>
                    <a:lnTo>
                      <a:pt x="1327919" y="99226"/>
                    </a:lnTo>
                    <a:lnTo>
                      <a:pt x="1397121" y="109983"/>
                    </a:lnTo>
                    <a:lnTo>
                      <a:pt x="1410084" y="133502"/>
                    </a:lnTo>
                    <a:lnTo>
                      <a:pt x="1315981" y="172003"/>
                    </a:lnTo>
                    <a:lnTo>
                      <a:pt x="1302947" y="184279"/>
                    </a:lnTo>
                    <a:lnTo>
                      <a:pt x="1229170" y="193454"/>
                    </a:lnTo>
                    <a:lnTo>
                      <a:pt x="1282626" y="195990"/>
                    </a:lnTo>
                    <a:lnTo>
                      <a:pt x="1255628" y="234127"/>
                    </a:lnTo>
                    <a:lnTo>
                      <a:pt x="1237047" y="267409"/>
                    </a:lnTo>
                    <a:lnTo>
                      <a:pt x="1237773" y="323141"/>
                    </a:lnTo>
                    <a:lnTo>
                      <a:pt x="1265487" y="355088"/>
                    </a:lnTo>
                    <a:lnTo>
                      <a:pt x="1229428" y="357091"/>
                    </a:lnTo>
                    <a:lnTo>
                      <a:pt x="1191471" y="372362"/>
                    </a:lnTo>
                    <a:lnTo>
                      <a:pt x="1234067" y="397662"/>
                    </a:lnTo>
                    <a:lnTo>
                      <a:pt x="1239494" y="437542"/>
                    </a:lnTo>
                    <a:lnTo>
                      <a:pt x="1214813" y="441834"/>
                    </a:lnTo>
                    <a:lnTo>
                      <a:pt x="1244714" y="481288"/>
                    </a:lnTo>
                    <a:lnTo>
                      <a:pt x="1193438" y="484544"/>
                    </a:lnTo>
                    <a:lnTo>
                      <a:pt x="1220207" y="502886"/>
                    </a:lnTo>
                    <a:lnTo>
                      <a:pt x="1212640" y="518656"/>
                    </a:lnTo>
                    <a:lnTo>
                      <a:pt x="1180097" y="525537"/>
                    </a:lnTo>
                    <a:lnTo>
                      <a:pt x="1147926" y="525666"/>
                    </a:lnTo>
                    <a:lnTo>
                      <a:pt x="1176844" y="555484"/>
                    </a:lnTo>
                    <a:lnTo>
                      <a:pt x="1177157" y="574836"/>
                    </a:lnTo>
                    <a:lnTo>
                      <a:pt x="1131481" y="556856"/>
                    </a:lnTo>
                    <a:lnTo>
                      <a:pt x="1119603" y="568506"/>
                    </a:lnTo>
                    <a:lnTo>
                      <a:pt x="1150764" y="579326"/>
                    </a:lnTo>
                    <a:lnTo>
                      <a:pt x="1181006" y="605526"/>
                    </a:lnTo>
                    <a:lnTo>
                      <a:pt x="1189760" y="639522"/>
                    </a:lnTo>
                    <a:lnTo>
                      <a:pt x="1148616" y="647571"/>
                    </a:lnTo>
                    <a:lnTo>
                      <a:pt x="1130819" y="631436"/>
                    </a:lnTo>
                    <a:lnTo>
                      <a:pt x="1102280" y="607145"/>
                    </a:lnTo>
                    <a:lnTo>
                      <a:pt x="1110176" y="635811"/>
                    </a:lnTo>
                    <a:lnTo>
                      <a:pt x="1083367" y="657738"/>
                    </a:lnTo>
                    <a:lnTo>
                      <a:pt x="1144198" y="659498"/>
                    </a:lnTo>
                    <a:lnTo>
                      <a:pt x="1176015" y="661757"/>
                    </a:lnTo>
                    <a:lnTo>
                      <a:pt x="1114148" y="697473"/>
                    </a:lnTo>
                    <a:lnTo>
                      <a:pt x="1051407" y="729271"/>
                    </a:lnTo>
                    <a:lnTo>
                      <a:pt x="983859" y="743049"/>
                    </a:lnTo>
                    <a:lnTo>
                      <a:pt x="958400" y="743218"/>
                    </a:lnTo>
                    <a:lnTo>
                      <a:pt x="934524" y="758475"/>
                    </a:lnTo>
                    <a:lnTo>
                      <a:pt x="902418" y="799705"/>
                    </a:lnTo>
                    <a:lnTo>
                      <a:pt x="852770" y="826626"/>
                    </a:lnTo>
                    <a:lnTo>
                      <a:pt x="836821" y="828198"/>
                    </a:lnTo>
                    <a:lnTo>
                      <a:pt x="806092" y="837541"/>
                    </a:lnTo>
                    <a:lnTo>
                      <a:pt x="772918" y="846392"/>
                    </a:lnTo>
                    <a:lnTo>
                      <a:pt x="753141" y="869644"/>
                    </a:lnTo>
                    <a:lnTo>
                      <a:pt x="752822" y="895688"/>
                    </a:lnTo>
                    <a:lnTo>
                      <a:pt x="741145" y="919795"/>
                    </a:lnTo>
                    <a:lnTo>
                      <a:pt x="703505" y="948811"/>
                    </a:lnTo>
                    <a:lnTo>
                      <a:pt x="712800" y="976775"/>
                    </a:lnTo>
                    <a:lnTo>
                      <a:pt x="702424" y="1005980"/>
                    </a:lnTo>
                    <a:lnTo>
                      <a:pt x="690601" y="1039971"/>
                    </a:lnTo>
                    <a:lnTo>
                      <a:pt x="658075" y="1042076"/>
                    </a:lnTo>
                    <a:lnTo>
                      <a:pt x="624002" y="1013712"/>
                    </a:lnTo>
                    <a:lnTo>
                      <a:pt x="577853" y="1013532"/>
                    </a:lnTo>
                    <a:lnTo>
                      <a:pt x="555459" y="994274"/>
                    </a:lnTo>
                    <a:lnTo>
                      <a:pt x="540056" y="959553"/>
                    </a:lnTo>
                    <a:lnTo>
                      <a:pt x="500057" y="914515"/>
                    </a:lnTo>
                    <a:lnTo>
                      <a:pt x="488356" y="890534"/>
                    </a:lnTo>
                    <a:lnTo>
                      <a:pt x="485207" y="857018"/>
                    </a:lnTo>
                    <a:lnTo>
                      <a:pt x="453236" y="822015"/>
                    </a:lnTo>
                    <a:lnTo>
                      <a:pt x="461547" y="793635"/>
                    </a:lnTo>
                    <a:lnTo>
                      <a:pt x="446139" y="779920"/>
                    </a:lnTo>
                    <a:lnTo>
                      <a:pt x="468961" y="733784"/>
                    </a:lnTo>
                    <a:lnTo>
                      <a:pt x="503701" y="718874"/>
                    </a:lnTo>
                    <a:lnTo>
                      <a:pt x="512818" y="701980"/>
                    </a:lnTo>
                    <a:lnTo>
                      <a:pt x="517647" y="670033"/>
                    </a:lnTo>
                    <a:lnTo>
                      <a:pt x="491278" y="684578"/>
                    </a:lnTo>
                    <a:lnTo>
                      <a:pt x="478713" y="690656"/>
                    </a:lnTo>
                    <a:lnTo>
                      <a:pt x="457976" y="696463"/>
                    </a:lnTo>
                    <a:lnTo>
                      <a:pt x="429652" y="683141"/>
                    </a:lnTo>
                    <a:lnTo>
                      <a:pt x="428114" y="655130"/>
                    </a:lnTo>
                    <a:lnTo>
                      <a:pt x="437143" y="632914"/>
                    </a:lnTo>
                    <a:lnTo>
                      <a:pt x="458553" y="632307"/>
                    </a:lnTo>
                    <a:lnTo>
                      <a:pt x="505669" y="643449"/>
                    </a:lnTo>
                    <a:lnTo>
                      <a:pt x="465984" y="616741"/>
                    </a:lnTo>
                    <a:lnTo>
                      <a:pt x="445329" y="602193"/>
                    </a:lnTo>
                    <a:lnTo>
                      <a:pt x="422343" y="608183"/>
                    </a:lnTo>
                    <a:lnTo>
                      <a:pt x="403077" y="597612"/>
                    </a:lnTo>
                    <a:lnTo>
                      <a:pt x="428848" y="557363"/>
                    </a:lnTo>
                    <a:lnTo>
                      <a:pt x="414811" y="541044"/>
                    </a:lnTo>
                    <a:lnTo>
                      <a:pt x="396490" y="510384"/>
                    </a:lnTo>
                    <a:lnTo>
                      <a:pt x="368708" y="462372"/>
                    </a:lnTo>
                    <a:lnTo>
                      <a:pt x="339320" y="444485"/>
                    </a:lnTo>
                    <a:lnTo>
                      <a:pt x="339588" y="425012"/>
                    </a:lnTo>
                    <a:lnTo>
                      <a:pt x="277647" y="397458"/>
                    </a:lnTo>
                    <a:lnTo>
                      <a:pt x="228642" y="394001"/>
                    </a:lnTo>
                    <a:lnTo>
                      <a:pt x="166950" y="395917"/>
                    </a:lnTo>
                    <a:lnTo>
                      <a:pt x="110626" y="399401"/>
                    </a:lnTo>
                    <a:lnTo>
                      <a:pt x="83839" y="384255"/>
                    </a:lnTo>
                    <a:lnTo>
                      <a:pt x="43728" y="353976"/>
                    </a:lnTo>
                    <a:lnTo>
                      <a:pt x="104340" y="338644"/>
                    </a:lnTo>
                    <a:lnTo>
                      <a:pt x="150799" y="336057"/>
                    </a:lnTo>
                    <a:lnTo>
                      <a:pt x="52030" y="323272"/>
                    </a:lnTo>
                    <a:lnTo>
                      <a:pt x="0" y="303018"/>
                    </a:lnTo>
                    <a:lnTo>
                      <a:pt x="3176" y="283537"/>
                    </a:lnTo>
                    <a:lnTo>
                      <a:pt x="90566" y="259123"/>
                    </a:lnTo>
                    <a:lnTo>
                      <a:pt x="175112" y="234419"/>
                    </a:lnTo>
                    <a:lnTo>
                      <a:pt x="184040" y="215493"/>
                    </a:lnTo>
                    <a:lnTo>
                      <a:pt x="121738" y="196620"/>
                    </a:lnTo>
                    <a:lnTo>
                      <a:pt x="141859" y="175438"/>
                    </a:lnTo>
                    <a:lnTo>
                      <a:pt x="221772" y="137740"/>
                    </a:lnTo>
                    <a:lnTo>
                      <a:pt x="255353" y="131885"/>
                    </a:lnTo>
                    <a:lnTo>
                      <a:pt x="245734" y="107124"/>
                    </a:lnTo>
                    <a:lnTo>
                      <a:pt x="300409" y="92461"/>
                    </a:lnTo>
                    <a:lnTo>
                      <a:pt x="371390" y="83651"/>
                    </a:lnTo>
                    <a:lnTo>
                      <a:pt x="442323" y="83152"/>
                    </a:lnTo>
                    <a:lnTo>
                      <a:pt x="467509" y="100570"/>
                    </a:lnTo>
                    <a:lnTo>
                      <a:pt x="528740" y="69654"/>
                    </a:lnTo>
                    <a:lnTo>
                      <a:pt x="583833" y="90716"/>
                    </a:lnTo>
                    <a:lnTo>
                      <a:pt x="616241" y="95126"/>
                    </a:lnTo>
                    <a:lnTo>
                      <a:pt x="664180" y="113202"/>
                    </a:lnTo>
                    <a:lnTo>
                      <a:pt x="609297" y="83143"/>
                    </a:lnTo>
                    <a:lnTo>
                      <a:pt x="612457" y="58909"/>
                    </a:lnTo>
                    <a:lnTo>
                      <a:pt x="689954" y="24556"/>
                    </a:lnTo>
                    <a:lnTo>
                      <a:pt x="770949" y="27166"/>
                    </a:lnTo>
                    <a:lnTo>
                      <a:pt x="800388" y="5647"/>
                    </a:lnTo>
                    <a:close/>
                  </a:path>
                </a:pathLst>
              </a:custGeom>
              <a:solidFill>
                <a:srgbClr val="BECDD7"/>
              </a:solidFill>
              <a:ln w="3175" cap="rnd"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29" name="ee4p_US_4_79016">
                <a:extLst>
                  <a:ext uri="{FF2B5EF4-FFF2-40B4-BE49-F238E27FC236}">
                    <a16:creationId xmlns:a16="http://schemas.microsoft.com/office/drawing/2014/main" id="{82E23EFD-0396-4402-9421-05596717A5E3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>
              <a:xfrm>
                <a:off x="3741278" y="3227034"/>
                <a:ext cx="1540623" cy="768199"/>
              </a:xfrm>
              <a:custGeom>
                <a:avLst/>
                <a:gdLst>
                  <a:gd name="connsiteX0" fmla="*/ 1095457 w 1472512"/>
                  <a:gd name="connsiteY0" fmla="*/ 733306 h 734237"/>
                  <a:gd name="connsiteX1" fmla="*/ 1096197 w 1472512"/>
                  <a:gd name="connsiteY1" fmla="*/ 733339 h 734237"/>
                  <a:gd name="connsiteX2" fmla="*/ 1096170 w 1472512"/>
                  <a:gd name="connsiteY2" fmla="*/ 733907 h 734237"/>
                  <a:gd name="connsiteX3" fmla="*/ 1095045 w 1472512"/>
                  <a:gd name="connsiteY3" fmla="*/ 734176 h 734237"/>
                  <a:gd name="connsiteX4" fmla="*/ 1094396 w 1472512"/>
                  <a:gd name="connsiteY4" fmla="*/ 734237 h 734237"/>
                  <a:gd name="connsiteX5" fmla="*/ 1094341 w 1472512"/>
                  <a:gd name="connsiteY5" fmla="*/ 733817 h 734237"/>
                  <a:gd name="connsiteX6" fmla="*/ 1100696 w 1472512"/>
                  <a:gd name="connsiteY6" fmla="*/ 730258 h 734237"/>
                  <a:gd name="connsiteX7" fmla="*/ 1101478 w 1472512"/>
                  <a:gd name="connsiteY7" fmla="*/ 731523 h 734237"/>
                  <a:gd name="connsiteX8" fmla="*/ 1101463 w 1472512"/>
                  <a:gd name="connsiteY8" fmla="*/ 732291 h 734237"/>
                  <a:gd name="connsiteX9" fmla="*/ 1100584 w 1472512"/>
                  <a:gd name="connsiteY9" fmla="*/ 732677 h 734237"/>
                  <a:gd name="connsiteX10" fmla="*/ 1098932 w 1472512"/>
                  <a:gd name="connsiteY10" fmla="*/ 732945 h 734237"/>
                  <a:gd name="connsiteX11" fmla="*/ 1100265 w 1472512"/>
                  <a:gd name="connsiteY11" fmla="*/ 731877 h 734237"/>
                  <a:gd name="connsiteX12" fmla="*/ 1104323 w 1472512"/>
                  <a:gd name="connsiteY12" fmla="*/ 728609 h 734237"/>
                  <a:gd name="connsiteX13" fmla="*/ 1106818 w 1472512"/>
                  <a:gd name="connsiteY13" fmla="*/ 730369 h 734237"/>
                  <a:gd name="connsiteX14" fmla="*/ 1106882 w 1472512"/>
                  <a:gd name="connsiteY14" fmla="*/ 730841 h 734237"/>
                  <a:gd name="connsiteX15" fmla="*/ 1106499 w 1472512"/>
                  <a:gd name="connsiteY15" fmla="*/ 731306 h 734237"/>
                  <a:gd name="connsiteX16" fmla="*/ 1105735 w 1472512"/>
                  <a:gd name="connsiteY16" fmla="*/ 731863 h 734237"/>
                  <a:gd name="connsiteX17" fmla="*/ 1105370 w 1472512"/>
                  <a:gd name="connsiteY17" fmla="*/ 731691 h 734237"/>
                  <a:gd name="connsiteX18" fmla="*/ 1105370 w 1472512"/>
                  <a:gd name="connsiteY18" fmla="*/ 730879 h 734237"/>
                  <a:gd name="connsiteX19" fmla="*/ 1104283 w 1472512"/>
                  <a:gd name="connsiteY19" fmla="*/ 729079 h 734237"/>
                  <a:gd name="connsiteX20" fmla="*/ 1116814 w 1472512"/>
                  <a:gd name="connsiteY20" fmla="*/ 728352 h 734237"/>
                  <a:gd name="connsiteX21" fmla="*/ 1115323 w 1472512"/>
                  <a:gd name="connsiteY21" fmla="*/ 729209 h 734237"/>
                  <a:gd name="connsiteX22" fmla="*/ 1113913 w 1472512"/>
                  <a:gd name="connsiteY22" fmla="*/ 729509 h 734237"/>
                  <a:gd name="connsiteX23" fmla="*/ 1112745 w 1472512"/>
                  <a:gd name="connsiteY23" fmla="*/ 730152 h 734237"/>
                  <a:gd name="connsiteX24" fmla="*/ 1111537 w 1472512"/>
                  <a:gd name="connsiteY24" fmla="*/ 729680 h 734237"/>
                  <a:gd name="connsiteX25" fmla="*/ 1112866 w 1472512"/>
                  <a:gd name="connsiteY25" fmla="*/ 729038 h 734237"/>
                  <a:gd name="connsiteX26" fmla="*/ 1120157 w 1472512"/>
                  <a:gd name="connsiteY26" fmla="*/ 725997 h 734237"/>
                  <a:gd name="connsiteX27" fmla="*/ 1120520 w 1472512"/>
                  <a:gd name="connsiteY27" fmla="*/ 726297 h 734237"/>
                  <a:gd name="connsiteX28" fmla="*/ 1120479 w 1472512"/>
                  <a:gd name="connsiteY28" fmla="*/ 726682 h 734237"/>
                  <a:gd name="connsiteX29" fmla="*/ 1119392 w 1472512"/>
                  <a:gd name="connsiteY29" fmla="*/ 727154 h 734237"/>
                  <a:gd name="connsiteX30" fmla="*/ 1118908 w 1472512"/>
                  <a:gd name="connsiteY30" fmla="*/ 727154 h 734237"/>
                  <a:gd name="connsiteX31" fmla="*/ 1119150 w 1472512"/>
                  <a:gd name="connsiteY31" fmla="*/ 726768 h 734237"/>
                  <a:gd name="connsiteX32" fmla="*/ 1124589 w 1472512"/>
                  <a:gd name="connsiteY32" fmla="*/ 723424 h 734237"/>
                  <a:gd name="connsiteX33" fmla="*/ 1124872 w 1472512"/>
                  <a:gd name="connsiteY33" fmla="*/ 723511 h 734237"/>
                  <a:gd name="connsiteX34" fmla="*/ 1124267 w 1472512"/>
                  <a:gd name="connsiteY34" fmla="*/ 724455 h 734237"/>
                  <a:gd name="connsiteX35" fmla="*/ 1123583 w 1472512"/>
                  <a:gd name="connsiteY35" fmla="*/ 724582 h 734237"/>
                  <a:gd name="connsiteX36" fmla="*/ 1133991 w 1472512"/>
                  <a:gd name="connsiteY36" fmla="*/ 712382 h 734237"/>
                  <a:gd name="connsiteX37" fmla="*/ 1130810 w 1472512"/>
                  <a:gd name="connsiteY37" fmla="*/ 717962 h 734237"/>
                  <a:gd name="connsiteX38" fmla="*/ 1125740 w 1472512"/>
                  <a:gd name="connsiteY38" fmla="*/ 723068 h 734237"/>
                  <a:gd name="connsiteX39" fmla="*/ 1126302 w 1472512"/>
                  <a:gd name="connsiteY39" fmla="*/ 721791 h 734237"/>
                  <a:gd name="connsiteX40" fmla="*/ 1128278 w 1472512"/>
                  <a:gd name="connsiteY40" fmla="*/ 719058 h 734237"/>
                  <a:gd name="connsiteX41" fmla="*/ 1128917 w 1472512"/>
                  <a:gd name="connsiteY41" fmla="*/ 717771 h 734237"/>
                  <a:gd name="connsiteX42" fmla="*/ 1130252 w 1472512"/>
                  <a:gd name="connsiteY42" fmla="*/ 716956 h 734237"/>
                  <a:gd name="connsiteX43" fmla="*/ 1131496 w 1472512"/>
                  <a:gd name="connsiteY43" fmla="*/ 715480 h 734237"/>
                  <a:gd name="connsiteX44" fmla="*/ 1131589 w 1472512"/>
                  <a:gd name="connsiteY44" fmla="*/ 713758 h 734237"/>
                  <a:gd name="connsiteX45" fmla="*/ 1133394 w 1472512"/>
                  <a:gd name="connsiteY45" fmla="*/ 712555 h 734237"/>
                  <a:gd name="connsiteX46" fmla="*/ 1084393 w 1472512"/>
                  <a:gd name="connsiteY46" fmla="*/ 679632 h 734237"/>
                  <a:gd name="connsiteX47" fmla="*/ 1085996 w 1472512"/>
                  <a:gd name="connsiteY47" fmla="*/ 681575 h 734237"/>
                  <a:gd name="connsiteX48" fmla="*/ 1086569 w 1472512"/>
                  <a:gd name="connsiteY48" fmla="*/ 682015 h 734237"/>
                  <a:gd name="connsiteX49" fmla="*/ 1088581 w 1472512"/>
                  <a:gd name="connsiteY49" fmla="*/ 682215 h 734237"/>
                  <a:gd name="connsiteX50" fmla="*/ 1087672 w 1472512"/>
                  <a:gd name="connsiteY50" fmla="*/ 682928 h 734237"/>
                  <a:gd name="connsiteX51" fmla="*/ 1085832 w 1472512"/>
                  <a:gd name="connsiteY51" fmla="*/ 682404 h 734237"/>
                  <a:gd name="connsiteX52" fmla="*/ 1084827 w 1472512"/>
                  <a:gd name="connsiteY52" fmla="*/ 681468 h 734237"/>
                  <a:gd name="connsiteX53" fmla="*/ 1085215 w 1472512"/>
                  <a:gd name="connsiteY53" fmla="*/ 675451 h 734237"/>
                  <a:gd name="connsiteX54" fmla="*/ 1086439 w 1472512"/>
                  <a:gd name="connsiteY54" fmla="*/ 676415 h 734237"/>
                  <a:gd name="connsiteX55" fmla="*/ 1087392 w 1472512"/>
                  <a:gd name="connsiteY55" fmla="*/ 679514 h 734237"/>
                  <a:gd name="connsiteX56" fmla="*/ 1087357 w 1472512"/>
                  <a:gd name="connsiteY56" fmla="*/ 681122 h 734237"/>
                  <a:gd name="connsiteX57" fmla="*/ 1086071 w 1472512"/>
                  <a:gd name="connsiteY57" fmla="*/ 678429 h 734237"/>
                  <a:gd name="connsiteX58" fmla="*/ 697033 w 1472512"/>
                  <a:gd name="connsiteY58" fmla="*/ 661854 h 734237"/>
                  <a:gd name="connsiteX59" fmla="*/ 697921 w 1472512"/>
                  <a:gd name="connsiteY59" fmla="*/ 672691 h 734237"/>
                  <a:gd name="connsiteX60" fmla="*/ 701721 w 1472512"/>
                  <a:gd name="connsiteY60" fmla="*/ 686423 h 734237"/>
                  <a:gd name="connsiteX61" fmla="*/ 702526 w 1472512"/>
                  <a:gd name="connsiteY61" fmla="*/ 690259 h 734237"/>
                  <a:gd name="connsiteX62" fmla="*/ 702172 w 1472512"/>
                  <a:gd name="connsiteY62" fmla="*/ 691526 h 734237"/>
                  <a:gd name="connsiteX63" fmla="*/ 700061 w 1472512"/>
                  <a:gd name="connsiteY63" fmla="*/ 685603 h 734237"/>
                  <a:gd name="connsiteX64" fmla="*/ 696623 w 1472512"/>
                  <a:gd name="connsiteY64" fmla="*/ 672170 h 734237"/>
                  <a:gd name="connsiteX65" fmla="*/ 696493 w 1472512"/>
                  <a:gd name="connsiteY65" fmla="*/ 664497 h 734237"/>
                  <a:gd name="connsiteX66" fmla="*/ 705335 w 1472512"/>
                  <a:gd name="connsiteY66" fmla="*/ 644642 h 734237"/>
                  <a:gd name="connsiteX67" fmla="*/ 700481 w 1472512"/>
                  <a:gd name="connsiteY67" fmla="*/ 652376 h 734237"/>
                  <a:gd name="connsiteX68" fmla="*/ 697859 w 1472512"/>
                  <a:gd name="connsiteY68" fmla="*/ 659007 h 734237"/>
                  <a:gd name="connsiteX69" fmla="*/ 697064 w 1472512"/>
                  <a:gd name="connsiteY69" fmla="*/ 660588 h 734237"/>
                  <a:gd name="connsiteX70" fmla="*/ 697283 w 1472512"/>
                  <a:gd name="connsiteY70" fmla="*/ 658232 h 734237"/>
                  <a:gd name="connsiteX71" fmla="*/ 699355 w 1472512"/>
                  <a:gd name="connsiteY71" fmla="*/ 652874 h 734237"/>
                  <a:gd name="connsiteX72" fmla="*/ 703564 w 1472512"/>
                  <a:gd name="connsiteY72" fmla="*/ 645823 h 734237"/>
                  <a:gd name="connsiteX73" fmla="*/ 1129404 w 1472512"/>
                  <a:gd name="connsiteY73" fmla="*/ 643855 h 734237"/>
                  <a:gd name="connsiteX74" fmla="*/ 1130455 w 1472512"/>
                  <a:gd name="connsiteY74" fmla="*/ 645400 h 734237"/>
                  <a:gd name="connsiteX75" fmla="*/ 1131481 w 1472512"/>
                  <a:gd name="connsiteY75" fmla="*/ 648594 h 734237"/>
                  <a:gd name="connsiteX76" fmla="*/ 1135785 w 1472512"/>
                  <a:gd name="connsiteY76" fmla="*/ 659603 h 734237"/>
                  <a:gd name="connsiteX77" fmla="*/ 1136200 w 1472512"/>
                  <a:gd name="connsiteY77" fmla="*/ 661625 h 734237"/>
                  <a:gd name="connsiteX78" fmla="*/ 1133855 w 1472512"/>
                  <a:gd name="connsiteY78" fmla="*/ 656932 h 734237"/>
                  <a:gd name="connsiteX79" fmla="*/ 1130956 w 1472512"/>
                  <a:gd name="connsiteY79" fmla="*/ 649563 h 734237"/>
                  <a:gd name="connsiteX80" fmla="*/ 710518 w 1472512"/>
                  <a:gd name="connsiteY80" fmla="*/ 636064 h 734237"/>
                  <a:gd name="connsiteX81" fmla="*/ 710968 w 1472512"/>
                  <a:gd name="connsiteY81" fmla="*/ 637283 h 734237"/>
                  <a:gd name="connsiteX82" fmla="*/ 708887 w 1472512"/>
                  <a:gd name="connsiteY82" fmla="*/ 639291 h 734237"/>
                  <a:gd name="connsiteX83" fmla="*/ 706515 w 1472512"/>
                  <a:gd name="connsiteY83" fmla="*/ 642447 h 734237"/>
                  <a:gd name="connsiteX84" fmla="*/ 705960 w 1472512"/>
                  <a:gd name="connsiteY84" fmla="*/ 642514 h 734237"/>
                  <a:gd name="connsiteX85" fmla="*/ 707195 w 1472512"/>
                  <a:gd name="connsiteY85" fmla="*/ 640256 h 734237"/>
                  <a:gd name="connsiteX86" fmla="*/ 707424 w 1472512"/>
                  <a:gd name="connsiteY86" fmla="*/ 639351 h 734237"/>
                  <a:gd name="connsiteX87" fmla="*/ 709449 w 1472512"/>
                  <a:gd name="connsiteY87" fmla="*/ 636491 h 734237"/>
                  <a:gd name="connsiteX88" fmla="*/ 722095 w 1472512"/>
                  <a:gd name="connsiteY88" fmla="*/ 629193 h 734237"/>
                  <a:gd name="connsiteX89" fmla="*/ 721846 w 1472512"/>
                  <a:gd name="connsiteY89" fmla="*/ 630404 h 734237"/>
                  <a:gd name="connsiteX90" fmla="*/ 718516 w 1472512"/>
                  <a:gd name="connsiteY90" fmla="*/ 632124 h 734237"/>
                  <a:gd name="connsiteX91" fmla="*/ 712890 w 1472512"/>
                  <a:gd name="connsiteY91" fmla="*/ 635521 h 734237"/>
                  <a:gd name="connsiteX92" fmla="*/ 711953 w 1472512"/>
                  <a:gd name="connsiteY92" fmla="*/ 635637 h 734237"/>
                  <a:gd name="connsiteX93" fmla="*/ 713114 w 1472512"/>
                  <a:gd name="connsiteY93" fmla="*/ 634145 h 734237"/>
                  <a:gd name="connsiteX94" fmla="*/ 715002 w 1472512"/>
                  <a:gd name="connsiteY94" fmla="*/ 633391 h 734237"/>
                  <a:gd name="connsiteX95" fmla="*/ 719142 w 1472512"/>
                  <a:gd name="connsiteY95" fmla="*/ 630525 h 734237"/>
                  <a:gd name="connsiteX96" fmla="*/ 720831 w 1472512"/>
                  <a:gd name="connsiteY96" fmla="*/ 630327 h 734237"/>
                  <a:gd name="connsiteX97" fmla="*/ 721710 w 1472512"/>
                  <a:gd name="connsiteY97" fmla="*/ 629339 h 734237"/>
                  <a:gd name="connsiteX98" fmla="*/ 762341 w 1472512"/>
                  <a:gd name="connsiteY98" fmla="*/ 602578 h 734237"/>
                  <a:gd name="connsiteX99" fmla="*/ 763829 w 1472512"/>
                  <a:gd name="connsiteY99" fmla="*/ 602640 h 734237"/>
                  <a:gd name="connsiteX100" fmla="*/ 761346 w 1472512"/>
                  <a:gd name="connsiteY100" fmla="*/ 605036 h 734237"/>
                  <a:gd name="connsiteX101" fmla="*/ 756888 w 1472512"/>
                  <a:gd name="connsiteY101" fmla="*/ 608009 h 734237"/>
                  <a:gd name="connsiteX102" fmla="*/ 755613 w 1472512"/>
                  <a:gd name="connsiteY102" fmla="*/ 608276 h 734237"/>
                  <a:gd name="connsiteX103" fmla="*/ 761174 w 1472512"/>
                  <a:gd name="connsiteY103" fmla="*/ 604001 h 734237"/>
                  <a:gd name="connsiteX104" fmla="*/ 836342 w 1472512"/>
                  <a:gd name="connsiteY104" fmla="*/ 594154 h 734237"/>
                  <a:gd name="connsiteX105" fmla="*/ 837613 w 1472512"/>
                  <a:gd name="connsiteY105" fmla="*/ 594237 h 734237"/>
                  <a:gd name="connsiteX106" fmla="*/ 839622 w 1472512"/>
                  <a:gd name="connsiteY106" fmla="*/ 595463 h 734237"/>
                  <a:gd name="connsiteX107" fmla="*/ 840358 w 1472512"/>
                  <a:gd name="connsiteY107" fmla="*/ 595804 h 734237"/>
                  <a:gd name="connsiteX108" fmla="*/ 840699 w 1472512"/>
                  <a:gd name="connsiteY108" fmla="*/ 596300 h 734237"/>
                  <a:gd name="connsiteX109" fmla="*/ 840503 w 1472512"/>
                  <a:gd name="connsiteY109" fmla="*/ 597076 h 734237"/>
                  <a:gd name="connsiteX110" fmla="*/ 839694 w 1472512"/>
                  <a:gd name="connsiteY110" fmla="*/ 598142 h 734237"/>
                  <a:gd name="connsiteX111" fmla="*/ 838746 w 1472512"/>
                  <a:gd name="connsiteY111" fmla="*/ 598539 h 734237"/>
                  <a:gd name="connsiteX112" fmla="*/ 834526 w 1472512"/>
                  <a:gd name="connsiteY112" fmla="*/ 596128 h 734237"/>
                  <a:gd name="connsiteX113" fmla="*/ 834261 w 1472512"/>
                  <a:gd name="connsiteY113" fmla="*/ 595091 h 734237"/>
                  <a:gd name="connsiteX114" fmla="*/ 1019706 w 1472512"/>
                  <a:gd name="connsiteY114" fmla="*/ 591687 h 734237"/>
                  <a:gd name="connsiteX115" fmla="*/ 1015349 w 1472512"/>
                  <a:gd name="connsiteY115" fmla="*/ 594190 h 734237"/>
                  <a:gd name="connsiteX116" fmla="*/ 1012789 w 1472512"/>
                  <a:gd name="connsiteY116" fmla="*/ 595193 h 734237"/>
                  <a:gd name="connsiteX117" fmla="*/ 1010021 w 1472512"/>
                  <a:gd name="connsiteY117" fmla="*/ 594464 h 734237"/>
                  <a:gd name="connsiteX118" fmla="*/ 1011742 w 1472512"/>
                  <a:gd name="connsiteY118" fmla="*/ 594325 h 734237"/>
                  <a:gd name="connsiteX119" fmla="*/ 1012986 w 1472512"/>
                  <a:gd name="connsiteY119" fmla="*/ 594620 h 734237"/>
                  <a:gd name="connsiteX120" fmla="*/ 1016137 w 1472512"/>
                  <a:gd name="connsiteY120" fmla="*/ 593187 h 734237"/>
                  <a:gd name="connsiteX121" fmla="*/ 1017790 w 1472512"/>
                  <a:gd name="connsiteY121" fmla="*/ 592101 h 734237"/>
                  <a:gd name="connsiteX122" fmla="*/ 914208 w 1472512"/>
                  <a:gd name="connsiteY122" fmla="*/ 591115 h 734237"/>
                  <a:gd name="connsiteX123" fmla="*/ 913784 w 1472512"/>
                  <a:gd name="connsiteY123" fmla="*/ 592239 h 734237"/>
                  <a:gd name="connsiteX124" fmla="*/ 912398 w 1472512"/>
                  <a:gd name="connsiteY124" fmla="*/ 593699 h 734237"/>
                  <a:gd name="connsiteX125" fmla="*/ 912462 w 1472512"/>
                  <a:gd name="connsiteY125" fmla="*/ 593143 h 734237"/>
                  <a:gd name="connsiteX126" fmla="*/ 913482 w 1472512"/>
                  <a:gd name="connsiteY126" fmla="*/ 591682 h 734237"/>
                  <a:gd name="connsiteX127" fmla="*/ 914355 w 1472512"/>
                  <a:gd name="connsiteY127" fmla="*/ 582638 h 734237"/>
                  <a:gd name="connsiteX128" fmla="*/ 915401 w 1472512"/>
                  <a:gd name="connsiteY128" fmla="*/ 584211 h 734237"/>
                  <a:gd name="connsiteX129" fmla="*/ 915741 w 1472512"/>
                  <a:gd name="connsiteY129" fmla="*/ 586082 h 734237"/>
                  <a:gd name="connsiteX130" fmla="*/ 915362 w 1472512"/>
                  <a:gd name="connsiteY130" fmla="*/ 589588 h 734237"/>
                  <a:gd name="connsiteX131" fmla="*/ 914643 w 1472512"/>
                  <a:gd name="connsiteY131" fmla="*/ 590476 h 734237"/>
                  <a:gd name="connsiteX132" fmla="*/ 915348 w 1472512"/>
                  <a:gd name="connsiteY132" fmla="*/ 586222 h 734237"/>
                  <a:gd name="connsiteX133" fmla="*/ 906250 w 1472512"/>
                  <a:gd name="connsiteY133" fmla="*/ 579511 h 734237"/>
                  <a:gd name="connsiteX134" fmla="*/ 905586 w 1472512"/>
                  <a:gd name="connsiteY134" fmla="*/ 580697 h 734237"/>
                  <a:gd name="connsiteX135" fmla="*/ 905247 w 1472512"/>
                  <a:gd name="connsiteY135" fmla="*/ 581875 h 734237"/>
                  <a:gd name="connsiteX136" fmla="*/ 905337 w 1472512"/>
                  <a:gd name="connsiteY136" fmla="*/ 583173 h 734237"/>
                  <a:gd name="connsiteX137" fmla="*/ 904087 w 1472512"/>
                  <a:gd name="connsiteY137" fmla="*/ 582527 h 734237"/>
                  <a:gd name="connsiteX138" fmla="*/ 902236 w 1472512"/>
                  <a:gd name="connsiteY138" fmla="*/ 582468 h 734237"/>
                  <a:gd name="connsiteX139" fmla="*/ 903051 w 1472512"/>
                  <a:gd name="connsiteY139" fmla="*/ 582024 h 734237"/>
                  <a:gd name="connsiteX140" fmla="*/ 903624 w 1472512"/>
                  <a:gd name="connsiteY140" fmla="*/ 581592 h 734237"/>
                  <a:gd name="connsiteX141" fmla="*/ 903908 w 1472512"/>
                  <a:gd name="connsiteY141" fmla="*/ 581127 h 734237"/>
                  <a:gd name="connsiteX142" fmla="*/ 918030 w 1472512"/>
                  <a:gd name="connsiteY142" fmla="*/ 576838 h 734237"/>
                  <a:gd name="connsiteX143" fmla="*/ 921827 w 1472512"/>
                  <a:gd name="connsiteY143" fmla="*/ 577820 h 734237"/>
                  <a:gd name="connsiteX144" fmla="*/ 922232 w 1472512"/>
                  <a:gd name="connsiteY144" fmla="*/ 578190 h 734237"/>
                  <a:gd name="connsiteX145" fmla="*/ 921912 w 1472512"/>
                  <a:gd name="connsiteY145" fmla="*/ 578501 h 734237"/>
                  <a:gd name="connsiteX146" fmla="*/ 919652 w 1472512"/>
                  <a:gd name="connsiteY146" fmla="*/ 577919 h 734237"/>
                  <a:gd name="connsiteX147" fmla="*/ 918279 w 1472512"/>
                  <a:gd name="connsiteY147" fmla="*/ 577378 h 734237"/>
                  <a:gd name="connsiteX148" fmla="*/ 933681 w 1472512"/>
                  <a:gd name="connsiteY148" fmla="*/ 576572 h 734237"/>
                  <a:gd name="connsiteX149" fmla="*/ 934650 w 1472512"/>
                  <a:gd name="connsiteY149" fmla="*/ 577170 h 734237"/>
                  <a:gd name="connsiteX150" fmla="*/ 932406 w 1472512"/>
                  <a:gd name="connsiteY150" fmla="*/ 577769 h 734237"/>
                  <a:gd name="connsiteX151" fmla="*/ 929078 w 1472512"/>
                  <a:gd name="connsiteY151" fmla="*/ 577714 h 734237"/>
                  <a:gd name="connsiteX152" fmla="*/ 928402 w 1472512"/>
                  <a:gd name="connsiteY152" fmla="*/ 577503 h 734237"/>
                  <a:gd name="connsiteX153" fmla="*/ 929737 w 1472512"/>
                  <a:gd name="connsiteY153" fmla="*/ 577104 h 734237"/>
                  <a:gd name="connsiteX154" fmla="*/ 1104351 w 1472512"/>
                  <a:gd name="connsiteY154" fmla="*/ 557012 h 734237"/>
                  <a:gd name="connsiteX155" fmla="*/ 1103218 w 1472512"/>
                  <a:gd name="connsiteY155" fmla="*/ 563852 h 734237"/>
                  <a:gd name="connsiteX156" fmla="*/ 1102726 w 1472512"/>
                  <a:gd name="connsiteY156" fmla="*/ 561431 h 734237"/>
                  <a:gd name="connsiteX157" fmla="*/ 1102677 w 1472512"/>
                  <a:gd name="connsiteY157" fmla="*/ 559079 h 734237"/>
                  <a:gd name="connsiteX158" fmla="*/ 1103537 w 1472512"/>
                  <a:gd name="connsiteY158" fmla="*/ 557687 h 734237"/>
                  <a:gd name="connsiteX159" fmla="*/ 156960 w 1472512"/>
                  <a:gd name="connsiteY159" fmla="*/ 498703 h 734237"/>
                  <a:gd name="connsiteX160" fmla="*/ 158226 w 1472512"/>
                  <a:gd name="connsiteY160" fmla="*/ 500775 h 734237"/>
                  <a:gd name="connsiteX161" fmla="*/ 161396 w 1472512"/>
                  <a:gd name="connsiteY161" fmla="*/ 503919 h 734237"/>
                  <a:gd name="connsiteX162" fmla="*/ 162232 w 1472512"/>
                  <a:gd name="connsiteY162" fmla="*/ 504540 h 734237"/>
                  <a:gd name="connsiteX163" fmla="*/ 160747 w 1472512"/>
                  <a:gd name="connsiteY163" fmla="*/ 504799 h 734237"/>
                  <a:gd name="connsiteX164" fmla="*/ 159100 w 1472512"/>
                  <a:gd name="connsiteY164" fmla="*/ 504218 h 734237"/>
                  <a:gd name="connsiteX165" fmla="*/ 157679 w 1472512"/>
                  <a:gd name="connsiteY165" fmla="*/ 501467 h 734237"/>
                  <a:gd name="connsiteX166" fmla="*/ 156115 w 1472512"/>
                  <a:gd name="connsiteY166" fmla="*/ 499316 h 734237"/>
                  <a:gd name="connsiteX167" fmla="*/ 132264 w 1472512"/>
                  <a:gd name="connsiteY167" fmla="*/ 491593 h 734237"/>
                  <a:gd name="connsiteX168" fmla="*/ 133447 w 1472512"/>
                  <a:gd name="connsiteY168" fmla="*/ 491806 h 734237"/>
                  <a:gd name="connsiteX169" fmla="*/ 134383 w 1472512"/>
                  <a:gd name="connsiteY169" fmla="*/ 493009 h 734237"/>
                  <a:gd name="connsiteX170" fmla="*/ 134486 w 1472512"/>
                  <a:gd name="connsiteY170" fmla="*/ 493443 h 734237"/>
                  <a:gd name="connsiteX171" fmla="*/ 133351 w 1472512"/>
                  <a:gd name="connsiteY171" fmla="*/ 493497 h 734237"/>
                  <a:gd name="connsiteX172" fmla="*/ 131793 w 1472512"/>
                  <a:gd name="connsiteY172" fmla="*/ 493231 h 734237"/>
                  <a:gd name="connsiteX173" fmla="*/ 130987 w 1472512"/>
                  <a:gd name="connsiteY173" fmla="*/ 491700 h 734237"/>
                  <a:gd name="connsiteX174" fmla="*/ 157017 w 1472512"/>
                  <a:gd name="connsiteY174" fmla="*/ 486023 h 734237"/>
                  <a:gd name="connsiteX175" fmla="*/ 161179 w 1472512"/>
                  <a:gd name="connsiteY175" fmla="*/ 487794 h 734237"/>
                  <a:gd name="connsiteX176" fmla="*/ 162294 w 1472512"/>
                  <a:gd name="connsiteY176" fmla="*/ 488632 h 734237"/>
                  <a:gd name="connsiteX177" fmla="*/ 163583 w 1472512"/>
                  <a:gd name="connsiteY177" fmla="*/ 490734 h 734237"/>
                  <a:gd name="connsiteX178" fmla="*/ 161727 w 1472512"/>
                  <a:gd name="connsiteY178" fmla="*/ 490475 h 734237"/>
                  <a:gd name="connsiteX179" fmla="*/ 159786 w 1472512"/>
                  <a:gd name="connsiteY179" fmla="*/ 490592 h 734237"/>
                  <a:gd name="connsiteX180" fmla="*/ 159198 w 1472512"/>
                  <a:gd name="connsiteY180" fmla="*/ 489449 h 734237"/>
                  <a:gd name="connsiteX181" fmla="*/ 158618 w 1472512"/>
                  <a:gd name="connsiteY181" fmla="*/ 487860 h 734237"/>
                  <a:gd name="connsiteX182" fmla="*/ 158229 w 1472512"/>
                  <a:gd name="connsiteY182" fmla="*/ 487454 h 734237"/>
                  <a:gd name="connsiteX183" fmla="*/ 156900 w 1472512"/>
                  <a:gd name="connsiteY183" fmla="*/ 487312 h 734237"/>
                  <a:gd name="connsiteX184" fmla="*/ 156800 w 1472512"/>
                  <a:gd name="connsiteY184" fmla="*/ 487168 h 734237"/>
                  <a:gd name="connsiteX185" fmla="*/ 156644 w 1472512"/>
                  <a:gd name="connsiteY185" fmla="*/ 486392 h 734237"/>
                  <a:gd name="connsiteX186" fmla="*/ 118317 w 1472512"/>
                  <a:gd name="connsiteY186" fmla="*/ 470293 h 734237"/>
                  <a:gd name="connsiteX187" fmla="*/ 120293 w 1472512"/>
                  <a:gd name="connsiteY187" fmla="*/ 471486 h 734237"/>
                  <a:gd name="connsiteX188" fmla="*/ 120560 w 1472512"/>
                  <a:gd name="connsiteY188" fmla="*/ 471818 h 734237"/>
                  <a:gd name="connsiteX189" fmla="*/ 119040 w 1472512"/>
                  <a:gd name="connsiteY189" fmla="*/ 473381 h 734237"/>
                  <a:gd name="connsiteX190" fmla="*/ 117245 w 1472512"/>
                  <a:gd name="connsiteY190" fmla="*/ 473781 h 734237"/>
                  <a:gd name="connsiteX191" fmla="*/ 115887 w 1472512"/>
                  <a:gd name="connsiteY191" fmla="*/ 473404 h 734237"/>
                  <a:gd name="connsiteX192" fmla="*/ 113725 w 1472512"/>
                  <a:gd name="connsiteY192" fmla="*/ 470655 h 734237"/>
                  <a:gd name="connsiteX193" fmla="*/ 110770 w 1472512"/>
                  <a:gd name="connsiteY193" fmla="*/ 468951 h 734237"/>
                  <a:gd name="connsiteX194" fmla="*/ 111137 w 1472512"/>
                  <a:gd name="connsiteY194" fmla="*/ 469314 h 734237"/>
                  <a:gd name="connsiteX195" fmla="*/ 112328 w 1472512"/>
                  <a:gd name="connsiteY195" fmla="*/ 470340 h 734237"/>
                  <a:gd name="connsiteX196" fmla="*/ 110973 w 1472512"/>
                  <a:gd name="connsiteY196" fmla="*/ 470414 h 734237"/>
                  <a:gd name="connsiteX197" fmla="*/ 108886 w 1472512"/>
                  <a:gd name="connsiteY197" fmla="*/ 470109 h 734237"/>
                  <a:gd name="connsiteX198" fmla="*/ 109616 w 1472512"/>
                  <a:gd name="connsiteY198" fmla="*/ 469438 h 734237"/>
                  <a:gd name="connsiteX199" fmla="*/ 123152 w 1472512"/>
                  <a:gd name="connsiteY199" fmla="*/ 468768 h 734237"/>
                  <a:gd name="connsiteX200" fmla="*/ 128344 w 1472512"/>
                  <a:gd name="connsiteY200" fmla="*/ 470238 h 734237"/>
                  <a:gd name="connsiteX201" fmla="*/ 131143 w 1472512"/>
                  <a:gd name="connsiteY201" fmla="*/ 469533 h 734237"/>
                  <a:gd name="connsiteX202" fmla="*/ 131649 w 1472512"/>
                  <a:gd name="connsiteY202" fmla="*/ 470246 h 734237"/>
                  <a:gd name="connsiteX203" fmla="*/ 131319 w 1472512"/>
                  <a:gd name="connsiteY203" fmla="*/ 470864 h 734237"/>
                  <a:gd name="connsiteX204" fmla="*/ 125009 w 1472512"/>
                  <a:gd name="connsiteY204" fmla="*/ 471977 h 734237"/>
                  <a:gd name="connsiteX205" fmla="*/ 123071 w 1472512"/>
                  <a:gd name="connsiteY205" fmla="*/ 471198 h 734237"/>
                  <a:gd name="connsiteX206" fmla="*/ 122894 w 1472512"/>
                  <a:gd name="connsiteY206" fmla="*/ 470130 h 734237"/>
                  <a:gd name="connsiteX207" fmla="*/ 122240 w 1472512"/>
                  <a:gd name="connsiteY207" fmla="*/ 469108 h 734237"/>
                  <a:gd name="connsiteX208" fmla="*/ 1225398 w 1472512"/>
                  <a:gd name="connsiteY208" fmla="*/ 450920 h 734237"/>
                  <a:gd name="connsiteX209" fmla="*/ 1226716 w 1472512"/>
                  <a:gd name="connsiteY209" fmla="*/ 451083 h 734237"/>
                  <a:gd name="connsiteX210" fmla="*/ 1228655 w 1472512"/>
                  <a:gd name="connsiteY210" fmla="*/ 452225 h 734237"/>
                  <a:gd name="connsiteX211" fmla="*/ 1228087 w 1472512"/>
                  <a:gd name="connsiteY211" fmla="*/ 452294 h 734237"/>
                  <a:gd name="connsiteX212" fmla="*/ 1227085 w 1472512"/>
                  <a:gd name="connsiteY212" fmla="*/ 451975 h 734237"/>
                  <a:gd name="connsiteX213" fmla="*/ 1225703 w 1472512"/>
                  <a:gd name="connsiteY213" fmla="*/ 451367 h 734237"/>
                  <a:gd name="connsiteX214" fmla="*/ 1237300 w 1472512"/>
                  <a:gd name="connsiteY214" fmla="*/ 444032 h 734237"/>
                  <a:gd name="connsiteX215" fmla="*/ 1233465 w 1472512"/>
                  <a:gd name="connsiteY215" fmla="*/ 447936 h 734237"/>
                  <a:gd name="connsiteX216" fmla="*/ 1229742 w 1472512"/>
                  <a:gd name="connsiteY216" fmla="*/ 452569 h 734237"/>
                  <a:gd name="connsiteX217" fmla="*/ 1229107 w 1472512"/>
                  <a:gd name="connsiteY217" fmla="*/ 452899 h 734237"/>
                  <a:gd name="connsiteX218" fmla="*/ 1231442 w 1472512"/>
                  <a:gd name="connsiteY218" fmla="*/ 449301 h 734237"/>
                  <a:gd name="connsiteX219" fmla="*/ 1236055 w 1472512"/>
                  <a:gd name="connsiteY219" fmla="*/ 444731 h 734237"/>
                  <a:gd name="connsiteX220" fmla="*/ 1248152 w 1472512"/>
                  <a:gd name="connsiteY220" fmla="*/ 436768 h 734237"/>
                  <a:gd name="connsiteX221" fmla="*/ 1243517 w 1472512"/>
                  <a:gd name="connsiteY221" fmla="*/ 438833 h 734237"/>
                  <a:gd name="connsiteX222" fmla="*/ 1242993 w 1472512"/>
                  <a:gd name="connsiteY222" fmla="*/ 438709 h 734237"/>
                  <a:gd name="connsiteX223" fmla="*/ 1246036 w 1472512"/>
                  <a:gd name="connsiteY223" fmla="*/ 437233 h 734237"/>
                  <a:gd name="connsiteX224" fmla="*/ 1255255 w 1472512"/>
                  <a:gd name="connsiteY224" fmla="*/ 419981 h 734237"/>
                  <a:gd name="connsiteX225" fmla="*/ 1255894 w 1472512"/>
                  <a:gd name="connsiteY225" fmla="*/ 421510 h 734237"/>
                  <a:gd name="connsiteX226" fmla="*/ 1256456 w 1472512"/>
                  <a:gd name="connsiteY226" fmla="*/ 425933 h 734237"/>
                  <a:gd name="connsiteX227" fmla="*/ 1256244 w 1472512"/>
                  <a:gd name="connsiteY227" fmla="*/ 429283 h 734237"/>
                  <a:gd name="connsiteX228" fmla="*/ 1255106 w 1472512"/>
                  <a:gd name="connsiteY228" fmla="*/ 434160 h 734237"/>
                  <a:gd name="connsiteX229" fmla="*/ 1254220 w 1472512"/>
                  <a:gd name="connsiteY229" fmla="*/ 435324 h 734237"/>
                  <a:gd name="connsiteX230" fmla="*/ 1250798 w 1472512"/>
                  <a:gd name="connsiteY230" fmla="*/ 436113 h 734237"/>
                  <a:gd name="connsiteX231" fmla="*/ 1250495 w 1472512"/>
                  <a:gd name="connsiteY231" fmla="*/ 435861 h 734237"/>
                  <a:gd name="connsiteX232" fmla="*/ 1254417 w 1472512"/>
                  <a:gd name="connsiteY232" fmla="*/ 434210 h 734237"/>
                  <a:gd name="connsiteX233" fmla="*/ 1255654 w 1472512"/>
                  <a:gd name="connsiteY233" fmla="*/ 428390 h 734237"/>
                  <a:gd name="connsiteX234" fmla="*/ 1255824 w 1472512"/>
                  <a:gd name="connsiteY234" fmla="*/ 425703 h 734237"/>
                  <a:gd name="connsiteX235" fmla="*/ 1255236 w 1472512"/>
                  <a:gd name="connsiteY235" fmla="*/ 420961 h 734237"/>
                  <a:gd name="connsiteX236" fmla="*/ 1249804 w 1472512"/>
                  <a:gd name="connsiteY236" fmla="*/ 414834 h 734237"/>
                  <a:gd name="connsiteX237" fmla="*/ 1251548 w 1472512"/>
                  <a:gd name="connsiteY237" fmla="*/ 415874 h 734237"/>
                  <a:gd name="connsiteX238" fmla="*/ 1251860 w 1472512"/>
                  <a:gd name="connsiteY238" fmla="*/ 416740 h 734237"/>
                  <a:gd name="connsiteX239" fmla="*/ 1251884 w 1472512"/>
                  <a:gd name="connsiteY239" fmla="*/ 417460 h 734237"/>
                  <a:gd name="connsiteX240" fmla="*/ 1251499 w 1472512"/>
                  <a:gd name="connsiteY240" fmla="*/ 418050 h 734237"/>
                  <a:gd name="connsiteX241" fmla="*/ 1265603 w 1472512"/>
                  <a:gd name="connsiteY241" fmla="*/ 345759 h 734237"/>
                  <a:gd name="connsiteX242" fmla="*/ 1264626 w 1472512"/>
                  <a:gd name="connsiteY242" fmla="*/ 349242 h 734237"/>
                  <a:gd name="connsiteX243" fmla="*/ 1262916 w 1472512"/>
                  <a:gd name="connsiteY243" fmla="*/ 352443 h 734237"/>
                  <a:gd name="connsiteX244" fmla="*/ 1259604 w 1472512"/>
                  <a:gd name="connsiteY244" fmla="*/ 357889 h 734237"/>
                  <a:gd name="connsiteX245" fmla="*/ 1258444 w 1472512"/>
                  <a:gd name="connsiteY245" fmla="*/ 358368 h 734237"/>
                  <a:gd name="connsiteX246" fmla="*/ 1262336 w 1472512"/>
                  <a:gd name="connsiteY246" fmla="*/ 352446 h 734237"/>
                  <a:gd name="connsiteX247" fmla="*/ 1264595 w 1472512"/>
                  <a:gd name="connsiteY247" fmla="*/ 347478 h 734237"/>
                  <a:gd name="connsiteX248" fmla="*/ 1290888 w 1472512"/>
                  <a:gd name="connsiteY248" fmla="*/ 302554 h 734237"/>
                  <a:gd name="connsiteX249" fmla="*/ 1290213 w 1472512"/>
                  <a:gd name="connsiteY249" fmla="*/ 304525 h 734237"/>
                  <a:gd name="connsiteX250" fmla="*/ 1287221 w 1472512"/>
                  <a:gd name="connsiteY250" fmla="*/ 309062 h 734237"/>
                  <a:gd name="connsiteX251" fmla="*/ 1287152 w 1472512"/>
                  <a:gd name="connsiteY251" fmla="*/ 308191 h 734237"/>
                  <a:gd name="connsiteX252" fmla="*/ 1291048 w 1472512"/>
                  <a:gd name="connsiteY252" fmla="*/ 275071 h 734237"/>
                  <a:gd name="connsiteX253" fmla="*/ 1291858 w 1472512"/>
                  <a:gd name="connsiteY253" fmla="*/ 275347 h 734237"/>
                  <a:gd name="connsiteX254" fmla="*/ 1291892 w 1472512"/>
                  <a:gd name="connsiteY254" fmla="*/ 276372 h 734237"/>
                  <a:gd name="connsiteX255" fmla="*/ 1291578 w 1472512"/>
                  <a:gd name="connsiteY255" fmla="*/ 277249 h 734237"/>
                  <a:gd name="connsiteX256" fmla="*/ 1290077 w 1472512"/>
                  <a:gd name="connsiteY256" fmla="*/ 278597 h 734237"/>
                  <a:gd name="connsiteX257" fmla="*/ 1288811 w 1472512"/>
                  <a:gd name="connsiteY257" fmla="*/ 279171 h 734237"/>
                  <a:gd name="connsiteX258" fmla="*/ 1287593 w 1472512"/>
                  <a:gd name="connsiteY258" fmla="*/ 279296 h 734237"/>
                  <a:gd name="connsiteX259" fmla="*/ 1288810 w 1472512"/>
                  <a:gd name="connsiteY259" fmla="*/ 276397 h 734237"/>
                  <a:gd name="connsiteX260" fmla="*/ 1337638 w 1472512"/>
                  <a:gd name="connsiteY260" fmla="*/ 260074 h 734237"/>
                  <a:gd name="connsiteX261" fmla="*/ 1333727 w 1472512"/>
                  <a:gd name="connsiteY261" fmla="*/ 263553 h 734237"/>
                  <a:gd name="connsiteX262" fmla="*/ 1331626 w 1472512"/>
                  <a:gd name="connsiteY262" fmla="*/ 265146 h 734237"/>
                  <a:gd name="connsiteX263" fmla="*/ 1329813 w 1472512"/>
                  <a:gd name="connsiteY263" fmla="*/ 267108 h 734237"/>
                  <a:gd name="connsiteX264" fmla="*/ 1331452 w 1472512"/>
                  <a:gd name="connsiteY264" fmla="*/ 267307 h 734237"/>
                  <a:gd name="connsiteX265" fmla="*/ 1332861 w 1472512"/>
                  <a:gd name="connsiteY265" fmla="*/ 266731 h 734237"/>
                  <a:gd name="connsiteX266" fmla="*/ 1334197 w 1472512"/>
                  <a:gd name="connsiteY266" fmla="*/ 265567 h 734237"/>
                  <a:gd name="connsiteX267" fmla="*/ 1337298 w 1472512"/>
                  <a:gd name="connsiteY267" fmla="*/ 263991 h 734237"/>
                  <a:gd name="connsiteX268" fmla="*/ 1339940 w 1472512"/>
                  <a:gd name="connsiteY268" fmla="*/ 263303 h 734237"/>
                  <a:gd name="connsiteX269" fmla="*/ 1340771 w 1472512"/>
                  <a:gd name="connsiteY269" fmla="*/ 263160 h 734237"/>
                  <a:gd name="connsiteX270" fmla="*/ 1342032 w 1472512"/>
                  <a:gd name="connsiteY270" fmla="*/ 264265 h 734237"/>
                  <a:gd name="connsiteX271" fmla="*/ 1344530 w 1472512"/>
                  <a:gd name="connsiteY271" fmla="*/ 263377 h 734237"/>
                  <a:gd name="connsiteX272" fmla="*/ 1347099 w 1472512"/>
                  <a:gd name="connsiteY272" fmla="*/ 262879 h 734237"/>
                  <a:gd name="connsiteX273" fmla="*/ 1335983 w 1472512"/>
                  <a:gd name="connsiteY273" fmla="*/ 267933 h 734237"/>
                  <a:gd name="connsiteX274" fmla="*/ 1333710 w 1472512"/>
                  <a:gd name="connsiteY274" fmla="*/ 268502 h 734237"/>
                  <a:gd name="connsiteX275" fmla="*/ 1330458 w 1472512"/>
                  <a:gd name="connsiteY275" fmla="*/ 270005 h 734237"/>
                  <a:gd name="connsiteX276" fmla="*/ 1327384 w 1472512"/>
                  <a:gd name="connsiteY276" fmla="*/ 271070 h 734237"/>
                  <a:gd name="connsiteX277" fmla="*/ 1325170 w 1472512"/>
                  <a:gd name="connsiteY277" fmla="*/ 271458 h 734237"/>
                  <a:gd name="connsiteX278" fmla="*/ 1314164 w 1472512"/>
                  <a:gd name="connsiteY278" fmla="*/ 275200 h 734237"/>
                  <a:gd name="connsiteX279" fmla="*/ 1313291 w 1472512"/>
                  <a:gd name="connsiteY279" fmla="*/ 275281 h 734237"/>
                  <a:gd name="connsiteX280" fmla="*/ 1312347 w 1472512"/>
                  <a:gd name="connsiteY280" fmla="*/ 274916 h 734237"/>
                  <a:gd name="connsiteX281" fmla="*/ 1303281 w 1472512"/>
                  <a:gd name="connsiteY281" fmla="*/ 276842 h 734237"/>
                  <a:gd name="connsiteX282" fmla="*/ 1299561 w 1472512"/>
                  <a:gd name="connsiteY282" fmla="*/ 277060 h 734237"/>
                  <a:gd name="connsiteX283" fmla="*/ 1296173 w 1472512"/>
                  <a:gd name="connsiteY283" fmla="*/ 277731 h 734237"/>
                  <a:gd name="connsiteX284" fmla="*/ 1298679 w 1472512"/>
                  <a:gd name="connsiteY284" fmla="*/ 276181 h 734237"/>
                  <a:gd name="connsiteX285" fmla="*/ 1298734 w 1472512"/>
                  <a:gd name="connsiteY285" fmla="*/ 275601 h 734237"/>
                  <a:gd name="connsiteX286" fmla="*/ 1298134 w 1472512"/>
                  <a:gd name="connsiteY286" fmla="*/ 275147 h 734237"/>
                  <a:gd name="connsiteX287" fmla="*/ 1296793 w 1472512"/>
                  <a:gd name="connsiteY287" fmla="*/ 275279 h 734237"/>
                  <a:gd name="connsiteX288" fmla="*/ 1295422 w 1472512"/>
                  <a:gd name="connsiteY288" fmla="*/ 276875 h 734237"/>
                  <a:gd name="connsiteX289" fmla="*/ 1293231 w 1472512"/>
                  <a:gd name="connsiteY289" fmla="*/ 277409 h 734237"/>
                  <a:gd name="connsiteX290" fmla="*/ 1292792 w 1472512"/>
                  <a:gd name="connsiteY290" fmla="*/ 275670 h 734237"/>
                  <a:gd name="connsiteX291" fmla="*/ 1293524 w 1472512"/>
                  <a:gd name="connsiteY291" fmla="*/ 274325 h 734237"/>
                  <a:gd name="connsiteX292" fmla="*/ 1294515 w 1472512"/>
                  <a:gd name="connsiteY292" fmla="*/ 273047 h 734237"/>
                  <a:gd name="connsiteX293" fmla="*/ 1296691 w 1472512"/>
                  <a:gd name="connsiteY293" fmla="*/ 271039 h 734237"/>
                  <a:gd name="connsiteX294" fmla="*/ 1299803 w 1472512"/>
                  <a:gd name="connsiteY294" fmla="*/ 269765 h 734237"/>
                  <a:gd name="connsiteX295" fmla="*/ 1301385 w 1472512"/>
                  <a:gd name="connsiteY295" fmla="*/ 268665 h 734237"/>
                  <a:gd name="connsiteX296" fmla="*/ 1302480 w 1472512"/>
                  <a:gd name="connsiteY296" fmla="*/ 269634 h 734237"/>
                  <a:gd name="connsiteX297" fmla="*/ 1302722 w 1472512"/>
                  <a:gd name="connsiteY297" fmla="*/ 268324 h 734237"/>
                  <a:gd name="connsiteX298" fmla="*/ 1303565 w 1472512"/>
                  <a:gd name="connsiteY298" fmla="*/ 267567 h 734237"/>
                  <a:gd name="connsiteX299" fmla="*/ 1304482 w 1472512"/>
                  <a:gd name="connsiteY299" fmla="*/ 267160 h 734237"/>
                  <a:gd name="connsiteX300" fmla="*/ 1306686 w 1472512"/>
                  <a:gd name="connsiteY300" fmla="*/ 267150 h 734237"/>
                  <a:gd name="connsiteX301" fmla="*/ 1307873 w 1472512"/>
                  <a:gd name="connsiteY301" fmla="*/ 266944 h 734237"/>
                  <a:gd name="connsiteX302" fmla="*/ 1308731 w 1472512"/>
                  <a:gd name="connsiteY302" fmla="*/ 266508 h 734237"/>
                  <a:gd name="connsiteX303" fmla="*/ 1309613 w 1472512"/>
                  <a:gd name="connsiteY303" fmla="*/ 266427 h 734237"/>
                  <a:gd name="connsiteX304" fmla="*/ 1312024 w 1472512"/>
                  <a:gd name="connsiteY304" fmla="*/ 267021 h 734237"/>
                  <a:gd name="connsiteX305" fmla="*/ 1314380 w 1472512"/>
                  <a:gd name="connsiteY305" fmla="*/ 266851 h 734237"/>
                  <a:gd name="connsiteX306" fmla="*/ 1316282 w 1472512"/>
                  <a:gd name="connsiteY306" fmla="*/ 266031 h 734237"/>
                  <a:gd name="connsiteX307" fmla="*/ 1318259 w 1472512"/>
                  <a:gd name="connsiteY307" fmla="*/ 265755 h 734237"/>
                  <a:gd name="connsiteX308" fmla="*/ 1323487 w 1472512"/>
                  <a:gd name="connsiteY308" fmla="*/ 265569 h 734237"/>
                  <a:gd name="connsiteX309" fmla="*/ 1328684 w 1472512"/>
                  <a:gd name="connsiteY309" fmla="*/ 264970 h 734237"/>
                  <a:gd name="connsiteX310" fmla="*/ 1330762 w 1472512"/>
                  <a:gd name="connsiteY310" fmla="*/ 263902 h 734237"/>
                  <a:gd name="connsiteX311" fmla="*/ 1335126 w 1472512"/>
                  <a:gd name="connsiteY311" fmla="*/ 260909 h 734237"/>
                  <a:gd name="connsiteX312" fmla="*/ 1394599 w 1472512"/>
                  <a:gd name="connsiteY312" fmla="*/ 252637 h 734237"/>
                  <a:gd name="connsiteX313" fmla="*/ 1396018 w 1472512"/>
                  <a:gd name="connsiteY313" fmla="*/ 255646 h 734237"/>
                  <a:gd name="connsiteX314" fmla="*/ 1396213 w 1472512"/>
                  <a:gd name="connsiteY314" fmla="*/ 256653 h 734237"/>
                  <a:gd name="connsiteX315" fmla="*/ 1394245 w 1472512"/>
                  <a:gd name="connsiteY315" fmla="*/ 257142 h 734237"/>
                  <a:gd name="connsiteX316" fmla="*/ 1389705 w 1472512"/>
                  <a:gd name="connsiteY316" fmla="*/ 256020 h 734237"/>
                  <a:gd name="connsiteX317" fmla="*/ 1393440 w 1472512"/>
                  <a:gd name="connsiteY317" fmla="*/ 255069 h 734237"/>
                  <a:gd name="connsiteX318" fmla="*/ 1394051 w 1472512"/>
                  <a:gd name="connsiteY318" fmla="*/ 254738 h 734237"/>
                  <a:gd name="connsiteX319" fmla="*/ 1394538 w 1472512"/>
                  <a:gd name="connsiteY319" fmla="*/ 253339 h 734237"/>
                  <a:gd name="connsiteX320" fmla="*/ 1379936 w 1472512"/>
                  <a:gd name="connsiteY320" fmla="*/ 250817 h 734237"/>
                  <a:gd name="connsiteX321" fmla="*/ 1382249 w 1472512"/>
                  <a:gd name="connsiteY321" fmla="*/ 252110 h 734237"/>
                  <a:gd name="connsiteX322" fmla="*/ 1382642 w 1472512"/>
                  <a:gd name="connsiteY322" fmla="*/ 253282 h 734237"/>
                  <a:gd name="connsiteX323" fmla="*/ 1375618 w 1472512"/>
                  <a:gd name="connsiteY323" fmla="*/ 254770 h 734237"/>
                  <a:gd name="connsiteX324" fmla="*/ 1374497 w 1472512"/>
                  <a:gd name="connsiteY324" fmla="*/ 253809 h 734237"/>
                  <a:gd name="connsiteX325" fmla="*/ 1376250 w 1472512"/>
                  <a:gd name="connsiteY325" fmla="*/ 253365 h 734237"/>
                  <a:gd name="connsiteX326" fmla="*/ 1378464 w 1472512"/>
                  <a:gd name="connsiteY326" fmla="*/ 251082 h 734237"/>
                  <a:gd name="connsiteX327" fmla="*/ 1360847 w 1472512"/>
                  <a:gd name="connsiteY327" fmla="*/ 247322 h 734237"/>
                  <a:gd name="connsiteX328" fmla="*/ 1361097 w 1472512"/>
                  <a:gd name="connsiteY328" fmla="*/ 248224 h 734237"/>
                  <a:gd name="connsiteX329" fmla="*/ 1360821 w 1472512"/>
                  <a:gd name="connsiteY329" fmla="*/ 249962 h 734237"/>
                  <a:gd name="connsiteX330" fmla="*/ 1360114 w 1472512"/>
                  <a:gd name="connsiteY330" fmla="*/ 250527 h 734237"/>
                  <a:gd name="connsiteX331" fmla="*/ 1359849 w 1472512"/>
                  <a:gd name="connsiteY331" fmla="*/ 249055 h 734237"/>
                  <a:gd name="connsiteX332" fmla="*/ 1360344 w 1472512"/>
                  <a:gd name="connsiteY332" fmla="*/ 247362 h 734237"/>
                  <a:gd name="connsiteX333" fmla="*/ 1364221 w 1472512"/>
                  <a:gd name="connsiteY333" fmla="*/ 244805 h 734237"/>
                  <a:gd name="connsiteX334" fmla="*/ 1363983 w 1472512"/>
                  <a:gd name="connsiteY334" fmla="*/ 249758 h 734237"/>
                  <a:gd name="connsiteX335" fmla="*/ 1362719 w 1472512"/>
                  <a:gd name="connsiteY335" fmla="*/ 250592 h 734237"/>
                  <a:gd name="connsiteX336" fmla="*/ 1361308 w 1472512"/>
                  <a:gd name="connsiteY336" fmla="*/ 250445 h 734237"/>
                  <a:gd name="connsiteX337" fmla="*/ 1362024 w 1472512"/>
                  <a:gd name="connsiteY337" fmla="*/ 249320 h 734237"/>
                  <a:gd name="connsiteX338" fmla="*/ 1362297 w 1472512"/>
                  <a:gd name="connsiteY338" fmla="*/ 247667 h 734237"/>
                  <a:gd name="connsiteX339" fmla="*/ 1362994 w 1472512"/>
                  <a:gd name="connsiteY339" fmla="*/ 245851 h 734237"/>
                  <a:gd name="connsiteX340" fmla="*/ 1363394 w 1472512"/>
                  <a:gd name="connsiteY340" fmla="*/ 245295 h 734237"/>
                  <a:gd name="connsiteX341" fmla="*/ 1429406 w 1472512"/>
                  <a:gd name="connsiteY341" fmla="*/ 164388 h 734237"/>
                  <a:gd name="connsiteX342" fmla="*/ 1429937 w 1472512"/>
                  <a:gd name="connsiteY342" fmla="*/ 164822 h 734237"/>
                  <a:gd name="connsiteX343" fmla="*/ 1430772 w 1472512"/>
                  <a:gd name="connsiteY343" fmla="*/ 166270 h 734237"/>
                  <a:gd name="connsiteX344" fmla="*/ 1429803 w 1472512"/>
                  <a:gd name="connsiteY344" fmla="*/ 166889 h 734237"/>
                  <a:gd name="connsiteX345" fmla="*/ 1428770 w 1472512"/>
                  <a:gd name="connsiteY345" fmla="*/ 166690 h 734237"/>
                  <a:gd name="connsiteX346" fmla="*/ 1428736 w 1472512"/>
                  <a:gd name="connsiteY346" fmla="*/ 165145 h 734237"/>
                  <a:gd name="connsiteX347" fmla="*/ 1429049 w 1472512"/>
                  <a:gd name="connsiteY347" fmla="*/ 164622 h 734237"/>
                  <a:gd name="connsiteX348" fmla="*/ 1439032 w 1472512"/>
                  <a:gd name="connsiteY348" fmla="*/ 158114 h 734237"/>
                  <a:gd name="connsiteX349" fmla="*/ 1440597 w 1472512"/>
                  <a:gd name="connsiteY349" fmla="*/ 158682 h 734237"/>
                  <a:gd name="connsiteX350" fmla="*/ 1441799 w 1472512"/>
                  <a:gd name="connsiteY350" fmla="*/ 161001 h 734237"/>
                  <a:gd name="connsiteX351" fmla="*/ 1441893 w 1472512"/>
                  <a:gd name="connsiteY351" fmla="*/ 162001 h 734237"/>
                  <a:gd name="connsiteX352" fmla="*/ 1440408 w 1472512"/>
                  <a:gd name="connsiteY352" fmla="*/ 162610 h 734237"/>
                  <a:gd name="connsiteX353" fmla="*/ 1438781 w 1472512"/>
                  <a:gd name="connsiteY353" fmla="*/ 162345 h 734237"/>
                  <a:gd name="connsiteX354" fmla="*/ 1438815 w 1472512"/>
                  <a:gd name="connsiteY354" fmla="*/ 163998 h 734237"/>
                  <a:gd name="connsiteX355" fmla="*/ 1438632 w 1472512"/>
                  <a:gd name="connsiteY355" fmla="*/ 164592 h 734237"/>
                  <a:gd name="connsiteX356" fmla="*/ 1436829 w 1472512"/>
                  <a:gd name="connsiteY356" fmla="*/ 163742 h 734237"/>
                  <a:gd name="connsiteX357" fmla="*/ 1436167 w 1472512"/>
                  <a:gd name="connsiteY357" fmla="*/ 163195 h 734237"/>
                  <a:gd name="connsiteX358" fmla="*/ 1436225 w 1472512"/>
                  <a:gd name="connsiteY358" fmla="*/ 161006 h 734237"/>
                  <a:gd name="connsiteX359" fmla="*/ 1437818 w 1472512"/>
                  <a:gd name="connsiteY359" fmla="*/ 158933 h 734237"/>
                  <a:gd name="connsiteX360" fmla="*/ 46551 w 1472512"/>
                  <a:gd name="connsiteY360" fmla="*/ 68443 h 734237"/>
                  <a:gd name="connsiteX361" fmla="*/ 47469 w 1472512"/>
                  <a:gd name="connsiteY361" fmla="*/ 70328 h 734237"/>
                  <a:gd name="connsiteX362" fmla="*/ 47368 w 1472512"/>
                  <a:gd name="connsiteY362" fmla="*/ 70702 h 734237"/>
                  <a:gd name="connsiteX363" fmla="*/ 47126 w 1472512"/>
                  <a:gd name="connsiteY363" fmla="*/ 71337 h 734237"/>
                  <a:gd name="connsiteX364" fmla="*/ 46766 w 1472512"/>
                  <a:gd name="connsiteY364" fmla="*/ 71302 h 734237"/>
                  <a:gd name="connsiteX365" fmla="*/ 45969 w 1472512"/>
                  <a:gd name="connsiteY365" fmla="*/ 70013 h 734237"/>
                  <a:gd name="connsiteX366" fmla="*/ 45867 w 1472512"/>
                  <a:gd name="connsiteY366" fmla="*/ 69101 h 734237"/>
                  <a:gd name="connsiteX367" fmla="*/ 57175 w 1472512"/>
                  <a:gd name="connsiteY367" fmla="*/ 61483 h 734237"/>
                  <a:gd name="connsiteX368" fmla="*/ 57852 w 1472512"/>
                  <a:gd name="connsiteY368" fmla="*/ 62902 h 734237"/>
                  <a:gd name="connsiteX369" fmla="*/ 59076 w 1472512"/>
                  <a:gd name="connsiteY369" fmla="*/ 64548 h 734237"/>
                  <a:gd name="connsiteX370" fmla="*/ 58959 w 1472512"/>
                  <a:gd name="connsiteY370" fmla="*/ 65283 h 734237"/>
                  <a:gd name="connsiteX371" fmla="*/ 57980 w 1472512"/>
                  <a:gd name="connsiteY371" fmla="*/ 65857 h 734237"/>
                  <a:gd name="connsiteX372" fmla="*/ 57473 w 1472512"/>
                  <a:gd name="connsiteY372" fmla="*/ 65709 h 734237"/>
                  <a:gd name="connsiteX373" fmla="*/ 57442 w 1472512"/>
                  <a:gd name="connsiteY373" fmla="*/ 64842 h 734237"/>
                  <a:gd name="connsiteX374" fmla="*/ 57178 w 1472512"/>
                  <a:gd name="connsiteY374" fmla="*/ 64710 h 734237"/>
                  <a:gd name="connsiteX375" fmla="*/ 56122 w 1472512"/>
                  <a:gd name="connsiteY375" fmla="*/ 65752 h 734237"/>
                  <a:gd name="connsiteX376" fmla="*/ 56200 w 1472512"/>
                  <a:gd name="connsiteY376" fmla="*/ 63694 h 734237"/>
                  <a:gd name="connsiteX377" fmla="*/ 56721 w 1472512"/>
                  <a:gd name="connsiteY377" fmla="*/ 61522 h 734237"/>
                  <a:gd name="connsiteX378" fmla="*/ 55106 w 1472512"/>
                  <a:gd name="connsiteY378" fmla="*/ 54548 h 734237"/>
                  <a:gd name="connsiteX379" fmla="*/ 55936 w 1472512"/>
                  <a:gd name="connsiteY379" fmla="*/ 54983 h 734237"/>
                  <a:gd name="connsiteX380" fmla="*/ 56175 w 1472512"/>
                  <a:gd name="connsiteY380" fmla="*/ 55240 h 734237"/>
                  <a:gd name="connsiteX381" fmla="*/ 56445 w 1472512"/>
                  <a:gd name="connsiteY381" fmla="*/ 58096 h 734237"/>
                  <a:gd name="connsiteX382" fmla="*/ 56308 w 1472512"/>
                  <a:gd name="connsiteY382" fmla="*/ 58716 h 734237"/>
                  <a:gd name="connsiteX383" fmla="*/ 54901 w 1472512"/>
                  <a:gd name="connsiteY383" fmla="*/ 57975 h 734237"/>
                  <a:gd name="connsiteX384" fmla="*/ 54439 w 1472512"/>
                  <a:gd name="connsiteY384" fmla="*/ 57289 h 734237"/>
                  <a:gd name="connsiteX385" fmla="*/ 54494 w 1472512"/>
                  <a:gd name="connsiteY385" fmla="*/ 55753 h 734237"/>
                  <a:gd name="connsiteX386" fmla="*/ 54841 w 1472512"/>
                  <a:gd name="connsiteY386" fmla="*/ 54751 h 734237"/>
                  <a:gd name="connsiteX387" fmla="*/ 53094 w 1472512"/>
                  <a:gd name="connsiteY387" fmla="*/ 32395 h 734237"/>
                  <a:gd name="connsiteX388" fmla="*/ 53734 w 1472512"/>
                  <a:gd name="connsiteY388" fmla="*/ 32513 h 734237"/>
                  <a:gd name="connsiteX389" fmla="*/ 54526 w 1472512"/>
                  <a:gd name="connsiteY389" fmla="*/ 33201 h 734237"/>
                  <a:gd name="connsiteX390" fmla="*/ 55468 w 1472512"/>
                  <a:gd name="connsiteY390" fmla="*/ 34455 h 734237"/>
                  <a:gd name="connsiteX391" fmla="*/ 55293 w 1472512"/>
                  <a:gd name="connsiteY391" fmla="*/ 35344 h 734237"/>
                  <a:gd name="connsiteX392" fmla="*/ 51474 w 1472512"/>
                  <a:gd name="connsiteY392" fmla="*/ 37071 h 734237"/>
                  <a:gd name="connsiteX393" fmla="*/ 51349 w 1472512"/>
                  <a:gd name="connsiteY393" fmla="*/ 37476 h 734237"/>
                  <a:gd name="connsiteX394" fmla="*/ 53201 w 1472512"/>
                  <a:gd name="connsiteY394" fmla="*/ 37963 h 734237"/>
                  <a:gd name="connsiteX395" fmla="*/ 53885 w 1472512"/>
                  <a:gd name="connsiteY395" fmla="*/ 38396 h 734237"/>
                  <a:gd name="connsiteX396" fmla="*/ 54519 w 1472512"/>
                  <a:gd name="connsiteY396" fmla="*/ 39826 h 734237"/>
                  <a:gd name="connsiteX397" fmla="*/ 55768 w 1472512"/>
                  <a:gd name="connsiteY397" fmla="*/ 44100 h 734237"/>
                  <a:gd name="connsiteX398" fmla="*/ 56303 w 1472512"/>
                  <a:gd name="connsiteY398" fmla="*/ 42321 h 734237"/>
                  <a:gd name="connsiteX399" fmla="*/ 59775 w 1472512"/>
                  <a:gd name="connsiteY399" fmla="*/ 45402 h 734237"/>
                  <a:gd name="connsiteX400" fmla="*/ 59778 w 1472512"/>
                  <a:gd name="connsiteY400" fmla="*/ 46920 h 734237"/>
                  <a:gd name="connsiteX401" fmla="*/ 59355 w 1472512"/>
                  <a:gd name="connsiteY401" fmla="*/ 47427 h 734237"/>
                  <a:gd name="connsiteX402" fmla="*/ 58635 w 1472512"/>
                  <a:gd name="connsiteY402" fmla="*/ 47605 h 734237"/>
                  <a:gd name="connsiteX403" fmla="*/ 57967 w 1472512"/>
                  <a:gd name="connsiteY403" fmla="*/ 47162 h 734237"/>
                  <a:gd name="connsiteX404" fmla="*/ 57354 w 1472512"/>
                  <a:gd name="connsiteY404" fmla="*/ 46101 h 734237"/>
                  <a:gd name="connsiteX405" fmla="*/ 56572 w 1472512"/>
                  <a:gd name="connsiteY405" fmla="*/ 45537 h 734237"/>
                  <a:gd name="connsiteX406" fmla="*/ 54909 w 1472512"/>
                  <a:gd name="connsiteY406" fmla="*/ 45173 h 734237"/>
                  <a:gd name="connsiteX407" fmla="*/ 54044 w 1472512"/>
                  <a:gd name="connsiteY407" fmla="*/ 43964 h 734237"/>
                  <a:gd name="connsiteX408" fmla="*/ 53744 w 1472512"/>
                  <a:gd name="connsiteY408" fmla="*/ 43137 h 734237"/>
                  <a:gd name="connsiteX409" fmla="*/ 53663 w 1472512"/>
                  <a:gd name="connsiteY409" fmla="*/ 40740 h 734237"/>
                  <a:gd name="connsiteX410" fmla="*/ 53246 w 1472512"/>
                  <a:gd name="connsiteY410" fmla="*/ 39995 h 734237"/>
                  <a:gd name="connsiteX411" fmla="*/ 52363 w 1472512"/>
                  <a:gd name="connsiteY411" fmla="*/ 39830 h 734237"/>
                  <a:gd name="connsiteX412" fmla="*/ 51519 w 1472512"/>
                  <a:gd name="connsiteY412" fmla="*/ 39263 h 734237"/>
                  <a:gd name="connsiteX413" fmla="*/ 50214 w 1472512"/>
                  <a:gd name="connsiteY413" fmla="*/ 37586 h 734237"/>
                  <a:gd name="connsiteX414" fmla="*/ 50029 w 1472512"/>
                  <a:gd name="connsiteY414" fmla="*/ 37138 h 734237"/>
                  <a:gd name="connsiteX415" fmla="*/ 50648 w 1472512"/>
                  <a:gd name="connsiteY415" fmla="*/ 35770 h 734237"/>
                  <a:gd name="connsiteX416" fmla="*/ 52064 w 1472512"/>
                  <a:gd name="connsiteY416" fmla="*/ 33481 h 734237"/>
                  <a:gd name="connsiteX417" fmla="*/ 46541 w 1472512"/>
                  <a:gd name="connsiteY417" fmla="*/ 26918 h 734237"/>
                  <a:gd name="connsiteX418" fmla="*/ 46965 w 1472512"/>
                  <a:gd name="connsiteY418" fmla="*/ 27015 h 734237"/>
                  <a:gd name="connsiteX419" fmla="*/ 47144 w 1472512"/>
                  <a:gd name="connsiteY419" fmla="*/ 28547 h 734237"/>
                  <a:gd name="connsiteX420" fmla="*/ 48350 w 1472512"/>
                  <a:gd name="connsiteY420" fmla="*/ 30168 h 734237"/>
                  <a:gd name="connsiteX421" fmla="*/ 48190 w 1472512"/>
                  <a:gd name="connsiteY421" fmla="*/ 30854 h 734237"/>
                  <a:gd name="connsiteX422" fmla="*/ 47790 w 1472512"/>
                  <a:gd name="connsiteY422" fmla="*/ 31176 h 734237"/>
                  <a:gd name="connsiteX423" fmla="*/ 46426 w 1472512"/>
                  <a:gd name="connsiteY423" fmla="*/ 30745 h 734237"/>
                  <a:gd name="connsiteX424" fmla="*/ 45620 w 1472512"/>
                  <a:gd name="connsiteY424" fmla="*/ 30018 h 734237"/>
                  <a:gd name="connsiteX425" fmla="*/ 45348 w 1472512"/>
                  <a:gd name="connsiteY425" fmla="*/ 29106 h 734237"/>
                  <a:gd name="connsiteX426" fmla="*/ 45860 w 1472512"/>
                  <a:gd name="connsiteY426" fmla="*/ 27364 h 734237"/>
                  <a:gd name="connsiteX427" fmla="*/ 40708 w 1472512"/>
                  <a:gd name="connsiteY427" fmla="*/ 24897 h 734237"/>
                  <a:gd name="connsiteX428" fmla="*/ 43004 w 1472512"/>
                  <a:gd name="connsiteY428" fmla="*/ 27348 h 734237"/>
                  <a:gd name="connsiteX429" fmla="*/ 43286 w 1472512"/>
                  <a:gd name="connsiteY429" fmla="*/ 28578 h 734237"/>
                  <a:gd name="connsiteX430" fmla="*/ 43958 w 1472512"/>
                  <a:gd name="connsiteY430" fmla="*/ 29655 h 734237"/>
                  <a:gd name="connsiteX431" fmla="*/ 41211 w 1472512"/>
                  <a:gd name="connsiteY431" fmla="*/ 28965 h 734237"/>
                  <a:gd name="connsiteX432" fmla="*/ 40050 w 1472512"/>
                  <a:gd name="connsiteY432" fmla="*/ 28348 h 734237"/>
                  <a:gd name="connsiteX433" fmla="*/ 39707 w 1472512"/>
                  <a:gd name="connsiteY433" fmla="*/ 27745 h 734237"/>
                  <a:gd name="connsiteX434" fmla="*/ 39295 w 1472512"/>
                  <a:gd name="connsiteY434" fmla="*/ 25768 h 734237"/>
                  <a:gd name="connsiteX435" fmla="*/ 39484 w 1472512"/>
                  <a:gd name="connsiteY435" fmla="*/ 25123 h 734237"/>
                  <a:gd name="connsiteX436" fmla="*/ 46229 w 1472512"/>
                  <a:gd name="connsiteY436" fmla="*/ 21714 h 734237"/>
                  <a:gd name="connsiteX437" fmla="*/ 49178 w 1472512"/>
                  <a:gd name="connsiteY437" fmla="*/ 22948 h 734237"/>
                  <a:gd name="connsiteX438" fmla="*/ 49517 w 1472512"/>
                  <a:gd name="connsiteY438" fmla="*/ 23661 h 734237"/>
                  <a:gd name="connsiteX439" fmla="*/ 48493 w 1472512"/>
                  <a:gd name="connsiteY439" fmla="*/ 24355 h 734237"/>
                  <a:gd name="connsiteX440" fmla="*/ 47763 w 1472512"/>
                  <a:gd name="connsiteY440" fmla="*/ 24461 h 734237"/>
                  <a:gd name="connsiteX441" fmla="*/ 46602 w 1472512"/>
                  <a:gd name="connsiteY441" fmla="*/ 23344 h 734237"/>
                  <a:gd name="connsiteX442" fmla="*/ 46095 w 1472512"/>
                  <a:gd name="connsiteY442" fmla="*/ 23211 h 734237"/>
                  <a:gd name="connsiteX443" fmla="*/ 46503 w 1472512"/>
                  <a:gd name="connsiteY443" fmla="*/ 24929 h 734237"/>
                  <a:gd name="connsiteX444" fmla="*/ 46362 w 1472512"/>
                  <a:gd name="connsiteY444" fmla="*/ 25513 h 734237"/>
                  <a:gd name="connsiteX445" fmla="*/ 43987 w 1472512"/>
                  <a:gd name="connsiteY445" fmla="*/ 24457 h 734237"/>
                  <a:gd name="connsiteX446" fmla="*/ 43548 w 1472512"/>
                  <a:gd name="connsiteY446" fmla="*/ 23621 h 734237"/>
                  <a:gd name="connsiteX447" fmla="*/ 44215 w 1472512"/>
                  <a:gd name="connsiteY447" fmla="*/ 22737 h 734237"/>
                  <a:gd name="connsiteX448" fmla="*/ 45711 w 1472512"/>
                  <a:gd name="connsiteY448" fmla="*/ 21824 h 734237"/>
                  <a:gd name="connsiteX449" fmla="*/ 753940 w 1472512"/>
                  <a:gd name="connsiteY449" fmla="*/ 0 h 734237"/>
                  <a:gd name="connsiteX450" fmla="*/ 759448 w 1472512"/>
                  <a:gd name="connsiteY450" fmla="*/ 670 h 734237"/>
                  <a:gd name="connsiteX451" fmla="*/ 761095 w 1472512"/>
                  <a:gd name="connsiteY451" fmla="*/ 1674 h 734237"/>
                  <a:gd name="connsiteX452" fmla="*/ 761616 w 1472512"/>
                  <a:gd name="connsiteY452" fmla="*/ 2152 h 734237"/>
                  <a:gd name="connsiteX453" fmla="*/ 761461 w 1472512"/>
                  <a:gd name="connsiteY453" fmla="*/ 3670 h 734237"/>
                  <a:gd name="connsiteX454" fmla="*/ 761917 w 1472512"/>
                  <a:gd name="connsiteY454" fmla="*/ 8269 h 734237"/>
                  <a:gd name="connsiteX455" fmla="*/ 762914 w 1472512"/>
                  <a:gd name="connsiteY455" fmla="*/ 12099 h 734237"/>
                  <a:gd name="connsiteX456" fmla="*/ 765227 w 1472512"/>
                  <a:gd name="connsiteY456" fmla="*/ 16687 h 734237"/>
                  <a:gd name="connsiteX457" fmla="*/ 765234 w 1472512"/>
                  <a:gd name="connsiteY457" fmla="*/ 16702 h 734237"/>
                  <a:gd name="connsiteX458" fmla="*/ 765424 w 1472512"/>
                  <a:gd name="connsiteY458" fmla="*/ 18492 h 734237"/>
                  <a:gd name="connsiteX459" fmla="*/ 766183 w 1472512"/>
                  <a:gd name="connsiteY459" fmla="*/ 19611 h 734237"/>
                  <a:gd name="connsiteX460" fmla="*/ 767571 w 1472512"/>
                  <a:gd name="connsiteY460" fmla="*/ 20655 h 734237"/>
                  <a:gd name="connsiteX461" fmla="*/ 772846 w 1472512"/>
                  <a:gd name="connsiteY461" fmla="*/ 21920 h 734237"/>
                  <a:gd name="connsiteX462" fmla="*/ 782004 w 1472512"/>
                  <a:gd name="connsiteY462" fmla="*/ 23398 h 734237"/>
                  <a:gd name="connsiteX463" fmla="*/ 787196 w 1472512"/>
                  <a:gd name="connsiteY463" fmla="*/ 25095 h 734237"/>
                  <a:gd name="connsiteX464" fmla="*/ 788422 w 1472512"/>
                  <a:gd name="connsiteY464" fmla="*/ 27007 h 734237"/>
                  <a:gd name="connsiteX465" fmla="*/ 790868 w 1472512"/>
                  <a:gd name="connsiteY465" fmla="*/ 27774 h 734237"/>
                  <a:gd name="connsiteX466" fmla="*/ 794527 w 1472512"/>
                  <a:gd name="connsiteY466" fmla="*/ 27400 h 734237"/>
                  <a:gd name="connsiteX467" fmla="*/ 797094 w 1472512"/>
                  <a:gd name="connsiteY467" fmla="*/ 26601 h 734237"/>
                  <a:gd name="connsiteX468" fmla="*/ 799281 w 1472512"/>
                  <a:gd name="connsiteY468" fmla="*/ 24790 h 734237"/>
                  <a:gd name="connsiteX469" fmla="*/ 802341 w 1472512"/>
                  <a:gd name="connsiteY469" fmla="*/ 24388 h 734237"/>
                  <a:gd name="connsiteX470" fmla="*/ 804960 w 1472512"/>
                  <a:gd name="connsiteY470" fmla="*/ 24503 h 734237"/>
                  <a:gd name="connsiteX471" fmla="*/ 807601 w 1472512"/>
                  <a:gd name="connsiteY471" fmla="*/ 24682 h 734237"/>
                  <a:gd name="connsiteX472" fmla="*/ 809017 w 1472512"/>
                  <a:gd name="connsiteY472" fmla="*/ 24946 h 734237"/>
                  <a:gd name="connsiteX473" fmla="*/ 813086 w 1472512"/>
                  <a:gd name="connsiteY473" fmla="*/ 26389 h 734237"/>
                  <a:gd name="connsiteX474" fmla="*/ 815740 w 1472512"/>
                  <a:gd name="connsiteY474" fmla="*/ 27566 h 734237"/>
                  <a:gd name="connsiteX475" fmla="*/ 819552 w 1472512"/>
                  <a:gd name="connsiteY475" fmla="*/ 29751 h 734237"/>
                  <a:gd name="connsiteX476" fmla="*/ 821661 w 1472512"/>
                  <a:gd name="connsiteY476" fmla="*/ 30723 h 734237"/>
                  <a:gd name="connsiteX477" fmla="*/ 822674 w 1472512"/>
                  <a:gd name="connsiteY477" fmla="*/ 32995 h 734237"/>
                  <a:gd name="connsiteX478" fmla="*/ 823854 w 1472512"/>
                  <a:gd name="connsiteY478" fmla="*/ 35910 h 734237"/>
                  <a:gd name="connsiteX479" fmla="*/ 825542 w 1472512"/>
                  <a:gd name="connsiteY479" fmla="*/ 35910 h 734237"/>
                  <a:gd name="connsiteX480" fmla="*/ 826811 w 1472512"/>
                  <a:gd name="connsiteY480" fmla="*/ 34203 h 734237"/>
                  <a:gd name="connsiteX481" fmla="*/ 830048 w 1472512"/>
                  <a:gd name="connsiteY481" fmla="*/ 33894 h 734237"/>
                  <a:gd name="connsiteX482" fmla="*/ 834298 w 1472512"/>
                  <a:gd name="connsiteY482" fmla="*/ 35086 h 734237"/>
                  <a:gd name="connsiteX483" fmla="*/ 838044 w 1472512"/>
                  <a:gd name="connsiteY483" fmla="*/ 38491 h 734237"/>
                  <a:gd name="connsiteX484" fmla="*/ 843428 w 1472512"/>
                  <a:gd name="connsiteY484" fmla="*/ 41523 h 734237"/>
                  <a:gd name="connsiteX485" fmla="*/ 846719 w 1472512"/>
                  <a:gd name="connsiteY485" fmla="*/ 43031 h 734237"/>
                  <a:gd name="connsiteX486" fmla="*/ 850063 w 1472512"/>
                  <a:gd name="connsiteY486" fmla="*/ 43023 h 734237"/>
                  <a:gd name="connsiteX487" fmla="*/ 854313 w 1472512"/>
                  <a:gd name="connsiteY487" fmla="*/ 41523 h 734237"/>
                  <a:gd name="connsiteX488" fmla="*/ 858832 w 1472512"/>
                  <a:gd name="connsiteY488" fmla="*/ 38617 h 734237"/>
                  <a:gd name="connsiteX489" fmla="*/ 862082 w 1472512"/>
                  <a:gd name="connsiteY489" fmla="*/ 38113 h 734237"/>
                  <a:gd name="connsiteX490" fmla="*/ 864013 w 1472512"/>
                  <a:gd name="connsiteY490" fmla="*/ 38394 h 734237"/>
                  <a:gd name="connsiteX491" fmla="*/ 865112 w 1472512"/>
                  <a:gd name="connsiteY491" fmla="*/ 40660 h 734237"/>
                  <a:gd name="connsiteX492" fmla="*/ 866462 w 1472512"/>
                  <a:gd name="connsiteY492" fmla="*/ 41523 h 734237"/>
                  <a:gd name="connsiteX493" fmla="*/ 869964 w 1472512"/>
                  <a:gd name="connsiteY493" fmla="*/ 41261 h 734237"/>
                  <a:gd name="connsiteX494" fmla="*/ 877285 w 1472512"/>
                  <a:gd name="connsiteY494" fmla="*/ 41699 h 734237"/>
                  <a:gd name="connsiteX495" fmla="*/ 883109 w 1472512"/>
                  <a:gd name="connsiteY495" fmla="*/ 41081 h 734237"/>
                  <a:gd name="connsiteX496" fmla="*/ 884432 w 1472512"/>
                  <a:gd name="connsiteY496" fmla="*/ 42383 h 734237"/>
                  <a:gd name="connsiteX497" fmla="*/ 885613 w 1472512"/>
                  <a:gd name="connsiteY497" fmla="*/ 44431 h 734237"/>
                  <a:gd name="connsiteX498" fmla="*/ 887976 w 1472512"/>
                  <a:gd name="connsiteY498" fmla="*/ 45076 h 734237"/>
                  <a:gd name="connsiteX499" fmla="*/ 891181 w 1472512"/>
                  <a:gd name="connsiteY499" fmla="*/ 44431 h 734237"/>
                  <a:gd name="connsiteX500" fmla="*/ 896916 w 1472512"/>
                  <a:gd name="connsiteY500" fmla="*/ 44932 h 734237"/>
                  <a:gd name="connsiteX501" fmla="*/ 899338 w 1472512"/>
                  <a:gd name="connsiteY501" fmla="*/ 45050 h 734237"/>
                  <a:gd name="connsiteX502" fmla="*/ 903992 w 1472512"/>
                  <a:gd name="connsiteY502" fmla="*/ 44279 h 734237"/>
                  <a:gd name="connsiteX503" fmla="*/ 906225 w 1472512"/>
                  <a:gd name="connsiteY503" fmla="*/ 43385 h 734237"/>
                  <a:gd name="connsiteX504" fmla="*/ 909364 w 1472512"/>
                  <a:gd name="connsiteY504" fmla="*/ 41873 h 734237"/>
                  <a:gd name="connsiteX505" fmla="*/ 913545 w 1472512"/>
                  <a:gd name="connsiteY505" fmla="*/ 39856 h 734237"/>
                  <a:gd name="connsiteX506" fmla="*/ 920865 w 1472512"/>
                  <a:gd name="connsiteY506" fmla="*/ 36322 h 734237"/>
                  <a:gd name="connsiteX507" fmla="*/ 926823 w 1472512"/>
                  <a:gd name="connsiteY507" fmla="*/ 35046 h 734237"/>
                  <a:gd name="connsiteX508" fmla="*/ 932373 w 1472512"/>
                  <a:gd name="connsiteY508" fmla="*/ 37583 h 734237"/>
                  <a:gd name="connsiteX509" fmla="*/ 936791 w 1472512"/>
                  <a:gd name="connsiteY509" fmla="*/ 39818 h 734237"/>
                  <a:gd name="connsiteX510" fmla="*/ 938499 w 1472512"/>
                  <a:gd name="connsiteY510" fmla="*/ 40682 h 734237"/>
                  <a:gd name="connsiteX511" fmla="*/ 943004 w 1472512"/>
                  <a:gd name="connsiteY511" fmla="*/ 42957 h 734237"/>
                  <a:gd name="connsiteX512" fmla="*/ 949373 w 1472512"/>
                  <a:gd name="connsiteY512" fmla="*/ 46173 h 734237"/>
                  <a:gd name="connsiteX513" fmla="*/ 956675 w 1472512"/>
                  <a:gd name="connsiteY513" fmla="*/ 49857 h 734237"/>
                  <a:gd name="connsiteX514" fmla="*/ 963975 w 1472512"/>
                  <a:gd name="connsiteY514" fmla="*/ 53534 h 734237"/>
                  <a:gd name="connsiteX515" fmla="*/ 970343 w 1472512"/>
                  <a:gd name="connsiteY515" fmla="*/ 56740 h 734237"/>
                  <a:gd name="connsiteX516" fmla="*/ 974849 w 1472512"/>
                  <a:gd name="connsiteY516" fmla="*/ 59002 h 734237"/>
                  <a:gd name="connsiteX517" fmla="*/ 976558 w 1472512"/>
                  <a:gd name="connsiteY517" fmla="*/ 59861 h 734237"/>
                  <a:gd name="connsiteX518" fmla="*/ 981510 w 1472512"/>
                  <a:gd name="connsiteY518" fmla="*/ 62451 h 734237"/>
                  <a:gd name="connsiteX519" fmla="*/ 986461 w 1472512"/>
                  <a:gd name="connsiteY519" fmla="*/ 65041 h 734237"/>
                  <a:gd name="connsiteX520" fmla="*/ 991410 w 1472512"/>
                  <a:gd name="connsiteY520" fmla="*/ 67627 h 734237"/>
                  <a:gd name="connsiteX521" fmla="*/ 996362 w 1472512"/>
                  <a:gd name="connsiteY521" fmla="*/ 70211 h 734237"/>
                  <a:gd name="connsiteX522" fmla="*/ 1001313 w 1472512"/>
                  <a:gd name="connsiteY522" fmla="*/ 72793 h 734237"/>
                  <a:gd name="connsiteX523" fmla="*/ 1006264 w 1472512"/>
                  <a:gd name="connsiteY523" fmla="*/ 75370 h 734237"/>
                  <a:gd name="connsiteX524" fmla="*/ 1011213 w 1472512"/>
                  <a:gd name="connsiteY524" fmla="*/ 77948 h 734237"/>
                  <a:gd name="connsiteX525" fmla="*/ 1016164 w 1472512"/>
                  <a:gd name="connsiteY525" fmla="*/ 80524 h 734237"/>
                  <a:gd name="connsiteX526" fmla="*/ 1017413 w 1472512"/>
                  <a:gd name="connsiteY526" fmla="*/ 84800 h 734237"/>
                  <a:gd name="connsiteX527" fmla="*/ 1018629 w 1472512"/>
                  <a:gd name="connsiteY527" fmla="*/ 88957 h 734237"/>
                  <a:gd name="connsiteX528" fmla="*/ 1021527 w 1472512"/>
                  <a:gd name="connsiteY528" fmla="*/ 91972 h 734237"/>
                  <a:gd name="connsiteX529" fmla="*/ 1024181 w 1472512"/>
                  <a:gd name="connsiteY529" fmla="*/ 94723 h 734237"/>
                  <a:gd name="connsiteX530" fmla="*/ 1025716 w 1472512"/>
                  <a:gd name="connsiteY530" fmla="*/ 94578 h 734237"/>
                  <a:gd name="connsiteX531" fmla="*/ 1027274 w 1472512"/>
                  <a:gd name="connsiteY531" fmla="*/ 93418 h 734237"/>
                  <a:gd name="connsiteX532" fmla="*/ 1028263 w 1472512"/>
                  <a:gd name="connsiteY532" fmla="*/ 92857 h 734237"/>
                  <a:gd name="connsiteX533" fmla="*/ 1029921 w 1472512"/>
                  <a:gd name="connsiteY533" fmla="*/ 92766 h 734237"/>
                  <a:gd name="connsiteX534" fmla="*/ 1033608 w 1472512"/>
                  <a:gd name="connsiteY534" fmla="*/ 91771 h 734237"/>
                  <a:gd name="connsiteX535" fmla="*/ 1034698 w 1472512"/>
                  <a:gd name="connsiteY535" fmla="*/ 91988 h 734237"/>
                  <a:gd name="connsiteX536" fmla="*/ 1035317 w 1472512"/>
                  <a:gd name="connsiteY536" fmla="*/ 92485 h 734237"/>
                  <a:gd name="connsiteX537" fmla="*/ 1035369 w 1472512"/>
                  <a:gd name="connsiteY537" fmla="*/ 93265 h 734237"/>
                  <a:gd name="connsiteX538" fmla="*/ 1035242 w 1472512"/>
                  <a:gd name="connsiteY538" fmla="*/ 93883 h 734237"/>
                  <a:gd name="connsiteX539" fmla="*/ 1034672 w 1472512"/>
                  <a:gd name="connsiteY539" fmla="*/ 95126 h 734237"/>
                  <a:gd name="connsiteX540" fmla="*/ 1035573 w 1472512"/>
                  <a:gd name="connsiteY540" fmla="*/ 97493 h 734237"/>
                  <a:gd name="connsiteX541" fmla="*/ 1035762 w 1472512"/>
                  <a:gd name="connsiteY541" fmla="*/ 100120 h 734237"/>
                  <a:gd name="connsiteX542" fmla="*/ 1036256 w 1472512"/>
                  <a:gd name="connsiteY542" fmla="*/ 102104 h 734237"/>
                  <a:gd name="connsiteX543" fmla="*/ 1037766 w 1472512"/>
                  <a:gd name="connsiteY543" fmla="*/ 104641 h 734237"/>
                  <a:gd name="connsiteX544" fmla="*/ 1039077 w 1472512"/>
                  <a:gd name="connsiteY544" fmla="*/ 106623 h 734237"/>
                  <a:gd name="connsiteX545" fmla="*/ 1040728 w 1472512"/>
                  <a:gd name="connsiteY545" fmla="*/ 107005 h 734237"/>
                  <a:gd name="connsiteX546" fmla="*/ 1044552 w 1472512"/>
                  <a:gd name="connsiteY546" fmla="*/ 105851 h 734237"/>
                  <a:gd name="connsiteX547" fmla="*/ 1046947 w 1472512"/>
                  <a:gd name="connsiteY547" fmla="*/ 105415 h 734237"/>
                  <a:gd name="connsiteX548" fmla="*/ 1048307 w 1472512"/>
                  <a:gd name="connsiteY548" fmla="*/ 105604 h 734237"/>
                  <a:gd name="connsiteX549" fmla="*/ 1050634 w 1472512"/>
                  <a:gd name="connsiteY549" fmla="*/ 107458 h 734237"/>
                  <a:gd name="connsiteX550" fmla="*/ 1051773 w 1472512"/>
                  <a:gd name="connsiteY550" fmla="*/ 108573 h 734237"/>
                  <a:gd name="connsiteX551" fmla="*/ 1052045 w 1472512"/>
                  <a:gd name="connsiteY551" fmla="*/ 109498 h 734237"/>
                  <a:gd name="connsiteX552" fmla="*/ 1048902 w 1472512"/>
                  <a:gd name="connsiteY552" fmla="*/ 115148 h 734237"/>
                  <a:gd name="connsiteX553" fmla="*/ 1053885 w 1472512"/>
                  <a:gd name="connsiteY553" fmla="*/ 117948 h 734237"/>
                  <a:gd name="connsiteX554" fmla="*/ 1059447 w 1472512"/>
                  <a:gd name="connsiteY554" fmla="*/ 121006 h 734237"/>
                  <a:gd name="connsiteX555" fmla="*/ 1066078 w 1472512"/>
                  <a:gd name="connsiteY555" fmla="*/ 124647 h 734237"/>
                  <a:gd name="connsiteX556" fmla="*/ 1070133 w 1472512"/>
                  <a:gd name="connsiteY556" fmla="*/ 126873 h 734237"/>
                  <a:gd name="connsiteX557" fmla="*/ 1075472 w 1472512"/>
                  <a:gd name="connsiteY557" fmla="*/ 130050 h 734237"/>
                  <a:gd name="connsiteX558" fmla="*/ 1076387 w 1472512"/>
                  <a:gd name="connsiteY558" fmla="*/ 134571 h 734237"/>
                  <a:gd name="connsiteX559" fmla="*/ 1077157 w 1472512"/>
                  <a:gd name="connsiteY559" fmla="*/ 138381 h 734237"/>
                  <a:gd name="connsiteX560" fmla="*/ 1078138 w 1472512"/>
                  <a:gd name="connsiteY560" fmla="*/ 143686 h 734237"/>
                  <a:gd name="connsiteX561" fmla="*/ 1079139 w 1472512"/>
                  <a:gd name="connsiteY561" fmla="*/ 149086 h 734237"/>
                  <a:gd name="connsiteX562" fmla="*/ 1080137 w 1472512"/>
                  <a:gd name="connsiteY562" fmla="*/ 154459 h 734237"/>
                  <a:gd name="connsiteX563" fmla="*/ 1081195 w 1472512"/>
                  <a:gd name="connsiteY563" fmla="*/ 160149 h 734237"/>
                  <a:gd name="connsiteX564" fmla="*/ 1082356 w 1472512"/>
                  <a:gd name="connsiteY564" fmla="*/ 166390 h 734237"/>
                  <a:gd name="connsiteX565" fmla="*/ 1083389 w 1472512"/>
                  <a:gd name="connsiteY565" fmla="*/ 171918 h 734237"/>
                  <a:gd name="connsiteX566" fmla="*/ 1084516 w 1472512"/>
                  <a:gd name="connsiteY566" fmla="*/ 177943 h 734237"/>
                  <a:gd name="connsiteX567" fmla="*/ 1086015 w 1472512"/>
                  <a:gd name="connsiteY567" fmla="*/ 185765 h 734237"/>
                  <a:gd name="connsiteX568" fmla="*/ 1084674 w 1472512"/>
                  <a:gd name="connsiteY568" fmla="*/ 188774 h 734237"/>
                  <a:gd name="connsiteX569" fmla="*/ 1081755 w 1472512"/>
                  <a:gd name="connsiteY569" fmla="*/ 195316 h 734237"/>
                  <a:gd name="connsiteX570" fmla="*/ 1079118 w 1472512"/>
                  <a:gd name="connsiteY570" fmla="*/ 201217 h 734237"/>
                  <a:gd name="connsiteX571" fmla="*/ 1078887 w 1472512"/>
                  <a:gd name="connsiteY571" fmla="*/ 202927 h 734237"/>
                  <a:gd name="connsiteX572" fmla="*/ 1077074 w 1472512"/>
                  <a:gd name="connsiteY572" fmla="*/ 211508 h 734237"/>
                  <a:gd name="connsiteX573" fmla="*/ 1075620 w 1472512"/>
                  <a:gd name="connsiteY573" fmla="*/ 215047 h 734237"/>
                  <a:gd name="connsiteX574" fmla="*/ 1073074 w 1472512"/>
                  <a:gd name="connsiteY574" fmla="*/ 217098 h 734237"/>
                  <a:gd name="connsiteX575" fmla="*/ 1070546 w 1472512"/>
                  <a:gd name="connsiteY575" fmla="*/ 219087 h 734237"/>
                  <a:gd name="connsiteX576" fmla="*/ 1067395 w 1472512"/>
                  <a:gd name="connsiteY576" fmla="*/ 222415 h 734237"/>
                  <a:gd name="connsiteX577" fmla="*/ 1063927 w 1472512"/>
                  <a:gd name="connsiteY577" fmla="*/ 224059 h 734237"/>
                  <a:gd name="connsiteX578" fmla="*/ 1062154 w 1472512"/>
                  <a:gd name="connsiteY578" fmla="*/ 225025 h 734237"/>
                  <a:gd name="connsiteX579" fmla="*/ 1061227 w 1472512"/>
                  <a:gd name="connsiteY579" fmla="*/ 226548 h 734237"/>
                  <a:gd name="connsiteX580" fmla="*/ 1060203 w 1472512"/>
                  <a:gd name="connsiteY580" fmla="*/ 229885 h 734237"/>
                  <a:gd name="connsiteX581" fmla="*/ 1060400 w 1472512"/>
                  <a:gd name="connsiteY581" fmla="*/ 234973 h 734237"/>
                  <a:gd name="connsiteX582" fmla="*/ 1063256 w 1472512"/>
                  <a:gd name="connsiteY582" fmla="*/ 239346 h 734237"/>
                  <a:gd name="connsiteX583" fmla="*/ 1067434 w 1472512"/>
                  <a:gd name="connsiteY583" fmla="*/ 241790 h 734237"/>
                  <a:gd name="connsiteX584" fmla="*/ 1071928 w 1472512"/>
                  <a:gd name="connsiteY584" fmla="*/ 244167 h 734237"/>
                  <a:gd name="connsiteX585" fmla="*/ 1078330 w 1472512"/>
                  <a:gd name="connsiteY585" fmla="*/ 244178 h 734237"/>
                  <a:gd name="connsiteX586" fmla="*/ 1084089 w 1472512"/>
                  <a:gd name="connsiteY586" fmla="*/ 241005 h 734237"/>
                  <a:gd name="connsiteX587" fmla="*/ 1090190 w 1472512"/>
                  <a:gd name="connsiteY587" fmla="*/ 237641 h 734237"/>
                  <a:gd name="connsiteX588" fmla="*/ 1095629 w 1472512"/>
                  <a:gd name="connsiteY588" fmla="*/ 234639 h 734237"/>
                  <a:gd name="connsiteX589" fmla="*/ 1102099 w 1472512"/>
                  <a:gd name="connsiteY589" fmla="*/ 231064 h 734237"/>
                  <a:gd name="connsiteX590" fmla="*/ 1107958 w 1472512"/>
                  <a:gd name="connsiteY590" fmla="*/ 227823 h 734237"/>
                  <a:gd name="connsiteX591" fmla="*/ 1114321 w 1472512"/>
                  <a:gd name="connsiteY591" fmla="*/ 226656 h 734237"/>
                  <a:gd name="connsiteX592" fmla="*/ 1123137 w 1472512"/>
                  <a:gd name="connsiteY592" fmla="*/ 225041 h 734237"/>
                  <a:gd name="connsiteX593" fmla="*/ 1134235 w 1472512"/>
                  <a:gd name="connsiteY593" fmla="*/ 223006 h 734237"/>
                  <a:gd name="connsiteX594" fmla="*/ 1139639 w 1472512"/>
                  <a:gd name="connsiteY594" fmla="*/ 220686 h 734237"/>
                  <a:gd name="connsiteX595" fmla="*/ 1146623 w 1472512"/>
                  <a:gd name="connsiteY595" fmla="*/ 217687 h 734237"/>
                  <a:gd name="connsiteX596" fmla="*/ 1154677 w 1472512"/>
                  <a:gd name="connsiteY596" fmla="*/ 214222 h 734237"/>
                  <a:gd name="connsiteX597" fmla="*/ 1161629 w 1472512"/>
                  <a:gd name="connsiteY597" fmla="*/ 211229 h 734237"/>
                  <a:gd name="connsiteX598" fmla="*/ 1165123 w 1472512"/>
                  <a:gd name="connsiteY598" fmla="*/ 209569 h 734237"/>
                  <a:gd name="connsiteX599" fmla="*/ 1167610 w 1472512"/>
                  <a:gd name="connsiteY599" fmla="*/ 207675 h 734237"/>
                  <a:gd name="connsiteX600" fmla="*/ 1168227 w 1472512"/>
                  <a:gd name="connsiteY600" fmla="*/ 206272 h 734237"/>
                  <a:gd name="connsiteX601" fmla="*/ 1168079 w 1472512"/>
                  <a:gd name="connsiteY601" fmla="*/ 205467 h 734237"/>
                  <a:gd name="connsiteX602" fmla="*/ 1167438 w 1472512"/>
                  <a:gd name="connsiteY602" fmla="*/ 204659 h 734237"/>
                  <a:gd name="connsiteX603" fmla="*/ 1166552 w 1472512"/>
                  <a:gd name="connsiteY603" fmla="*/ 204064 h 734237"/>
                  <a:gd name="connsiteX604" fmla="*/ 1165763 w 1472512"/>
                  <a:gd name="connsiteY604" fmla="*/ 203557 h 734237"/>
                  <a:gd name="connsiteX605" fmla="*/ 1165394 w 1472512"/>
                  <a:gd name="connsiteY605" fmla="*/ 202928 h 734237"/>
                  <a:gd name="connsiteX606" fmla="*/ 1165320 w 1472512"/>
                  <a:gd name="connsiteY606" fmla="*/ 201554 h 734237"/>
                  <a:gd name="connsiteX607" fmla="*/ 1164837 w 1472512"/>
                  <a:gd name="connsiteY607" fmla="*/ 200763 h 734237"/>
                  <a:gd name="connsiteX608" fmla="*/ 1164375 w 1472512"/>
                  <a:gd name="connsiteY608" fmla="*/ 200181 h 734237"/>
                  <a:gd name="connsiteX609" fmla="*/ 1164551 w 1472512"/>
                  <a:gd name="connsiteY609" fmla="*/ 194855 h 734237"/>
                  <a:gd name="connsiteX610" fmla="*/ 1163942 w 1472512"/>
                  <a:gd name="connsiteY610" fmla="*/ 193202 h 734237"/>
                  <a:gd name="connsiteX611" fmla="*/ 1161677 w 1472512"/>
                  <a:gd name="connsiteY611" fmla="*/ 189007 h 734237"/>
                  <a:gd name="connsiteX612" fmla="*/ 1165998 w 1472512"/>
                  <a:gd name="connsiteY612" fmla="*/ 187125 h 734237"/>
                  <a:gd name="connsiteX613" fmla="*/ 1170001 w 1472512"/>
                  <a:gd name="connsiteY613" fmla="*/ 185378 h 734237"/>
                  <a:gd name="connsiteX614" fmla="*/ 1173193 w 1472512"/>
                  <a:gd name="connsiteY614" fmla="*/ 184084 h 734237"/>
                  <a:gd name="connsiteX615" fmla="*/ 1179880 w 1472512"/>
                  <a:gd name="connsiteY615" fmla="*/ 183880 h 734237"/>
                  <a:gd name="connsiteX616" fmla="*/ 1186092 w 1472512"/>
                  <a:gd name="connsiteY616" fmla="*/ 183906 h 734237"/>
                  <a:gd name="connsiteX617" fmla="*/ 1194651 w 1472512"/>
                  <a:gd name="connsiteY617" fmla="*/ 183942 h 734237"/>
                  <a:gd name="connsiteX618" fmla="*/ 1201864 w 1472512"/>
                  <a:gd name="connsiteY618" fmla="*/ 183971 h 734237"/>
                  <a:gd name="connsiteX619" fmla="*/ 1210277 w 1472512"/>
                  <a:gd name="connsiteY619" fmla="*/ 184005 h 734237"/>
                  <a:gd name="connsiteX620" fmla="*/ 1215210 w 1472512"/>
                  <a:gd name="connsiteY620" fmla="*/ 184025 h 734237"/>
                  <a:gd name="connsiteX621" fmla="*/ 1221673 w 1472512"/>
                  <a:gd name="connsiteY621" fmla="*/ 183964 h 734237"/>
                  <a:gd name="connsiteX622" fmla="*/ 1224824 w 1472512"/>
                  <a:gd name="connsiteY622" fmla="*/ 179108 h 734237"/>
                  <a:gd name="connsiteX623" fmla="*/ 1227639 w 1472512"/>
                  <a:gd name="connsiteY623" fmla="*/ 174758 h 734237"/>
                  <a:gd name="connsiteX624" fmla="*/ 1230738 w 1472512"/>
                  <a:gd name="connsiteY624" fmla="*/ 170598 h 734237"/>
                  <a:gd name="connsiteX625" fmla="*/ 1236251 w 1472512"/>
                  <a:gd name="connsiteY625" fmla="*/ 165706 h 734237"/>
                  <a:gd name="connsiteX626" fmla="*/ 1237851 w 1472512"/>
                  <a:gd name="connsiteY626" fmla="*/ 164826 h 734237"/>
                  <a:gd name="connsiteX627" fmla="*/ 1238735 w 1472512"/>
                  <a:gd name="connsiteY627" fmla="*/ 162894 h 734237"/>
                  <a:gd name="connsiteX628" fmla="*/ 1242076 w 1472512"/>
                  <a:gd name="connsiteY628" fmla="*/ 161058 h 734237"/>
                  <a:gd name="connsiteX629" fmla="*/ 1245756 w 1472512"/>
                  <a:gd name="connsiteY629" fmla="*/ 159353 h 734237"/>
                  <a:gd name="connsiteX630" fmla="*/ 1247199 w 1472512"/>
                  <a:gd name="connsiteY630" fmla="*/ 157752 h 734237"/>
                  <a:gd name="connsiteX631" fmla="*/ 1247898 w 1472512"/>
                  <a:gd name="connsiteY631" fmla="*/ 156841 h 734237"/>
                  <a:gd name="connsiteX632" fmla="*/ 1257865 w 1472512"/>
                  <a:gd name="connsiteY632" fmla="*/ 148195 h 734237"/>
                  <a:gd name="connsiteX633" fmla="*/ 1263525 w 1472512"/>
                  <a:gd name="connsiteY633" fmla="*/ 144194 h 734237"/>
                  <a:gd name="connsiteX634" fmla="*/ 1268199 w 1472512"/>
                  <a:gd name="connsiteY634" fmla="*/ 141966 h 734237"/>
                  <a:gd name="connsiteX635" fmla="*/ 1271757 w 1472512"/>
                  <a:gd name="connsiteY635" fmla="*/ 140899 h 734237"/>
                  <a:gd name="connsiteX636" fmla="*/ 1274160 w 1472512"/>
                  <a:gd name="connsiteY636" fmla="*/ 141052 h 734237"/>
                  <a:gd name="connsiteX637" fmla="*/ 1275527 w 1472512"/>
                  <a:gd name="connsiteY637" fmla="*/ 140901 h 734237"/>
                  <a:gd name="connsiteX638" fmla="*/ 1276691 w 1472512"/>
                  <a:gd name="connsiteY638" fmla="*/ 140899 h 734237"/>
                  <a:gd name="connsiteX639" fmla="*/ 1282632 w 1472512"/>
                  <a:gd name="connsiteY639" fmla="*/ 140890 h 734237"/>
                  <a:gd name="connsiteX640" fmla="*/ 1293247 w 1472512"/>
                  <a:gd name="connsiteY640" fmla="*/ 140875 h 734237"/>
                  <a:gd name="connsiteX641" fmla="*/ 1303863 w 1472512"/>
                  <a:gd name="connsiteY641" fmla="*/ 140860 h 734237"/>
                  <a:gd name="connsiteX642" fmla="*/ 1314478 w 1472512"/>
                  <a:gd name="connsiteY642" fmla="*/ 140846 h 734237"/>
                  <a:gd name="connsiteX643" fmla="*/ 1325093 w 1472512"/>
                  <a:gd name="connsiteY643" fmla="*/ 140830 h 734237"/>
                  <a:gd name="connsiteX644" fmla="*/ 1335709 w 1472512"/>
                  <a:gd name="connsiteY644" fmla="*/ 140815 h 734237"/>
                  <a:gd name="connsiteX645" fmla="*/ 1346324 w 1472512"/>
                  <a:gd name="connsiteY645" fmla="*/ 140801 h 734237"/>
                  <a:gd name="connsiteX646" fmla="*/ 1356939 w 1472512"/>
                  <a:gd name="connsiteY646" fmla="*/ 140785 h 734237"/>
                  <a:gd name="connsiteX647" fmla="*/ 1359451 w 1472512"/>
                  <a:gd name="connsiteY647" fmla="*/ 134700 h 734237"/>
                  <a:gd name="connsiteX648" fmla="*/ 1361792 w 1472512"/>
                  <a:gd name="connsiteY648" fmla="*/ 131862 h 734237"/>
                  <a:gd name="connsiteX649" fmla="*/ 1364998 w 1472512"/>
                  <a:gd name="connsiteY649" fmla="*/ 132802 h 734237"/>
                  <a:gd name="connsiteX650" fmla="*/ 1366705 w 1472512"/>
                  <a:gd name="connsiteY650" fmla="*/ 132723 h 734237"/>
                  <a:gd name="connsiteX651" fmla="*/ 1368604 w 1472512"/>
                  <a:gd name="connsiteY651" fmla="*/ 131259 h 734237"/>
                  <a:gd name="connsiteX652" fmla="*/ 1370143 w 1472512"/>
                  <a:gd name="connsiteY652" fmla="*/ 130370 h 734237"/>
                  <a:gd name="connsiteX653" fmla="*/ 1371157 w 1472512"/>
                  <a:gd name="connsiteY653" fmla="*/ 130502 h 734237"/>
                  <a:gd name="connsiteX654" fmla="*/ 1372022 w 1472512"/>
                  <a:gd name="connsiteY654" fmla="*/ 131842 h 734237"/>
                  <a:gd name="connsiteX655" fmla="*/ 1372744 w 1472512"/>
                  <a:gd name="connsiteY655" fmla="*/ 132736 h 734237"/>
                  <a:gd name="connsiteX656" fmla="*/ 1373585 w 1472512"/>
                  <a:gd name="connsiteY656" fmla="*/ 132476 h 734237"/>
                  <a:gd name="connsiteX657" fmla="*/ 1374304 w 1472512"/>
                  <a:gd name="connsiteY657" fmla="*/ 131211 h 734237"/>
                  <a:gd name="connsiteX658" fmla="*/ 1374279 w 1472512"/>
                  <a:gd name="connsiteY658" fmla="*/ 129456 h 734237"/>
                  <a:gd name="connsiteX659" fmla="*/ 1375264 w 1472512"/>
                  <a:gd name="connsiteY659" fmla="*/ 128232 h 734237"/>
                  <a:gd name="connsiteX660" fmla="*/ 1376434 w 1472512"/>
                  <a:gd name="connsiteY660" fmla="*/ 128045 h 734237"/>
                  <a:gd name="connsiteX661" fmla="*/ 1377515 w 1472512"/>
                  <a:gd name="connsiteY661" fmla="*/ 128084 h 734237"/>
                  <a:gd name="connsiteX662" fmla="*/ 1378054 w 1472512"/>
                  <a:gd name="connsiteY662" fmla="*/ 127487 h 734237"/>
                  <a:gd name="connsiteX663" fmla="*/ 1377995 w 1472512"/>
                  <a:gd name="connsiteY663" fmla="*/ 126632 h 734237"/>
                  <a:gd name="connsiteX664" fmla="*/ 1377605 w 1472512"/>
                  <a:gd name="connsiteY664" fmla="*/ 125251 h 734237"/>
                  <a:gd name="connsiteX665" fmla="*/ 1377737 w 1472512"/>
                  <a:gd name="connsiteY665" fmla="*/ 123588 h 734237"/>
                  <a:gd name="connsiteX666" fmla="*/ 1380437 w 1472512"/>
                  <a:gd name="connsiteY666" fmla="*/ 120649 h 734237"/>
                  <a:gd name="connsiteX667" fmla="*/ 1383748 w 1472512"/>
                  <a:gd name="connsiteY667" fmla="*/ 118654 h 734237"/>
                  <a:gd name="connsiteX668" fmla="*/ 1384909 w 1472512"/>
                  <a:gd name="connsiteY668" fmla="*/ 117656 h 734237"/>
                  <a:gd name="connsiteX669" fmla="*/ 1385247 w 1472512"/>
                  <a:gd name="connsiteY669" fmla="*/ 115633 h 734237"/>
                  <a:gd name="connsiteX670" fmla="*/ 1387144 w 1472512"/>
                  <a:gd name="connsiteY670" fmla="*/ 113529 h 734237"/>
                  <a:gd name="connsiteX671" fmla="*/ 1388094 w 1472512"/>
                  <a:gd name="connsiteY671" fmla="*/ 112318 h 734237"/>
                  <a:gd name="connsiteX672" fmla="*/ 1388326 w 1472512"/>
                  <a:gd name="connsiteY672" fmla="*/ 111267 h 734237"/>
                  <a:gd name="connsiteX673" fmla="*/ 1387833 w 1472512"/>
                  <a:gd name="connsiteY673" fmla="*/ 109971 h 734237"/>
                  <a:gd name="connsiteX674" fmla="*/ 1387883 w 1472512"/>
                  <a:gd name="connsiteY674" fmla="*/ 107500 h 734237"/>
                  <a:gd name="connsiteX675" fmla="*/ 1388536 w 1472512"/>
                  <a:gd name="connsiteY675" fmla="*/ 104547 h 734237"/>
                  <a:gd name="connsiteX676" fmla="*/ 1389317 w 1472512"/>
                  <a:gd name="connsiteY676" fmla="*/ 101325 h 734237"/>
                  <a:gd name="connsiteX677" fmla="*/ 1391067 w 1472512"/>
                  <a:gd name="connsiteY677" fmla="*/ 98419 h 734237"/>
                  <a:gd name="connsiteX678" fmla="*/ 1393937 w 1472512"/>
                  <a:gd name="connsiteY678" fmla="*/ 95245 h 734237"/>
                  <a:gd name="connsiteX679" fmla="*/ 1394676 w 1472512"/>
                  <a:gd name="connsiteY679" fmla="*/ 91069 h 734237"/>
                  <a:gd name="connsiteX680" fmla="*/ 1395454 w 1472512"/>
                  <a:gd name="connsiteY680" fmla="*/ 86659 h 734237"/>
                  <a:gd name="connsiteX681" fmla="*/ 1398923 w 1472512"/>
                  <a:gd name="connsiteY681" fmla="*/ 82355 h 734237"/>
                  <a:gd name="connsiteX682" fmla="*/ 1402856 w 1472512"/>
                  <a:gd name="connsiteY682" fmla="*/ 77467 h 734237"/>
                  <a:gd name="connsiteX683" fmla="*/ 1405095 w 1472512"/>
                  <a:gd name="connsiteY683" fmla="*/ 74682 h 734237"/>
                  <a:gd name="connsiteX684" fmla="*/ 1409134 w 1472512"/>
                  <a:gd name="connsiteY684" fmla="*/ 69608 h 734237"/>
                  <a:gd name="connsiteX685" fmla="*/ 1412006 w 1472512"/>
                  <a:gd name="connsiteY685" fmla="*/ 65991 h 734237"/>
                  <a:gd name="connsiteX686" fmla="*/ 1413453 w 1472512"/>
                  <a:gd name="connsiteY686" fmla="*/ 64330 h 734237"/>
                  <a:gd name="connsiteX687" fmla="*/ 1414965 w 1472512"/>
                  <a:gd name="connsiteY687" fmla="*/ 62356 h 734237"/>
                  <a:gd name="connsiteX688" fmla="*/ 1417430 w 1472512"/>
                  <a:gd name="connsiteY688" fmla="*/ 62946 h 734237"/>
                  <a:gd name="connsiteX689" fmla="*/ 1419879 w 1472512"/>
                  <a:gd name="connsiteY689" fmla="*/ 63534 h 734237"/>
                  <a:gd name="connsiteX690" fmla="*/ 1419522 w 1472512"/>
                  <a:gd name="connsiteY690" fmla="*/ 66395 h 734237"/>
                  <a:gd name="connsiteX691" fmla="*/ 1419922 w 1472512"/>
                  <a:gd name="connsiteY691" fmla="*/ 68478 h 734237"/>
                  <a:gd name="connsiteX692" fmla="*/ 1421081 w 1472512"/>
                  <a:gd name="connsiteY692" fmla="*/ 69681 h 734237"/>
                  <a:gd name="connsiteX693" fmla="*/ 1422763 w 1472512"/>
                  <a:gd name="connsiteY693" fmla="*/ 70493 h 734237"/>
                  <a:gd name="connsiteX694" fmla="*/ 1424033 w 1472512"/>
                  <a:gd name="connsiteY694" fmla="*/ 70764 h 734237"/>
                  <a:gd name="connsiteX695" fmla="*/ 1425531 w 1472512"/>
                  <a:gd name="connsiteY695" fmla="*/ 70748 h 734237"/>
                  <a:gd name="connsiteX696" fmla="*/ 1429616 w 1472512"/>
                  <a:gd name="connsiteY696" fmla="*/ 69129 h 734237"/>
                  <a:gd name="connsiteX697" fmla="*/ 1434416 w 1472512"/>
                  <a:gd name="connsiteY697" fmla="*/ 68086 h 734237"/>
                  <a:gd name="connsiteX698" fmla="*/ 1437056 w 1472512"/>
                  <a:gd name="connsiteY698" fmla="*/ 67105 h 734237"/>
                  <a:gd name="connsiteX699" fmla="*/ 1437538 w 1472512"/>
                  <a:gd name="connsiteY699" fmla="*/ 66189 h 734237"/>
                  <a:gd name="connsiteX700" fmla="*/ 1438740 w 1472512"/>
                  <a:gd name="connsiteY700" fmla="*/ 65867 h 734237"/>
                  <a:gd name="connsiteX701" fmla="*/ 1440664 w 1472512"/>
                  <a:gd name="connsiteY701" fmla="*/ 66142 h 734237"/>
                  <a:gd name="connsiteX702" fmla="*/ 1444202 w 1472512"/>
                  <a:gd name="connsiteY702" fmla="*/ 68439 h 734237"/>
                  <a:gd name="connsiteX703" fmla="*/ 1448333 w 1472512"/>
                  <a:gd name="connsiteY703" fmla="*/ 71900 h 734237"/>
                  <a:gd name="connsiteX704" fmla="*/ 1451600 w 1472512"/>
                  <a:gd name="connsiteY704" fmla="*/ 74634 h 734237"/>
                  <a:gd name="connsiteX705" fmla="*/ 1451700 w 1472512"/>
                  <a:gd name="connsiteY705" fmla="*/ 79370 h 734237"/>
                  <a:gd name="connsiteX706" fmla="*/ 1451764 w 1472512"/>
                  <a:gd name="connsiteY706" fmla="*/ 84380 h 734237"/>
                  <a:gd name="connsiteX707" fmla="*/ 1451832 w 1472512"/>
                  <a:gd name="connsiteY707" fmla="*/ 89653 h 734237"/>
                  <a:gd name="connsiteX708" fmla="*/ 1451880 w 1472512"/>
                  <a:gd name="connsiteY708" fmla="*/ 93409 h 734237"/>
                  <a:gd name="connsiteX709" fmla="*/ 1451964 w 1472512"/>
                  <a:gd name="connsiteY709" fmla="*/ 98561 h 734237"/>
                  <a:gd name="connsiteX710" fmla="*/ 1452029 w 1472512"/>
                  <a:gd name="connsiteY710" fmla="*/ 102652 h 734237"/>
                  <a:gd name="connsiteX711" fmla="*/ 1452118 w 1472512"/>
                  <a:gd name="connsiteY711" fmla="*/ 107985 h 734237"/>
                  <a:gd name="connsiteX712" fmla="*/ 1452164 w 1472512"/>
                  <a:gd name="connsiteY712" fmla="*/ 110832 h 734237"/>
                  <a:gd name="connsiteX713" fmla="*/ 1452614 w 1472512"/>
                  <a:gd name="connsiteY713" fmla="*/ 111654 h 734237"/>
                  <a:gd name="connsiteX714" fmla="*/ 1452343 w 1472512"/>
                  <a:gd name="connsiteY714" fmla="*/ 112774 h 734237"/>
                  <a:gd name="connsiteX715" fmla="*/ 1452225 w 1472512"/>
                  <a:gd name="connsiteY715" fmla="*/ 113335 h 734237"/>
                  <a:gd name="connsiteX716" fmla="*/ 1452254 w 1472512"/>
                  <a:gd name="connsiteY716" fmla="*/ 113780 h 734237"/>
                  <a:gd name="connsiteX717" fmla="*/ 1452433 w 1472512"/>
                  <a:gd name="connsiteY717" fmla="*/ 114342 h 734237"/>
                  <a:gd name="connsiteX718" fmla="*/ 1452403 w 1472512"/>
                  <a:gd name="connsiteY718" fmla="*/ 115125 h 734237"/>
                  <a:gd name="connsiteX719" fmla="*/ 1451984 w 1472512"/>
                  <a:gd name="connsiteY719" fmla="*/ 115836 h 734237"/>
                  <a:gd name="connsiteX720" fmla="*/ 1451776 w 1472512"/>
                  <a:gd name="connsiteY720" fmla="*/ 116654 h 734237"/>
                  <a:gd name="connsiteX721" fmla="*/ 1451715 w 1472512"/>
                  <a:gd name="connsiteY721" fmla="*/ 117998 h 734237"/>
                  <a:gd name="connsiteX722" fmla="*/ 1452164 w 1472512"/>
                  <a:gd name="connsiteY722" fmla="*/ 118817 h 734237"/>
                  <a:gd name="connsiteX723" fmla="*/ 1452912 w 1472512"/>
                  <a:gd name="connsiteY723" fmla="*/ 119300 h 734237"/>
                  <a:gd name="connsiteX724" fmla="*/ 1453541 w 1472512"/>
                  <a:gd name="connsiteY724" fmla="*/ 119300 h 734237"/>
                  <a:gd name="connsiteX725" fmla="*/ 1454350 w 1472512"/>
                  <a:gd name="connsiteY725" fmla="*/ 119786 h 734237"/>
                  <a:gd name="connsiteX726" fmla="*/ 1455397 w 1472512"/>
                  <a:gd name="connsiteY726" fmla="*/ 120643 h 734237"/>
                  <a:gd name="connsiteX727" fmla="*/ 1456983 w 1472512"/>
                  <a:gd name="connsiteY727" fmla="*/ 121388 h 734237"/>
                  <a:gd name="connsiteX728" fmla="*/ 1458629 w 1472512"/>
                  <a:gd name="connsiteY728" fmla="*/ 121648 h 734237"/>
                  <a:gd name="connsiteX729" fmla="*/ 1459767 w 1472512"/>
                  <a:gd name="connsiteY729" fmla="*/ 121461 h 734237"/>
                  <a:gd name="connsiteX730" fmla="*/ 1461144 w 1472512"/>
                  <a:gd name="connsiteY730" fmla="*/ 121947 h 734237"/>
                  <a:gd name="connsiteX731" fmla="*/ 1461623 w 1472512"/>
                  <a:gd name="connsiteY731" fmla="*/ 123137 h 734237"/>
                  <a:gd name="connsiteX732" fmla="*/ 1461354 w 1472512"/>
                  <a:gd name="connsiteY732" fmla="*/ 124252 h 734237"/>
                  <a:gd name="connsiteX733" fmla="*/ 1460576 w 1472512"/>
                  <a:gd name="connsiteY733" fmla="*/ 124773 h 734237"/>
                  <a:gd name="connsiteX734" fmla="*/ 1459738 w 1472512"/>
                  <a:gd name="connsiteY734" fmla="*/ 125185 h 734237"/>
                  <a:gd name="connsiteX735" fmla="*/ 1459588 w 1472512"/>
                  <a:gd name="connsiteY735" fmla="*/ 126038 h 734237"/>
                  <a:gd name="connsiteX736" fmla="*/ 1460007 w 1472512"/>
                  <a:gd name="connsiteY736" fmla="*/ 126931 h 734237"/>
                  <a:gd name="connsiteX737" fmla="*/ 1460606 w 1472512"/>
                  <a:gd name="connsiteY737" fmla="*/ 127712 h 734237"/>
                  <a:gd name="connsiteX738" fmla="*/ 1461265 w 1472512"/>
                  <a:gd name="connsiteY738" fmla="*/ 129083 h 734237"/>
                  <a:gd name="connsiteX739" fmla="*/ 1460994 w 1472512"/>
                  <a:gd name="connsiteY739" fmla="*/ 130270 h 734237"/>
                  <a:gd name="connsiteX740" fmla="*/ 1460396 w 1472512"/>
                  <a:gd name="connsiteY740" fmla="*/ 131273 h 734237"/>
                  <a:gd name="connsiteX741" fmla="*/ 1460126 w 1472512"/>
                  <a:gd name="connsiteY741" fmla="*/ 132312 h 734237"/>
                  <a:gd name="connsiteX742" fmla="*/ 1460636 w 1472512"/>
                  <a:gd name="connsiteY742" fmla="*/ 133203 h 734237"/>
                  <a:gd name="connsiteX743" fmla="*/ 1461982 w 1472512"/>
                  <a:gd name="connsiteY743" fmla="*/ 134389 h 734237"/>
                  <a:gd name="connsiteX744" fmla="*/ 1462820 w 1472512"/>
                  <a:gd name="connsiteY744" fmla="*/ 135538 h 734237"/>
                  <a:gd name="connsiteX745" fmla="*/ 1464138 w 1472512"/>
                  <a:gd name="connsiteY745" fmla="*/ 136170 h 734237"/>
                  <a:gd name="connsiteX746" fmla="*/ 1464766 w 1472512"/>
                  <a:gd name="connsiteY746" fmla="*/ 135723 h 734237"/>
                  <a:gd name="connsiteX747" fmla="*/ 1465276 w 1472512"/>
                  <a:gd name="connsiteY747" fmla="*/ 135130 h 734237"/>
                  <a:gd name="connsiteX748" fmla="*/ 1465813 w 1472512"/>
                  <a:gd name="connsiteY748" fmla="*/ 134686 h 734237"/>
                  <a:gd name="connsiteX749" fmla="*/ 1466741 w 1472512"/>
                  <a:gd name="connsiteY749" fmla="*/ 134946 h 734237"/>
                  <a:gd name="connsiteX750" fmla="*/ 1467819 w 1472512"/>
                  <a:gd name="connsiteY750" fmla="*/ 135279 h 734237"/>
                  <a:gd name="connsiteX751" fmla="*/ 1468996 w 1472512"/>
                  <a:gd name="connsiteY751" fmla="*/ 135676 h 734237"/>
                  <a:gd name="connsiteX752" fmla="*/ 1468855 w 1472512"/>
                  <a:gd name="connsiteY752" fmla="*/ 136637 h 734237"/>
                  <a:gd name="connsiteX753" fmla="*/ 1469573 w 1472512"/>
                  <a:gd name="connsiteY753" fmla="*/ 138256 h 734237"/>
                  <a:gd name="connsiteX754" fmla="*/ 1470128 w 1472512"/>
                  <a:gd name="connsiteY754" fmla="*/ 141364 h 734237"/>
                  <a:gd name="connsiteX755" fmla="*/ 1469275 w 1472512"/>
                  <a:gd name="connsiteY755" fmla="*/ 142777 h 734237"/>
                  <a:gd name="connsiteX756" fmla="*/ 1469458 w 1472512"/>
                  <a:gd name="connsiteY756" fmla="*/ 144646 h 734237"/>
                  <a:gd name="connsiteX757" fmla="*/ 1471823 w 1472512"/>
                  <a:gd name="connsiteY757" fmla="*/ 145189 h 734237"/>
                  <a:gd name="connsiteX758" fmla="*/ 1472399 w 1472512"/>
                  <a:gd name="connsiteY758" fmla="*/ 145761 h 734237"/>
                  <a:gd name="connsiteX759" fmla="*/ 1472512 w 1472512"/>
                  <a:gd name="connsiteY759" fmla="*/ 146452 h 734237"/>
                  <a:gd name="connsiteX760" fmla="*/ 1467301 w 1472512"/>
                  <a:gd name="connsiteY760" fmla="*/ 151236 h 734237"/>
                  <a:gd name="connsiteX761" fmla="*/ 1462894 w 1472512"/>
                  <a:gd name="connsiteY761" fmla="*/ 150567 h 734237"/>
                  <a:gd name="connsiteX762" fmla="*/ 1460502 w 1472512"/>
                  <a:gd name="connsiteY762" fmla="*/ 151834 h 734237"/>
                  <a:gd name="connsiteX763" fmla="*/ 1457997 w 1472512"/>
                  <a:gd name="connsiteY763" fmla="*/ 152205 h 734237"/>
                  <a:gd name="connsiteX764" fmla="*/ 1456898 w 1472512"/>
                  <a:gd name="connsiteY764" fmla="*/ 154338 h 734237"/>
                  <a:gd name="connsiteX765" fmla="*/ 1455523 w 1472512"/>
                  <a:gd name="connsiteY765" fmla="*/ 154791 h 734237"/>
                  <a:gd name="connsiteX766" fmla="*/ 1453640 w 1472512"/>
                  <a:gd name="connsiteY766" fmla="*/ 154661 h 734237"/>
                  <a:gd name="connsiteX767" fmla="*/ 1452015 w 1472512"/>
                  <a:gd name="connsiteY767" fmla="*/ 154060 h 734237"/>
                  <a:gd name="connsiteX768" fmla="*/ 1450777 w 1472512"/>
                  <a:gd name="connsiteY768" fmla="*/ 154356 h 734237"/>
                  <a:gd name="connsiteX769" fmla="*/ 1449042 w 1472512"/>
                  <a:gd name="connsiteY769" fmla="*/ 158205 h 734237"/>
                  <a:gd name="connsiteX770" fmla="*/ 1447623 w 1472512"/>
                  <a:gd name="connsiteY770" fmla="*/ 157869 h 734237"/>
                  <a:gd name="connsiteX771" fmla="*/ 1447057 w 1472512"/>
                  <a:gd name="connsiteY771" fmla="*/ 159253 h 734237"/>
                  <a:gd name="connsiteX772" fmla="*/ 1446315 w 1472512"/>
                  <a:gd name="connsiteY772" fmla="*/ 159858 h 734237"/>
                  <a:gd name="connsiteX773" fmla="*/ 1445226 w 1472512"/>
                  <a:gd name="connsiteY773" fmla="*/ 160376 h 734237"/>
                  <a:gd name="connsiteX774" fmla="*/ 1444280 w 1472512"/>
                  <a:gd name="connsiteY774" fmla="*/ 158668 h 734237"/>
                  <a:gd name="connsiteX775" fmla="*/ 1443679 w 1472512"/>
                  <a:gd name="connsiteY775" fmla="*/ 157043 h 734237"/>
                  <a:gd name="connsiteX776" fmla="*/ 1442791 w 1472512"/>
                  <a:gd name="connsiteY776" fmla="*/ 156687 h 734237"/>
                  <a:gd name="connsiteX777" fmla="*/ 1441613 w 1472512"/>
                  <a:gd name="connsiteY777" fmla="*/ 156271 h 734237"/>
                  <a:gd name="connsiteX778" fmla="*/ 1440401 w 1472512"/>
                  <a:gd name="connsiteY778" fmla="*/ 156285 h 734237"/>
                  <a:gd name="connsiteX779" fmla="*/ 1439594 w 1472512"/>
                  <a:gd name="connsiteY779" fmla="*/ 156517 h 734237"/>
                  <a:gd name="connsiteX780" fmla="*/ 1438590 w 1472512"/>
                  <a:gd name="connsiteY780" fmla="*/ 157569 h 734237"/>
                  <a:gd name="connsiteX781" fmla="*/ 1437136 w 1472512"/>
                  <a:gd name="connsiteY781" fmla="*/ 158471 h 734237"/>
                  <a:gd name="connsiteX782" fmla="*/ 1436037 w 1472512"/>
                  <a:gd name="connsiteY782" fmla="*/ 157719 h 734237"/>
                  <a:gd name="connsiteX783" fmla="*/ 1435177 w 1472512"/>
                  <a:gd name="connsiteY783" fmla="*/ 156509 h 734237"/>
                  <a:gd name="connsiteX784" fmla="*/ 1434440 w 1472512"/>
                  <a:gd name="connsiteY784" fmla="*/ 158454 h 734237"/>
                  <a:gd name="connsiteX785" fmla="*/ 1433369 w 1472512"/>
                  <a:gd name="connsiteY785" fmla="*/ 160506 h 734237"/>
                  <a:gd name="connsiteX786" fmla="*/ 1433548 w 1472512"/>
                  <a:gd name="connsiteY786" fmla="*/ 162896 h 734237"/>
                  <a:gd name="connsiteX787" fmla="*/ 1433086 w 1472512"/>
                  <a:gd name="connsiteY787" fmla="*/ 164312 h 734237"/>
                  <a:gd name="connsiteX788" fmla="*/ 1432070 w 1472512"/>
                  <a:gd name="connsiteY788" fmla="*/ 163930 h 734237"/>
                  <a:gd name="connsiteX789" fmla="*/ 1431059 w 1472512"/>
                  <a:gd name="connsiteY789" fmla="*/ 162688 h 734237"/>
                  <a:gd name="connsiteX790" fmla="*/ 1428220 w 1472512"/>
                  <a:gd name="connsiteY790" fmla="*/ 161694 h 734237"/>
                  <a:gd name="connsiteX791" fmla="*/ 1425958 w 1472512"/>
                  <a:gd name="connsiteY791" fmla="*/ 161785 h 734237"/>
                  <a:gd name="connsiteX792" fmla="*/ 1426419 w 1472512"/>
                  <a:gd name="connsiteY792" fmla="*/ 160458 h 734237"/>
                  <a:gd name="connsiteX793" fmla="*/ 1428557 w 1472512"/>
                  <a:gd name="connsiteY793" fmla="*/ 158551 h 734237"/>
                  <a:gd name="connsiteX794" fmla="*/ 1427898 w 1472512"/>
                  <a:gd name="connsiteY794" fmla="*/ 158176 h 734237"/>
                  <a:gd name="connsiteX795" fmla="*/ 1426849 w 1472512"/>
                  <a:gd name="connsiteY795" fmla="*/ 158441 h 734237"/>
                  <a:gd name="connsiteX796" fmla="*/ 1426393 w 1472512"/>
                  <a:gd name="connsiteY796" fmla="*/ 158176 h 734237"/>
                  <a:gd name="connsiteX797" fmla="*/ 1427142 w 1472512"/>
                  <a:gd name="connsiteY797" fmla="*/ 156443 h 734237"/>
                  <a:gd name="connsiteX798" fmla="*/ 1427215 w 1472512"/>
                  <a:gd name="connsiteY798" fmla="*/ 154530 h 734237"/>
                  <a:gd name="connsiteX799" fmla="*/ 1426257 w 1472512"/>
                  <a:gd name="connsiteY799" fmla="*/ 155199 h 734237"/>
                  <a:gd name="connsiteX800" fmla="*/ 1425054 w 1472512"/>
                  <a:gd name="connsiteY800" fmla="*/ 157219 h 734237"/>
                  <a:gd name="connsiteX801" fmla="*/ 1422143 w 1472512"/>
                  <a:gd name="connsiteY801" fmla="*/ 158824 h 734237"/>
                  <a:gd name="connsiteX802" fmla="*/ 1422280 w 1472512"/>
                  <a:gd name="connsiteY802" fmla="*/ 161511 h 734237"/>
                  <a:gd name="connsiteX803" fmla="*/ 1419539 w 1472512"/>
                  <a:gd name="connsiteY803" fmla="*/ 167012 h 734237"/>
                  <a:gd name="connsiteX804" fmla="*/ 1419418 w 1472512"/>
                  <a:gd name="connsiteY804" fmla="*/ 169350 h 734237"/>
                  <a:gd name="connsiteX805" fmla="*/ 1417660 w 1472512"/>
                  <a:gd name="connsiteY805" fmla="*/ 171216 h 734237"/>
                  <a:gd name="connsiteX806" fmla="*/ 1415394 w 1472512"/>
                  <a:gd name="connsiteY806" fmla="*/ 172820 h 734237"/>
                  <a:gd name="connsiteX807" fmla="*/ 1412372 w 1472512"/>
                  <a:gd name="connsiteY807" fmla="*/ 172368 h 734237"/>
                  <a:gd name="connsiteX808" fmla="*/ 1410064 w 1472512"/>
                  <a:gd name="connsiteY808" fmla="*/ 173761 h 734237"/>
                  <a:gd name="connsiteX809" fmla="*/ 1408894 w 1472512"/>
                  <a:gd name="connsiteY809" fmla="*/ 175360 h 734237"/>
                  <a:gd name="connsiteX810" fmla="*/ 1407876 w 1472512"/>
                  <a:gd name="connsiteY810" fmla="*/ 175599 h 734237"/>
                  <a:gd name="connsiteX811" fmla="*/ 1407346 w 1472512"/>
                  <a:gd name="connsiteY811" fmla="*/ 173564 h 734237"/>
                  <a:gd name="connsiteX812" fmla="*/ 1406960 w 1472512"/>
                  <a:gd name="connsiteY812" fmla="*/ 172934 h 734237"/>
                  <a:gd name="connsiteX813" fmla="*/ 1406111 w 1472512"/>
                  <a:gd name="connsiteY813" fmla="*/ 175936 h 734237"/>
                  <a:gd name="connsiteX814" fmla="*/ 1405244 w 1472512"/>
                  <a:gd name="connsiteY814" fmla="*/ 176123 h 734237"/>
                  <a:gd name="connsiteX815" fmla="*/ 1404916 w 1472512"/>
                  <a:gd name="connsiteY815" fmla="*/ 173995 h 734237"/>
                  <a:gd name="connsiteX816" fmla="*/ 1404506 w 1472512"/>
                  <a:gd name="connsiteY816" fmla="*/ 172587 h 734237"/>
                  <a:gd name="connsiteX817" fmla="*/ 1403326 w 1472512"/>
                  <a:gd name="connsiteY817" fmla="*/ 173801 h 734237"/>
                  <a:gd name="connsiteX818" fmla="*/ 1402543 w 1472512"/>
                  <a:gd name="connsiteY818" fmla="*/ 177014 h 734237"/>
                  <a:gd name="connsiteX819" fmla="*/ 1401722 w 1472512"/>
                  <a:gd name="connsiteY819" fmla="*/ 176743 h 734237"/>
                  <a:gd name="connsiteX820" fmla="*/ 1401461 w 1472512"/>
                  <a:gd name="connsiteY820" fmla="*/ 175548 h 734237"/>
                  <a:gd name="connsiteX821" fmla="*/ 1400872 w 1472512"/>
                  <a:gd name="connsiteY821" fmla="*/ 175186 h 734237"/>
                  <a:gd name="connsiteX822" fmla="*/ 1400672 w 1472512"/>
                  <a:gd name="connsiteY822" fmla="*/ 176551 h 734237"/>
                  <a:gd name="connsiteX823" fmla="*/ 1400967 w 1472512"/>
                  <a:gd name="connsiteY823" fmla="*/ 178473 h 734237"/>
                  <a:gd name="connsiteX824" fmla="*/ 1400540 w 1472512"/>
                  <a:gd name="connsiteY824" fmla="*/ 179497 h 734237"/>
                  <a:gd name="connsiteX825" fmla="*/ 1399724 w 1472512"/>
                  <a:gd name="connsiteY825" fmla="*/ 178950 h 734237"/>
                  <a:gd name="connsiteX826" fmla="*/ 1398903 w 1472512"/>
                  <a:gd name="connsiteY826" fmla="*/ 178026 h 734237"/>
                  <a:gd name="connsiteX827" fmla="*/ 1397550 w 1472512"/>
                  <a:gd name="connsiteY827" fmla="*/ 178727 h 734237"/>
                  <a:gd name="connsiteX828" fmla="*/ 1396306 w 1472512"/>
                  <a:gd name="connsiteY828" fmla="*/ 179012 h 734237"/>
                  <a:gd name="connsiteX829" fmla="*/ 1396301 w 1472512"/>
                  <a:gd name="connsiteY829" fmla="*/ 178072 h 734237"/>
                  <a:gd name="connsiteX830" fmla="*/ 1396538 w 1472512"/>
                  <a:gd name="connsiteY830" fmla="*/ 176918 h 734237"/>
                  <a:gd name="connsiteX831" fmla="*/ 1394060 w 1472512"/>
                  <a:gd name="connsiteY831" fmla="*/ 177556 h 734237"/>
                  <a:gd name="connsiteX832" fmla="*/ 1391089 w 1472512"/>
                  <a:gd name="connsiteY832" fmla="*/ 179682 h 734237"/>
                  <a:gd name="connsiteX833" fmla="*/ 1388783 w 1472512"/>
                  <a:gd name="connsiteY833" fmla="*/ 182623 h 734237"/>
                  <a:gd name="connsiteX834" fmla="*/ 1389582 w 1472512"/>
                  <a:gd name="connsiteY834" fmla="*/ 183113 h 734237"/>
                  <a:gd name="connsiteX835" fmla="*/ 1390483 w 1472512"/>
                  <a:gd name="connsiteY835" fmla="*/ 184048 h 734237"/>
                  <a:gd name="connsiteX836" fmla="*/ 1386475 w 1472512"/>
                  <a:gd name="connsiteY836" fmla="*/ 188583 h 734237"/>
                  <a:gd name="connsiteX837" fmla="*/ 1382368 w 1472512"/>
                  <a:gd name="connsiteY837" fmla="*/ 192661 h 734237"/>
                  <a:gd name="connsiteX838" fmla="*/ 1379265 w 1472512"/>
                  <a:gd name="connsiteY838" fmla="*/ 199305 h 734237"/>
                  <a:gd name="connsiteX839" fmla="*/ 1378019 w 1472512"/>
                  <a:gd name="connsiteY839" fmla="*/ 200083 h 734237"/>
                  <a:gd name="connsiteX840" fmla="*/ 1376950 w 1472512"/>
                  <a:gd name="connsiteY840" fmla="*/ 201298 h 734237"/>
                  <a:gd name="connsiteX841" fmla="*/ 1375813 w 1472512"/>
                  <a:gd name="connsiteY841" fmla="*/ 205300 h 734237"/>
                  <a:gd name="connsiteX842" fmla="*/ 1374501 w 1472512"/>
                  <a:gd name="connsiteY842" fmla="*/ 208860 h 734237"/>
                  <a:gd name="connsiteX843" fmla="*/ 1375236 w 1472512"/>
                  <a:gd name="connsiteY843" fmla="*/ 210442 h 734237"/>
                  <a:gd name="connsiteX844" fmla="*/ 1375719 w 1472512"/>
                  <a:gd name="connsiteY844" fmla="*/ 212072 h 734237"/>
                  <a:gd name="connsiteX845" fmla="*/ 1376884 w 1472512"/>
                  <a:gd name="connsiteY845" fmla="*/ 213672 h 734237"/>
                  <a:gd name="connsiteX846" fmla="*/ 1377874 w 1472512"/>
                  <a:gd name="connsiteY846" fmla="*/ 213818 h 734237"/>
                  <a:gd name="connsiteX847" fmla="*/ 1378946 w 1472512"/>
                  <a:gd name="connsiteY847" fmla="*/ 213528 h 734237"/>
                  <a:gd name="connsiteX848" fmla="*/ 1379734 w 1472512"/>
                  <a:gd name="connsiteY848" fmla="*/ 213595 h 734237"/>
                  <a:gd name="connsiteX849" fmla="*/ 1380239 w 1472512"/>
                  <a:gd name="connsiteY849" fmla="*/ 214276 h 734237"/>
                  <a:gd name="connsiteX850" fmla="*/ 1380015 w 1472512"/>
                  <a:gd name="connsiteY850" fmla="*/ 215092 h 734237"/>
                  <a:gd name="connsiteX851" fmla="*/ 1378778 w 1472512"/>
                  <a:gd name="connsiteY851" fmla="*/ 215294 h 734237"/>
                  <a:gd name="connsiteX852" fmla="*/ 1376471 w 1472512"/>
                  <a:gd name="connsiteY852" fmla="*/ 216720 h 734237"/>
                  <a:gd name="connsiteX853" fmla="*/ 1374449 w 1472512"/>
                  <a:gd name="connsiteY853" fmla="*/ 217267 h 734237"/>
                  <a:gd name="connsiteX854" fmla="*/ 1373435 w 1472512"/>
                  <a:gd name="connsiteY854" fmla="*/ 218990 h 734237"/>
                  <a:gd name="connsiteX855" fmla="*/ 1371915 w 1472512"/>
                  <a:gd name="connsiteY855" fmla="*/ 220978 h 734237"/>
                  <a:gd name="connsiteX856" fmla="*/ 1368963 w 1472512"/>
                  <a:gd name="connsiteY856" fmla="*/ 224079 h 734237"/>
                  <a:gd name="connsiteX857" fmla="*/ 1370223 w 1472512"/>
                  <a:gd name="connsiteY857" fmla="*/ 225034 h 734237"/>
                  <a:gd name="connsiteX858" fmla="*/ 1374784 w 1472512"/>
                  <a:gd name="connsiteY858" fmla="*/ 226111 h 734237"/>
                  <a:gd name="connsiteX859" fmla="*/ 1376817 w 1472512"/>
                  <a:gd name="connsiteY859" fmla="*/ 227218 h 734237"/>
                  <a:gd name="connsiteX860" fmla="*/ 1379894 w 1472512"/>
                  <a:gd name="connsiteY860" fmla="*/ 232997 h 734237"/>
                  <a:gd name="connsiteX861" fmla="*/ 1379191 w 1472512"/>
                  <a:gd name="connsiteY861" fmla="*/ 233574 h 734237"/>
                  <a:gd name="connsiteX862" fmla="*/ 1378912 w 1472512"/>
                  <a:gd name="connsiteY862" fmla="*/ 234632 h 734237"/>
                  <a:gd name="connsiteX863" fmla="*/ 1381647 w 1472512"/>
                  <a:gd name="connsiteY863" fmla="*/ 236114 h 734237"/>
                  <a:gd name="connsiteX864" fmla="*/ 1382521 w 1472512"/>
                  <a:gd name="connsiteY864" fmla="*/ 240254 h 734237"/>
                  <a:gd name="connsiteX865" fmla="*/ 1384767 w 1472512"/>
                  <a:gd name="connsiteY865" fmla="*/ 241661 h 734237"/>
                  <a:gd name="connsiteX866" fmla="*/ 1388114 w 1472512"/>
                  <a:gd name="connsiteY866" fmla="*/ 242526 h 734237"/>
                  <a:gd name="connsiteX867" fmla="*/ 1392207 w 1472512"/>
                  <a:gd name="connsiteY867" fmla="*/ 241276 h 734237"/>
                  <a:gd name="connsiteX868" fmla="*/ 1395614 w 1472512"/>
                  <a:gd name="connsiteY868" fmla="*/ 239555 h 734237"/>
                  <a:gd name="connsiteX869" fmla="*/ 1395495 w 1472512"/>
                  <a:gd name="connsiteY869" fmla="*/ 238143 h 734237"/>
                  <a:gd name="connsiteX870" fmla="*/ 1393354 w 1472512"/>
                  <a:gd name="connsiteY870" fmla="*/ 234857 h 734237"/>
                  <a:gd name="connsiteX871" fmla="*/ 1392838 w 1472512"/>
                  <a:gd name="connsiteY871" fmla="*/ 233312 h 734237"/>
                  <a:gd name="connsiteX872" fmla="*/ 1391249 w 1472512"/>
                  <a:gd name="connsiteY872" fmla="*/ 232312 h 734237"/>
                  <a:gd name="connsiteX873" fmla="*/ 1390644 w 1472512"/>
                  <a:gd name="connsiteY873" fmla="*/ 233159 h 734237"/>
                  <a:gd name="connsiteX874" fmla="*/ 1389617 w 1472512"/>
                  <a:gd name="connsiteY874" fmla="*/ 232058 h 734237"/>
                  <a:gd name="connsiteX875" fmla="*/ 1389502 w 1472512"/>
                  <a:gd name="connsiteY875" fmla="*/ 231441 h 734237"/>
                  <a:gd name="connsiteX876" fmla="*/ 1390459 w 1472512"/>
                  <a:gd name="connsiteY876" fmla="*/ 231140 h 734237"/>
                  <a:gd name="connsiteX877" fmla="*/ 1391572 w 1472512"/>
                  <a:gd name="connsiteY877" fmla="*/ 231260 h 734237"/>
                  <a:gd name="connsiteX878" fmla="*/ 1392872 w 1472512"/>
                  <a:gd name="connsiteY878" fmla="*/ 231835 h 734237"/>
                  <a:gd name="connsiteX879" fmla="*/ 1396215 w 1472512"/>
                  <a:gd name="connsiteY879" fmla="*/ 235421 h 734237"/>
                  <a:gd name="connsiteX880" fmla="*/ 1397142 w 1472512"/>
                  <a:gd name="connsiteY880" fmla="*/ 240114 h 734237"/>
                  <a:gd name="connsiteX881" fmla="*/ 1397339 w 1472512"/>
                  <a:gd name="connsiteY881" fmla="*/ 243092 h 734237"/>
                  <a:gd name="connsiteX882" fmla="*/ 1396961 w 1472512"/>
                  <a:gd name="connsiteY882" fmla="*/ 244109 h 734237"/>
                  <a:gd name="connsiteX883" fmla="*/ 1395989 w 1472512"/>
                  <a:gd name="connsiteY883" fmla="*/ 243900 h 734237"/>
                  <a:gd name="connsiteX884" fmla="*/ 1394132 w 1472512"/>
                  <a:gd name="connsiteY884" fmla="*/ 244102 h 734237"/>
                  <a:gd name="connsiteX885" fmla="*/ 1385327 w 1472512"/>
                  <a:gd name="connsiteY885" fmla="*/ 245642 h 734237"/>
                  <a:gd name="connsiteX886" fmla="*/ 1383372 w 1472512"/>
                  <a:gd name="connsiteY886" fmla="*/ 246997 h 734237"/>
                  <a:gd name="connsiteX887" fmla="*/ 1378888 w 1472512"/>
                  <a:gd name="connsiteY887" fmla="*/ 248470 h 734237"/>
                  <a:gd name="connsiteX888" fmla="*/ 1378609 w 1472512"/>
                  <a:gd name="connsiteY888" fmla="*/ 247736 h 734237"/>
                  <a:gd name="connsiteX889" fmla="*/ 1378933 w 1472512"/>
                  <a:gd name="connsiteY889" fmla="*/ 246217 h 734237"/>
                  <a:gd name="connsiteX890" fmla="*/ 1378650 w 1472512"/>
                  <a:gd name="connsiteY890" fmla="*/ 243102 h 734237"/>
                  <a:gd name="connsiteX891" fmla="*/ 1377765 w 1472512"/>
                  <a:gd name="connsiteY891" fmla="*/ 242958 h 734237"/>
                  <a:gd name="connsiteX892" fmla="*/ 1370798 w 1472512"/>
                  <a:gd name="connsiteY892" fmla="*/ 248034 h 734237"/>
                  <a:gd name="connsiteX893" fmla="*/ 1368106 w 1472512"/>
                  <a:gd name="connsiteY893" fmla="*/ 248353 h 734237"/>
                  <a:gd name="connsiteX894" fmla="*/ 1365841 w 1472512"/>
                  <a:gd name="connsiteY894" fmla="*/ 249835 h 734237"/>
                  <a:gd name="connsiteX895" fmla="*/ 1365335 w 1472512"/>
                  <a:gd name="connsiteY895" fmla="*/ 249014 h 734237"/>
                  <a:gd name="connsiteX896" fmla="*/ 1364930 w 1472512"/>
                  <a:gd name="connsiteY896" fmla="*/ 245209 h 734237"/>
                  <a:gd name="connsiteX897" fmla="*/ 1366346 w 1472512"/>
                  <a:gd name="connsiteY897" fmla="*/ 242013 h 734237"/>
                  <a:gd name="connsiteX898" fmla="*/ 1365592 w 1472512"/>
                  <a:gd name="connsiteY898" fmla="*/ 242065 h 734237"/>
                  <a:gd name="connsiteX899" fmla="*/ 1363225 w 1472512"/>
                  <a:gd name="connsiteY899" fmla="*/ 243983 h 734237"/>
                  <a:gd name="connsiteX900" fmla="*/ 1362214 w 1472512"/>
                  <a:gd name="connsiteY900" fmla="*/ 242803 h 734237"/>
                  <a:gd name="connsiteX901" fmla="*/ 1361707 w 1472512"/>
                  <a:gd name="connsiteY901" fmla="*/ 241508 h 734237"/>
                  <a:gd name="connsiteX902" fmla="*/ 1360979 w 1472512"/>
                  <a:gd name="connsiteY902" fmla="*/ 240776 h 734237"/>
                  <a:gd name="connsiteX903" fmla="*/ 1360188 w 1472512"/>
                  <a:gd name="connsiteY903" fmla="*/ 240498 h 734237"/>
                  <a:gd name="connsiteX904" fmla="*/ 1360864 w 1472512"/>
                  <a:gd name="connsiteY904" fmla="*/ 243326 h 734237"/>
                  <a:gd name="connsiteX905" fmla="*/ 1359259 w 1472512"/>
                  <a:gd name="connsiteY905" fmla="*/ 245447 h 734237"/>
                  <a:gd name="connsiteX906" fmla="*/ 1358820 w 1472512"/>
                  <a:gd name="connsiteY906" fmla="*/ 250924 h 734237"/>
                  <a:gd name="connsiteX907" fmla="*/ 1356804 w 1472512"/>
                  <a:gd name="connsiteY907" fmla="*/ 253201 h 734237"/>
                  <a:gd name="connsiteX908" fmla="*/ 1350517 w 1472512"/>
                  <a:gd name="connsiteY908" fmla="*/ 254664 h 734237"/>
                  <a:gd name="connsiteX909" fmla="*/ 1346418 w 1472512"/>
                  <a:gd name="connsiteY909" fmla="*/ 254356 h 734237"/>
                  <a:gd name="connsiteX910" fmla="*/ 1342746 w 1472512"/>
                  <a:gd name="connsiteY910" fmla="*/ 254810 h 734237"/>
                  <a:gd name="connsiteX911" fmla="*/ 1337864 w 1472512"/>
                  <a:gd name="connsiteY911" fmla="*/ 255859 h 734237"/>
                  <a:gd name="connsiteX912" fmla="*/ 1335165 w 1472512"/>
                  <a:gd name="connsiteY912" fmla="*/ 255235 h 734237"/>
                  <a:gd name="connsiteX913" fmla="*/ 1332402 w 1472512"/>
                  <a:gd name="connsiteY913" fmla="*/ 256343 h 734237"/>
                  <a:gd name="connsiteX914" fmla="*/ 1323019 w 1472512"/>
                  <a:gd name="connsiteY914" fmla="*/ 256643 h 734237"/>
                  <a:gd name="connsiteX915" fmla="*/ 1321042 w 1472512"/>
                  <a:gd name="connsiteY915" fmla="*/ 256056 h 734237"/>
                  <a:gd name="connsiteX916" fmla="*/ 1318515 w 1472512"/>
                  <a:gd name="connsiteY916" fmla="*/ 258147 h 734237"/>
                  <a:gd name="connsiteX917" fmla="*/ 1314471 w 1472512"/>
                  <a:gd name="connsiteY917" fmla="*/ 259381 h 734237"/>
                  <a:gd name="connsiteX918" fmla="*/ 1304248 w 1472512"/>
                  <a:gd name="connsiteY918" fmla="*/ 264058 h 734237"/>
                  <a:gd name="connsiteX919" fmla="*/ 1301994 w 1472512"/>
                  <a:gd name="connsiteY919" fmla="*/ 265757 h 734237"/>
                  <a:gd name="connsiteX920" fmla="*/ 1299248 w 1472512"/>
                  <a:gd name="connsiteY920" fmla="*/ 268409 h 734237"/>
                  <a:gd name="connsiteX921" fmla="*/ 1297404 w 1472512"/>
                  <a:gd name="connsiteY921" fmla="*/ 269835 h 734237"/>
                  <a:gd name="connsiteX922" fmla="*/ 1295890 w 1472512"/>
                  <a:gd name="connsiteY922" fmla="*/ 270299 h 734237"/>
                  <a:gd name="connsiteX923" fmla="*/ 1294957 w 1472512"/>
                  <a:gd name="connsiteY923" fmla="*/ 271484 h 734237"/>
                  <a:gd name="connsiteX924" fmla="*/ 1293940 w 1472512"/>
                  <a:gd name="connsiteY924" fmla="*/ 272259 h 734237"/>
                  <a:gd name="connsiteX925" fmla="*/ 1294923 w 1472512"/>
                  <a:gd name="connsiteY925" fmla="*/ 269612 h 734237"/>
                  <a:gd name="connsiteX926" fmla="*/ 1295990 w 1472512"/>
                  <a:gd name="connsiteY926" fmla="*/ 267378 h 734237"/>
                  <a:gd name="connsiteX927" fmla="*/ 1296877 w 1472512"/>
                  <a:gd name="connsiteY927" fmla="*/ 263047 h 734237"/>
                  <a:gd name="connsiteX928" fmla="*/ 1296615 w 1472512"/>
                  <a:gd name="connsiteY928" fmla="*/ 259540 h 734237"/>
                  <a:gd name="connsiteX929" fmla="*/ 1295516 w 1472512"/>
                  <a:gd name="connsiteY929" fmla="*/ 258097 h 734237"/>
                  <a:gd name="connsiteX930" fmla="*/ 1294379 w 1472512"/>
                  <a:gd name="connsiteY930" fmla="*/ 257135 h 734237"/>
                  <a:gd name="connsiteX931" fmla="*/ 1295711 w 1472512"/>
                  <a:gd name="connsiteY931" fmla="*/ 260598 h 734237"/>
                  <a:gd name="connsiteX932" fmla="*/ 1295926 w 1472512"/>
                  <a:gd name="connsiteY932" fmla="*/ 264840 h 734237"/>
                  <a:gd name="connsiteX933" fmla="*/ 1295468 w 1472512"/>
                  <a:gd name="connsiteY933" fmla="*/ 267323 h 734237"/>
                  <a:gd name="connsiteX934" fmla="*/ 1292960 w 1472512"/>
                  <a:gd name="connsiteY934" fmla="*/ 272108 h 734237"/>
                  <a:gd name="connsiteX935" fmla="*/ 1291894 w 1472512"/>
                  <a:gd name="connsiteY935" fmla="*/ 273220 h 734237"/>
                  <a:gd name="connsiteX936" fmla="*/ 1290645 w 1472512"/>
                  <a:gd name="connsiteY936" fmla="*/ 274199 h 734237"/>
                  <a:gd name="connsiteX937" fmla="*/ 1289705 w 1472512"/>
                  <a:gd name="connsiteY937" fmla="*/ 274625 h 734237"/>
                  <a:gd name="connsiteX938" fmla="*/ 1288836 w 1472512"/>
                  <a:gd name="connsiteY938" fmla="*/ 275388 h 734237"/>
                  <a:gd name="connsiteX939" fmla="*/ 1287827 w 1472512"/>
                  <a:gd name="connsiteY939" fmla="*/ 276598 h 734237"/>
                  <a:gd name="connsiteX940" fmla="*/ 1286871 w 1472512"/>
                  <a:gd name="connsiteY940" fmla="*/ 278998 h 734237"/>
                  <a:gd name="connsiteX941" fmla="*/ 1287451 w 1472512"/>
                  <a:gd name="connsiteY941" fmla="*/ 281184 h 734237"/>
                  <a:gd name="connsiteX942" fmla="*/ 1292338 w 1472512"/>
                  <a:gd name="connsiteY942" fmla="*/ 281981 h 734237"/>
                  <a:gd name="connsiteX943" fmla="*/ 1293650 w 1472512"/>
                  <a:gd name="connsiteY943" fmla="*/ 281308 h 734237"/>
                  <a:gd name="connsiteX944" fmla="*/ 1294318 w 1472512"/>
                  <a:gd name="connsiteY944" fmla="*/ 282872 h 734237"/>
                  <a:gd name="connsiteX945" fmla="*/ 1294692 w 1472512"/>
                  <a:gd name="connsiteY945" fmla="*/ 285044 h 734237"/>
                  <a:gd name="connsiteX946" fmla="*/ 1294326 w 1472512"/>
                  <a:gd name="connsiteY946" fmla="*/ 287391 h 734237"/>
                  <a:gd name="connsiteX947" fmla="*/ 1293508 w 1472512"/>
                  <a:gd name="connsiteY947" fmla="*/ 289778 h 734237"/>
                  <a:gd name="connsiteX948" fmla="*/ 1292889 w 1472512"/>
                  <a:gd name="connsiteY948" fmla="*/ 292740 h 734237"/>
                  <a:gd name="connsiteX949" fmla="*/ 1292363 w 1472512"/>
                  <a:gd name="connsiteY949" fmla="*/ 297250 h 734237"/>
                  <a:gd name="connsiteX950" fmla="*/ 1291572 w 1472512"/>
                  <a:gd name="connsiteY950" fmla="*/ 301303 h 734237"/>
                  <a:gd name="connsiteX951" fmla="*/ 1291469 w 1472512"/>
                  <a:gd name="connsiteY951" fmla="*/ 300072 h 734237"/>
                  <a:gd name="connsiteX952" fmla="*/ 1291962 w 1472512"/>
                  <a:gd name="connsiteY952" fmla="*/ 295142 h 734237"/>
                  <a:gd name="connsiteX953" fmla="*/ 1291162 w 1472512"/>
                  <a:gd name="connsiteY953" fmla="*/ 295658 h 734237"/>
                  <a:gd name="connsiteX954" fmla="*/ 1290610 w 1472512"/>
                  <a:gd name="connsiteY954" fmla="*/ 296797 h 734237"/>
                  <a:gd name="connsiteX955" fmla="*/ 1289118 w 1472512"/>
                  <a:gd name="connsiteY955" fmla="*/ 303151 h 734237"/>
                  <a:gd name="connsiteX956" fmla="*/ 1287067 w 1472512"/>
                  <a:gd name="connsiteY956" fmla="*/ 306532 h 734237"/>
                  <a:gd name="connsiteX957" fmla="*/ 1285176 w 1472512"/>
                  <a:gd name="connsiteY957" fmla="*/ 308869 h 734237"/>
                  <a:gd name="connsiteX958" fmla="*/ 1283229 w 1472512"/>
                  <a:gd name="connsiteY958" fmla="*/ 308483 h 734237"/>
                  <a:gd name="connsiteX959" fmla="*/ 1283666 w 1472512"/>
                  <a:gd name="connsiteY959" fmla="*/ 310339 h 734237"/>
                  <a:gd name="connsiteX960" fmla="*/ 1283130 w 1472512"/>
                  <a:gd name="connsiteY960" fmla="*/ 311306 h 734237"/>
                  <a:gd name="connsiteX961" fmla="*/ 1282672 w 1472512"/>
                  <a:gd name="connsiteY961" fmla="*/ 313320 h 734237"/>
                  <a:gd name="connsiteX962" fmla="*/ 1281509 w 1472512"/>
                  <a:gd name="connsiteY962" fmla="*/ 314656 h 734237"/>
                  <a:gd name="connsiteX963" fmla="*/ 1280418 w 1472512"/>
                  <a:gd name="connsiteY963" fmla="*/ 314528 h 734237"/>
                  <a:gd name="connsiteX964" fmla="*/ 1278847 w 1472512"/>
                  <a:gd name="connsiteY964" fmla="*/ 315447 h 734237"/>
                  <a:gd name="connsiteX965" fmla="*/ 1278229 w 1472512"/>
                  <a:gd name="connsiteY965" fmla="*/ 316151 h 734237"/>
                  <a:gd name="connsiteX966" fmla="*/ 1278183 w 1472512"/>
                  <a:gd name="connsiteY966" fmla="*/ 317498 h 734237"/>
                  <a:gd name="connsiteX967" fmla="*/ 1277133 w 1472512"/>
                  <a:gd name="connsiteY967" fmla="*/ 318683 h 734237"/>
                  <a:gd name="connsiteX968" fmla="*/ 1273343 w 1472512"/>
                  <a:gd name="connsiteY968" fmla="*/ 324830 h 734237"/>
                  <a:gd name="connsiteX969" fmla="*/ 1270054 w 1472512"/>
                  <a:gd name="connsiteY969" fmla="*/ 326643 h 734237"/>
                  <a:gd name="connsiteX970" fmla="*/ 1269266 w 1472512"/>
                  <a:gd name="connsiteY970" fmla="*/ 326379 h 734237"/>
                  <a:gd name="connsiteX971" fmla="*/ 1270134 w 1472512"/>
                  <a:gd name="connsiteY971" fmla="*/ 323480 h 734237"/>
                  <a:gd name="connsiteX972" fmla="*/ 1270728 w 1472512"/>
                  <a:gd name="connsiteY972" fmla="*/ 320546 h 734237"/>
                  <a:gd name="connsiteX973" fmla="*/ 1268731 w 1472512"/>
                  <a:gd name="connsiteY973" fmla="*/ 319270 h 734237"/>
                  <a:gd name="connsiteX974" fmla="*/ 1266821 w 1472512"/>
                  <a:gd name="connsiteY974" fmla="*/ 318594 h 734237"/>
                  <a:gd name="connsiteX975" fmla="*/ 1264629 w 1472512"/>
                  <a:gd name="connsiteY975" fmla="*/ 318683 h 734237"/>
                  <a:gd name="connsiteX976" fmla="*/ 1262207 w 1472512"/>
                  <a:gd name="connsiteY976" fmla="*/ 316398 h 734237"/>
                  <a:gd name="connsiteX977" fmla="*/ 1259085 w 1472512"/>
                  <a:gd name="connsiteY977" fmla="*/ 314737 h 734237"/>
                  <a:gd name="connsiteX978" fmla="*/ 1254728 w 1472512"/>
                  <a:gd name="connsiteY978" fmla="*/ 310238 h 734237"/>
                  <a:gd name="connsiteX979" fmla="*/ 1254855 w 1472512"/>
                  <a:gd name="connsiteY979" fmla="*/ 308989 h 734237"/>
                  <a:gd name="connsiteX980" fmla="*/ 1254745 w 1472512"/>
                  <a:gd name="connsiteY980" fmla="*/ 306891 h 734237"/>
                  <a:gd name="connsiteX981" fmla="*/ 1256070 w 1472512"/>
                  <a:gd name="connsiteY981" fmla="*/ 303576 h 734237"/>
                  <a:gd name="connsiteX982" fmla="*/ 1257339 w 1472512"/>
                  <a:gd name="connsiteY982" fmla="*/ 301256 h 734237"/>
                  <a:gd name="connsiteX983" fmla="*/ 1259091 w 1472512"/>
                  <a:gd name="connsiteY983" fmla="*/ 300054 h 734237"/>
                  <a:gd name="connsiteX984" fmla="*/ 1264178 w 1472512"/>
                  <a:gd name="connsiteY984" fmla="*/ 298828 h 734237"/>
                  <a:gd name="connsiteX985" fmla="*/ 1265453 w 1472512"/>
                  <a:gd name="connsiteY985" fmla="*/ 296986 h 734237"/>
                  <a:gd name="connsiteX986" fmla="*/ 1266209 w 1472512"/>
                  <a:gd name="connsiteY986" fmla="*/ 295432 h 734237"/>
                  <a:gd name="connsiteX987" fmla="*/ 1263689 w 1472512"/>
                  <a:gd name="connsiteY987" fmla="*/ 298099 h 734237"/>
                  <a:gd name="connsiteX988" fmla="*/ 1259915 w 1472512"/>
                  <a:gd name="connsiteY988" fmla="*/ 299004 h 734237"/>
                  <a:gd name="connsiteX989" fmla="*/ 1257881 w 1472512"/>
                  <a:gd name="connsiteY989" fmla="*/ 299999 h 734237"/>
                  <a:gd name="connsiteX990" fmla="*/ 1256254 w 1472512"/>
                  <a:gd name="connsiteY990" fmla="*/ 301519 h 734237"/>
                  <a:gd name="connsiteX991" fmla="*/ 1255291 w 1472512"/>
                  <a:gd name="connsiteY991" fmla="*/ 303427 h 734237"/>
                  <a:gd name="connsiteX992" fmla="*/ 1253111 w 1472512"/>
                  <a:gd name="connsiteY992" fmla="*/ 305725 h 734237"/>
                  <a:gd name="connsiteX993" fmla="*/ 1253264 w 1472512"/>
                  <a:gd name="connsiteY993" fmla="*/ 307263 h 734237"/>
                  <a:gd name="connsiteX994" fmla="*/ 1253629 w 1472512"/>
                  <a:gd name="connsiteY994" fmla="*/ 308357 h 734237"/>
                  <a:gd name="connsiteX995" fmla="*/ 1253461 w 1472512"/>
                  <a:gd name="connsiteY995" fmla="*/ 310634 h 734237"/>
                  <a:gd name="connsiteX996" fmla="*/ 1254840 w 1472512"/>
                  <a:gd name="connsiteY996" fmla="*/ 312852 h 734237"/>
                  <a:gd name="connsiteX997" fmla="*/ 1257574 w 1472512"/>
                  <a:gd name="connsiteY997" fmla="*/ 316485 h 734237"/>
                  <a:gd name="connsiteX998" fmla="*/ 1258096 w 1472512"/>
                  <a:gd name="connsiteY998" fmla="*/ 322120 h 734237"/>
                  <a:gd name="connsiteX999" fmla="*/ 1260183 w 1472512"/>
                  <a:gd name="connsiteY999" fmla="*/ 325884 h 734237"/>
                  <a:gd name="connsiteX1000" fmla="*/ 1263380 w 1472512"/>
                  <a:gd name="connsiteY1000" fmla="*/ 330269 h 734237"/>
                  <a:gd name="connsiteX1001" fmla="*/ 1265839 w 1472512"/>
                  <a:gd name="connsiteY1001" fmla="*/ 331515 h 734237"/>
                  <a:gd name="connsiteX1002" fmla="*/ 1265959 w 1472512"/>
                  <a:gd name="connsiteY1002" fmla="*/ 333144 h 734237"/>
                  <a:gd name="connsiteX1003" fmla="*/ 1264824 w 1472512"/>
                  <a:gd name="connsiteY1003" fmla="*/ 335832 h 734237"/>
                  <a:gd name="connsiteX1004" fmla="*/ 1263328 w 1472512"/>
                  <a:gd name="connsiteY1004" fmla="*/ 337061 h 734237"/>
                  <a:gd name="connsiteX1005" fmla="*/ 1265273 w 1472512"/>
                  <a:gd name="connsiteY1005" fmla="*/ 336815 h 734237"/>
                  <a:gd name="connsiteX1006" fmla="*/ 1266242 w 1472512"/>
                  <a:gd name="connsiteY1006" fmla="*/ 337429 h 734237"/>
                  <a:gd name="connsiteX1007" fmla="*/ 1267185 w 1472512"/>
                  <a:gd name="connsiteY1007" fmla="*/ 339669 h 734237"/>
                  <a:gd name="connsiteX1008" fmla="*/ 1267112 w 1472512"/>
                  <a:gd name="connsiteY1008" fmla="*/ 341953 h 734237"/>
                  <a:gd name="connsiteX1009" fmla="*/ 1266793 w 1472512"/>
                  <a:gd name="connsiteY1009" fmla="*/ 343240 h 734237"/>
                  <a:gd name="connsiteX1010" fmla="*/ 1266203 w 1472512"/>
                  <a:gd name="connsiteY1010" fmla="*/ 343753 h 734237"/>
                  <a:gd name="connsiteX1011" fmla="*/ 1266229 w 1472512"/>
                  <a:gd name="connsiteY1011" fmla="*/ 342439 h 734237"/>
                  <a:gd name="connsiteX1012" fmla="*/ 1265812 w 1472512"/>
                  <a:gd name="connsiteY1012" fmla="*/ 341982 h 734237"/>
                  <a:gd name="connsiteX1013" fmla="*/ 1265123 w 1472512"/>
                  <a:gd name="connsiteY1013" fmla="*/ 342553 h 734237"/>
                  <a:gd name="connsiteX1014" fmla="*/ 1264676 w 1472512"/>
                  <a:gd name="connsiteY1014" fmla="*/ 343202 h 734237"/>
                  <a:gd name="connsiteX1015" fmla="*/ 1264492 w 1472512"/>
                  <a:gd name="connsiteY1015" fmla="*/ 345757 h 734237"/>
                  <a:gd name="connsiteX1016" fmla="*/ 1264020 w 1472512"/>
                  <a:gd name="connsiteY1016" fmla="*/ 347035 h 734237"/>
                  <a:gd name="connsiteX1017" fmla="*/ 1262350 w 1472512"/>
                  <a:gd name="connsiteY1017" fmla="*/ 347413 h 734237"/>
                  <a:gd name="connsiteX1018" fmla="*/ 1260658 w 1472512"/>
                  <a:gd name="connsiteY1018" fmla="*/ 350763 h 734237"/>
                  <a:gd name="connsiteX1019" fmla="*/ 1259083 w 1472512"/>
                  <a:gd name="connsiteY1019" fmla="*/ 352662 h 734237"/>
                  <a:gd name="connsiteX1020" fmla="*/ 1252887 w 1472512"/>
                  <a:gd name="connsiteY1020" fmla="*/ 365477 h 734237"/>
                  <a:gd name="connsiteX1021" fmla="*/ 1253123 w 1472512"/>
                  <a:gd name="connsiteY1021" fmla="*/ 367615 h 734237"/>
                  <a:gd name="connsiteX1022" fmla="*/ 1251990 w 1472512"/>
                  <a:gd name="connsiteY1022" fmla="*/ 368304 h 734237"/>
                  <a:gd name="connsiteX1023" fmla="*/ 1250273 w 1472512"/>
                  <a:gd name="connsiteY1023" fmla="*/ 368862 h 734237"/>
                  <a:gd name="connsiteX1024" fmla="*/ 1248538 w 1472512"/>
                  <a:gd name="connsiteY1024" fmla="*/ 370140 h 734237"/>
                  <a:gd name="connsiteX1025" fmla="*/ 1247385 w 1472512"/>
                  <a:gd name="connsiteY1025" fmla="*/ 371547 h 734237"/>
                  <a:gd name="connsiteX1026" fmla="*/ 1246315 w 1472512"/>
                  <a:gd name="connsiteY1026" fmla="*/ 375330 h 734237"/>
                  <a:gd name="connsiteX1027" fmla="*/ 1244265 w 1472512"/>
                  <a:gd name="connsiteY1027" fmla="*/ 379584 h 734237"/>
                  <a:gd name="connsiteX1028" fmla="*/ 1242986 w 1472512"/>
                  <a:gd name="connsiteY1028" fmla="*/ 377812 h 734237"/>
                  <a:gd name="connsiteX1029" fmla="*/ 1242658 w 1472512"/>
                  <a:gd name="connsiteY1029" fmla="*/ 376295 h 734237"/>
                  <a:gd name="connsiteX1030" fmla="*/ 1243227 w 1472512"/>
                  <a:gd name="connsiteY1030" fmla="*/ 372334 h 734237"/>
                  <a:gd name="connsiteX1031" fmla="*/ 1245444 w 1472512"/>
                  <a:gd name="connsiteY1031" fmla="*/ 365833 h 734237"/>
                  <a:gd name="connsiteX1032" fmla="*/ 1247888 w 1472512"/>
                  <a:gd name="connsiteY1032" fmla="*/ 361786 h 734237"/>
                  <a:gd name="connsiteX1033" fmla="*/ 1249751 w 1472512"/>
                  <a:gd name="connsiteY1033" fmla="*/ 359865 h 734237"/>
                  <a:gd name="connsiteX1034" fmla="*/ 1251283 w 1472512"/>
                  <a:gd name="connsiteY1034" fmla="*/ 355947 h 734237"/>
                  <a:gd name="connsiteX1035" fmla="*/ 1249348 w 1472512"/>
                  <a:gd name="connsiteY1035" fmla="*/ 355363 h 734237"/>
                  <a:gd name="connsiteX1036" fmla="*/ 1246396 w 1472512"/>
                  <a:gd name="connsiteY1036" fmla="*/ 355427 h 734237"/>
                  <a:gd name="connsiteX1037" fmla="*/ 1246952 w 1472512"/>
                  <a:gd name="connsiteY1037" fmla="*/ 353617 h 734237"/>
                  <a:gd name="connsiteX1038" fmla="*/ 1247813 w 1472512"/>
                  <a:gd name="connsiteY1038" fmla="*/ 352022 h 734237"/>
                  <a:gd name="connsiteX1039" fmla="*/ 1246274 w 1472512"/>
                  <a:gd name="connsiteY1039" fmla="*/ 350432 h 734237"/>
                  <a:gd name="connsiteX1040" fmla="*/ 1245364 w 1472512"/>
                  <a:gd name="connsiteY1040" fmla="*/ 350229 h 734237"/>
                  <a:gd name="connsiteX1041" fmla="*/ 1244426 w 1472512"/>
                  <a:gd name="connsiteY1041" fmla="*/ 349577 h 734237"/>
                  <a:gd name="connsiteX1042" fmla="*/ 1245526 w 1472512"/>
                  <a:gd name="connsiteY1042" fmla="*/ 348253 h 734237"/>
                  <a:gd name="connsiteX1043" fmla="*/ 1246063 w 1472512"/>
                  <a:gd name="connsiteY1043" fmla="*/ 346852 h 734237"/>
                  <a:gd name="connsiteX1044" fmla="*/ 1245735 w 1472512"/>
                  <a:gd name="connsiteY1044" fmla="*/ 345147 h 734237"/>
                  <a:gd name="connsiteX1045" fmla="*/ 1246196 w 1472512"/>
                  <a:gd name="connsiteY1045" fmla="*/ 343862 h 734237"/>
                  <a:gd name="connsiteX1046" fmla="*/ 1245427 w 1472512"/>
                  <a:gd name="connsiteY1046" fmla="*/ 344056 h 734237"/>
                  <a:gd name="connsiteX1047" fmla="*/ 1244191 w 1472512"/>
                  <a:gd name="connsiteY1047" fmla="*/ 345416 h 734237"/>
                  <a:gd name="connsiteX1048" fmla="*/ 1243423 w 1472512"/>
                  <a:gd name="connsiteY1048" fmla="*/ 345958 h 734237"/>
                  <a:gd name="connsiteX1049" fmla="*/ 1242955 w 1472512"/>
                  <a:gd name="connsiteY1049" fmla="*/ 344756 h 734237"/>
                  <a:gd name="connsiteX1050" fmla="*/ 1242421 w 1472512"/>
                  <a:gd name="connsiteY1050" fmla="*/ 345027 h 734237"/>
                  <a:gd name="connsiteX1051" fmla="*/ 1242074 w 1472512"/>
                  <a:gd name="connsiteY1051" fmla="*/ 345855 h 734237"/>
                  <a:gd name="connsiteX1052" fmla="*/ 1241284 w 1472512"/>
                  <a:gd name="connsiteY1052" fmla="*/ 346308 h 734237"/>
                  <a:gd name="connsiteX1053" fmla="*/ 1239618 w 1472512"/>
                  <a:gd name="connsiteY1053" fmla="*/ 345179 h 734237"/>
                  <a:gd name="connsiteX1054" fmla="*/ 1237191 w 1472512"/>
                  <a:gd name="connsiteY1054" fmla="*/ 343884 h 734237"/>
                  <a:gd name="connsiteX1055" fmla="*/ 1235840 w 1472512"/>
                  <a:gd name="connsiteY1055" fmla="*/ 341654 h 734237"/>
                  <a:gd name="connsiteX1056" fmla="*/ 1235069 w 1472512"/>
                  <a:gd name="connsiteY1056" fmla="*/ 339927 h 734237"/>
                  <a:gd name="connsiteX1057" fmla="*/ 1235853 w 1472512"/>
                  <a:gd name="connsiteY1057" fmla="*/ 336798 h 734237"/>
                  <a:gd name="connsiteX1058" fmla="*/ 1237530 w 1472512"/>
                  <a:gd name="connsiteY1058" fmla="*/ 336242 h 734237"/>
                  <a:gd name="connsiteX1059" fmla="*/ 1239709 w 1472512"/>
                  <a:gd name="connsiteY1059" fmla="*/ 336751 h 734237"/>
                  <a:gd name="connsiteX1060" fmla="*/ 1242567 w 1472512"/>
                  <a:gd name="connsiteY1060" fmla="*/ 336746 h 734237"/>
                  <a:gd name="connsiteX1061" fmla="*/ 1242158 w 1472512"/>
                  <a:gd name="connsiteY1061" fmla="*/ 336051 h 734237"/>
                  <a:gd name="connsiteX1062" fmla="*/ 1241139 w 1472512"/>
                  <a:gd name="connsiteY1062" fmla="*/ 336164 h 734237"/>
                  <a:gd name="connsiteX1063" fmla="*/ 1238127 w 1472512"/>
                  <a:gd name="connsiteY1063" fmla="*/ 333624 h 734237"/>
                  <a:gd name="connsiteX1064" fmla="*/ 1237157 w 1472512"/>
                  <a:gd name="connsiteY1064" fmla="*/ 332088 h 734237"/>
                  <a:gd name="connsiteX1065" fmla="*/ 1235490 w 1472512"/>
                  <a:gd name="connsiteY1065" fmla="*/ 331666 h 734237"/>
                  <a:gd name="connsiteX1066" fmla="*/ 1234732 w 1472512"/>
                  <a:gd name="connsiteY1066" fmla="*/ 333143 h 734237"/>
                  <a:gd name="connsiteX1067" fmla="*/ 1233888 w 1472512"/>
                  <a:gd name="connsiteY1067" fmla="*/ 333535 h 734237"/>
                  <a:gd name="connsiteX1068" fmla="*/ 1234929 w 1472512"/>
                  <a:gd name="connsiteY1068" fmla="*/ 330304 h 734237"/>
                  <a:gd name="connsiteX1069" fmla="*/ 1236291 w 1472512"/>
                  <a:gd name="connsiteY1069" fmla="*/ 330172 h 734237"/>
                  <a:gd name="connsiteX1070" fmla="*/ 1238301 w 1472512"/>
                  <a:gd name="connsiteY1070" fmla="*/ 329276 h 734237"/>
                  <a:gd name="connsiteX1071" fmla="*/ 1237717 w 1472512"/>
                  <a:gd name="connsiteY1071" fmla="*/ 327404 h 734237"/>
                  <a:gd name="connsiteX1072" fmla="*/ 1236448 w 1472512"/>
                  <a:gd name="connsiteY1072" fmla="*/ 326585 h 734237"/>
                  <a:gd name="connsiteX1073" fmla="*/ 1234156 w 1472512"/>
                  <a:gd name="connsiteY1073" fmla="*/ 327613 h 734237"/>
                  <a:gd name="connsiteX1074" fmla="*/ 1234183 w 1472512"/>
                  <a:gd name="connsiteY1074" fmla="*/ 326295 h 734237"/>
                  <a:gd name="connsiteX1075" fmla="*/ 1234613 w 1472512"/>
                  <a:gd name="connsiteY1075" fmla="*/ 324607 h 734237"/>
                  <a:gd name="connsiteX1076" fmla="*/ 1236341 w 1472512"/>
                  <a:gd name="connsiteY1076" fmla="*/ 324613 h 734237"/>
                  <a:gd name="connsiteX1077" fmla="*/ 1237854 w 1472512"/>
                  <a:gd name="connsiteY1077" fmla="*/ 325163 h 734237"/>
                  <a:gd name="connsiteX1078" fmla="*/ 1239142 w 1472512"/>
                  <a:gd name="connsiteY1078" fmla="*/ 322437 h 734237"/>
                  <a:gd name="connsiteX1079" fmla="*/ 1239199 w 1472512"/>
                  <a:gd name="connsiteY1079" fmla="*/ 321218 h 734237"/>
                  <a:gd name="connsiteX1080" fmla="*/ 1237060 w 1472512"/>
                  <a:gd name="connsiteY1080" fmla="*/ 322990 h 734237"/>
                  <a:gd name="connsiteX1081" fmla="*/ 1236579 w 1472512"/>
                  <a:gd name="connsiteY1081" fmla="*/ 319169 h 734237"/>
                  <a:gd name="connsiteX1082" fmla="*/ 1238685 w 1472512"/>
                  <a:gd name="connsiteY1082" fmla="*/ 315480 h 734237"/>
                  <a:gd name="connsiteX1083" fmla="*/ 1240693 w 1472512"/>
                  <a:gd name="connsiteY1083" fmla="*/ 313870 h 734237"/>
                  <a:gd name="connsiteX1084" fmla="*/ 1243204 w 1472512"/>
                  <a:gd name="connsiteY1084" fmla="*/ 313916 h 734237"/>
                  <a:gd name="connsiteX1085" fmla="*/ 1245755 w 1472512"/>
                  <a:gd name="connsiteY1085" fmla="*/ 313657 h 734237"/>
                  <a:gd name="connsiteX1086" fmla="*/ 1244154 w 1472512"/>
                  <a:gd name="connsiteY1086" fmla="*/ 312981 h 734237"/>
                  <a:gd name="connsiteX1087" fmla="*/ 1242511 w 1472512"/>
                  <a:gd name="connsiteY1087" fmla="*/ 312613 h 734237"/>
                  <a:gd name="connsiteX1088" fmla="*/ 1243745 w 1472512"/>
                  <a:gd name="connsiteY1088" fmla="*/ 311153 h 734237"/>
                  <a:gd name="connsiteX1089" fmla="*/ 1244798 w 1472512"/>
                  <a:gd name="connsiteY1089" fmla="*/ 310891 h 734237"/>
                  <a:gd name="connsiteX1090" fmla="*/ 1245832 w 1472512"/>
                  <a:gd name="connsiteY1090" fmla="*/ 309617 h 734237"/>
                  <a:gd name="connsiteX1091" fmla="*/ 1243345 w 1472512"/>
                  <a:gd name="connsiteY1091" fmla="*/ 309807 h 734237"/>
                  <a:gd name="connsiteX1092" fmla="*/ 1243639 w 1472512"/>
                  <a:gd name="connsiteY1092" fmla="*/ 307395 h 734237"/>
                  <a:gd name="connsiteX1093" fmla="*/ 1242430 w 1472512"/>
                  <a:gd name="connsiteY1093" fmla="*/ 307886 h 734237"/>
                  <a:gd name="connsiteX1094" fmla="*/ 1240984 w 1472512"/>
                  <a:gd name="connsiteY1094" fmla="*/ 308112 h 734237"/>
                  <a:gd name="connsiteX1095" fmla="*/ 1240422 w 1472512"/>
                  <a:gd name="connsiteY1095" fmla="*/ 309136 h 734237"/>
                  <a:gd name="connsiteX1096" fmla="*/ 1240532 w 1472512"/>
                  <a:gd name="connsiteY1096" fmla="*/ 310833 h 734237"/>
                  <a:gd name="connsiteX1097" fmla="*/ 1240110 w 1472512"/>
                  <a:gd name="connsiteY1097" fmla="*/ 311946 h 734237"/>
                  <a:gd name="connsiteX1098" fmla="*/ 1238985 w 1472512"/>
                  <a:gd name="connsiteY1098" fmla="*/ 312841 h 734237"/>
                  <a:gd name="connsiteX1099" fmla="*/ 1237085 w 1472512"/>
                  <a:gd name="connsiteY1099" fmla="*/ 313538 h 734237"/>
                  <a:gd name="connsiteX1100" fmla="*/ 1236902 w 1472512"/>
                  <a:gd name="connsiteY1100" fmla="*/ 312330 h 734237"/>
                  <a:gd name="connsiteX1101" fmla="*/ 1236273 w 1472512"/>
                  <a:gd name="connsiteY1101" fmla="*/ 311781 h 734237"/>
                  <a:gd name="connsiteX1102" fmla="*/ 1236038 w 1472512"/>
                  <a:gd name="connsiteY1102" fmla="*/ 314369 h 734237"/>
                  <a:gd name="connsiteX1103" fmla="*/ 1235540 w 1472512"/>
                  <a:gd name="connsiteY1103" fmla="*/ 315248 h 734237"/>
                  <a:gd name="connsiteX1104" fmla="*/ 1234152 w 1472512"/>
                  <a:gd name="connsiteY1104" fmla="*/ 312822 h 734237"/>
                  <a:gd name="connsiteX1105" fmla="*/ 1233735 w 1472512"/>
                  <a:gd name="connsiteY1105" fmla="*/ 313311 h 734237"/>
                  <a:gd name="connsiteX1106" fmla="*/ 1233788 w 1472512"/>
                  <a:gd name="connsiteY1106" fmla="*/ 313999 h 734237"/>
                  <a:gd name="connsiteX1107" fmla="*/ 1233434 w 1472512"/>
                  <a:gd name="connsiteY1107" fmla="*/ 315191 h 734237"/>
                  <a:gd name="connsiteX1108" fmla="*/ 1232243 w 1472512"/>
                  <a:gd name="connsiteY1108" fmla="*/ 315812 h 734237"/>
                  <a:gd name="connsiteX1109" fmla="*/ 1232316 w 1472512"/>
                  <a:gd name="connsiteY1109" fmla="*/ 317339 h 734237"/>
                  <a:gd name="connsiteX1110" fmla="*/ 1231854 w 1472512"/>
                  <a:gd name="connsiteY1110" fmla="*/ 318171 h 734237"/>
                  <a:gd name="connsiteX1111" fmla="*/ 1228040 w 1472512"/>
                  <a:gd name="connsiteY1111" fmla="*/ 316845 h 734237"/>
                  <a:gd name="connsiteX1112" fmla="*/ 1227950 w 1472512"/>
                  <a:gd name="connsiteY1112" fmla="*/ 317295 h 734237"/>
                  <a:gd name="connsiteX1113" fmla="*/ 1230108 w 1472512"/>
                  <a:gd name="connsiteY1113" fmla="*/ 320152 h 734237"/>
                  <a:gd name="connsiteX1114" fmla="*/ 1231683 w 1472512"/>
                  <a:gd name="connsiteY1114" fmla="*/ 321127 h 734237"/>
                  <a:gd name="connsiteX1115" fmla="*/ 1231875 w 1472512"/>
                  <a:gd name="connsiteY1115" fmla="*/ 322683 h 734237"/>
                  <a:gd name="connsiteX1116" fmla="*/ 1230522 w 1472512"/>
                  <a:gd name="connsiteY1116" fmla="*/ 323974 h 734237"/>
                  <a:gd name="connsiteX1117" fmla="*/ 1228656 w 1472512"/>
                  <a:gd name="connsiteY1117" fmla="*/ 322859 h 734237"/>
                  <a:gd name="connsiteX1118" fmla="*/ 1228342 w 1472512"/>
                  <a:gd name="connsiteY1118" fmla="*/ 322942 h 734237"/>
                  <a:gd name="connsiteX1119" fmla="*/ 1229356 w 1472512"/>
                  <a:gd name="connsiteY1119" fmla="*/ 324851 h 734237"/>
                  <a:gd name="connsiteX1120" fmla="*/ 1229996 w 1472512"/>
                  <a:gd name="connsiteY1120" fmla="*/ 326521 h 734237"/>
                  <a:gd name="connsiteX1121" fmla="*/ 1229338 w 1472512"/>
                  <a:gd name="connsiteY1121" fmla="*/ 327918 h 734237"/>
                  <a:gd name="connsiteX1122" fmla="*/ 1229440 w 1472512"/>
                  <a:gd name="connsiteY1122" fmla="*/ 329637 h 734237"/>
                  <a:gd name="connsiteX1123" fmla="*/ 1229298 w 1472512"/>
                  <a:gd name="connsiteY1123" fmla="*/ 331195 h 734237"/>
                  <a:gd name="connsiteX1124" fmla="*/ 1228895 w 1472512"/>
                  <a:gd name="connsiteY1124" fmla="*/ 332555 h 734237"/>
                  <a:gd name="connsiteX1125" fmla="*/ 1229802 w 1472512"/>
                  <a:gd name="connsiteY1125" fmla="*/ 338812 h 734237"/>
                  <a:gd name="connsiteX1126" fmla="*/ 1230894 w 1472512"/>
                  <a:gd name="connsiteY1126" fmla="*/ 340511 h 734237"/>
                  <a:gd name="connsiteX1127" fmla="*/ 1231969 w 1472512"/>
                  <a:gd name="connsiteY1127" fmla="*/ 342136 h 734237"/>
                  <a:gd name="connsiteX1128" fmla="*/ 1232538 w 1472512"/>
                  <a:gd name="connsiteY1128" fmla="*/ 343656 h 734237"/>
                  <a:gd name="connsiteX1129" fmla="*/ 1231398 w 1472512"/>
                  <a:gd name="connsiteY1129" fmla="*/ 343878 h 734237"/>
                  <a:gd name="connsiteX1130" fmla="*/ 1229583 w 1472512"/>
                  <a:gd name="connsiteY1130" fmla="*/ 342627 h 734237"/>
                  <a:gd name="connsiteX1131" fmla="*/ 1227988 w 1472512"/>
                  <a:gd name="connsiteY1131" fmla="*/ 341674 h 734237"/>
                  <a:gd name="connsiteX1132" fmla="*/ 1226089 w 1472512"/>
                  <a:gd name="connsiteY1132" fmla="*/ 338623 h 734237"/>
                  <a:gd name="connsiteX1133" fmla="*/ 1225776 w 1472512"/>
                  <a:gd name="connsiteY1133" fmla="*/ 337405 h 734237"/>
                  <a:gd name="connsiteX1134" fmla="*/ 1225312 w 1472512"/>
                  <a:gd name="connsiteY1134" fmla="*/ 336440 h 734237"/>
                  <a:gd name="connsiteX1135" fmla="*/ 1225535 w 1472512"/>
                  <a:gd name="connsiteY1135" fmla="*/ 338654 h 734237"/>
                  <a:gd name="connsiteX1136" fmla="*/ 1226214 w 1472512"/>
                  <a:gd name="connsiteY1136" fmla="*/ 341123 h 734237"/>
                  <a:gd name="connsiteX1137" fmla="*/ 1232162 w 1472512"/>
                  <a:gd name="connsiteY1137" fmla="*/ 346643 h 734237"/>
                  <a:gd name="connsiteX1138" fmla="*/ 1233262 w 1472512"/>
                  <a:gd name="connsiteY1138" fmla="*/ 348759 h 734237"/>
                  <a:gd name="connsiteX1139" fmla="*/ 1234098 w 1472512"/>
                  <a:gd name="connsiteY1139" fmla="*/ 350420 h 734237"/>
                  <a:gd name="connsiteX1140" fmla="*/ 1233888 w 1472512"/>
                  <a:gd name="connsiteY1140" fmla="*/ 352012 h 734237"/>
                  <a:gd name="connsiteX1141" fmla="*/ 1232336 w 1472512"/>
                  <a:gd name="connsiteY1141" fmla="*/ 350885 h 734237"/>
                  <a:gd name="connsiteX1142" fmla="*/ 1230999 w 1472512"/>
                  <a:gd name="connsiteY1142" fmla="*/ 349450 h 734237"/>
                  <a:gd name="connsiteX1143" fmla="*/ 1227449 w 1472512"/>
                  <a:gd name="connsiteY1143" fmla="*/ 347827 h 734237"/>
                  <a:gd name="connsiteX1144" fmla="*/ 1222970 w 1472512"/>
                  <a:gd name="connsiteY1144" fmla="*/ 346801 h 734237"/>
                  <a:gd name="connsiteX1145" fmla="*/ 1220445 w 1472512"/>
                  <a:gd name="connsiteY1145" fmla="*/ 343025 h 734237"/>
                  <a:gd name="connsiteX1146" fmla="*/ 1220454 w 1472512"/>
                  <a:gd name="connsiteY1146" fmla="*/ 344600 h 734237"/>
                  <a:gd name="connsiteX1147" fmla="*/ 1219893 w 1472512"/>
                  <a:gd name="connsiteY1147" fmla="*/ 345937 h 734237"/>
                  <a:gd name="connsiteX1148" fmla="*/ 1218351 w 1472512"/>
                  <a:gd name="connsiteY1148" fmla="*/ 344308 h 734237"/>
                  <a:gd name="connsiteX1149" fmla="*/ 1217377 w 1472512"/>
                  <a:gd name="connsiteY1149" fmla="*/ 342917 h 734237"/>
                  <a:gd name="connsiteX1150" fmla="*/ 1217051 w 1472512"/>
                  <a:gd name="connsiteY1150" fmla="*/ 341393 h 734237"/>
                  <a:gd name="connsiteX1151" fmla="*/ 1215123 w 1472512"/>
                  <a:gd name="connsiteY1151" fmla="*/ 341496 h 734237"/>
                  <a:gd name="connsiteX1152" fmla="*/ 1213103 w 1472512"/>
                  <a:gd name="connsiteY1152" fmla="*/ 342822 h 734237"/>
                  <a:gd name="connsiteX1153" fmla="*/ 1211149 w 1472512"/>
                  <a:gd name="connsiteY1153" fmla="*/ 342508 h 734237"/>
                  <a:gd name="connsiteX1154" fmla="*/ 1210917 w 1472512"/>
                  <a:gd name="connsiteY1154" fmla="*/ 339921 h 734237"/>
                  <a:gd name="connsiteX1155" fmla="*/ 1211446 w 1472512"/>
                  <a:gd name="connsiteY1155" fmla="*/ 338551 h 734237"/>
                  <a:gd name="connsiteX1156" fmla="*/ 1213638 w 1472512"/>
                  <a:gd name="connsiteY1156" fmla="*/ 335307 h 734237"/>
                  <a:gd name="connsiteX1157" fmla="*/ 1215705 w 1472512"/>
                  <a:gd name="connsiteY1157" fmla="*/ 333651 h 734237"/>
                  <a:gd name="connsiteX1158" fmla="*/ 1216617 w 1472512"/>
                  <a:gd name="connsiteY1158" fmla="*/ 331509 h 734237"/>
                  <a:gd name="connsiteX1159" fmla="*/ 1216307 w 1472512"/>
                  <a:gd name="connsiteY1159" fmla="*/ 328188 h 734237"/>
                  <a:gd name="connsiteX1160" fmla="*/ 1215917 w 1472512"/>
                  <a:gd name="connsiteY1160" fmla="*/ 331569 h 734237"/>
                  <a:gd name="connsiteX1161" fmla="*/ 1214736 w 1472512"/>
                  <a:gd name="connsiteY1161" fmla="*/ 333241 h 734237"/>
                  <a:gd name="connsiteX1162" fmla="*/ 1212881 w 1472512"/>
                  <a:gd name="connsiteY1162" fmla="*/ 334519 h 734237"/>
                  <a:gd name="connsiteX1163" fmla="*/ 1210438 w 1472512"/>
                  <a:gd name="connsiteY1163" fmla="*/ 336797 h 734237"/>
                  <a:gd name="connsiteX1164" fmla="*/ 1209841 w 1472512"/>
                  <a:gd name="connsiteY1164" fmla="*/ 338901 h 734237"/>
                  <a:gd name="connsiteX1165" fmla="*/ 1209078 w 1472512"/>
                  <a:gd name="connsiteY1165" fmla="*/ 342836 h 734237"/>
                  <a:gd name="connsiteX1166" fmla="*/ 1210111 w 1472512"/>
                  <a:gd name="connsiteY1166" fmla="*/ 344168 h 734237"/>
                  <a:gd name="connsiteX1167" fmla="*/ 1211165 w 1472512"/>
                  <a:gd name="connsiteY1167" fmla="*/ 344515 h 734237"/>
                  <a:gd name="connsiteX1168" fmla="*/ 1214277 w 1472512"/>
                  <a:gd name="connsiteY1168" fmla="*/ 343623 h 734237"/>
                  <a:gd name="connsiteX1169" fmla="*/ 1215887 w 1472512"/>
                  <a:gd name="connsiteY1169" fmla="*/ 344021 h 734237"/>
                  <a:gd name="connsiteX1170" fmla="*/ 1219470 w 1472512"/>
                  <a:gd name="connsiteY1170" fmla="*/ 348753 h 734237"/>
                  <a:gd name="connsiteX1171" fmla="*/ 1226140 w 1472512"/>
                  <a:gd name="connsiteY1171" fmla="*/ 350623 h 734237"/>
                  <a:gd name="connsiteX1172" fmla="*/ 1228573 w 1472512"/>
                  <a:gd name="connsiteY1172" fmla="*/ 351791 h 734237"/>
                  <a:gd name="connsiteX1173" fmla="*/ 1230556 w 1472512"/>
                  <a:gd name="connsiteY1173" fmla="*/ 354255 h 734237"/>
                  <a:gd name="connsiteX1174" fmla="*/ 1233536 w 1472512"/>
                  <a:gd name="connsiteY1174" fmla="*/ 355674 h 734237"/>
                  <a:gd name="connsiteX1175" fmla="*/ 1235849 w 1472512"/>
                  <a:gd name="connsiteY1175" fmla="*/ 357733 h 734237"/>
                  <a:gd name="connsiteX1176" fmla="*/ 1235912 w 1472512"/>
                  <a:gd name="connsiteY1176" fmla="*/ 359076 h 734237"/>
                  <a:gd name="connsiteX1177" fmla="*/ 1235111 w 1472512"/>
                  <a:gd name="connsiteY1177" fmla="*/ 360664 h 734237"/>
                  <a:gd name="connsiteX1178" fmla="*/ 1234795 w 1472512"/>
                  <a:gd name="connsiteY1178" fmla="*/ 362812 h 734237"/>
                  <a:gd name="connsiteX1179" fmla="*/ 1233812 w 1472512"/>
                  <a:gd name="connsiteY1179" fmla="*/ 364165 h 734237"/>
                  <a:gd name="connsiteX1180" fmla="*/ 1231453 w 1472512"/>
                  <a:gd name="connsiteY1180" fmla="*/ 364321 h 734237"/>
                  <a:gd name="connsiteX1181" fmla="*/ 1230028 w 1472512"/>
                  <a:gd name="connsiteY1181" fmla="*/ 363973 h 734237"/>
                  <a:gd name="connsiteX1182" fmla="*/ 1222368 w 1472512"/>
                  <a:gd name="connsiteY1182" fmla="*/ 356419 h 734237"/>
                  <a:gd name="connsiteX1183" fmla="*/ 1221453 w 1472512"/>
                  <a:gd name="connsiteY1183" fmla="*/ 355724 h 734237"/>
                  <a:gd name="connsiteX1184" fmla="*/ 1218612 w 1472512"/>
                  <a:gd name="connsiteY1184" fmla="*/ 351762 h 734237"/>
                  <a:gd name="connsiteX1185" fmla="*/ 1215278 w 1472512"/>
                  <a:gd name="connsiteY1185" fmla="*/ 349638 h 734237"/>
                  <a:gd name="connsiteX1186" fmla="*/ 1214247 w 1472512"/>
                  <a:gd name="connsiteY1186" fmla="*/ 349683 h 734237"/>
                  <a:gd name="connsiteX1187" fmla="*/ 1218992 w 1472512"/>
                  <a:gd name="connsiteY1187" fmla="*/ 353610 h 734237"/>
                  <a:gd name="connsiteX1188" fmla="*/ 1220929 w 1472512"/>
                  <a:gd name="connsiteY1188" fmla="*/ 356354 h 734237"/>
                  <a:gd name="connsiteX1189" fmla="*/ 1224340 w 1472512"/>
                  <a:gd name="connsiteY1189" fmla="*/ 360197 h 734237"/>
                  <a:gd name="connsiteX1190" fmla="*/ 1226780 w 1472512"/>
                  <a:gd name="connsiteY1190" fmla="*/ 361823 h 734237"/>
                  <a:gd name="connsiteX1191" fmla="*/ 1228574 w 1472512"/>
                  <a:gd name="connsiteY1191" fmla="*/ 364359 h 734237"/>
                  <a:gd name="connsiteX1192" fmla="*/ 1230242 w 1472512"/>
                  <a:gd name="connsiteY1192" fmla="*/ 365547 h 734237"/>
                  <a:gd name="connsiteX1193" fmla="*/ 1234796 w 1472512"/>
                  <a:gd name="connsiteY1193" fmla="*/ 367237 h 734237"/>
                  <a:gd name="connsiteX1194" fmla="*/ 1233213 w 1472512"/>
                  <a:gd name="connsiteY1194" fmla="*/ 368452 h 734237"/>
                  <a:gd name="connsiteX1195" fmla="*/ 1235740 w 1472512"/>
                  <a:gd name="connsiteY1195" fmla="*/ 369487 h 734237"/>
                  <a:gd name="connsiteX1196" fmla="*/ 1236101 w 1472512"/>
                  <a:gd name="connsiteY1196" fmla="*/ 371387 h 734237"/>
                  <a:gd name="connsiteX1197" fmla="*/ 1235870 w 1472512"/>
                  <a:gd name="connsiteY1197" fmla="*/ 373552 h 734237"/>
                  <a:gd name="connsiteX1198" fmla="*/ 1232362 w 1472512"/>
                  <a:gd name="connsiteY1198" fmla="*/ 372696 h 734237"/>
                  <a:gd name="connsiteX1199" fmla="*/ 1232248 w 1472512"/>
                  <a:gd name="connsiteY1199" fmla="*/ 374292 h 734237"/>
                  <a:gd name="connsiteX1200" fmla="*/ 1232561 w 1472512"/>
                  <a:gd name="connsiteY1200" fmla="*/ 375233 h 734237"/>
                  <a:gd name="connsiteX1201" fmla="*/ 1231012 w 1472512"/>
                  <a:gd name="connsiteY1201" fmla="*/ 376008 h 734237"/>
                  <a:gd name="connsiteX1202" fmla="*/ 1228857 w 1472512"/>
                  <a:gd name="connsiteY1202" fmla="*/ 374955 h 734237"/>
                  <a:gd name="connsiteX1203" fmla="*/ 1223261 w 1472512"/>
                  <a:gd name="connsiteY1203" fmla="*/ 369185 h 734237"/>
                  <a:gd name="connsiteX1204" fmla="*/ 1223309 w 1472512"/>
                  <a:gd name="connsiteY1204" fmla="*/ 369957 h 734237"/>
                  <a:gd name="connsiteX1205" fmla="*/ 1223762 w 1472512"/>
                  <a:gd name="connsiteY1205" fmla="*/ 370853 h 734237"/>
                  <a:gd name="connsiteX1206" fmla="*/ 1227008 w 1472512"/>
                  <a:gd name="connsiteY1206" fmla="*/ 374567 h 734237"/>
                  <a:gd name="connsiteX1207" fmla="*/ 1229903 w 1472512"/>
                  <a:gd name="connsiteY1207" fmla="*/ 376793 h 734237"/>
                  <a:gd name="connsiteX1208" fmla="*/ 1232358 w 1472512"/>
                  <a:gd name="connsiteY1208" fmla="*/ 377798 h 734237"/>
                  <a:gd name="connsiteX1209" fmla="*/ 1234251 w 1472512"/>
                  <a:gd name="connsiteY1209" fmla="*/ 379661 h 734237"/>
                  <a:gd name="connsiteX1210" fmla="*/ 1234919 w 1472512"/>
                  <a:gd name="connsiteY1210" fmla="*/ 380788 h 734237"/>
                  <a:gd name="connsiteX1211" fmla="*/ 1235363 w 1472512"/>
                  <a:gd name="connsiteY1211" fmla="*/ 382497 h 734237"/>
                  <a:gd name="connsiteX1212" fmla="*/ 1233962 w 1472512"/>
                  <a:gd name="connsiteY1212" fmla="*/ 383657 h 734237"/>
                  <a:gd name="connsiteX1213" fmla="*/ 1232364 w 1472512"/>
                  <a:gd name="connsiteY1213" fmla="*/ 384298 h 734237"/>
                  <a:gd name="connsiteX1214" fmla="*/ 1230804 w 1472512"/>
                  <a:gd name="connsiteY1214" fmla="*/ 383140 h 734237"/>
                  <a:gd name="connsiteX1215" fmla="*/ 1229661 w 1472512"/>
                  <a:gd name="connsiteY1215" fmla="*/ 381920 h 734237"/>
                  <a:gd name="connsiteX1216" fmla="*/ 1227226 w 1472512"/>
                  <a:gd name="connsiteY1216" fmla="*/ 379849 h 734237"/>
                  <a:gd name="connsiteX1217" fmla="*/ 1226497 w 1472512"/>
                  <a:gd name="connsiteY1217" fmla="*/ 377531 h 734237"/>
                  <a:gd name="connsiteX1218" fmla="*/ 1224644 w 1472512"/>
                  <a:gd name="connsiteY1218" fmla="*/ 377651 h 734237"/>
                  <a:gd name="connsiteX1219" fmla="*/ 1216902 w 1472512"/>
                  <a:gd name="connsiteY1219" fmla="*/ 374710 h 734237"/>
                  <a:gd name="connsiteX1220" fmla="*/ 1210681 w 1472512"/>
                  <a:gd name="connsiteY1220" fmla="*/ 374371 h 734237"/>
                  <a:gd name="connsiteX1221" fmla="*/ 1211289 w 1472512"/>
                  <a:gd name="connsiteY1221" fmla="*/ 374964 h 734237"/>
                  <a:gd name="connsiteX1222" fmla="*/ 1212076 w 1472512"/>
                  <a:gd name="connsiteY1222" fmla="*/ 375357 h 734237"/>
                  <a:gd name="connsiteX1223" fmla="*/ 1217031 w 1472512"/>
                  <a:gd name="connsiteY1223" fmla="*/ 376083 h 734237"/>
                  <a:gd name="connsiteX1224" fmla="*/ 1218989 w 1472512"/>
                  <a:gd name="connsiteY1224" fmla="*/ 377436 h 734237"/>
                  <a:gd name="connsiteX1225" fmla="*/ 1223064 w 1472512"/>
                  <a:gd name="connsiteY1225" fmla="*/ 378637 h 734237"/>
                  <a:gd name="connsiteX1226" fmla="*/ 1225452 w 1472512"/>
                  <a:gd name="connsiteY1226" fmla="*/ 378965 h 734237"/>
                  <a:gd name="connsiteX1227" fmla="*/ 1226419 w 1472512"/>
                  <a:gd name="connsiteY1227" fmla="*/ 382651 h 734237"/>
                  <a:gd name="connsiteX1228" fmla="*/ 1229717 w 1472512"/>
                  <a:gd name="connsiteY1228" fmla="*/ 385187 h 734237"/>
                  <a:gd name="connsiteX1229" fmla="*/ 1230146 w 1472512"/>
                  <a:gd name="connsiteY1229" fmla="*/ 387063 h 734237"/>
                  <a:gd name="connsiteX1230" fmla="*/ 1232398 w 1472512"/>
                  <a:gd name="connsiteY1230" fmla="*/ 387274 h 734237"/>
                  <a:gd name="connsiteX1231" fmla="*/ 1236360 w 1472512"/>
                  <a:gd name="connsiteY1231" fmla="*/ 385432 h 734237"/>
                  <a:gd name="connsiteX1232" fmla="*/ 1238918 w 1472512"/>
                  <a:gd name="connsiteY1232" fmla="*/ 386078 h 734237"/>
                  <a:gd name="connsiteX1233" fmla="*/ 1242605 w 1472512"/>
                  <a:gd name="connsiteY1233" fmla="*/ 386605 h 734237"/>
                  <a:gd name="connsiteX1234" fmla="*/ 1243450 w 1472512"/>
                  <a:gd name="connsiteY1234" fmla="*/ 388091 h 734237"/>
                  <a:gd name="connsiteX1235" fmla="*/ 1244082 w 1472512"/>
                  <a:gd name="connsiteY1235" fmla="*/ 390916 h 734237"/>
                  <a:gd name="connsiteX1236" fmla="*/ 1245386 w 1472512"/>
                  <a:gd name="connsiteY1236" fmla="*/ 394091 h 734237"/>
                  <a:gd name="connsiteX1237" fmla="*/ 1248768 w 1472512"/>
                  <a:gd name="connsiteY1237" fmla="*/ 406587 h 734237"/>
                  <a:gd name="connsiteX1238" fmla="*/ 1253849 w 1472512"/>
                  <a:gd name="connsiteY1238" fmla="*/ 416778 h 734237"/>
                  <a:gd name="connsiteX1239" fmla="*/ 1254474 w 1472512"/>
                  <a:gd name="connsiteY1239" fmla="*/ 418529 h 734237"/>
                  <a:gd name="connsiteX1240" fmla="*/ 1253292 w 1472512"/>
                  <a:gd name="connsiteY1240" fmla="*/ 416993 h 734237"/>
                  <a:gd name="connsiteX1241" fmla="*/ 1249524 w 1472512"/>
                  <a:gd name="connsiteY1241" fmla="*/ 410247 h 734237"/>
                  <a:gd name="connsiteX1242" fmla="*/ 1247444 w 1472512"/>
                  <a:gd name="connsiteY1242" fmla="*/ 405368 h 734237"/>
                  <a:gd name="connsiteX1243" fmla="*/ 1245306 w 1472512"/>
                  <a:gd name="connsiteY1243" fmla="*/ 396739 h 734237"/>
                  <a:gd name="connsiteX1244" fmla="*/ 1244686 w 1472512"/>
                  <a:gd name="connsiteY1244" fmla="*/ 394804 h 734237"/>
                  <a:gd name="connsiteX1245" fmla="*/ 1243956 w 1472512"/>
                  <a:gd name="connsiteY1245" fmla="*/ 394031 h 734237"/>
                  <a:gd name="connsiteX1246" fmla="*/ 1243475 w 1472512"/>
                  <a:gd name="connsiteY1246" fmla="*/ 394660 h 734237"/>
                  <a:gd name="connsiteX1247" fmla="*/ 1243269 w 1472512"/>
                  <a:gd name="connsiteY1247" fmla="*/ 395762 h 734237"/>
                  <a:gd name="connsiteX1248" fmla="*/ 1243617 w 1472512"/>
                  <a:gd name="connsiteY1248" fmla="*/ 396606 h 734237"/>
                  <a:gd name="connsiteX1249" fmla="*/ 1242775 w 1472512"/>
                  <a:gd name="connsiteY1249" fmla="*/ 399450 h 734237"/>
                  <a:gd name="connsiteX1250" fmla="*/ 1243140 w 1472512"/>
                  <a:gd name="connsiteY1250" fmla="*/ 400753 h 734237"/>
                  <a:gd name="connsiteX1251" fmla="*/ 1244507 w 1472512"/>
                  <a:gd name="connsiteY1251" fmla="*/ 402101 h 734237"/>
                  <a:gd name="connsiteX1252" fmla="*/ 1245993 w 1472512"/>
                  <a:gd name="connsiteY1252" fmla="*/ 405461 h 734237"/>
                  <a:gd name="connsiteX1253" fmla="*/ 1247180 w 1472512"/>
                  <a:gd name="connsiteY1253" fmla="*/ 409981 h 734237"/>
                  <a:gd name="connsiteX1254" fmla="*/ 1245575 w 1472512"/>
                  <a:gd name="connsiteY1254" fmla="*/ 408150 h 734237"/>
                  <a:gd name="connsiteX1255" fmla="*/ 1243861 w 1472512"/>
                  <a:gd name="connsiteY1255" fmla="*/ 407178 h 734237"/>
                  <a:gd name="connsiteX1256" fmla="*/ 1241194 w 1472512"/>
                  <a:gd name="connsiteY1256" fmla="*/ 406433 h 734237"/>
                  <a:gd name="connsiteX1257" fmla="*/ 1238819 w 1472512"/>
                  <a:gd name="connsiteY1257" fmla="*/ 405129 h 734237"/>
                  <a:gd name="connsiteX1258" fmla="*/ 1238992 w 1472512"/>
                  <a:gd name="connsiteY1258" fmla="*/ 407001 h 734237"/>
                  <a:gd name="connsiteX1259" fmla="*/ 1238765 w 1472512"/>
                  <a:gd name="connsiteY1259" fmla="*/ 409022 h 734237"/>
                  <a:gd name="connsiteX1260" fmla="*/ 1236934 w 1472512"/>
                  <a:gd name="connsiteY1260" fmla="*/ 408406 h 734237"/>
                  <a:gd name="connsiteX1261" fmla="*/ 1235688 w 1472512"/>
                  <a:gd name="connsiteY1261" fmla="*/ 407735 h 734237"/>
                  <a:gd name="connsiteX1262" fmla="*/ 1236790 w 1472512"/>
                  <a:gd name="connsiteY1262" fmla="*/ 409888 h 734237"/>
                  <a:gd name="connsiteX1263" fmla="*/ 1234396 w 1472512"/>
                  <a:gd name="connsiteY1263" fmla="*/ 409242 h 734237"/>
                  <a:gd name="connsiteX1264" fmla="*/ 1232803 w 1472512"/>
                  <a:gd name="connsiteY1264" fmla="*/ 409377 h 734237"/>
                  <a:gd name="connsiteX1265" fmla="*/ 1231767 w 1472512"/>
                  <a:gd name="connsiteY1265" fmla="*/ 411288 h 734237"/>
                  <a:gd name="connsiteX1266" fmla="*/ 1230376 w 1472512"/>
                  <a:gd name="connsiteY1266" fmla="*/ 412448 h 734237"/>
                  <a:gd name="connsiteX1267" fmla="*/ 1228322 w 1472512"/>
                  <a:gd name="connsiteY1267" fmla="*/ 412821 h 734237"/>
                  <a:gd name="connsiteX1268" fmla="*/ 1225272 w 1472512"/>
                  <a:gd name="connsiteY1268" fmla="*/ 411074 h 734237"/>
                  <a:gd name="connsiteX1269" fmla="*/ 1224284 w 1472512"/>
                  <a:gd name="connsiteY1269" fmla="*/ 408954 h 734237"/>
                  <a:gd name="connsiteX1270" fmla="*/ 1223875 w 1472512"/>
                  <a:gd name="connsiteY1270" fmla="*/ 406590 h 734237"/>
                  <a:gd name="connsiteX1271" fmla="*/ 1223713 w 1472512"/>
                  <a:gd name="connsiteY1271" fmla="*/ 409384 h 734237"/>
                  <a:gd name="connsiteX1272" fmla="*/ 1224255 w 1472512"/>
                  <a:gd name="connsiteY1272" fmla="*/ 412292 h 734237"/>
                  <a:gd name="connsiteX1273" fmla="*/ 1224064 w 1472512"/>
                  <a:gd name="connsiteY1273" fmla="*/ 414501 h 734237"/>
                  <a:gd name="connsiteX1274" fmla="*/ 1227001 w 1472512"/>
                  <a:gd name="connsiteY1274" fmla="*/ 414906 h 734237"/>
                  <a:gd name="connsiteX1275" fmla="*/ 1229746 w 1472512"/>
                  <a:gd name="connsiteY1275" fmla="*/ 414547 h 734237"/>
                  <a:gd name="connsiteX1276" fmla="*/ 1233451 w 1472512"/>
                  <a:gd name="connsiteY1276" fmla="*/ 414638 h 734237"/>
                  <a:gd name="connsiteX1277" fmla="*/ 1235867 w 1472512"/>
                  <a:gd name="connsiteY1277" fmla="*/ 414225 h 734237"/>
                  <a:gd name="connsiteX1278" fmla="*/ 1237322 w 1472512"/>
                  <a:gd name="connsiteY1278" fmla="*/ 413522 h 734237"/>
                  <a:gd name="connsiteX1279" fmla="*/ 1240811 w 1472512"/>
                  <a:gd name="connsiteY1279" fmla="*/ 414131 h 734237"/>
                  <a:gd name="connsiteX1280" fmla="*/ 1241060 w 1472512"/>
                  <a:gd name="connsiteY1280" fmla="*/ 416798 h 734237"/>
                  <a:gd name="connsiteX1281" fmla="*/ 1240660 w 1472512"/>
                  <a:gd name="connsiteY1281" fmla="*/ 419447 h 734237"/>
                  <a:gd name="connsiteX1282" fmla="*/ 1240458 w 1472512"/>
                  <a:gd name="connsiteY1282" fmla="*/ 422265 h 734237"/>
                  <a:gd name="connsiteX1283" fmla="*/ 1241425 w 1472512"/>
                  <a:gd name="connsiteY1283" fmla="*/ 422247 h 734237"/>
                  <a:gd name="connsiteX1284" fmla="*/ 1242562 w 1472512"/>
                  <a:gd name="connsiteY1284" fmla="*/ 421346 h 734237"/>
                  <a:gd name="connsiteX1285" fmla="*/ 1243129 w 1472512"/>
                  <a:gd name="connsiteY1285" fmla="*/ 416295 h 734237"/>
                  <a:gd name="connsiteX1286" fmla="*/ 1246317 w 1472512"/>
                  <a:gd name="connsiteY1286" fmla="*/ 414427 h 734237"/>
                  <a:gd name="connsiteX1287" fmla="*/ 1247386 w 1472512"/>
                  <a:gd name="connsiteY1287" fmla="*/ 414555 h 734237"/>
                  <a:gd name="connsiteX1288" fmla="*/ 1248401 w 1472512"/>
                  <a:gd name="connsiteY1288" fmla="*/ 416179 h 734237"/>
                  <a:gd name="connsiteX1289" fmla="*/ 1248743 w 1472512"/>
                  <a:gd name="connsiteY1289" fmla="*/ 417827 h 734237"/>
                  <a:gd name="connsiteX1290" fmla="*/ 1249103 w 1472512"/>
                  <a:gd name="connsiteY1290" fmla="*/ 420088 h 734237"/>
                  <a:gd name="connsiteX1291" fmla="*/ 1248359 w 1472512"/>
                  <a:gd name="connsiteY1291" fmla="*/ 423530 h 734237"/>
                  <a:gd name="connsiteX1292" fmla="*/ 1243459 w 1472512"/>
                  <a:gd name="connsiteY1292" fmla="*/ 427551 h 734237"/>
                  <a:gd name="connsiteX1293" fmla="*/ 1239950 w 1472512"/>
                  <a:gd name="connsiteY1293" fmla="*/ 431266 h 734237"/>
                  <a:gd name="connsiteX1294" fmla="*/ 1238157 w 1472512"/>
                  <a:gd name="connsiteY1294" fmla="*/ 432022 h 734237"/>
                  <a:gd name="connsiteX1295" fmla="*/ 1235569 w 1472512"/>
                  <a:gd name="connsiteY1295" fmla="*/ 431590 h 734237"/>
                  <a:gd name="connsiteX1296" fmla="*/ 1232636 w 1472512"/>
                  <a:gd name="connsiteY1296" fmla="*/ 430656 h 734237"/>
                  <a:gd name="connsiteX1297" fmla="*/ 1231197 w 1472512"/>
                  <a:gd name="connsiteY1297" fmla="*/ 430468 h 734237"/>
                  <a:gd name="connsiteX1298" fmla="*/ 1230104 w 1472512"/>
                  <a:gd name="connsiteY1298" fmla="*/ 430780 h 734237"/>
                  <a:gd name="connsiteX1299" fmla="*/ 1229438 w 1472512"/>
                  <a:gd name="connsiteY1299" fmla="*/ 429637 h 734237"/>
                  <a:gd name="connsiteX1300" fmla="*/ 1229008 w 1472512"/>
                  <a:gd name="connsiteY1300" fmla="*/ 427550 h 734237"/>
                  <a:gd name="connsiteX1301" fmla="*/ 1227867 w 1472512"/>
                  <a:gd name="connsiteY1301" fmla="*/ 426857 h 734237"/>
                  <a:gd name="connsiteX1302" fmla="*/ 1227003 w 1472512"/>
                  <a:gd name="connsiteY1302" fmla="*/ 426934 h 734237"/>
                  <a:gd name="connsiteX1303" fmla="*/ 1226413 w 1472512"/>
                  <a:gd name="connsiteY1303" fmla="*/ 429151 h 734237"/>
                  <a:gd name="connsiteX1304" fmla="*/ 1223678 w 1472512"/>
                  <a:gd name="connsiteY1304" fmla="*/ 429781 h 734237"/>
                  <a:gd name="connsiteX1305" fmla="*/ 1219958 w 1472512"/>
                  <a:gd name="connsiteY1305" fmla="*/ 428866 h 734237"/>
                  <a:gd name="connsiteX1306" fmla="*/ 1216060 w 1472512"/>
                  <a:gd name="connsiteY1306" fmla="*/ 427000 h 734237"/>
                  <a:gd name="connsiteX1307" fmla="*/ 1217732 w 1472512"/>
                  <a:gd name="connsiteY1307" fmla="*/ 429001 h 734237"/>
                  <a:gd name="connsiteX1308" fmla="*/ 1227401 w 1472512"/>
                  <a:gd name="connsiteY1308" fmla="*/ 432731 h 734237"/>
                  <a:gd name="connsiteX1309" fmla="*/ 1228489 w 1472512"/>
                  <a:gd name="connsiteY1309" fmla="*/ 433428 h 734237"/>
                  <a:gd name="connsiteX1310" fmla="*/ 1229505 w 1472512"/>
                  <a:gd name="connsiteY1310" fmla="*/ 434447 h 734237"/>
                  <a:gd name="connsiteX1311" fmla="*/ 1228153 w 1472512"/>
                  <a:gd name="connsiteY1311" fmla="*/ 436046 h 734237"/>
                  <a:gd name="connsiteX1312" fmla="*/ 1227093 w 1472512"/>
                  <a:gd name="connsiteY1312" fmla="*/ 437846 h 734237"/>
                  <a:gd name="connsiteX1313" fmla="*/ 1226945 w 1472512"/>
                  <a:gd name="connsiteY1313" fmla="*/ 439257 h 734237"/>
                  <a:gd name="connsiteX1314" fmla="*/ 1226570 w 1472512"/>
                  <a:gd name="connsiteY1314" fmla="*/ 440147 h 734237"/>
                  <a:gd name="connsiteX1315" fmla="*/ 1222715 w 1472512"/>
                  <a:gd name="connsiteY1315" fmla="*/ 442548 h 734237"/>
                  <a:gd name="connsiteX1316" fmla="*/ 1220626 w 1472512"/>
                  <a:gd name="connsiteY1316" fmla="*/ 442124 h 734237"/>
                  <a:gd name="connsiteX1317" fmla="*/ 1215288 w 1472512"/>
                  <a:gd name="connsiteY1317" fmla="*/ 437796 h 734237"/>
                  <a:gd name="connsiteX1318" fmla="*/ 1217719 w 1472512"/>
                  <a:gd name="connsiteY1318" fmla="*/ 441539 h 734237"/>
                  <a:gd name="connsiteX1319" fmla="*/ 1219667 w 1472512"/>
                  <a:gd name="connsiteY1319" fmla="*/ 443126 h 734237"/>
                  <a:gd name="connsiteX1320" fmla="*/ 1223587 w 1472512"/>
                  <a:gd name="connsiteY1320" fmla="*/ 443974 h 734237"/>
                  <a:gd name="connsiteX1321" fmla="*/ 1230940 w 1472512"/>
                  <a:gd name="connsiteY1321" fmla="*/ 442575 h 734237"/>
                  <a:gd name="connsiteX1322" fmla="*/ 1233350 w 1472512"/>
                  <a:gd name="connsiteY1322" fmla="*/ 444101 h 734237"/>
                  <a:gd name="connsiteX1323" fmla="*/ 1231372 w 1472512"/>
                  <a:gd name="connsiteY1323" fmla="*/ 446804 h 734237"/>
                  <a:gd name="connsiteX1324" fmla="*/ 1229404 w 1472512"/>
                  <a:gd name="connsiteY1324" fmla="*/ 448698 h 734237"/>
                  <a:gd name="connsiteX1325" fmla="*/ 1226825 w 1472512"/>
                  <a:gd name="connsiteY1325" fmla="*/ 448909 h 734237"/>
                  <a:gd name="connsiteX1326" fmla="*/ 1224554 w 1472512"/>
                  <a:gd name="connsiteY1326" fmla="*/ 449422 h 734237"/>
                  <a:gd name="connsiteX1327" fmla="*/ 1223887 w 1472512"/>
                  <a:gd name="connsiteY1327" fmla="*/ 450725 h 734237"/>
                  <a:gd name="connsiteX1328" fmla="*/ 1222267 w 1472512"/>
                  <a:gd name="connsiteY1328" fmla="*/ 450806 h 734237"/>
                  <a:gd name="connsiteX1329" fmla="*/ 1219736 w 1472512"/>
                  <a:gd name="connsiteY1329" fmla="*/ 450883 h 734237"/>
                  <a:gd name="connsiteX1330" fmla="*/ 1215819 w 1472512"/>
                  <a:gd name="connsiteY1330" fmla="*/ 451002 h 734237"/>
                  <a:gd name="connsiteX1331" fmla="*/ 1213666 w 1472512"/>
                  <a:gd name="connsiteY1331" fmla="*/ 450698 h 734237"/>
                  <a:gd name="connsiteX1332" fmla="*/ 1210659 w 1472512"/>
                  <a:gd name="connsiteY1332" fmla="*/ 453357 h 734237"/>
                  <a:gd name="connsiteX1333" fmla="*/ 1209524 w 1472512"/>
                  <a:gd name="connsiteY1333" fmla="*/ 453723 h 734237"/>
                  <a:gd name="connsiteX1334" fmla="*/ 1207937 w 1472512"/>
                  <a:gd name="connsiteY1334" fmla="*/ 453223 h 734237"/>
                  <a:gd name="connsiteX1335" fmla="*/ 1207273 w 1472512"/>
                  <a:gd name="connsiteY1335" fmla="*/ 451088 h 734237"/>
                  <a:gd name="connsiteX1336" fmla="*/ 1206565 w 1472512"/>
                  <a:gd name="connsiteY1336" fmla="*/ 450037 h 734237"/>
                  <a:gd name="connsiteX1337" fmla="*/ 1206546 w 1472512"/>
                  <a:gd name="connsiteY1337" fmla="*/ 454033 h 734237"/>
                  <a:gd name="connsiteX1338" fmla="*/ 1206824 w 1472512"/>
                  <a:gd name="connsiteY1338" fmla="*/ 455110 h 734237"/>
                  <a:gd name="connsiteX1339" fmla="*/ 1207393 w 1472512"/>
                  <a:gd name="connsiteY1339" fmla="*/ 455920 h 734237"/>
                  <a:gd name="connsiteX1340" fmla="*/ 1203876 w 1472512"/>
                  <a:gd name="connsiteY1340" fmla="*/ 458087 h 734237"/>
                  <a:gd name="connsiteX1341" fmla="*/ 1200507 w 1472512"/>
                  <a:gd name="connsiteY1341" fmla="*/ 460786 h 734237"/>
                  <a:gd name="connsiteX1342" fmla="*/ 1199301 w 1472512"/>
                  <a:gd name="connsiteY1342" fmla="*/ 461521 h 734237"/>
                  <a:gd name="connsiteX1343" fmla="*/ 1197930 w 1472512"/>
                  <a:gd name="connsiteY1343" fmla="*/ 462871 h 734237"/>
                  <a:gd name="connsiteX1344" fmla="*/ 1195121 w 1472512"/>
                  <a:gd name="connsiteY1344" fmla="*/ 466774 h 734237"/>
                  <a:gd name="connsiteX1345" fmla="*/ 1194427 w 1472512"/>
                  <a:gd name="connsiteY1345" fmla="*/ 469615 h 734237"/>
                  <a:gd name="connsiteX1346" fmla="*/ 1193412 w 1472512"/>
                  <a:gd name="connsiteY1346" fmla="*/ 472782 h 734237"/>
                  <a:gd name="connsiteX1347" fmla="*/ 1193284 w 1472512"/>
                  <a:gd name="connsiteY1347" fmla="*/ 471355 h 734237"/>
                  <a:gd name="connsiteX1348" fmla="*/ 1193458 w 1472512"/>
                  <a:gd name="connsiteY1348" fmla="*/ 468955 h 734237"/>
                  <a:gd name="connsiteX1349" fmla="*/ 1192764 w 1472512"/>
                  <a:gd name="connsiteY1349" fmla="*/ 466203 h 734237"/>
                  <a:gd name="connsiteX1350" fmla="*/ 1192321 w 1472512"/>
                  <a:gd name="connsiteY1350" fmla="*/ 471243 h 734237"/>
                  <a:gd name="connsiteX1351" fmla="*/ 1191232 w 1472512"/>
                  <a:gd name="connsiteY1351" fmla="*/ 473582 h 734237"/>
                  <a:gd name="connsiteX1352" fmla="*/ 1181217 w 1472512"/>
                  <a:gd name="connsiteY1352" fmla="*/ 473417 h 734237"/>
                  <a:gd name="connsiteX1353" fmla="*/ 1176834 w 1472512"/>
                  <a:gd name="connsiteY1353" fmla="*/ 474687 h 734237"/>
                  <a:gd name="connsiteX1354" fmla="*/ 1170105 w 1472512"/>
                  <a:gd name="connsiteY1354" fmla="*/ 478959 h 734237"/>
                  <a:gd name="connsiteX1355" fmla="*/ 1168093 w 1472512"/>
                  <a:gd name="connsiteY1355" fmla="*/ 480830 h 734237"/>
                  <a:gd name="connsiteX1356" fmla="*/ 1162536 w 1472512"/>
                  <a:gd name="connsiteY1356" fmla="*/ 488057 h 734237"/>
                  <a:gd name="connsiteX1357" fmla="*/ 1161117 w 1472512"/>
                  <a:gd name="connsiteY1357" fmla="*/ 492675 h 734237"/>
                  <a:gd name="connsiteX1358" fmla="*/ 1159979 w 1472512"/>
                  <a:gd name="connsiteY1358" fmla="*/ 490734 h 734237"/>
                  <a:gd name="connsiteX1359" fmla="*/ 1160261 w 1472512"/>
                  <a:gd name="connsiteY1359" fmla="*/ 489278 h 734237"/>
                  <a:gd name="connsiteX1360" fmla="*/ 1160284 w 1472512"/>
                  <a:gd name="connsiteY1360" fmla="*/ 488086 h 734237"/>
                  <a:gd name="connsiteX1361" fmla="*/ 1158884 w 1472512"/>
                  <a:gd name="connsiteY1361" fmla="*/ 490641 h 734237"/>
                  <a:gd name="connsiteX1362" fmla="*/ 1160213 w 1472512"/>
                  <a:gd name="connsiteY1362" fmla="*/ 494358 h 734237"/>
                  <a:gd name="connsiteX1363" fmla="*/ 1159020 w 1472512"/>
                  <a:gd name="connsiteY1363" fmla="*/ 495776 h 734237"/>
                  <a:gd name="connsiteX1364" fmla="*/ 1155348 w 1472512"/>
                  <a:gd name="connsiteY1364" fmla="*/ 498423 h 734237"/>
                  <a:gd name="connsiteX1365" fmla="*/ 1153339 w 1472512"/>
                  <a:gd name="connsiteY1365" fmla="*/ 498857 h 734237"/>
                  <a:gd name="connsiteX1366" fmla="*/ 1151084 w 1472512"/>
                  <a:gd name="connsiteY1366" fmla="*/ 499609 h 734237"/>
                  <a:gd name="connsiteX1367" fmla="*/ 1150372 w 1472512"/>
                  <a:gd name="connsiteY1367" fmla="*/ 502217 h 734237"/>
                  <a:gd name="connsiteX1368" fmla="*/ 1147311 w 1472512"/>
                  <a:gd name="connsiteY1368" fmla="*/ 504621 h 734237"/>
                  <a:gd name="connsiteX1369" fmla="*/ 1145526 w 1472512"/>
                  <a:gd name="connsiteY1369" fmla="*/ 505684 h 734237"/>
                  <a:gd name="connsiteX1370" fmla="*/ 1142257 w 1472512"/>
                  <a:gd name="connsiteY1370" fmla="*/ 505040 h 734237"/>
                  <a:gd name="connsiteX1371" fmla="*/ 1143264 w 1472512"/>
                  <a:gd name="connsiteY1371" fmla="*/ 507353 h 734237"/>
                  <a:gd name="connsiteX1372" fmla="*/ 1142063 w 1472512"/>
                  <a:gd name="connsiteY1372" fmla="*/ 509104 h 734237"/>
                  <a:gd name="connsiteX1373" fmla="*/ 1139996 w 1472512"/>
                  <a:gd name="connsiteY1373" fmla="*/ 510444 h 734237"/>
                  <a:gd name="connsiteX1374" fmla="*/ 1137425 w 1472512"/>
                  <a:gd name="connsiteY1374" fmla="*/ 511320 h 734237"/>
                  <a:gd name="connsiteX1375" fmla="*/ 1135951 w 1472512"/>
                  <a:gd name="connsiteY1375" fmla="*/ 511212 h 734237"/>
                  <a:gd name="connsiteX1376" fmla="*/ 1134691 w 1472512"/>
                  <a:gd name="connsiteY1376" fmla="*/ 511677 h 734237"/>
                  <a:gd name="connsiteX1377" fmla="*/ 1133705 w 1472512"/>
                  <a:gd name="connsiteY1377" fmla="*/ 512790 h 734237"/>
                  <a:gd name="connsiteX1378" fmla="*/ 1131295 w 1472512"/>
                  <a:gd name="connsiteY1378" fmla="*/ 513829 h 734237"/>
                  <a:gd name="connsiteX1379" fmla="*/ 1128792 w 1472512"/>
                  <a:gd name="connsiteY1379" fmla="*/ 513245 h 734237"/>
                  <a:gd name="connsiteX1380" fmla="*/ 1125953 w 1472512"/>
                  <a:gd name="connsiteY1380" fmla="*/ 512894 h 734237"/>
                  <a:gd name="connsiteX1381" fmla="*/ 1124373 w 1472512"/>
                  <a:gd name="connsiteY1381" fmla="*/ 513516 h 734237"/>
                  <a:gd name="connsiteX1382" fmla="*/ 1127030 w 1472512"/>
                  <a:gd name="connsiteY1382" fmla="*/ 514548 h 734237"/>
                  <a:gd name="connsiteX1383" fmla="*/ 1128452 w 1472512"/>
                  <a:gd name="connsiteY1383" fmla="*/ 516042 h 734237"/>
                  <a:gd name="connsiteX1384" fmla="*/ 1128159 w 1472512"/>
                  <a:gd name="connsiteY1384" fmla="*/ 518054 h 734237"/>
                  <a:gd name="connsiteX1385" fmla="*/ 1127448 w 1472512"/>
                  <a:gd name="connsiteY1385" fmla="*/ 518830 h 734237"/>
                  <a:gd name="connsiteX1386" fmla="*/ 1125772 w 1472512"/>
                  <a:gd name="connsiteY1386" fmla="*/ 519883 h 734237"/>
                  <a:gd name="connsiteX1387" fmla="*/ 1125036 w 1472512"/>
                  <a:gd name="connsiteY1387" fmla="*/ 519726 h 734237"/>
                  <a:gd name="connsiteX1388" fmla="*/ 1124586 w 1472512"/>
                  <a:gd name="connsiteY1388" fmla="*/ 518777 h 734237"/>
                  <a:gd name="connsiteX1389" fmla="*/ 1124041 w 1472512"/>
                  <a:gd name="connsiteY1389" fmla="*/ 516802 h 734237"/>
                  <a:gd name="connsiteX1390" fmla="*/ 1123260 w 1472512"/>
                  <a:gd name="connsiteY1390" fmla="*/ 517224 h 734237"/>
                  <a:gd name="connsiteX1391" fmla="*/ 1123125 w 1472512"/>
                  <a:gd name="connsiteY1391" fmla="*/ 518144 h 734237"/>
                  <a:gd name="connsiteX1392" fmla="*/ 1122456 w 1472512"/>
                  <a:gd name="connsiteY1392" fmla="*/ 518471 h 734237"/>
                  <a:gd name="connsiteX1393" fmla="*/ 1120078 w 1472512"/>
                  <a:gd name="connsiteY1393" fmla="*/ 515324 h 734237"/>
                  <a:gd name="connsiteX1394" fmla="*/ 1120197 w 1472512"/>
                  <a:gd name="connsiteY1394" fmla="*/ 517725 h 734237"/>
                  <a:gd name="connsiteX1395" fmla="*/ 1121027 w 1472512"/>
                  <a:gd name="connsiteY1395" fmla="*/ 519570 h 734237"/>
                  <a:gd name="connsiteX1396" fmla="*/ 1121831 w 1472512"/>
                  <a:gd name="connsiteY1396" fmla="*/ 520504 h 734237"/>
                  <a:gd name="connsiteX1397" fmla="*/ 1122641 w 1472512"/>
                  <a:gd name="connsiteY1397" fmla="*/ 521056 h 734237"/>
                  <a:gd name="connsiteX1398" fmla="*/ 1122841 w 1472512"/>
                  <a:gd name="connsiteY1398" fmla="*/ 521911 h 734237"/>
                  <a:gd name="connsiteX1399" fmla="*/ 1121214 w 1472512"/>
                  <a:gd name="connsiteY1399" fmla="*/ 523992 h 734237"/>
                  <a:gd name="connsiteX1400" fmla="*/ 1120377 w 1472512"/>
                  <a:gd name="connsiteY1400" fmla="*/ 524455 h 734237"/>
                  <a:gd name="connsiteX1401" fmla="*/ 1118887 w 1472512"/>
                  <a:gd name="connsiteY1401" fmla="*/ 524793 h 734237"/>
                  <a:gd name="connsiteX1402" fmla="*/ 1118049 w 1472512"/>
                  <a:gd name="connsiteY1402" fmla="*/ 526075 h 734237"/>
                  <a:gd name="connsiteX1403" fmla="*/ 1118296 w 1472512"/>
                  <a:gd name="connsiteY1403" fmla="*/ 527180 h 734237"/>
                  <a:gd name="connsiteX1404" fmla="*/ 1116993 w 1472512"/>
                  <a:gd name="connsiteY1404" fmla="*/ 529574 h 734237"/>
                  <a:gd name="connsiteX1405" fmla="*/ 1113879 w 1472512"/>
                  <a:gd name="connsiteY1405" fmla="*/ 531069 h 734237"/>
                  <a:gd name="connsiteX1406" fmla="*/ 1112927 w 1472512"/>
                  <a:gd name="connsiteY1406" fmla="*/ 531012 h 734237"/>
                  <a:gd name="connsiteX1407" fmla="*/ 1112151 w 1472512"/>
                  <a:gd name="connsiteY1407" fmla="*/ 531449 h 734237"/>
                  <a:gd name="connsiteX1408" fmla="*/ 1112604 w 1472512"/>
                  <a:gd name="connsiteY1408" fmla="*/ 532515 h 734237"/>
                  <a:gd name="connsiteX1409" fmla="*/ 1113382 w 1472512"/>
                  <a:gd name="connsiteY1409" fmla="*/ 533290 h 734237"/>
                  <a:gd name="connsiteX1410" fmla="*/ 1113355 w 1472512"/>
                  <a:gd name="connsiteY1410" fmla="*/ 534010 h 734237"/>
                  <a:gd name="connsiteX1411" fmla="*/ 1112532 w 1472512"/>
                  <a:gd name="connsiteY1411" fmla="*/ 534988 h 734237"/>
                  <a:gd name="connsiteX1412" fmla="*/ 1110906 w 1472512"/>
                  <a:gd name="connsiteY1412" fmla="*/ 535261 h 734237"/>
                  <a:gd name="connsiteX1413" fmla="*/ 1109992 w 1472512"/>
                  <a:gd name="connsiteY1413" fmla="*/ 536376 h 734237"/>
                  <a:gd name="connsiteX1414" fmla="*/ 1110281 w 1472512"/>
                  <a:gd name="connsiteY1414" fmla="*/ 537427 h 734237"/>
                  <a:gd name="connsiteX1415" fmla="*/ 1110818 w 1472512"/>
                  <a:gd name="connsiteY1415" fmla="*/ 538015 h 734237"/>
                  <a:gd name="connsiteX1416" fmla="*/ 1110707 w 1472512"/>
                  <a:gd name="connsiteY1416" fmla="*/ 539025 h 734237"/>
                  <a:gd name="connsiteX1417" fmla="*/ 1108857 w 1472512"/>
                  <a:gd name="connsiteY1417" fmla="*/ 540042 h 734237"/>
                  <a:gd name="connsiteX1418" fmla="*/ 1108425 w 1472512"/>
                  <a:gd name="connsiteY1418" fmla="*/ 541039 h 734237"/>
                  <a:gd name="connsiteX1419" fmla="*/ 1109341 w 1472512"/>
                  <a:gd name="connsiteY1419" fmla="*/ 541334 h 734237"/>
                  <a:gd name="connsiteX1420" fmla="*/ 1110049 w 1472512"/>
                  <a:gd name="connsiteY1420" fmla="*/ 541039 h 734237"/>
                  <a:gd name="connsiteX1421" fmla="*/ 1110566 w 1472512"/>
                  <a:gd name="connsiteY1421" fmla="*/ 541254 h 734237"/>
                  <a:gd name="connsiteX1422" fmla="*/ 1109457 w 1472512"/>
                  <a:gd name="connsiteY1422" fmla="*/ 542922 h 734237"/>
                  <a:gd name="connsiteX1423" fmla="*/ 1108461 w 1472512"/>
                  <a:gd name="connsiteY1423" fmla="*/ 543940 h 734237"/>
                  <a:gd name="connsiteX1424" fmla="*/ 1107516 w 1472512"/>
                  <a:gd name="connsiteY1424" fmla="*/ 545767 h 734237"/>
                  <a:gd name="connsiteX1425" fmla="*/ 1105322 w 1472512"/>
                  <a:gd name="connsiteY1425" fmla="*/ 546272 h 734237"/>
                  <a:gd name="connsiteX1426" fmla="*/ 1105406 w 1472512"/>
                  <a:gd name="connsiteY1426" fmla="*/ 546862 h 734237"/>
                  <a:gd name="connsiteX1427" fmla="*/ 1106644 w 1472512"/>
                  <a:gd name="connsiteY1427" fmla="*/ 547383 h 734237"/>
                  <a:gd name="connsiteX1428" fmla="*/ 1107681 w 1472512"/>
                  <a:gd name="connsiteY1428" fmla="*/ 548788 h 734237"/>
                  <a:gd name="connsiteX1429" fmla="*/ 1105733 w 1472512"/>
                  <a:gd name="connsiteY1429" fmla="*/ 551377 h 734237"/>
                  <a:gd name="connsiteX1430" fmla="*/ 1104516 w 1472512"/>
                  <a:gd name="connsiteY1430" fmla="*/ 551165 h 734237"/>
                  <a:gd name="connsiteX1431" fmla="*/ 1103772 w 1472512"/>
                  <a:gd name="connsiteY1431" fmla="*/ 550595 h 734237"/>
                  <a:gd name="connsiteX1432" fmla="*/ 1103298 w 1472512"/>
                  <a:gd name="connsiteY1432" fmla="*/ 552639 h 734237"/>
                  <a:gd name="connsiteX1433" fmla="*/ 1103479 w 1472512"/>
                  <a:gd name="connsiteY1433" fmla="*/ 553728 h 734237"/>
                  <a:gd name="connsiteX1434" fmla="*/ 1103016 w 1472512"/>
                  <a:gd name="connsiteY1434" fmla="*/ 555956 h 734237"/>
                  <a:gd name="connsiteX1435" fmla="*/ 1102271 w 1472512"/>
                  <a:gd name="connsiteY1435" fmla="*/ 558633 h 734237"/>
                  <a:gd name="connsiteX1436" fmla="*/ 1101766 w 1472512"/>
                  <a:gd name="connsiteY1436" fmla="*/ 559732 h 734237"/>
                  <a:gd name="connsiteX1437" fmla="*/ 1101872 w 1472512"/>
                  <a:gd name="connsiteY1437" fmla="*/ 561777 h 734237"/>
                  <a:gd name="connsiteX1438" fmla="*/ 1102185 w 1472512"/>
                  <a:gd name="connsiteY1438" fmla="*/ 563751 h 734237"/>
                  <a:gd name="connsiteX1439" fmla="*/ 1103378 w 1472512"/>
                  <a:gd name="connsiteY1439" fmla="*/ 566293 h 734237"/>
                  <a:gd name="connsiteX1440" fmla="*/ 1105200 w 1472512"/>
                  <a:gd name="connsiteY1440" fmla="*/ 576678 h 734237"/>
                  <a:gd name="connsiteX1441" fmla="*/ 1106441 w 1472512"/>
                  <a:gd name="connsiteY1441" fmla="*/ 580278 h 734237"/>
                  <a:gd name="connsiteX1442" fmla="*/ 1108676 w 1472512"/>
                  <a:gd name="connsiteY1442" fmla="*/ 589977 h 734237"/>
                  <a:gd name="connsiteX1443" fmla="*/ 1112375 w 1472512"/>
                  <a:gd name="connsiteY1443" fmla="*/ 599360 h 734237"/>
                  <a:gd name="connsiteX1444" fmla="*/ 1117591 w 1472512"/>
                  <a:gd name="connsiteY1444" fmla="*/ 610677 h 734237"/>
                  <a:gd name="connsiteX1445" fmla="*/ 1126156 w 1472512"/>
                  <a:gd name="connsiteY1445" fmla="*/ 624357 h 734237"/>
                  <a:gd name="connsiteX1446" fmla="*/ 1127181 w 1472512"/>
                  <a:gd name="connsiteY1446" fmla="*/ 626302 h 734237"/>
                  <a:gd name="connsiteX1447" fmla="*/ 1126065 w 1472512"/>
                  <a:gd name="connsiteY1447" fmla="*/ 627952 h 734237"/>
                  <a:gd name="connsiteX1448" fmla="*/ 1125726 w 1472512"/>
                  <a:gd name="connsiteY1448" fmla="*/ 629661 h 734237"/>
                  <a:gd name="connsiteX1449" fmla="*/ 1125628 w 1472512"/>
                  <a:gd name="connsiteY1449" fmla="*/ 632234 h 734237"/>
                  <a:gd name="connsiteX1450" fmla="*/ 1125937 w 1472512"/>
                  <a:gd name="connsiteY1450" fmla="*/ 634741 h 734237"/>
                  <a:gd name="connsiteX1451" fmla="*/ 1126950 w 1472512"/>
                  <a:gd name="connsiteY1451" fmla="*/ 637800 h 734237"/>
                  <a:gd name="connsiteX1452" fmla="*/ 1128895 w 1472512"/>
                  <a:gd name="connsiteY1452" fmla="*/ 642473 h 734237"/>
                  <a:gd name="connsiteX1453" fmla="*/ 1127808 w 1472512"/>
                  <a:gd name="connsiteY1453" fmla="*/ 641541 h 734237"/>
                  <a:gd name="connsiteX1454" fmla="*/ 1124990 w 1472512"/>
                  <a:gd name="connsiteY1454" fmla="*/ 634832 h 734237"/>
                  <a:gd name="connsiteX1455" fmla="*/ 1124663 w 1472512"/>
                  <a:gd name="connsiteY1455" fmla="*/ 630886 h 734237"/>
                  <a:gd name="connsiteX1456" fmla="*/ 1125068 w 1472512"/>
                  <a:gd name="connsiteY1456" fmla="*/ 625283 h 734237"/>
                  <a:gd name="connsiteX1457" fmla="*/ 1124406 w 1472512"/>
                  <a:gd name="connsiteY1457" fmla="*/ 625420 h 734237"/>
                  <a:gd name="connsiteX1458" fmla="*/ 1123870 w 1472512"/>
                  <a:gd name="connsiteY1458" fmla="*/ 627240 h 734237"/>
                  <a:gd name="connsiteX1459" fmla="*/ 1123574 w 1472512"/>
                  <a:gd name="connsiteY1459" fmla="*/ 629378 h 734237"/>
                  <a:gd name="connsiteX1460" fmla="*/ 1122859 w 1472512"/>
                  <a:gd name="connsiteY1460" fmla="*/ 630205 h 734237"/>
                  <a:gd name="connsiteX1461" fmla="*/ 1121884 w 1472512"/>
                  <a:gd name="connsiteY1461" fmla="*/ 626945 h 734237"/>
                  <a:gd name="connsiteX1462" fmla="*/ 1121952 w 1472512"/>
                  <a:gd name="connsiteY1462" fmla="*/ 625469 h 734237"/>
                  <a:gd name="connsiteX1463" fmla="*/ 1122989 w 1472512"/>
                  <a:gd name="connsiteY1463" fmla="*/ 623745 h 734237"/>
                  <a:gd name="connsiteX1464" fmla="*/ 1122688 w 1472512"/>
                  <a:gd name="connsiteY1464" fmla="*/ 623124 h 734237"/>
                  <a:gd name="connsiteX1465" fmla="*/ 1121012 w 1472512"/>
                  <a:gd name="connsiteY1465" fmla="*/ 622241 h 734237"/>
                  <a:gd name="connsiteX1466" fmla="*/ 1120656 w 1472512"/>
                  <a:gd name="connsiteY1466" fmla="*/ 620853 h 734237"/>
                  <a:gd name="connsiteX1467" fmla="*/ 1120883 w 1472512"/>
                  <a:gd name="connsiteY1467" fmla="*/ 619480 h 734237"/>
                  <a:gd name="connsiteX1468" fmla="*/ 1119921 w 1472512"/>
                  <a:gd name="connsiteY1468" fmla="*/ 618747 h 734237"/>
                  <a:gd name="connsiteX1469" fmla="*/ 1119169 w 1472512"/>
                  <a:gd name="connsiteY1469" fmla="*/ 618781 h 734237"/>
                  <a:gd name="connsiteX1470" fmla="*/ 1119673 w 1472512"/>
                  <a:gd name="connsiteY1470" fmla="*/ 622165 h 734237"/>
                  <a:gd name="connsiteX1471" fmla="*/ 1120468 w 1472512"/>
                  <a:gd name="connsiteY1471" fmla="*/ 624239 h 734237"/>
                  <a:gd name="connsiteX1472" fmla="*/ 1121453 w 1472512"/>
                  <a:gd name="connsiteY1472" fmla="*/ 629210 h 734237"/>
                  <a:gd name="connsiteX1473" fmla="*/ 1123042 w 1472512"/>
                  <a:gd name="connsiteY1473" fmla="*/ 632218 h 734237"/>
                  <a:gd name="connsiteX1474" fmla="*/ 1123966 w 1472512"/>
                  <a:gd name="connsiteY1474" fmla="*/ 634739 h 734237"/>
                  <a:gd name="connsiteX1475" fmla="*/ 1134783 w 1472512"/>
                  <a:gd name="connsiteY1475" fmla="*/ 661564 h 734237"/>
                  <a:gd name="connsiteX1476" fmla="*/ 1137342 w 1472512"/>
                  <a:gd name="connsiteY1476" fmla="*/ 664969 h 734237"/>
                  <a:gd name="connsiteX1477" fmla="*/ 1138289 w 1472512"/>
                  <a:gd name="connsiteY1477" fmla="*/ 667413 h 734237"/>
                  <a:gd name="connsiteX1478" fmla="*/ 1139275 w 1472512"/>
                  <a:gd name="connsiteY1478" fmla="*/ 672521 h 734237"/>
                  <a:gd name="connsiteX1479" fmla="*/ 1139497 w 1472512"/>
                  <a:gd name="connsiteY1479" fmla="*/ 679070 h 734237"/>
                  <a:gd name="connsiteX1480" fmla="*/ 1137730 w 1472512"/>
                  <a:gd name="connsiteY1480" fmla="*/ 691017 h 734237"/>
                  <a:gd name="connsiteX1481" fmla="*/ 1137327 w 1472512"/>
                  <a:gd name="connsiteY1481" fmla="*/ 699150 h 734237"/>
                  <a:gd name="connsiteX1482" fmla="*/ 1137074 w 1472512"/>
                  <a:gd name="connsiteY1482" fmla="*/ 698903 h 734237"/>
                  <a:gd name="connsiteX1483" fmla="*/ 1136905 w 1472512"/>
                  <a:gd name="connsiteY1483" fmla="*/ 698047 h 734237"/>
                  <a:gd name="connsiteX1484" fmla="*/ 1136497 w 1472512"/>
                  <a:gd name="connsiteY1484" fmla="*/ 697929 h 734237"/>
                  <a:gd name="connsiteX1485" fmla="*/ 1134963 w 1472512"/>
                  <a:gd name="connsiteY1485" fmla="*/ 701651 h 734237"/>
                  <a:gd name="connsiteX1486" fmla="*/ 1132876 w 1472512"/>
                  <a:gd name="connsiteY1486" fmla="*/ 705007 h 734237"/>
                  <a:gd name="connsiteX1487" fmla="*/ 1132190 w 1472512"/>
                  <a:gd name="connsiteY1487" fmla="*/ 710220 h 734237"/>
                  <a:gd name="connsiteX1488" fmla="*/ 1131190 w 1472512"/>
                  <a:gd name="connsiteY1488" fmla="*/ 712827 h 734237"/>
                  <a:gd name="connsiteX1489" fmla="*/ 1128187 w 1472512"/>
                  <a:gd name="connsiteY1489" fmla="*/ 715583 h 734237"/>
                  <a:gd name="connsiteX1490" fmla="*/ 1126326 w 1472512"/>
                  <a:gd name="connsiteY1490" fmla="*/ 715513 h 734237"/>
                  <a:gd name="connsiteX1491" fmla="*/ 1121762 w 1472512"/>
                  <a:gd name="connsiteY1491" fmla="*/ 717580 h 734237"/>
                  <a:gd name="connsiteX1492" fmla="*/ 1118556 w 1472512"/>
                  <a:gd name="connsiteY1492" fmla="*/ 717042 h 734237"/>
                  <a:gd name="connsiteX1493" fmla="*/ 1114735 w 1472512"/>
                  <a:gd name="connsiteY1493" fmla="*/ 718208 h 734237"/>
                  <a:gd name="connsiteX1494" fmla="*/ 1112223 w 1472512"/>
                  <a:gd name="connsiteY1494" fmla="*/ 718077 h 734237"/>
                  <a:gd name="connsiteX1495" fmla="*/ 1110771 w 1472512"/>
                  <a:gd name="connsiteY1495" fmla="*/ 715619 h 734237"/>
                  <a:gd name="connsiteX1496" fmla="*/ 1110992 w 1472512"/>
                  <a:gd name="connsiteY1496" fmla="*/ 714520 h 734237"/>
                  <a:gd name="connsiteX1497" fmla="*/ 1111571 w 1472512"/>
                  <a:gd name="connsiteY1497" fmla="*/ 713413 h 734237"/>
                  <a:gd name="connsiteX1498" fmla="*/ 1112550 w 1472512"/>
                  <a:gd name="connsiteY1498" fmla="*/ 713157 h 734237"/>
                  <a:gd name="connsiteX1499" fmla="*/ 1115924 w 1472512"/>
                  <a:gd name="connsiteY1499" fmla="*/ 715733 h 734237"/>
                  <a:gd name="connsiteX1500" fmla="*/ 1116560 w 1472512"/>
                  <a:gd name="connsiteY1500" fmla="*/ 714648 h 734237"/>
                  <a:gd name="connsiteX1501" fmla="*/ 1115542 w 1472512"/>
                  <a:gd name="connsiteY1501" fmla="*/ 713359 h 734237"/>
                  <a:gd name="connsiteX1502" fmla="*/ 1113591 w 1472512"/>
                  <a:gd name="connsiteY1502" fmla="*/ 712639 h 734237"/>
                  <a:gd name="connsiteX1503" fmla="*/ 1112149 w 1472512"/>
                  <a:gd name="connsiteY1503" fmla="*/ 711848 h 734237"/>
                  <a:gd name="connsiteX1504" fmla="*/ 1109246 w 1472512"/>
                  <a:gd name="connsiteY1504" fmla="*/ 705965 h 734237"/>
                  <a:gd name="connsiteX1505" fmla="*/ 1106239 w 1472512"/>
                  <a:gd name="connsiteY1505" fmla="*/ 701922 h 734237"/>
                  <a:gd name="connsiteX1506" fmla="*/ 1105731 w 1472512"/>
                  <a:gd name="connsiteY1506" fmla="*/ 699218 h 734237"/>
                  <a:gd name="connsiteX1507" fmla="*/ 1100545 w 1472512"/>
                  <a:gd name="connsiteY1507" fmla="*/ 697568 h 734237"/>
                  <a:gd name="connsiteX1508" fmla="*/ 1096789 w 1472512"/>
                  <a:gd name="connsiteY1508" fmla="*/ 695069 h 734237"/>
                  <a:gd name="connsiteX1509" fmla="*/ 1094340 w 1472512"/>
                  <a:gd name="connsiteY1509" fmla="*/ 690622 h 734237"/>
                  <a:gd name="connsiteX1510" fmla="*/ 1092936 w 1472512"/>
                  <a:gd name="connsiteY1510" fmla="*/ 682724 h 734237"/>
                  <a:gd name="connsiteX1511" fmla="*/ 1091279 w 1472512"/>
                  <a:gd name="connsiteY1511" fmla="*/ 681836 h 734237"/>
                  <a:gd name="connsiteX1512" fmla="*/ 1090578 w 1472512"/>
                  <a:gd name="connsiteY1512" fmla="*/ 681221 h 734237"/>
                  <a:gd name="connsiteX1513" fmla="*/ 1092197 w 1472512"/>
                  <a:gd name="connsiteY1513" fmla="*/ 678288 h 734237"/>
                  <a:gd name="connsiteX1514" fmla="*/ 1093902 w 1472512"/>
                  <a:gd name="connsiteY1514" fmla="*/ 675826 h 734237"/>
                  <a:gd name="connsiteX1515" fmla="*/ 1092552 w 1472512"/>
                  <a:gd name="connsiteY1515" fmla="*/ 676438 h 734237"/>
                  <a:gd name="connsiteX1516" fmla="*/ 1091556 w 1472512"/>
                  <a:gd name="connsiteY1516" fmla="*/ 677349 h 734237"/>
                  <a:gd name="connsiteX1517" fmla="*/ 1090293 w 1472512"/>
                  <a:gd name="connsiteY1517" fmla="*/ 679522 h 734237"/>
                  <a:gd name="connsiteX1518" fmla="*/ 1089368 w 1472512"/>
                  <a:gd name="connsiteY1518" fmla="*/ 679857 h 734237"/>
                  <a:gd name="connsiteX1519" fmla="*/ 1088520 w 1472512"/>
                  <a:gd name="connsiteY1519" fmla="*/ 679522 h 734237"/>
                  <a:gd name="connsiteX1520" fmla="*/ 1087544 w 1472512"/>
                  <a:gd name="connsiteY1520" fmla="*/ 675353 h 734237"/>
                  <a:gd name="connsiteX1521" fmla="*/ 1087824 w 1472512"/>
                  <a:gd name="connsiteY1521" fmla="*/ 670222 h 734237"/>
                  <a:gd name="connsiteX1522" fmla="*/ 1089192 w 1472512"/>
                  <a:gd name="connsiteY1522" fmla="*/ 668301 h 734237"/>
                  <a:gd name="connsiteX1523" fmla="*/ 1087089 w 1472512"/>
                  <a:gd name="connsiteY1523" fmla="*/ 668251 h 734237"/>
                  <a:gd name="connsiteX1524" fmla="*/ 1084910 w 1472512"/>
                  <a:gd name="connsiteY1524" fmla="*/ 668982 h 734237"/>
                  <a:gd name="connsiteX1525" fmla="*/ 1085230 w 1472512"/>
                  <a:gd name="connsiteY1525" fmla="*/ 670693 h 734237"/>
                  <a:gd name="connsiteX1526" fmla="*/ 1084922 w 1472512"/>
                  <a:gd name="connsiteY1526" fmla="*/ 671633 h 734237"/>
                  <a:gd name="connsiteX1527" fmla="*/ 1083335 w 1472512"/>
                  <a:gd name="connsiteY1527" fmla="*/ 671392 h 734237"/>
                  <a:gd name="connsiteX1528" fmla="*/ 1082133 w 1472512"/>
                  <a:gd name="connsiteY1528" fmla="*/ 670791 h 734237"/>
                  <a:gd name="connsiteX1529" fmla="*/ 1080499 w 1472512"/>
                  <a:gd name="connsiteY1529" fmla="*/ 669010 h 734237"/>
                  <a:gd name="connsiteX1530" fmla="*/ 1078272 w 1472512"/>
                  <a:gd name="connsiteY1530" fmla="*/ 665610 h 734237"/>
                  <a:gd name="connsiteX1531" fmla="*/ 1073703 w 1472512"/>
                  <a:gd name="connsiteY1531" fmla="*/ 656231 h 734237"/>
                  <a:gd name="connsiteX1532" fmla="*/ 1072812 w 1472512"/>
                  <a:gd name="connsiteY1532" fmla="*/ 654908 h 734237"/>
                  <a:gd name="connsiteX1533" fmla="*/ 1071302 w 1472512"/>
                  <a:gd name="connsiteY1533" fmla="*/ 653520 h 734237"/>
                  <a:gd name="connsiteX1534" fmla="*/ 1072013 w 1472512"/>
                  <a:gd name="connsiteY1534" fmla="*/ 653089 h 734237"/>
                  <a:gd name="connsiteX1535" fmla="*/ 1073310 w 1472512"/>
                  <a:gd name="connsiteY1535" fmla="*/ 652834 h 734237"/>
                  <a:gd name="connsiteX1536" fmla="*/ 1076244 w 1472512"/>
                  <a:gd name="connsiteY1536" fmla="*/ 648603 h 734237"/>
                  <a:gd name="connsiteX1537" fmla="*/ 1078548 w 1472512"/>
                  <a:gd name="connsiteY1537" fmla="*/ 646043 h 734237"/>
                  <a:gd name="connsiteX1538" fmla="*/ 1079313 w 1472512"/>
                  <a:gd name="connsiteY1538" fmla="*/ 644273 h 734237"/>
                  <a:gd name="connsiteX1539" fmla="*/ 1079180 w 1472512"/>
                  <a:gd name="connsiteY1539" fmla="*/ 643515 h 734237"/>
                  <a:gd name="connsiteX1540" fmla="*/ 1078161 w 1472512"/>
                  <a:gd name="connsiteY1540" fmla="*/ 642415 h 734237"/>
                  <a:gd name="connsiteX1541" fmla="*/ 1076824 w 1472512"/>
                  <a:gd name="connsiteY1541" fmla="*/ 643376 h 734237"/>
                  <a:gd name="connsiteX1542" fmla="*/ 1076250 w 1472512"/>
                  <a:gd name="connsiteY1542" fmla="*/ 643102 h 734237"/>
                  <a:gd name="connsiteX1543" fmla="*/ 1074745 w 1472512"/>
                  <a:gd name="connsiteY1543" fmla="*/ 640880 h 734237"/>
                  <a:gd name="connsiteX1544" fmla="*/ 1073308 w 1472512"/>
                  <a:gd name="connsiteY1544" fmla="*/ 640252 h 734237"/>
                  <a:gd name="connsiteX1545" fmla="*/ 1072306 w 1472512"/>
                  <a:gd name="connsiteY1545" fmla="*/ 640733 h 734237"/>
                  <a:gd name="connsiteX1546" fmla="*/ 1073364 w 1472512"/>
                  <a:gd name="connsiteY1546" fmla="*/ 642554 h 734237"/>
                  <a:gd name="connsiteX1547" fmla="*/ 1074311 w 1472512"/>
                  <a:gd name="connsiteY1547" fmla="*/ 643230 h 734237"/>
                  <a:gd name="connsiteX1548" fmla="*/ 1073945 w 1472512"/>
                  <a:gd name="connsiteY1548" fmla="*/ 645875 h 734237"/>
                  <a:gd name="connsiteX1549" fmla="*/ 1073561 w 1472512"/>
                  <a:gd name="connsiteY1549" fmla="*/ 646738 h 734237"/>
                  <a:gd name="connsiteX1550" fmla="*/ 1072672 w 1472512"/>
                  <a:gd name="connsiteY1550" fmla="*/ 647497 h 734237"/>
                  <a:gd name="connsiteX1551" fmla="*/ 1071282 w 1472512"/>
                  <a:gd name="connsiteY1551" fmla="*/ 647093 h 734237"/>
                  <a:gd name="connsiteX1552" fmla="*/ 1070580 w 1472512"/>
                  <a:gd name="connsiteY1552" fmla="*/ 647746 h 734237"/>
                  <a:gd name="connsiteX1553" fmla="*/ 1069752 w 1472512"/>
                  <a:gd name="connsiteY1553" fmla="*/ 647056 h 734237"/>
                  <a:gd name="connsiteX1554" fmla="*/ 1068930 w 1472512"/>
                  <a:gd name="connsiteY1554" fmla="*/ 645895 h 734237"/>
                  <a:gd name="connsiteX1555" fmla="*/ 1068013 w 1472512"/>
                  <a:gd name="connsiteY1555" fmla="*/ 643981 h 734237"/>
                  <a:gd name="connsiteX1556" fmla="*/ 1070435 w 1472512"/>
                  <a:gd name="connsiteY1556" fmla="*/ 633194 h 734237"/>
                  <a:gd name="connsiteX1557" fmla="*/ 1072679 w 1472512"/>
                  <a:gd name="connsiteY1557" fmla="*/ 626310 h 734237"/>
                  <a:gd name="connsiteX1558" fmla="*/ 1072934 w 1472512"/>
                  <a:gd name="connsiteY1558" fmla="*/ 618442 h 734237"/>
                  <a:gd name="connsiteX1559" fmla="*/ 1073101 w 1472512"/>
                  <a:gd name="connsiteY1559" fmla="*/ 617276 h 734237"/>
                  <a:gd name="connsiteX1560" fmla="*/ 1072912 w 1472512"/>
                  <a:gd name="connsiteY1560" fmla="*/ 615183 h 734237"/>
                  <a:gd name="connsiteX1561" fmla="*/ 1069905 w 1472512"/>
                  <a:gd name="connsiteY1561" fmla="*/ 610630 h 734237"/>
                  <a:gd name="connsiteX1562" fmla="*/ 1056611 w 1472512"/>
                  <a:gd name="connsiteY1562" fmla="*/ 599501 h 734237"/>
                  <a:gd name="connsiteX1563" fmla="*/ 1046308 w 1472512"/>
                  <a:gd name="connsiteY1563" fmla="*/ 586289 h 734237"/>
                  <a:gd name="connsiteX1564" fmla="*/ 1037383 w 1472512"/>
                  <a:gd name="connsiteY1564" fmla="*/ 581324 h 734237"/>
                  <a:gd name="connsiteX1565" fmla="*/ 1030611 w 1472512"/>
                  <a:gd name="connsiteY1565" fmla="*/ 582414 h 734237"/>
                  <a:gd name="connsiteX1566" fmla="*/ 1029439 w 1472512"/>
                  <a:gd name="connsiteY1566" fmla="*/ 583412 h 734237"/>
                  <a:gd name="connsiteX1567" fmla="*/ 1028936 w 1472512"/>
                  <a:gd name="connsiteY1567" fmla="*/ 584717 h 734237"/>
                  <a:gd name="connsiteX1568" fmla="*/ 1029361 w 1472512"/>
                  <a:gd name="connsiteY1568" fmla="*/ 586194 h 734237"/>
                  <a:gd name="connsiteX1569" fmla="*/ 1028745 w 1472512"/>
                  <a:gd name="connsiteY1569" fmla="*/ 586808 h 734237"/>
                  <a:gd name="connsiteX1570" fmla="*/ 1026928 w 1472512"/>
                  <a:gd name="connsiteY1570" fmla="*/ 586730 h 734237"/>
                  <a:gd name="connsiteX1571" fmla="*/ 1024480 w 1472512"/>
                  <a:gd name="connsiteY1571" fmla="*/ 587074 h 734237"/>
                  <a:gd name="connsiteX1572" fmla="*/ 1018089 w 1472512"/>
                  <a:gd name="connsiteY1572" fmla="*/ 590556 h 734237"/>
                  <a:gd name="connsiteX1573" fmla="*/ 1015834 w 1472512"/>
                  <a:gd name="connsiteY1573" fmla="*/ 590427 h 734237"/>
                  <a:gd name="connsiteX1574" fmla="*/ 1013787 w 1472512"/>
                  <a:gd name="connsiteY1574" fmla="*/ 591329 h 734237"/>
                  <a:gd name="connsiteX1575" fmla="*/ 1012254 w 1472512"/>
                  <a:gd name="connsiteY1575" fmla="*/ 592004 h 734237"/>
                  <a:gd name="connsiteX1576" fmla="*/ 1008255 w 1472512"/>
                  <a:gd name="connsiteY1576" fmla="*/ 592372 h 734237"/>
                  <a:gd name="connsiteX1577" fmla="*/ 1004864 w 1472512"/>
                  <a:gd name="connsiteY1577" fmla="*/ 593144 h 734237"/>
                  <a:gd name="connsiteX1578" fmla="*/ 1003399 w 1472512"/>
                  <a:gd name="connsiteY1578" fmla="*/ 592726 h 734237"/>
                  <a:gd name="connsiteX1579" fmla="*/ 1002444 w 1472512"/>
                  <a:gd name="connsiteY1579" fmla="*/ 590708 h 734237"/>
                  <a:gd name="connsiteX1580" fmla="*/ 1002444 w 1472512"/>
                  <a:gd name="connsiteY1580" fmla="*/ 588619 h 734237"/>
                  <a:gd name="connsiteX1581" fmla="*/ 1003219 w 1472512"/>
                  <a:gd name="connsiteY1581" fmla="*/ 590220 h 734237"/>
                  <a:gd name="connsiteX1582" fmla="*/ 1004418 w 1472512"/>
                  <a:gd name="connsiteY1582" fmla="*/ 591473 h 734237"/>
                  <a:gd name="connsiteX1583" fmla="*/ 1004968 w 1472512"/>
                  <a:gd name="connsiteY1583" fmla="*/ 590973 h 734237"/>
                  <a:gd name="connsiteX1584" fmla="*/ 1005174 w 1472512"/>
                  <a:gd name="connsiteY1584" fmla="*/ 589864 h 734237"/>
                  <a:gd name="connsiteX1585" fmla="*/ 1003980 w 1472512"/>
                  <a:gd name="connsiteY1585" fmla="*/ 587691 h 734237"/>
                  <a:gd name="connsiteX1586" fmla="*/ 1000136 w 1472512"/>
                  <a:gd name="connsiteY1586" fmla="*/ 584898 h 734237"/>
                  <a:gd name="connsiteX1587" fmla="*/ 995762 w 1472512"/>
                  <a:gd name="connsiteY1587" fmla="*/ 580817 h 734237"/>
                  <a:gd name="connsiteX1588" fmla="*/ 997095 w 1472512"/>
                  <a:gd name="connsiteY1588" fmla="*/ 580951 h 734237"/>
                  <a:gd name="connsiteX1589" fmla="*/ 997433 w 1472512"/>
                  <a:gd name="connsiteY1589" fmla="*/ 580077 h 734237"/>
                  <a:gd name="connsiteX1590" fmla="*/ 996077 w 1472512"/>
                  <a:gd name="connsiteY1590" fmla="*/ 578929 h 734237"/>
                  <a:gd name="connsiteX1591" fmla="*/ 996649 w 1472512"/>
                  <a:gd name="connsiteY1591" fmla="*/ 577602 h 734237"/>
                  <a:gd name="connsiteX1592" fmla="*/ 997606 w 1472512"/>
                  <a:gd name="connsiteY1592" fmla="*/ 576208 h 734237"/>
                  <a:gd name="connsiteX1593" fmla="*/ 995759 w 1472512"/>
                  <a:gd name="connsiteY1593" fmla="*/ 576417 h 734237"/>
                  <a:gd name="connsiteX1594" fmla="*/ 994103 w 1472512"/>
                  <a:gd name="connsiteY1594" fmla="*/ 577393 h 734237"/>
                  <a:gd name="connsiteX1595" fmla="*/ 994048 w 1472512"/>
                  <a:gd name="connsiteY1595" fmla="*/ 578599 h 734237"/>
                  <a:gd name="connsiteX1596" fmla="*/ 993720 w 1472512"/>
                  <a:gd name="connsiteY1596" fmla="*/ 579557 h 734237"/>
                  <a:gd name="connsiteX1597" fmla="*/ 992829 w 1472512"/>
                  <a:gd name="connsiteY1597" fmla="*/ 579418 h 734237"/>
                  <a:gd name="connsiteX1598" fmla="*/ 991173 w 1472512"/>
                  <a:gd name="connsiteY1598" fmla="*/ 578231 h 734237"/>
                  <a:gd name="connsiteX1599" fmla="*/ 983022 w 1472512"/>
                  <a:gd name="connsiteY1599" fmla="*/ 574927 h 734237"/>
                  <a:gd name="connsiteX1600" fmla="*/ 975898 w 1472512"/>
                  <a:gd name="connsiteY1600" fmla="*/ 573063 h 734237"/>
                  <a:gd name="connsiteX1601" fmla="*/ 981367 w 1472512"/>
                  <a:gd name="connsiteY1601" fmla="*/ 572224 h 734237"/>
                  <a:gd name="connsiteX1602" fmla="*/ 984332 w 1472512"/>
                  <a:gd name="connsiteY1602" fmla="*/ 572876 h 734237"/>
                  <a:gd name="connsiteX1603" fmla="*/ 983978 w 1472512"/>
                  <a:gd name="connsiteY1603" fmla="*/ 571876 h 734237"/>
                  <a:gd name="connsiteX1604" fmla="*/ 983264 w 1472512"/>
                  <a:gd name="connsiteY1604" fmla="*/ 571239 h 734237"/>
                  <a:gd name="connsiteX1605" fmla="*/ 980925 w 1472512"/>
                  <a:gd name="connsiteY1605" fmla="*/ 570434 h 734237"/>
                  <a:gd name="connsiteX1606" fmla="*/ 977946 w 1472512"/>
                  <a:gd name="connsiteY1606" fmla="*/ 570741 h 734237"/>
                  <a:gd name="connsiteX1607" fmla="*/ 976063 w 1472512"/>
                  <a:gd name="connsiteY1607" fmla="*/ 570363 h 734237"/>
                  <a:gd name="connsiteX1608" fmla="*/ 974139 w 1472512"/>
                  <a:gd name="connsiteY1608" fmla="*/ 571160 h 734237"/>
                  <a:gd name="connsiteX1609" fmla="*/ 972030 w 1472512"/>
                  <a:gd name="connsiteY1609" fmla="*/ 572348 h 734237"/>
                  <a:gd name="connsiteX1610" fmla="*/ 970153 w 1472512"/>
                  <a:gd name="connsiteY1610" fmla="*/ 572958 h 734237"/>
                  <a:gd name="connsiteX1611" fmla="*/ 962806 w 1472512"/>
                  <a:gd name="connsiteY1611" fmla="*/ 573812 h 734237"/>
                  <a:gd name="connsiteX1612" fmla="*/ 956849 w 1472512"/>
                  <a:gd name="connsiteY1612" fmla="*/ 574739 h 734237"/>
                  <a:gd name="connsiteX1613" fmla="*/ 957804 w 1472512"/>
                  <a:gd name="connsiteY1613" fmla="*/ 573761 h 734237"/>
                  <a:gd name="connsiteX1614" fmla="*/ 958823 w 1472512"/>
                  <a:gd name="connsiteY1614" fmla="*/ 573132 h 734237"/>
                  <a:gd name="connsiteX1615" fmla="*/ 962344 w 1472512"/>
                  <a:gd name="connsiteY1615" fmla="*/ 572175 h 734237"/>
                  <a:gd name="connsiteX1616" fmla="*/ 962870 w 1472512"/>
                  <a:gd name="connsiteY1616" fmla="*/ 570186 h 734237"/>
                  <a:gd name="connsiteX1617" fmla="*/ 962042 w 1472512"/>
                  <a:gd name="connsiteY1617" fmla="*/ 568268 h 734237"/>
                  <a:gd name="connsiteX1618" fmla="*/ 961117 w 1472512"/>
                  <a:gd name="connsiteY1618" fmla="*/ 568729 h 734237"/>
                  <a:gd name="connsiteX1619" fmla="*/ 960144 w 1472512"/>
                  <a:gd name="connsiteY1619" fmla="*/ 570226 h 734237"/>
                  <a:gd name="connsiteX1620" fmla="*/ 958951 w 1472512"/>
                  <a:gd name="connsiteY1620" fmla="*/ 569147 h 734237"/>
                  <a:gd name="connsiteX1621" fmla="*/ 957629 w 1472512"/>
                  <a:gd name="connsiteY1621" fmla="*/ 569152 h 734237"/>
                  <a:gd name="connsiteX1622" fmla="*/ 957270 w 1472512"/>
                  <a:gd name="connsiteY1622" fmla="*/ 571536 h 734237"/>
                  <a:gd name="connsiteX1623" fmla="*/ 955575 w 1472512"/>
                  <a:gd name="connsiteY1623" fmla="*/ 573132 h 734237"/>
                  <a:gd name="connsiteX1624" fmla="*/ 954812 w 1472512"/>
                  <a:gd name="connsiteY1624" fmla="*/ 574739 h 734237"/>
                  <a:gd name="connsiteX1625" fmla="*/ 949844 w 1472512"/>
                  <a:gd name="connsiteY1625" fmla="*/ 575998 h 734237"/>
                  <a:gd name="connsiteX1626" fmla="*/ 949207 w 1472512"/>
                  <a:gd name="connsiteY1626" fmla="*/ 575578 h 734237"/>
                  <a:gd name="connsiteX1627" fmla="*/ 950661 w 1472512"/>
                  <a:gd name="connsiteY1627" fmla="*/ 574052 h 734237"/>
                  <a:gd name="connsiteX1628" fmla="*/ 950545 w 1472512"/>
                  <a:gd name="connsiteY1628" fmla="*/ 573203 h 734237"/>
                  <a:gd name="connsiteX1629" fmla="*/ 948887 w 1472512"/>
                  <a:gd name="connsiteY1629" fmla="*/ 573932 h 734237"/>
                  <a:gd name="connsiteX1630" fmla="*/ 946107 w 1472512"/>
                  <a:gd name="connsiteY1630" fmla="*/ 576824 h 734237"/>
                  <a:gd name="connsiteX1631" fmla="*/ 936318 w 1472512"/>
                  <a:gd name="connsiteY1631" fmla="*/ 577770 h 734237"/>
                  <a:gd name="connsiteX1632" fmla="*/ 936854 w 1472512"/>
                  <a:gd name="connsiteY1632" fmla="*/ 577113 h 734237"/>
                  <a:gd name="connsiteX1633" fmla="*/ 938920 w 1472512"/>
                  <a:gd name="connsiteY1633" fmla="*/ 576981 h 734237"/>
                  <a:gd name="connsiteX1634" fmla="*/ 941821 w 1472512"/>
                  <a:gd name="connsiteY1634" fmla="*/ 576067 h 734237"/>
                  <a:gd name="connsiteX1635" fmla="*/ 941234 w 1472512"/>
                  <a:gd name="connsiteY1635" fmla="*/ 574526 h 734237"/>
                  <a:gd name="connsiteX1636" fmla="*/ 940115 w 1472512"/>
                  <a:gd name="connsiteY1636" fmla="*/ 572831 h 734237"/>
                  <a:gd name="connsiteX1637" fmla="*/ 939082 w 1472512"/>
                  <a:gd name="connsiteY1637" fmla="*/ 572643 h 734237"/>
                  <a:gd name="connsiteX1638" fmla="*/ 938402 w 1472512"/>
                  <a:gd name="connsiteY1638" fmla="*/ 571648 h 734237"/>
                  <a:gd name="connsiteX1639" fmla="*/ 938435 w 1472512"/>
                  <a:gd name="connsiteY1639" fmla="*/ 568515 h 734237"/>
                  <a:gd name="connsiteX1640" fmla="*/ 937775 w 1472512"/>
                  <a:gd name="connsiteY1640" fmla="*/ 566682 h 734237"/>
                  <a:gd name="connsiteX1641" fmla="*/ 936182 w 1472512"/>
                  <a:gd name="connsiteY1641" fmla="*/ 564796 h 734237"/>
                  <a:gd name="connsiteX1642" fmla="*/ 935643 w 1472512"/>
                  <a:gd name="connsiteY1642" fmla="*/ 565158 h 734237"/>
                  <a:gd name="connsiteX1643" fmla="*/ 934471 w 1472512"/>
                  <a:gd name="connsiteY1643" fmla="*/ 568384 h 734237"/>
                  <a:gd name="connsiteX1644" fmla="*/ 933497 w 1472512"/>
                  <a:gd name="connsiteY1644" fmla="*/ 572609 h 734237"/>
                  <a:gd name="connsiteX1645" fmla="*/ 933016 w 1472512"/>
                  <a:gd name="connsiteY1645" fmla="*/ 573974 h 734237"/>
                  <a:gd name="connsiteX1646" fmla="*/ 930114 w 1472512"/>
                  <a:gd name="connsiteY1646" fmla="*/ 574069 h 734237"/>
                  <a:gd name="connsiteX1647" fmla="*/ 927545 w 1472512"/>
                  <a:gd name="connsiteY1647" fmla="*/ 573780 h 734237"/>
                  <a:gd name="connsiteX1648" fmla="*/ 918816 w 1472512"/>
                  <a:gd name="connsiteY1648" fmla="*/ 574288 h 734237"/>
                  <a:gd name="connsiteX1649" fmla="*/ 915554 w 1472512"/>
                  <a:gd name="connsiteY1649" fmla="*/ 572858 h 734237"/>
                  <a:gd name="connsiteX1650" fmla="*/ 914202 w 1472512"/>
                  <a:gd name="connsiteY1650" fmla="*/ 572582 h 734237"/>
                  <a:gd name="connsiteX1651" fmla="*/ 913378 w 1472512"/>
                  <a:gd name="connsiteY1651" fmla="*/ 572615 h 734237"/>
                  <a:gd name="connsiteX1652" fmla="*/ 909582 w 1472512"/>
                  <a:gd name="connsiteY1652" fmla="*/ 573927 h 734237"/>
                  <a:gd name="connsiteX1653" fmla="*/ 905255 w 1472512"/>
                  <a:gd name="connsiteY1653" fmla="*/ 574932 h 734237"/>
                  <a:gd name="connsiteX1654" fmla="*/ 904237 w 1472512"/>
                  <a:gd name="connsiteY1654" fmla="*/ 574616 h 734237"/>
                  <a:gd name="connsiteX1655" fmla="*/ 902784 w 1472512"/>
                  <a:gd name="connsiteY1655" fmla="*/ 574570 h 734237"/>
                  <a:gd name="connsiteX1656" fmla="*/ 899647 w 1472512"/>
                  <a:gd name="connsiteY1656" fmla="*/ 577987 h 734237"/>
                  <a:gd name="connsiteX1657" fmla="*/ 895949 w 1472512"/>
                  <a:gd name="connsiteY1657" fmla="*/ 579586 h 734237"/>
                  <a:gd name="connsiteX1658" fmla="*/ 886618 w 1472512"/>
                  <a:gd name="connsiteY1658" fmla="*/ 576712 h 734237"/>
                  <a:gd name="connsiteX1659" fmla="*/ 884297 w 1472512"/>
                  <a:gd name="connsiteY1659" fmla="*/ 574399 h 734237"/>
                  <a:gd name="connsiteX1660" fmla="*/ 882237 w 1472512"/>
                  <a:gd name="connsiteY1660" fmla="*/ 573904 h 734237"/>
                  <a:gd name="connsiteX1661" fmla="*/ 879704 w 1472512"/>
                  <a:gd name="connsiteY1661" fmla="*/ 573618 h 734237"/>
                  <a:gd name="connsiteX1662" fmla="*/ 876982 w 1472512"/>
                  <a:gd name="connsiteY1662" fmla="*/ 576464 h 734237"/>
                  <a:gd name="connsiteX1663" fmla="*/ 874915 w 1472512"/>
                  <a:gd name="connsiteY1663" fmla="*/ 580302 h 734237"/>
                  <a:gd name="connsiteX1664" fmla="*/ 878181 w 1472512"/>
                  <a:gd name="connsiteY1664" fmla="*/ 582405 h 734237"/>
                  <a:gd name="connsiteX1665" fmla="*/ 880978 w 1472512"/>
                  <a:gd name="connsiteY1665" fmla="*/ 583410 h 734237"/>
                  <a:gd name="connsiteX1666" fmla="*/ 885600 w 1472512"/>
                  <a:gd name="connsiteY1666" fmla="*/ 582567 h 734237"/>
                  <a:gd name="connsiteX1667" fmla="*/ 888153 w 1472512"/>
                  <a:gd name="connsiteY1667" fmla="*/ 580706 h 734237"/>
                  <a:gd name="connsiteX1668" fmla="*/ 890241 w 1472512"/>
                  <a:gd name="connsiteY1668" fmla="*/ 580767 h 734237"/>
                  <a:gd name="connsiteX1669" fmla="*/ 891238 w 1472512"/>
                  <a:gd name="connsiteY1669" fmla="*/ 580390 h 734237"/>
                  <a:gd name="connsiteX1670" fmla="*/ 892147 w 1472512"/>
                  <a:gd name="connsiteY1670" fmla="*/ 579418 h 734237"/>
                  <a:gd name="connsiteX1671" fmla="*/ 893932 w 1472512"/>
                  <a:gd name="connsiteY1671" fmla="*/ 580185 h 734237"/>
                  <a:gd name="connsiteX1672" fmla="*/ 893996 w 1472512"/>
                  <a:gd name="connsiteY1672" fmla="*/ 580952 h 734237"/>
                  <a:gd name="connsiteX1673" fmla="*/ 892729 w 1472512"/>
                  <a:gd name="connsiteY1673" fmla="*/ 582035 h 734237"/>
                  <a:gd name="connsiteX1674" fmla="*/ 891133 w 1472512"/>
                  <a:gd name="connsiteY1674" fmla="*/ 582946 h 734237"/>
                  <a:gd name="connsiteX1675" fmla="*/ 890166 w 1472512"/>
                  <a:gd name="connsiteY1675" fmla="*/ 584019 h 734237"/>
                  <a:gd name="connsiteX1676" fmla="*/ 891986 w 1472512"/>
                  <a:gd name="connsiteY1676" fmla="*/ 586181 h 734237"/>
                  <a:gd name="connsiteX1677" fmla="*/ 894847 w 1472512"/>
                  <a:gd name="connsiteY1677" fmla="*/ 586908 h 734237"/>
                  <a:gd name="connsiteX1678" fmla="*/ 895922 w 1472512"/>
                  <a:gd name="connsiteY1678" fmla="*/ 586594 h 734237"/>
                  <a:gd name="connsiteX1679" fmla="*/ 896589 w 1472512"/>
                  <a:gd name="connsiteY1679" fmla="*/ 584164 h 734237"/>
                  <a:gd name="connsiteX1680" fmla="*/ 898348 w 1472512"/>
                  <a:gd name="connsiteY1680" fmla="*/ 582598 h 734237"/>
                  <a:gd name="connsiteX1681" fmla="*/ 900738 w 1472512"/>
                  <a:gd name="connsiteY1681" fmla="*/ 582936 h 734237"/>
                  <a:gd name="connsiteX1682" fmla="*/ 900398 w 1472512"/>
                  <a:gd name="connsiteY1682" fmla="*/ 583919 h 734237"/>
                  <a:gd name="connsiteX1683" fmla="*/ 900733 w 1472512"/>
                  <a:gd name="connsiteY1683" fmla="*/ 584845 h 734237"/>
                  <a:gd name="connsiteX1684" fmla="*/ 901832 w 1472512"/>
                  <a:gd name="connsiteY1684" fmla="*/ 586428 h 734237"/>
                  <a:gd name="connsiteX1685" fmla="*/ 901706 w 1472512"/>
                  <a:gd name="connsiteY1685" fmla="*/ 588694 h 734237"/>
                  <a:gd name="connsiteX1686" fmla="*/ 901919 w 1472512"/>
                  <a:gd name="connsiteY1686" fmla="*/ 589239 h 734237"/>
                  <a:gd name="connsiteX1687" fmla="*/ 899343 w 1472512"/>
                  <a:gd name="connsiteY1687" fmla="*/ 590240 h 734237"/>
                  <a:gd name="connsiteX1688" fmla="*/ 897423 w 1472512"/>
                  <a:gd name="connsiteY1688" fmla="*/ 590579 h 734237"/>
                  <a:gd name="connsiteX1689" fmla="*/ 895888 w 1472512"/>
                  <a:gd name="connsiteY1689" fmla="*/ 591887 h 734237"/>
                  <a:gd name="connsiteX1690" fmla="*/ 896692 w 1472512"/>
                  <a:gd name="connsiteY1690" fmla="*/ 592647 h 734237"/>
                  <a:gd name="connsiteX1691" fmla="*/ 895127 w 1472512"/>
                  <a:gd name="connsiteY1691" fmla="*/ 593313 h 734237"/>
                  <a:gd name="connsiteX1692" fmla="*/ 894071 w 1472512"/>
                  <a:gd name="connsiteY1692" fmla="*/ 593046 h 734237"/>
                  <a:gd name="connsiteX1693" fmla="*/ 893538 w 1472512"/>
                  <a:gd name="connsiteY1693" fmla="*/ 593293 h 734237"/>
                  <a:gd name="connsiteX1694" fmla="*/ 893379 w 1472512"/>
                  <a:gd name="connsiteY1694" fmla="*/ 594096 h 734237"/>
                  <a:gd name="connsiteX1695" fmla="*/ 892571 w 1472512"/>
                  <a:gd name="connsiteY1695" fmla="*/ 594842 h 734237"/>
                  <a:gd name="connsiteX1696" fmla="*/ 893747 w 1472512"/>
                  <a:gd name="connsiteY1696" fmla="*/ 597087 h 734237"/>
                  <a:gd name="connsiteX1697" fmla="*/ 896157 w 1472512"/>
                  <a:gd name="connsiteY1697" fmla="*/ 598552 h 734237"/>
                  <a:gd name="connsiteX1698" fmla="*/ 897857 w 1472512"/>
                  <a:gd name="connsiteY1698" fmla="*/ 600387 h 734237"/>
                  <a:gd name="connsiteX1699" fmla="*/ 904693 w 1472512"/>
                  <a:gd name="connsiteY1699" fmla="*/ 602804 h 734237"/>
                  <a:gd name="connsiteX1700" fmla="*/ 906349 w 1472512"/>
                  <a:gd name="connsiteY1700" fmla="*/ 602736 h 734237"/>
                  <a:gd name="connsiteX1701" fmla="*/ 907980 w 1472512"/>
                  <a:gd name="connsiteY1701" fmla="*/ 605166 h 734237"/>
                  <a:gd name="connsiteX1702" fmla="*/ 909295 w 1472512"/>
                  <a:gd name="connsiteY1702" fmla="*/ 606002 h 734237"/>
                  <a:gd name="connsiteX1703" fmla="*/ 910559 w 1472512"/>
                  <a:gd name="connsiteY1703" fmla="*/ 606427 h 734237"/>
                  <a:gd name="connsiteX1704" fmla="*/ 910415 w 1472512"/>
                  <a:gd name="connsiteY1704" fmla="*/ 608099 h 734237"/>
                  <a:gd name="connsiteX1705" fmla="*/ 908167 w 1472512"/>
                  <a:gd name="connsiteY1705" fmla="*/ 609321 h 734237"/>
                  <a:gd name="connsiteX1706" fmla="*/ 907559 w 1472512"/>
                  <a:gd name="connsiteY1706" fmla="*/ 610780 h 734237"/>
                  <a:gd name="connsiteX1707" fmla="*/ 906993 w 1472512"/>
                  <a:gd name="connsiteY1707" fmla="*/ 611600 h 734237"/>
                  <a:gd name="connsiteX1708" fmla="*/ 905979 w 1472512"/>
                  <a:gd name="connsiteY1708" fmla="*/ 610562 h 734237"/>
                  <a:gd name="connsiteX1709" fmla="*/ 904938 w 1472512"/>
                  <a:gd name="connsiteY1709" fmla="*/ 609809 h 734237"/>
                  <a:gd name="connsiteX1710" fmla="*/ 902529 w 1472512"/>
                  <a:gd name="connsiteY1710" fmla="*/ 612098 h 734237"/>
                  <a:gd name="connsiteX1711" fmla="*/ 901366 w 1472512"/>
                  <a:gd name="connsiteY1711" fmla="*/ 612580 h 734237"/>
                  <a:gd name="connsiteX1712" fmla="*/ 901942 w 1472512"/>
                  <a:gd name="connsiteY1712" fmla="*/ 610112 h 734237"/>
                  <a:gd name="connsiteX1713" fmla="*/ 901032 w 1472512"/>
                  <a:gd name="connsiteY1713" fmla="*/ 609145 h 734237"/>
                  <a:gd name="connsiteX1714" fmla="*/ 899656 w 1472512"/>
                  <a:gd name="connsiteY1714" fmla="*/ 606669 h 734237"/>
                  <a:gd name="connsiteX1715" fmla="*/ 897651 w 1472512"/>
                  <a:gd name="connsiteY1715" fmla="*/ 605138 h 734237"/>
                  <a:gd name="connsiteX1716" fmla="*/ 896237 w 1472512"/>
                  <a:gd name="connsiteY1716" fmla="*/ 604631 h 734237"/>
                  <a:gd name="connsiteX1717" fmla="*/ 895138 w 1472512"/>
                  <a:gd name="connsiteY1717" fmla="*/ 603660 h 734237"/>
                  <a:gd name="connsiteX1718" fmla="*/ 893806 w 1472512"/>
                  <a:gd name="connsiteY1718" fmla="*/ 603268 h 734237"/>
                  <a:gd name="connsiteX1719" fmla="*/ 892671 w 1472512"/>
                  <a:gd name="connsiteY1719" fmla="*/ 603368 h 734237"/>
                  <a:gd name="connsiteX1720" fmla="*/ 890747 w 1472512"/>
                  <a:gd name="connsiteY1720" fmla="*/ 602804 h 734237"/>
                  <a:gd name="connsiteX1721" fmla="*/ 890620 w 1472512"/>
                  <a:gd name="connsiteY1721" fmla="*/ 601485 h 734237"/>
                  <a:gd name="connsiteX1722" fmla="*/ 890087 w 1472512"/>
                  <a:gd name="connsiteY1722" fmla="*/ 600498 h 734237"/>
                  <a:gd name="connsiteX1723" fmla="*/ 888582 w 1472512"/>
                  <a:gd name="connsiteY1723" fmla="*/ 599332 h 734237"/>
                  <a:gd name="connsiteX1724" fmla="*/ 881393 w 1472512"/>
                  <a:gd name="connsiteY1724" fmla="*/ 597129 h 734237"/>
                  <a:gd name="connsiteX1725" fmla="*/ 881349 w 1472512"/>
                  <a:gd name="connsiteY1725" fmla="*/ 598041 h 734237"/>
                  <a:gd name="connsiteX1726" fmla="*/ 881847 w 1472512"/>
                  <a:gd name="connsiteY1726" fmla="*/ 598727 h 734237"/>
                  <a:gd name="connsiteX1727" fmla="*/ 882880 w 1472512"/>
                  <a:gd name="connsiteY1727" fmla="*/ 599184 h 734237"/>
                  <a:gd name="connsiteX1728" fmla="*/ 884116 w 1472512"/>
                  <a:gd name="connsiteY1728" fmla="*/ 600073 h 734237"/>
                  <a:gd name="connsiteX1729" fmla="*/ 884104 w 1472512"/>
                  <a:gd name="connsiteY1729" fmla="*/ 602704 h 734237"/>
                  <a:gd name="connsiteX1730" fmla="*/ 883571 w 1472512"/>
                  <a:gd name="connsiteY1730" fmla="*/ 603817 h 734237"/>
                  <a:gd name="connsiteX1731" fmla="*/ 883340 w 1472512"/>
                  <a:gd name="connsiteY1731" fmla="*/ 605403 h 734237"/>
                  <a:gd name="connsiteX1732" fmla="*/ 882866 w 1472512"/>
                  <a:gd name="connsiteY1732" fmla="*/ 607013 h 734237"/>
                  <a:gd name="connsiteX1733" fmla="*/ 881985 w 1472512"/>
                  <a:gd name="connsiteY1733" fmla="*/ 608282 h 734237"/>
                  <a:gd name="connsiteX1734" fmla="*/ 880022 w 1472512"/>
                  <a:gd name="connsiteY1734" fmla="*/ 609148 h 734237"/>
                  <a:gd name="connsiteX1735" fmla="*/ 879156 w 1472512"/>
                  <a:gd name="connsiteY1735" fmla="*/ 608424 h 734237"/>
                  <a:gd name="connsiteX1736" fmla="*/ 877757 w 1472512"/>
                  <a:gd name="connsiteY1736" fmla="*/ 604956 h 734237"/>
                  <a:gd name="connsiteX1737" fmla="*/ 875777 w 1472512"/>
                  <a:gd name="connsiteY1737" fmla="*/ 603863 h 734237"/>
                  <a:gd name="connsiteX1738" fmla="*/ 872632 w 1472512"/>
                  <a:gd name="connsiteY1738" fmla="*/ 603735 h 734237"/>
                  <a:gd name="connsiteX1739" fmla="*/ 870496 w 1472512"/>
                  <a:gd name="connsiteY1739" fmla="*/ 604518 h 734237"/>
                  <a:gd name="connsiteX1740" fmla="*/ 868168 w 1472512"/>
                  <a:gd name="connsiteY1740" fmla="*/ 607879 h 734237"/>
                  <a:gd name="connsiteX1741" fmla="*/ 866292 w 1472512"/>
                  <a:gd name="connsiteY1741" fmla="*/ 608428 h 734237"/>
                  <a:gd name="connsiteX1742" fmla="*/ 859872 w 1472512"/>
                  <a:gd name="connsiteY1742" fmla="*/ 606687 h 734237"/>
                  <a:gd name="connsiteX1743" fmla="*/ 852539 w 1472512"/>
                  <a:gd name="connsiteY1743" fmla="*/ 604034 h 734237"/>
                  <a:gd name="connsiteX1744" fmla="*/ 852729 w 1472512"/>
                  <a:gd name="connsiteY1744" fmla="*/ 603150 h 734237"/>
                  <a:gd name="connsiteX1745" fmla="*/ 853882 w 1472512"/>
                  <a:gd name="connsiteY1745" fmla="*/ 602866 h 734237"/>
                  <a:gd name="connsiteX1746" fmla="*/ 856094 w 1472512"/>
                  <a:gd name="connsiteY1746" fmla="*/ 603229 h 734237"/>
                  <a:gd name="connsiteX1747" fmla="*/ 855977 w 1472512"/>
                  <a:gd name="connsiteY1747" fmla="*/ 602318 h 734237"/>
                  <a:gd name="connsiteX1748" fmla="*/ 853717 w 1472512"/>
                  <a:gd name="connsiteY1748" fmla="*/ 599351 h 734237"/>
                  <a:gd name="connsiteX1749" fmla="*/ 853302 w 1472512"/>
                  <a:gd name="connsiteY1749" fmla="*/ 598011 h 734237"/>
                  <a:gd name="connsiteX1750" fmla="*/ 853593 w 1472512"/>
                  <a:gd name="connsiteY1750" fmla="*/ 596375 h 734237"/>
                  <a:gd name="connsiteX1751" fmla="*/ 852856 w 1472512"/>
                  <a:gd name="connsiteY1751" fmla="*/ 596411 h 734237"/>
                  <a:gd name="connsiteX1752" fmla="*/ 851499 w 1472512"/>
                  <a:gd name="connsiteY1752" fmla="*/ 597785 h 734237"/>
                  <a:gd name="connsiteX1753" fmla="*/ 846824 w 1472512"/>
                  <a:gd name="connsiteY1753" fmla="*/ 596621 h 734237"/>
                  <a:gd name="connsiteX1754" fmla="*/ 845533 w 1472512"/>
                  <a:gd name="connsiteY1754" fmla="*/ 595230 h 734237"/>
                  <a:gd name="connsiteX1755" fmla="*/ 842786 w 1472512"/>
                  <a:gd name="connsiteY1755" fmla="*/ 591307 h 734237"/>
                  <a:gd name="connsiteX1756" fmla="*/ 838910 w 1472512"/>
                  <a:gd name="connsiteY1756" fmla="*/ 591179 h 734237"/>
                  <a:gd name="connsiteX1757" fmla="*/ 837156 w 1472512"/>
                  <a:gd name="connsiteY1757" fmla="*/ 588799 h 734237"/>
                  <a:gd name="connsiteX1758" fmla="*/ 833988 w 1472512"/>
                  <a:gd name="connsiteY1758" fmla="*/ 589796 h 734237"/>
                  <a:gd name="connsiteX1759" fmla="*/ 832385 w 1472512"/>
                  <a:gd name="connsiteY1759" fmla="*/ 590898 h 734237"/>
                  <a:gd name="connsiteX1760" fmla="*/ 830975 w 1472512"/>
                  <a:gd name="connsiteY1760" fmla="*/ 592608 h 734237"/>
                  <a:gd name="connsiteX1761" fmla="*/ 831523 w 1472512"/>
                  <a:gd name="connsiteY1761" fmla="*/ 593493 h 734237"/>
                  <a:gd name="connsiteX1762" fmla="*/ 832929 w 1472512"/>
                  <a:gd name="connsiteY1762" fmla="*/ 594899 h 734237"/>
                  <a:gd name="connsiteX1763" fmla="*/ 832288 w 1472512"/>
                  <a:gd name="connsiteY1763" fmla="*/ 595577 h 734237"/>
                  <a:gd name="connsiteX1764" fmla="*/ 827777 w 1472512"/>
                  <a:gd name="connsiteY1764" fmla="*/ 596580 h 734237"/>
                  <a:gd name="connsiteX1765" fmla="*/ 817306 w 1472512"/>
                  <a:gd name="connsiteY1765" fmla="*/ 595460 h 734237"/>
                  <a:gd name="connsiteX1766" fmla="*/ 814244 w 1472512"/>
                  <a:gd name="connsiteY1766" fmla="*/ 594412 h 734237"/>
                  <a:gd name="connsiteX1767" fmla="*/ 810135 w 1472512"/>
                  <a:gd name="connsiteY1767" fmla="*/ 592198 h 734237"/>
                  <a:gd name="connsiteX1768" fmla="*/ 804439 w 1472512"/>
                  <a:gd name="connsiteY1768" fmla="*/ 590391 h 734237"/>
                  <a:gd name="connsiteX1769" fmla="*/ 801696 w 1472512"/>
                  <a:gd name="connsiteY1769" fmla="*/ 590099 h 734237"/>
                  <a:gd name="connsiteX1770" fmla="*/ 799012 w 1472512"/>
                  <a:gd name="connsiteY1770" fmla="*/ 590458 h 734237"/>
                  <a:gd name="connsiteX1771" fmla="*/ 791197 w 1472512"/>
                  <a:gd name="connsiteY1771" fmla="*/ 590643 h 734237"/>
                  <a:gd name="connsiteX1772" fmla="*/ 789383 w 1472512"/>
                  <a:gd name="connsiteY1772" fmla="*/ 591124 h 734237"/>
                  <a:gd name="connsiteX1773" fmla="*/ 787838 w 1472512"/>
                  <a:gd name="connsiteY1773" fmla="*/ 591890 h 734237"/>
                  <a:gd name="connsiteX1774" fmla="*/ 786836 w 1472512"/>
                  <a:gd name="connsiteY1774" fmla="*/ 591041 h 734237"/>
                  <a:gd name="connsiteX1775" fmla="*/ 786372 w 1472512"/>
                  <a:gd name="connsiteY1775" fmla="*/ 589525 h 734237"/>
                  <a:gd name="connsiteX1776" fmla="*/ 787280 w 1472512"/>
                  <a:gd name="connsiteY1776" fmla="*/ 589278 h 734237"/>
                  <a:gd name="connsiteX1777" fmla="*/ 788289 w 1472512"/>
                  <a:gd name="connsiteY1777" fmla="*/ 588386 h 734237"/>
                  <a:gd name="connsiteX1778" fmla="*/ 789199 w 1472512"/>
                  <a:gd name="connsiteY1778" fmla="*/ 586622 h 734237"/>
                  <a:gd name="connsiteX1779" fmla="*/ 789303 w 1472512"/>
                  <a:gd name="connsiteY1779" fmla="*/ 585555 h 734237"/>
                  <a:gd name="connsiteX1780" fmla="*/ 788666 w 1472512"/>
                  <a:gd name="connsiteY1780" fmla="*/ 584858 h 734237"/>
                  <a:gd name="connsiteX1781" fmla="*/ 787456 w 1472512"/>
                  <a:gd name="connsiteY1781" fmla="*/ 584788 h 734237"/>
                  <a:gd name="connsiteX1782" fmla="*/ 784781 w 1472512"/>
                  <a:gd name="connsiteY1782" fmla="*/ 589386 h 734237"/>
                  <a:gd name="connsiteX1783" fmla="*/ 786309 w 1472512"/>
                  <a:gd name="connsiteY1783" fmla="*/ 591960 h 734237"/>
                  <a:gd name="connsiteX1784" fmla="*/ 786204 w 1472512"/>
                  <a:gd name="connsiteY1784" fmla="*/ 592888 h 734237"/>
                  <a:gd name="connsiteX1785" fmla="*/ 780868 w 1472512"/>
                  <a:gd name="connsiteY1785" fmla="*/ 593417 h 734237"/>
                  <a:gd name="connsiteX1786" fmla="*/ 768756 w 1472512"/>
                  <a:gd name="connsiteY1786" fmla="*/ 598594 h 734237"/>
                  <a:gd name="connsiteX1787" fmla="*/ 764033 w 1472512"/>
                  <a:gd name="connsiteY1787" fmla="*/ 601383 h 734237"/>
                  <a:gd name="connsiteX1788" fmla="*/ 764274 w 1472512"/>
                  <a:gd name="connsiteY1788" fmla="*/ 600445 h 734237"/>
                  <a:gd name="connsiteX1789" fmla="*/ 769986 w 1472512"/>
                  <a:gd name="connsiteY1789" fmla="*/ 596828 h 734237"/>
                  <a:gd name="connsiteX1790" fmla="*/ 767970 w 1472512"/>
                  <a:gd name="connsiteY1790" fmla="*/ 596275 h 734237"/>
                  <a:gd name="connsiteX1791" fmla="*/ 764722 w 1472512"/>
                  <a:gd name="connsiteY1791" fmla="*/ 597179 h 734237"/>
                  <a:gd name="connsiteX1792" fmla="*/ 763557 w 1472512"/>
                  <a:gd name="connsiteY1792" fmla="*/ 596831 h 734237"/>
                  <a:gd name="connsiteX1793" fmla="*/ 764933 w 1472512"/>
                  <a:gd name="connsiteY1793" fmla="*/ 593838 h 734237"/>
                  <a:gd name="connsiteX1794" fmla="*/ 764485 w 1472512"/>
                  <a:gd name="connsiteY1794" fmla="*/ 591198 h 734237"/>
                  <a:gd name="connsiteX1795" fmla="*/ 762178 w 1472512"/>
                  <a:gd name="connsiteY1795" fmla="*/ 591126 h 734237"/>
                  <a:gd name="connsiteX1796" fmla="*/ 760710 w 1472512"/>
                  <a:gd name="connsiteY1796" fmla="*/ 593234 h 734237"/>
                  <a:gd name="connsiteX1797" fmla="*/ 759690 w 1472512"/>
                  <a:gd name="connsiteY1797" fmla="*/ 593145 h 734237"/>
                  <a:gd name="connsiteX1798" fmla="*/ 758353 w 1472512"/>
                  <a:gd name="connsiteY1798" fmla="*/ 592240 h 734237"/>
                  <a:gd name="connsiteX1799" fmla="*/ 757317 w 1472512"/>
                  <a:gd name="connsiteY1799" fmla="*/ 592526 h 734237"/>
                  <a:gd name="connsiteX1800" fmla="*/ 758084 w 1472512"/>
                  <a:gd name="connsiteY1800" fmla="*/ 597302 h 734237"/>
                  <a:gd name="connsiteX1801" fmla="*/ 759536 w 1472512"/>
                  <a:gd name="connsiteY1801" fmla="*/ 599264 h 734237"/>
                  <a:gd name="connsiteX1802" fmla="*/ 760751 w 1472512"/>
                  <a:gd name="connsiteY1802" fmla="*/ 601765 h 734237"/>
                  <a:gd name="connsiteX1803" fmla="*/ 757434 w 1472512"/>
                  <a:gd name="connsiteY1803" fmla="*/ 604854 h 734237"/>
                  <a:gd name="connsiteX1804" fmla="*/ 754354 w 1472512"/>
                  <a:gd name="connsiteY1804" fmla="*/ 607401 h 734237"/>
                  <a:gd name="connsiteX1805" fmla="*/ 754020 w 1472512"/>
                  <a:gd name="connsiteY1805" fmla="*/ 609861 h 734237"/>
                  <a:gd name="connsiteX1806" fmla="*/ 750924 w 1472512"/>
                  <a:gd name="connsiteY1806" fmla="*/ 613064 h 734237"/>
                  <a:gd name="connsiteX1807" fmla="*/ 748012 w 1472512"/>
                  <a:gd name="connsiteY1807" fmla="*/ 614879 h 734237"/>
                  <a:gd name="connsiteX1808" fmla="*/ 741170 w 1472512"/>
                  <a:gd name="connsiteY1808" fmla="*/ 619143 h 734237"/>
                  <a:gd name="connsiteX1809" fmla="*/ 739217 w 1472512"/>
                  <a:gd name="connsiteY1809" fmla="*/ 620055 h 734237"/>
                  <a:gd name="connsiteX1810" fmla="*/ 736131 w 1472512"/>
                  <a:gd name="connsiteY1810" fmla="*/ 622033 h 734237"/>
                  <a:gd name="connsiteX1811" fmla="*/ 731870 w 1472512"/>
                  <a:gd name="connsiteY1811" fmla="*/ 623515 h 734237"/>
                  <a:gd name="connsiteX1812" fmla="*/ 727786 w 1472512"/>
                  <a:gd name="connsiteY1812" fmla="*/ 625866 h 734237"/>
                  <a:gd name="connsiteX1813" fmla="*/ 726408 w 1472512"/>
                  <a:gd name="connsiteY1813" fmla="*/ 626223 h 734237"/>
                  <a:gd name="connsiteX1814" fmla="*/ 729016 w 1472512"/>
                  <a:gd name="connsiteY1814" fmla="*/ 624233 h 734237"/>
                  <a:gd name="connsiteX1815" fmla="*/ 732109 w 1472512"/>
                  <a:gd name="connsiteY1815" fmla="*/ 622265 h 734237"/>
                  <a:gd name="connsiteX1816" fmla="*/ 729457 w 1472512"/>
                  <a:gd name="connsiteY1816" fmla="*/ 622535 h 734237"/>
                  <a:gd name="connsiteX1817" fmla="*/ 725367 w 1472512"/>
                  <a:gd name="connsiteY1817" fmla="*/ 621623 h 734237"/>
                  <a:gd name="connsiteX1818" fmla="*/ 722865 w 1472512"/>
                  <a:gd name="connsiteY1818" fmla="*/ 621570 h 734237"/>
                  <a:gd name="connsiteX1819" fmla="*/ 722847 w 1472512"/>
                  <a:gd name="connsiteY1819" fmla="*/ 622288 h 734237"/>
                  <a:gd name="connsiteX1820" fmla="*/ 720943 w 1472512"/>
                  <a:gd name="connsiteY1820" fmla="*/ 623302 h 734237"/>
                  <a:gd name="connsiteX1821" fmla="*/ 718972 w 1472512"/>
                  <a:gd name="connsiteY1821" fmla="*/ 621812 h 734237"/>
                  <a:gd name="connsiteX1822" fmla="*/ 718112 w 1472512"/>
                  <a:gd name="connsiteY1822" fmla="*/ 620809 h 734237"/>
                  <a:gd name="connsiteX1823" fmla="*/ 717705 w 1472512"/>
                  <a:gd name="connsiteY1823" fmla="*/ 619944 h 734237"/>
                  <a:gd name="connsiteX1824" fmla="*/ 716868 w 1472512"/>
                  <a:gd name="connsiteY1824" fmla="*/ 619735 h 734237"/>
                  <a:gd name="connsiteX1825" fmla="*/ 716064 w 1472512"/>
                  <a:gd name="connsiteY1825" fmla="*/ 620136 h 734237"/>
                  <a:gd name="connsiteX1826" fmla="*/ 719007 w 1472512"/>
                  <a:gd name="connsiteY1826" fmla="*/ 626230 h 734237"/>
                  <a:gd name="connsiteX1827" fmla="*/ 720260 w 1472512"/>
                  <a:gd name="connsiteY1827" fmla="*/ 626493 h 734237"/>
                  <a:gd name="connsiteX1828" fmla="*/ 721649 w 1472512"/>
                  <a:gd name="connsiteY1828" fmla="*/ 627098 h 734237"/>
                  <a:gd name="connsiteX1829" fmla="*/ 719921 w 1472512"/>
                  <a:gd name="connsiteY1829" fmla="*/ 628518 h 734237"/>
                  <a:gd name="connsiteX1830" fmla="*/ 718062 w 1472512"/>
                  <a:gd name="connsiteY1830" fmla="*/ 629592 h 734237"/>
                  <a:gd name="connsiteX1831" fmla="*/ 715136 w 1472512"/>
                  <a:gd name="connsiteY1831" fmla="*/ 630307 h 734237"/>
                  <a:gd name="connsiteX1832" fmla="*/ 712659 w 1472512"/>
                  <a:gd name="connsiteY1832" fmla="*/ 628086 h 734237"/>
                  <a:gd name="connsiteX1833" fmla="*/ 712121 w 1472512"/>
                  <a:gd name="connsiteY1833" fmla="*/ 630872 h 734237"/>
                  <a:gd name="connsiteX1834" fmla="*/ 711806 w 1472512"/>
                  <a:gd name="connsiteY1834" fmla="*/ 633654 h 734237"/>
                  <a:gd name="connsiteX1835" fmla="*/ 710974 w 1472512"/>
                  <a:gd name="connsiteY1835" fmla="*/ 634368 h 734237"/>
                  <a:gd name="connsiteX1836" fmla="*/ 709645 w 1472512"/>
                  <a:gd name="connsiteY1836" fmla="*/ 635384 h 734237"/>
                  <a:gd name="connsiteX1837" fmla="*/ 708925 w 1472512"/>
                  <a:gd name="connsiteY1837" fmla="*/ 634617 h 734237"/>
                  <a:gd name="connsiteX1838" fmla="*/ 708582 w 1472512"/>
                  <a:gd name="connsiteY1838" fmla="*/ 633541 h 734237"/>
                  <a:gd name="connsiteX1839" fmla="*/ 707732 w 1472512"/>
                  <a:gd name="connsiteY1839" fmla="*/ 634502 h 734237"/>
                  <a:gd name="connsiteX1840" fmla="*/ 706486 w 1472512"/>
                  <a:gd name="connsiteY1840" fmla="*/ 635221 h 734237"/>
                  <a:gd name="connsiteX1841" fmla="*/ 704431 w 1472512"/>
                  <a:gd name="connsiteY1841" fmla="*/ 635365 h 734237"/>
                  <a:gd name="connsiteX1842" fmla="*/ 702889 w 1472512"/>
                  <a:gd name="connsiteY1842" fmla="*/ 635749 h 734237"/>
                  <a:gd name="connsiteX1843" fmla="*/ 702925 w 1472512"/>
                  <a:gd name="connsiteY1843" fmla="*/ 636901 h 734237"/>
                  <a:gd name="connsiteX1844" fmla="*/ 703278 w 1472512"/>
                  <a:gd name="connsiteY1844" fmla="*/ 638057 h 734237"/>
                  <a:gd name="connsiteX1845" fmla="*/ 706004 w 1472512"/>
                  <a:gd name="connsiteY1845" fmla="*/ 637144 h 734237"/>
                  <a:gd name="connsiteX1846" fmla="*/ 705017 w 1472512"/>
                  <a:gd name="connsiteY1846" fmla="*/ 640118 h 734237"/>
                  <a:gd name="connsiteX1847" fmla="*/ 702507 w 1472512"/>
                  <a:gd name="connsiteY1847" fmla="*/ 643054 h 734237"/>
                  <a:gd name="connsiteX1848" fmla="*/ 700464 w 1472512"/>
                  <a:gd name="connsiteY1848" fmla="*/ 643748 h 734237"/>
                  <a:gd name="connsiteX1849" fmla="*/ 697337 w 1472512"/>
                  <a:gd name="connsiteY1849" fmla="*/ 643319 h 734237"/>
                  <a:gd name="connsiteX1850" fmla="*/ 696565 w 1472512"/>
                  <a:gd name="connsiteY1850" fmla="*/ 643614 h 734237"/>
                  <a:gd name="connsiteX1851" fmla="*/ 695873 w 1472512"/>
                  <a:gd name="connsiteY1851" fmla="*/ 644223 h 734237"/>
                  <a:gd name="connsiteX1852" fmla="*/ 699515 w 1472512"/>
                  <a:gd name="connsiteY1852" fmla="*/ 648814 h 734237"/>
                  <a:gd name="connsiteX1853" fmla="*/ 697174 w 1472512"/>
                  <a:gd name="connsiteY1853" fmla="*/ 655729 h 734237"/>
                  <a:gd name="connsiteX1854" fmla="*/ 695679 w 1472512"/>
                  <a:gd name="connsiteY1854" fmla="*/ 658233 h 734237"/>
                  <a:gd name="connsiteX1855" fmla="*/ 694641 w 1472512"/>
                  <a:gd name="connsiteY1855" fmla="*/ 658553 h 734237"/>
                  <a:gd name="connsiteX1856" fmla="*/ 693516 w 1472512"/>
                  <a:gd name="connsiteY1856" fmla="*/ 658626 h 734237"/>
                  <a:gd name="connsiteX1857" fmla="*/ 689480 w 1472512"/>
                  <a:gd name="connsiteY1857" fmla="*/ 656401 h 734237"/>
                  <a:gd name="connsiteX1858" fmla="*/ 687278 w 1472512"/>
                  <a:gd name="connsiteY1858" fmla="*/ 654679 h 734237"/>
                  <a:gd name="connsiteX1859" fmla="*/ 689217 w 1472512"/>
                  <a:gd name="connsiteY1859" fmla="*/ 659363 h 734237"/>
                  <a:gd name="connsiteX1860" fmla="*/ 694506 w 1472512"/>
                  <a:gd name="connsiteY1860" fmla="*/ 660730 h 734237"/>
                  <a:gd name="connsiteX1861" fmla="*/ 694776 w 1472512"/>
                  <a:gd name="connsiteY1861" fmla="*/ 662499 h 734237"/>
                  <a:gd name="connsiteX1862" fmla="*/ 694747 w 1472512"/>
                  <a:gd name="connsiteY1862" fmla="*/ 664013 h 734237"/>
                  <a:gd name="connsiteX1863" fmla="*/ 693704 w 1472512"/>
                  <a:gd name="connsiteY1863" fmla="*/ 665786 h 734237"/>
                  <a:gd name="connsiteX1864" fmla="*/ 692731 w 1472512"/>
                  <a:gd name="connsiteY1864" fmla="*/ 668143 h 734237"/>
                  <a:gd name="connsiteX1865" fmla="*/ 693450 w 1472512"/>
                  <a:gd name="connsiteY1865" fmla="*/ 669784 h 734237"/>
                  <a:gd name="connsiteX1866" fmla="*/ 694284 w 1472512"/>
                  <a:gd name="connsiteY1866" fmla="*/ 673838 h 734237"/>
                  <a:gd name="connsiteX1867" fmla="*/ 694998 w 1472512"/>
                  <a:gd name="connsiteY1867" fmla="*/ 675698 h 734237"/>
                  <a:gd name="connsiteX1868" fmla="*/ 695782 w 1472512"/>
                  <a:gd name="connsiteY1868" fmla="*/ 681335 h 734237"/>
                  <a:gd name="connsiteX1869" fmla="*/ 696618 w 1472512"/>
                  <a:gd name="connsiteY1869" fmla="*/ 683777 h 734237"/>
                  <a:gd name="connsiteX1870" fmla="*/ 701424 w 1472512"/>
                  <a:gd name="connsiteY1870" fmla="*/ 692757 h 734237"/>
                  <a:gd name="connsiteX1871" fmla="*/ 703045 w 1472512"/>
                  <a:gd name="connsiteY1871" fmla="*/ 692826 h 734237"/>
                  <a:gd name="connsiteX1872" fmla="*/ 703305 w 1472512"/>
                  <a:gd name="connsiteY1872" fmla="*/ 693798 h 734237"/>
                  <a:gd name="connsiteX1873" fmla="*/ 703150 w 1472512"/>
                  <a:gd name="connsiteY1873" fmla="*/ 695661 h 734237"/>
                  <a:gd name="connsiteX1874" fmla="*/ 699692 w 1472512"/>
                  <a:gd name="connsiteY1874" fmla="*/ 696202 h 734237"/>
                  <a:gd name="connsiteX1875" fmla="*/ 698242 w 1472512"/>
                  <a:gd name="connsiteY1875" fmla="*/ 697032 h 734237"/>
                  <a:gd name="connsiteX1876" fmla="*/ 697958 w 1472512"/>
                  <a:gd name="connsiteY1876" fmla="*/ 697754 h 734237"/>
                  <a:gd name="connsiteX1877" fmla="*/ 697745 w 1472512"/>
                  <a:gd name="connsiteY1877" fmla="*/ 698142 h 734237"/>
                  <a:gd name="connsiteX1878" fmla="*/ 697298 w 1472512"/>
                  <a:gd name="connsiteY1878" fmla="*/ 698107 h 734237"/>
                  <a:gd name="connsiteX1879" fmla="*/ 695649 w 1472512"/>
                  <a:gd name="connsiteY1879" fmla="*/ 697588 h 734237"/>
                  <a:gd name="connsiteX1880" fmla="*/ 691901 w 1472512"/>
                  <a:gd name="connsiteY1880" fmla="*/ 695041 h 734237"/>
                  <a:gd name="connsiteX1881" fmla="*/ 686437 w 1472512"/>
                  <a:gd name="connsiteY1881" fmla="*/ 693462 h 734237"/>
                  <a:gd name="connsiteX1882" fmla="*/ 679258 w 1472512"/>
                  <a:gd name="connsiteY1882" fmla="*/ 692850 h 734237"/>
                  <a:gd name="connsiteX1883" fmla="*/ 674354 w 1472512"/>
                  <a:gd name="connsiteY1883" fmla="*/ 691575 h 734237"/>
                  <a:gd name="connsiteX1884" fmla="*/ 671725 w 1472512"/>
                  <a:gd name="connsiteY1884" fmla="*/ 689631 h 734237"/>
                  <a:gd name="connsiteX1885" fmla="*/ 668975 w 1472512"/>
                  <a:gd name="connsiteY1885" fmla="*/ 688478 h 734237"/>
                  <a:gd name="connsiteX1886" fmla="*/ 666109 w 1472512"/>
                  <a:gd name="connsiteY1886" fmla="*/ 688115 h 734237"/>
                  <a:gd name="connsiteX1887" fmla="*/ 663733 w 1472512"/>
                  <a:gd name="connsiteY1887" fmla="*/ 687060 h 734237"/>
                  <a:gd name="connsiteX1888" fmla="*/ 661850 w 1472512"/>
                  <a:gd name="connsiteY1888" fmla="*/ 685311 h 734237"/>
                  <a:gd name="connsiteX1889" fmla="*/ 659096 w 1472512"/>
                  <a:gd name="connsiteY1889" fmla="*/ 684194 h 734237"/>
                  <a:gd name="connsiteX1890" fmla="*/ 655471 w 1472512"/>
                  <a:gd name="connsiteY1890" fmla="*/ 683710 h 734237"/>
                  <a:gd name="connsiteX1891" fmla="*/ 653112 w 1472512"/>
                  <a:gd name="connsiteY1891" fmla="*/ 682399 h 734237"/>
                  <a:gd name="connsiteX1892" fmla="*/ 651471 w 1472512"/>
                  <a:gd name="connsiteY1892" fmla="*/ 679191 h 734237"/>
                  <a:gd name="connsiteX1893" fmla="*/ 651464 w 1472512"/>
                  <a:gd name="connsiteY1893" fmla="*/ 679143 h 734237"/>
                  <a:gd name="connsiteX1894" fmla="*/ 649995 w 1472512"/>
                  <a:gd name="connsiteY1894" fmla="*/ 673775 h 734237"/>
                  <a:gd name="connsiteX1895" fmla="*/ 648145 w 1472512"/>
                  <a:gd name="connsiteY1895" fmla="*/ 670409 h 734237"/>
                  <a:gd name="connsiteX1896" fmla="*/ 644545 w 1472512"/>
                  <a:gd name="connsiteY1896" fmla="*/ 666241 h 734237"/>
                  <a:gd name="connsiteX1897" fmla="*/ 644215 w 1472512"/>
                  <a:gd name="connsiteY1897" fmla="*/ 665693 h 734237"/>
                  <a:gd name="connsiteX1898" fmla="*/ 644214 w 1472512"/>
                  <a:gd name="connsiteY1898" fmla="*/ 665692 h 734237"/>
                  <a:gd name="connsiteX1899" fmla="*/ 644184 w 1472512"/>
                  <a:gd name="connsiteY1899" fmla="*/ 665006 h 734237"/>
                  <a:gd name="connsiteX1900" fmla="*/ 644631 w 1472512"/>
                  <a:gd name="connsiteY1900" fmla="*/ 662578 h 734237"/>
                  <a:gd name="connsiteX1901" fmla="*/ 644251 w 1472512"/>
                  <a:gd name="connsiteY1901" fmla="*/ 660831 h 734237"/>
                  <a:gd name="connsiteX1902" fmla="*/ 643111 w 1472512"/>
                  <a:gd name="connsiteY1902" fmla="*/ 659408 h 734237"/>
                  <a:gd name="connsiteX1903" fmla="*/ 642850 w 1472512"/>
                  <a:gd name="connsiteY1903" fmla="*/ 657901 h 734237"/>
                  <a:gd name="connsiteX1904" fmla="*/ 643467 w 1472512"/>
                  <a:gd name="connsiteY1904" fmla="*/ 656314 h 734237"/>
                  <a:gd name="connsiteX1905" fmla="*/ 643507 w 1472512"/>
                  <a:gd name="connsiteY1905" fmla="*/ 654407 h 734237"/>
                  <a:gd name="connsiteX1906" fmla="*/ 642970 w 1472512"/>
                  <a:gd name="connsiteY1906" fmla="*/ 652180 h 734237"/>
                  <a:gd name="connsiteX1907" fmla="*/ 640675 w 1472512"/>
                  <a:gd name="connsiteY1907" fmla="*/ 649770 h 734237"/>
                  <a:gd name="connsiteX1908" fmla="*/ 636620 w 1472512"/>
                  <a:gd name="connsiteY1908" fmla="*/ 647180 h 734237"/>
                  <a:gd name="connsiteX1909" fmla="*/ 633166 w 1472512"/>
                  <a:gd name="connsiteY1909" fmla="*/ 643393 h 734237"/>
                  <a:gd name="connsiteX1910" fmla="*/ 630314 w 1472512"/>
                  <a:gd name="connsiteY1910" fmla="*/ 638413 h 734237"/>
                  <a:gd name="connsiteX1911" fmla="*/ 627495 w 1472512"/>
                  <a:gd name="connsiteY1911" fmla="*/ 634960 h 734237"/>
                  <a:gd name="connsiteX1912" fmla="*/ 624706 w 1472512"/>
                  <a:gd name="connsiteY1912" fmla="*/ 633034 h 734237"/>
                  <a:gd name="connsiteX1913" fmla="*/ 622799 w 1472512"/>
                  <a:gd name="connsiteY1913" fmla="*/ 630684 h 734237"/>
                  <a:gd name="connsiteX1914" fmla="*/ 621772 w 1472512"/>
                  <a:gd name="connsiteY1914" fmla="*/ 627906 h 734237"/>
                  <a:gd name="connsiteX1915" fmla="*/ 621470 w 1472512"/>
                  <a:gd name="connsiteY1915" fmla="*/ 626293 h 734237"/>
                  <a:gd name="connsiteX1916" fmla="*/ 621888 w 1472512"/>
                  <a:gd name="connsiteY1916" fmla="*/ 625848 h 734237"/>
                  <a:gd name="connsiteX1917" fmla="*/ 620175 w 1472512"/>
                  <a:gd name="connsiteY1917" fmla="*/ 622756 h 734237"/>
                  <a:gd name="connsiteX1918" fmla="*/ 616328 w 1472512"/>
                  <a:gd name="connsiteY1918" fmla="*/ 617018 h 734237"/>
                  <a:gd name="connsiteX1919" fmla="*/ 614117 w 1472512"/>
                  <a:gd name="connsiteY1919" fmla="*/ 612816 h 734237"/>
                  <a:gd name="connsiteX1920" fmla="*/ 613549 w 1472512"/>
                  <a:gd name="connsiteY1920" fmla="*/ 610158 h 734237"/>
                  <a:gd name="connsiteX1921" fmla="*/ 611101 w 1472512"/>
                  <a:gd name="connsiteY1921" fmla="*/ 606992 h 734237"/>
                  <a:gd name="connsiteX1922" fmla="*/ 606777 w 1472512"/>
                  <a:gd name="connsiteY1922" fmla="*/ 603319 h 734237"/>
                  <a:gd name="connsiteX1923" fmla="*/ 604425 w 1472512"/>
                  <a:gd name="connsiteY1923" fmla="*/ 600928 h 734237"/>
                  <a:gd name="connsiteX1924" fmla="*/ 603855 w 1472512"/>
                  <a:gd name="connsiteY1924" fmla="*/ 599269 h 734237"/>
                  <a:gd name="connsiteX1925" fmla="*/ 603846 w 1472512"/>
                  <a:gd name="connsiteY1925" fmla="*/ 599265 h 734237"/>
                  <a:gd name="connsiteX1926" fmla="*/ 597098 w 1472512"/>
                  <a:gd name="connsiteY1926" fmla="*/ 594429 h 734237"/>
                  <a:gd name="connsiteX1927" fmla="*/ 595138 w 1472512"/>
                  <a:gd name="connsiteY1927" fmla="*/ 591405 h 734237"/>
                  <a:gd name="connsiteX1928" fmla="*/ 593607 w 1472512"/>
                  <a:gd name="connsiteY1928" fmla="*/ 590449 h 734237"/>
                  <a:gd name="connsiteX1929" fmla="*/ 591850 w 1472512"/>
                  <a:gd name="connsiteY1929" fmla="*/ 590552 h 734237"/>
                  <a:gd name="connsiteX1930" fmla="*/ 590948 w 1472512"/>
                  <a:gd name="connsiteY1930" fmla="*/ 590262 h 734237"/>
                  <a:gd name="connsiteX1931" fmla="*/ 590902 w 1472512"/>
                  <a:gd name="connsiteY1931" fmla="*/ 589578 h 734237"/>
                  <a:gd name="connsiteX1932" fmla="*/ 590334 w 1472512"/>
                  <a:gd name="connsiteY1932" fmla="*/ 589546 h 734237"/>
                  <a:gd name="connsiteX1933" fmla="*/ 589238 w 1472512"/>
                  <a:gd name="connsiteY1933" fmla="*/ 590167 h 734237"/>
                  <a:gd name="connsiteX1934" fmla="*/ 585649 w 1472512"/>
                  <a:gd name="connsiteY1934" fmla="*/ 590293 h 734237"/>
                  <a:gd name="connsiteX1935" fmla="*/ 579563 w 1472512"/>
                  <a:gd name="connsiteY1935" fmla="*/ 589923 h 734237"/>
                  <a:gd name="connsiteX1936" fmla="*/ 575170 w 1472512"/>
                  <a:gd name="connsiteY1936" fmla="*/ 589100 h 734237"/>
                  <a:gd name="connsiteX1937" fmla="*/ 572470 w 1472512"/>
                  <a:gd name="connsiteY1937" fmla="*/ 587819 h 734237"/>
                  <a:gd name="connsiteX1938" fmla="*/ 570579 w 1472512"/>
                  <a:gd name="connsiteY1938" fmla="*/ 587992 h 734237"/>
                  <a:gd name="connsiteX1939" fmla="*/ 569492 w 1472512"/>
                  <a:gd name="connsiteY1939" fmla="*/ 589620 h 734237"/>
                  <a:gd name="connsiteX1940" fmla="*/ 567180 w 1472512"/>
                  <a:gd name="connsiteY1940" fmla="*/ 590666 h 734237"/>
                  <a:gd name="connsiteX1941" fmla="*/ 563643 w 1472512"/>
                  <a:gd name="connsiteY1941" fmla="*/ 591133 h 734237"/>
                  <a:gd name="connsiteX1942" fmla="*/ 560603 w 1472512"/>
                  <a:gd name="connsiteY1942" fmla="*/ 594154 h 734237"/>
                  <a:gd name="connsiteX1943" fmla="*/ 558057 w 1472512"/>
                  <a:gd name="connsiteY1943" fmla="*/ 599723 h 734237"/>
                  <a:gd name="connsiteX1944" fmla="*/ 556937 w 1472512"/>
                  <a:gd name="connsiteY1944" fmla="*/ 603301 h 734237"/>
                  <a:gd name="connsiteX1945" fmla="*/ 557248 w 1472512"/>
                  <a:gd name="connsiteY1945" fmla="*/ 604895 h 734237"/>
                  <a:gd name="connsiteX1946" fmla="*/ 556577 w 1472512"/>
                  <a:gd name="connsiteY1946" fmla="*/ 606051 h 734237"/>
                  <a:gd name="connsiteX1947" fmla="*/ 554922 w 1472512"/>
                  <a:gd name="connsiteY1947" fmla="*/ 606774 h 734237"/>
                  <a:gd name="connsiteX1948" fmla="*/ 553238 w 1472512"/>
                  <a:gd name="connsiteY1948" fmla="*/ 608390 h 734237"/>
                  <a:gd name="connsiteX1949" fmla="*/ 551525 w 1472512"/>
                  <a:gd name="connsiteY1949" fmla="*/ 610899 h 734237"/>
                  <a:gd name="connsiteX1950" fmla="*/ 549527 w 1472512"/>
                  <a:gd name="connsiteY1950" fmla="*/ 612111 h 734237"/>
                  <a:gd name="connsiteX1951" fmla="*/ 547246 w 1472512"/>
                  <a:gd name="connsiteY1951" fmla="*/ 612031 h 734237"/>
                  <a:gd name="connsiteX1952" fmla="*/ 543031 w 1472512"/>
                  <a:gd name="connsiteY1952" fmla="*/ 610098 h 734237"/>
                  <a:gd name="connsiteX1953" fmla="*/ 536883 w 1472512"/>
                  <a:gd name="connsiteY1953" fmla="*/ 606315 h 734237"/>
                  <a:gd name="connsiteX1954" fmla="*/ 532062 w 1472512"/>
                  <a:gd name="connsiteY1954" fmla="*/ 603975 h 734237"/>
                  <a:gd name="connsiteX1955" fmla="*/ 528572 w 1472512"/>
                  <a:gd name="connsiteY1955" fmla="*/ 603084 h 734237"/>
                  <a:gd name="connsiteX1956" fmla="*/ 525489 w 1472512"/>
                  <a:gd name="connsiteY1956" fmla="*/ 601332 h 734237"/>
                  <a:gd name="connsiteX1957" fmla="*/ 522813 w 1472512"/>
                  <a:gd name="connsiteY1957" fmla="*/ 598722 h 734237"/>
                  <a:gd name="connsiteX1958" fmla="*/ 520346 w 1472512"/>
                  <a:gd name="connsiteY1958" fmla="*/ 596982 h 734237"/>
                  <a:gd name="connsiteX1959" fmla="*/ 518091 w 1472512"/>
                  <a:gd name="connsiteY1959" fmla="*/ 596110 h 734237"/>
                  <a:gd name="connsiteX1960" fmla="*/ 515454 w 1472512"/>
                  <a:gd name="connsiteY1960" fmla="*/ 593214 h 734237"/>
                  <a:gd name="connsiteX1961" fmla="*/ 512438 w 1472512"/>
                  <a:gd name="connsiteY1961" fmla="*/ 588289 h 734237"/>
                  <a:gd name="connsiteX1962" fmla="*/ 510929 w 1472512"/>
                  <a:gd name="connsiteY1962" fmla="*/ 584488 h 734237"/>
                  <a:gd name="connsiteX1963" fmla="*/ 510929 w 1472512"/>
                  <a:gd name="connsiteY1963" fmla="*/ 580468 h 734237"/>
                  <a:gd name="connsiteX1964" fmla="*/ 506987 w 1472512"/>
                  <a:gd name="connsiteY1964" fmla="*/ 571705 h 734237"/>
                  <a:gd name="connsiteX1965" fmla="*/ 504896 w 1472512"/>
                  <a:gd name="connsiteY1965" fmla="*/ 567903 h 734237"/>
                  <a:gd name="connsiteX1966" fmla="*/ 503341 w 1472512"/>
                  <a:gd name="connsiteY1966" fmla="*/ 566149 h 734237"/>
                  <a:gd name="connsiteX1967" fmla="*/ 500297 w 1472512"/>
                  <a:gd name="connsiteY1967" fmla="*/ 564057 h 734237"/>
                  <a:gd name="connsiteX1968" fmla="*/ 495764 w 1472512"/>
                  <a:gd name="connsiteY1968" fmla="*/ 561623 h 734237"/>
                  <a:gd name="connsiteX1969" fmla="*/ 489689 w 1472512"/>
                  <a:gd name="connsiteY1969" fmla="*/ 556752 h 734237"/>
                  <a:gd name="connsiteX1970" fmla="*/ 482069 w 1472512"/>
                  <a:gd name="connsiteY1970" fmla="*/ 549433 h 734237"/>
                  <a:gd name="connsiteX1971" fmla="*/ 476677 w 1472512"/>
                  <a:gd name="connsiteY1971" fmla="*/ 545018 h 734237"/>
                  <a:gd name="connsiteX1972" fmla="*/ 473514 w 1472512"/>
                  <a:gd name="connsiteY1972" fmla="*/ 543520 h 734237"/>
                  <a:gd name="connsiteX1973" fmla="*/ 470768 w 1472512"/>
                  <a:gd name="connsiteY1973" fmla="*/ 540877 h 734237"/>
                  <a:gd name="connsiteX1974" fmla="*/ 468440 w 1472512"/>
                  <a:gd name="connsiteY1974" fmla="*/ 537087 h 734237"/>
                  <a:gd name="connsiteX1975" fmla="*/ 466168 w 1472512"/>
                  <a:gd name="connsiteY1975" fmla="*/ 534675 h 734237"/>
                  <a:gd name="connsiteX1976" fmla="*/ 465928 w 1472512"/>
                  <a:gd name="connsiteY1976" fmla="*/ 534563 h 734237"/>
                  <a:gd name="connsiteX1977" fmla="*/ 465729 w 1472512"/>
                  <a:gd name="connsiteY1977" fmla="*/ 534513 h 734237"/>
                  <a:gd name="connsiteX1978" fmla="*/ 460122 w 1472512"/>
                  <a:gd name="connsiteY1978" fmla="*/ 534480 h 734237"/>
                  <a:gd name="connsiteX1979" fmla="*/ 454514 w 1472512"/>
                  <a:gd name="connsiteY1979" fmla="*/ 534448 h 734237"/>
                  <a:gd name="connsiteX1980" fmla="*/ 448905 w 1472512"/>
                  <a:gd name="connsiteY1980" fmla="*/ 534415 h 734237"/>
                  <a:gd name="connsiteX1981" fmla="*/ 443298 w 1472512"/>
                  <a:gd name="connsiteY1981" fmla="*/ 534384 h 734237"/>
                  <a:gd name="connsiteX1982" fmla="*/ 437691 w 1472512"/>
                  <a:gd name="connsiteY1982" fmla="*/ 534352 h 734237"/>
                  <a:gd name="connsiteX1983" fmla="*/ 432082 w 1472512"/>
                  <a:gd name="connsiteY1983" fmla="*/ 534319 h 734237"/>
                  <a:gd name="connsiteX1984" fmla="*/ 426474 w 1472512"/>
                  <a:gd name="connsiteY1984" fmla="*/ 534287 h 734237"/>
                  <a:gd name="connsiteX1985" fmla="*/ 420867 w 1472512"/>
                  <a:gd name="connsiteY1985" fmla="*/ 534253 h 734237"/>
                  <a:gd name="connsiteX1986" fmla="*/ 420849 w 1472512"/>
                  <a:gd name="connsiteY1986" fmla="*/ 537430 h 734237"/>
                  <a:gd name="connsiteX1987" fmla="*/ 420832 w 1472512"/>
                  <a:gd name="connsiteY1987" fmla="*/ 540603 h 734237"/>
                  <a:gd name="connsiteX1988" fmla="*/ 420816 w 1472512"/>
                  <a:gd name="connsiteY1988" fmla="*/ 543775 h 734237"/>
                  <a:gd name="connsiteX1989" fmla="*/ 420800 w 1472512"/>
                  <a:gd name="connsiteY1989" fmla="*/ 546943 h 734237"/>
                  <a:gd name="connsiteX1990" fmla="*/ 411784 w 1472512"/>
                  <a:gd name="connsiteY1990" fmla="*/ 546960 h 734237"/>
                  <a:gd name="connsiteX1991" fmla="*/ 402767 w 1472512"/>
                  <a:gd name="connsiteY1991" fmla="*/ 546980 h 734237"/>
                  <a:gd name="connsiteX1992" fmla="*/ 393751 w 1472512"/>
                  <a:gd name="connsiteY1992" fmla="*/ 546999 h 734237"/>
                  <a:gd name="connsiteX1993" fmla="*/ 384735 w 1472512"/>
                  <a:gd name="connsiteY1993" fmla="*/ 547017 h 734237"/>
                  <a:gd name="connsiteX1994" fmla="*/ 375720 w 1472512"/>
                  <a:gd name="connsiteY1994" fmla="*/ 547035 h 734237"/>
                  <a:gd name="connsiteX1995" fmla="*/ 366702 w 1472512"/>
                  <a:gd name="connsiteY1995" fmla="*/ 547052 h 734237"/>
                  <a:gd name="connsiteX1996" fmla="*/ 357686 w 1472512"/>
                  <a:gd name="connsiteY1996" fmla="*/ 547072 h 734237"/>
                  <a:gd name="connsiteX1997" fmla="*/ 348670 w 1472512"/>
                  <a:gd name="connsiteY1997" fmla="*/ 547089 h 734237"/>
                  <a:gd name="connsiteX1998" fmla="*/ 336572 w 1472512"/>
                  <a:gd name="connsiteY1998" fmla="*/ 542918 h 734237"/>
                  <a:gd name="connsiteX1999" fmla="*/ 324474 w 1472512"/>
                  <a:gd name="connsiteY1999" fmla="*/ 538746 h 734237"/>
                  <a:gd name="connsiteX2000" fmla="*/ 312375 w 1472512"/>
                  <a:gd name="connsiteY2000" fmla="*/ 534567 h 734237"/>
                  <a:gd name="connsiteX2001" fmla="*/ 300277 w 1472512"/>
                  <a:gd name="connsiteY2001" fmla="*/ 530385 h 734237"/>
                  <a:gd name="connsiteX2002" fmla="*/ 288180 w 1472512"/>
                  <a:gd name="connsiteY2002" fmla="*/ 526198 h 734237"/>
                  <a:gd name="connsiteX2003" fmla="*/ 276082 w 1472512"/>
                  <a:gd name="connsiteY2003" fmla="*/ 522007 h 734237"/>
                  <a:gd name="connsiteX2004" fmla="*/ 263984 w 1472512"/>
                  <a:gd name="connsiteY2004" fmla="*/ 517813 h 734237"/>
                  <a:gd name="connsiteX2005" fmla="*/ 251886 w 1472512"/>
                  <a:gd name="connsiteY2005" fmla="*/ 513613 h 734237"/>
                  <a:gd name="connsiteX2006" fmla="*/ 253109 w 1472512"/>
                  <a:gd name="connsiteY2006" fmla="*/ 512010 h 734237"/>
                  <a:gd name="connsiteX2007" fmla="*/ 254723 w 1472512"/>
                  <a:gd name="connsiteY2007" fmla="*/ 507733 h 734237"/>
                  <a:gd name="connsiteX2008" fmla="*/ 251806 w 1472512"/>
                  <a:gd name="connsiteY2008" fmla="*/ 508034 h 734237"/>
                  <a:gd name="connsiteX2009" fmla="*/ 244507 w 1472512"/>
                  <a:gd name="connsiteY2009" fmla="*/ 508643 h 734237"/>
                  <a:gd name="connsiteX2010" fmla="*/ 237206 w 1472512"/>
                  <a:gd name="connsiteY2010" fmla="*/ 509253 h 734237"/>
                  <a:gd name="connsiteX2011" fmla="*/ 229907 w 1472512"/>
                  <a:gd name="connsiteY2011" fmla="*/ 509860 h 734237"/>
                  <a:gd name="connsiteX2012" fmla="*/ 222608 w 1472512"/>
                  <a:gd name="connsiteY2012" fmla="*/ 510470 h 734237"/>
                  <a:gd name="connsiteX2013" fmla="*/ 215308 w 1472512"/>
                  <a:gd name="connsiteY2013" fmla="*/ 511079 h 734237"/>
                  <a:gd name="connsiteX2014" fmla="*/ 208009 w 1472512"/>
                  <a:gd name="connsiteY2014" fmla="*/ 511685 h 734237"/>
                  <a:gd name="connsiteX2015" fmla="*/ 200710 w 1472512"/>
                  <a:gd name="connsiteY2015" fmla="*/ 512295 h 734237"/>
                  <a:gd name="connsiteX2016" fmla="*/ 193409 w 1472512"/>
                  <a:gd name="connsiteY2016" fmla="*/ 512903 h 734237"/>
                  <a:gd name="connsiteX2017" fmla="*/ 193352 w 1472512"/>
                  <a:gd name="connsiteY2017" fmla="*/ 512722 h 734237"/>
                  <a:gd name="connsiteX2018" fmla="*/ 193176 w 1472512"/>
                  <a:gd name="connsiteY2018" fmla="*/ 509614 h 734237"/>
                  <a:gd name="connsiteX2019" fmla="*/ 191993 w 1472512"/>
                  <a:gd name="connsiteY2019" fmla="*/ 508513 h 734237"/>
                  <a:gd name="connsiteX2020" fmla="*/ 190471 w 1472512"/>
                  <a:gd name="connsiteY2020" fmla="*/ 509191 h 734237"/>
                  <a:gd name="connsiteX2021" fmla="*/ 189775 w 1472512"/>
                  <a:gd name="connsiteY2021" fmla="*/ 505149 h 734237"/>
                  <a:gd name="connsiteX2022" fmla="*/ 190157 w 1472512"/>
                  <a:gd name="connsiteY2022" fmla="*/ 503238 h 734237"/>
                  <a:gd name="connsiteX2023" fmla="*/ 189972 w 1472512"/>
                  <a:gd name="connsiteY2023" fmla="*/ 501374 h 734237"/>
                  <a:gd name="connsiteX2024" fmla="*/ 188547 w 1472512"/>
                  <a:gd name="connsiteY2024" fmla="*/ 496784 h 734237"/>
                  <a:gd name="connsiteX2025" fmla="*/ 184757 w 1472512"/>
                  <a:gd name="connsiteY2025" fmla="*/ 491209 h 734237"/>
                  <a:gd name="connsiteX2026" fmla="*/ 176565 w 1472512"/>
                  <a:gd name="connsiteY2026" fmla="*/ 484269 h 734237"/>
                  <a:gd name="connsiteX2027" fmla="*/ 172392 w 1472512"/>
                  <a:gd name="connsiteY2027" fmla="*/ 481948 h 734237"/>
                  <a:gd name="connsiteX2028" fmla="*/ 169117 w 1472512"/>
                  <a:gd name="connsiteY2028" fmla="*/ 479015 h 734237"/>
                  <a:gd name="connsiteX2029" fmla="*/ 167041 w 1472512"/>
                  <a:gd name="connsiteY2029" fmla="*/ 478198 h 734237"/>
                  <a:gd name="connsiteX2030" fmla="*/ 164426 w 1472512"/>
                  <a:gd name="connsiteY2030" fmla="*/ 477972 h 734237"/>
                  <a:gd name="connsiteX2031" fmla="*/ 163667 w 1472512"/>
                  <a:gd name="connsiteY2031" fmla="*/ 479297 h 734237"/>
                  <a:gd name="connsiteX2032" fmla="*/ 160700 w 1472512"/>
                  <a:gd name="connsiteY2032" fmla="*/ 478391 h 734237"/>
                  <a:gd name="connsiteX2033" fmla="*/ 161145 w 1472512"/>
                  <a:gd name="connsiteY2033" fmla="*/ 475115 h 734237"/>
                  <a:gd name="connsiteX2034" fmla="*/ 158258 w 1472512"/>
                  <a:gd name="connsiteY2034" fmla="*/ 470555 h 734237"/>
                  <a:gd name="connsiteX2035" fmla="*/ 155894 w 1472512"/>
                  <a:gd name="connsiteY2035" fmla="*/ 470050 h 734237"/>
                  <a:gd name="connsiteX2036" fmla="*/ 149946 w 1472512"/>
                  <a:gd name="connsiteY2036" fmla="*/ 470352 h 734237"/>
                  <a:gd name="connsiteX2037" fmla="*/ 141993 w 1472512"/>
                  <a:gd name="connsiteY2037" fmla="*/ 467839 h 734237"/>
                  <a:gd name="connsiteX2038" fmla="*/ 139645 w 1472512"/>
                  <a:gd name="connsiteY2038" fmla="*/ 466344 h 734237"/>
                  <a:gd name="connsiteX2039" fmla="*/ 138832 w 1472512"/>
                  <a:gd name="connsiteY2039" fmla="*/ 463663 h 734237"/>
                  <a:gd name="connsiteX2040" fmla="*/ 135109 w 1472512"/>
                  <a:gd name="connsiteY2040" fmla="*/ 461330 h 734237"/>
                  <a:gd name="connsiteX2041" fmla="*/ 130201 w 1472512"/>
                  <a:gd name="connsiteY2041" fmla="*/ 459046 h 734237"/>
                  <a:gd name="connsiteX2042" fmla="*/ 127468 w 1472512"/>
                  <a:gd name="connsiteY2042" fmla="*/ 459574 h 734237"/>
                  <a:gd name="connsiteX2043" fmla="*/ 123892 w 1472512"/>
                  <a:gd name="connsiteY2043" fmla="*/ 459220 h 734237"/>
                  <a:gd name="connsiteX2044" fmla="*/ 118799 w 1472512"/>
                  <a:gd name="connsiteY2044" fmla="*/ 457570 h 734237"/>
                  <a:gd name="connsiteX2045" fmla="*/ 115826 w 1472512"/>
                  <a:gd name="connsiteY2045" fmla="*/ 457364 h 734237"/>
                  <a:gd name="connsiteX2046" fmla="*/ 110037 w 1472512"/>
                  <a:gd name="connsiteY2046" fmla="*/ 457851 h 734237"/>
                  <a:gd name="connsiteX2047" fmla="*/ 107875 w 1472512"/>
                  <a:gd name="connsiteY2047" fmla="*/ 457504 h 734237"/>
                  <a:gd name="connsiteX2048" fmla="*/ 105870 w 1472512"/>
                  <a:gd name="connsiteY2048" fmla="*/ 455422 h 734237"/>
                  <a:gd name="connsiteX2049" fmla="*/ 103705 w 1472512"/>
                  <a:gd name="connsiteY2049" fmla="*/ 454384 h 734237"/>
                  <a:gd name="connsiteX2050" fmla="*/ 104163 w 1472512"/>
                  <a:gd name="connsiteY2050" fmla="*/ 451821 h 734237"/>
                  <a:gd name="connsiteX2051" fmla="*/ 103886 w 1472512"/>
                  <a:gd name="connsiteY2051" fmla="*/ 449502 h 734237"/>
                  <a:gd name="connsiteX2052" fmla="*/ 104210 w 1472512"/>
                  <a:gd name="connsiteY2052" fmla="*/ 447696 h 734237"/>
                  <a:gd name="connsiteX2053" fmla="*/ 103238 w 1472512"/>
                  <a:gd name="connsiteY2053" fmla="*/ 443733 h 734237"/>
                  <a:gd name="connsiteX2054" fmla="*/ 103988 w 1472512"/>
                  <a:gd name="connsiteY2054" fmla="*/ 440058 h 734237"/>
                  <a:gd name="connsiteX2055" fmla="*/ 103337 w 1472512"/>
                  <a:gd name="connsiteY2055" fmla="*/ 438729 h 734237"/>
                  <a:gd name="connsiteX2056" fmla="*/ 102115 w 1472512"/>
                  <a:gd name="connsiteY2056" fmla="*/ 437709 h 734237"/>
                  <a:gd name="connsiteX2057" fmla="*/ 98279 w 1472512"/>
                  <a:gd name="connsiteY2057" fmla="*/ 436206 h 734237"/>
                  <a:gd name="connsiteX2058" fmla="*/ 97578 w 1472512"/>
                  <a:gd name="connsiteY2058" fmla="*/ 434316 h 734237"/>
                  <a:gd name="connsiteX2059" fmla="*/ 98205 w 1472512"/>
                  <a:gd name="connsiteY2059" fmla="*/ 431695 h 734237"/>
                  <a:gd name="connsiteX2060" fmla="*/ 97201 w 1472512"/>
                  <a:gd name="connsiteY2060" fmla="*/ 429965 h 734237"/>
                  <a:gd name="connsiteX2061" fmla="*/ 94057 w 1472512"/>
                  <a:gd name="connsiteY2061" fmla="*/ 428352 h 734237"/>
                  <a:gd name="connsiteX2062" fmla="*/ 91122 w 1472512"/>
                  <a:gd name="connsiteY2062" fmla="*/ 424686 h 734237"/>
                  <a:gd name="connsiteX2063" fmla="*/ 87399 w 1472512"/>
                  <a:gd name="connsiteY2063" fmla="*/ 422678 h 734237"/>
                  <a:gd name="connsiteX2064" fmla="*/ 85870 w 1472512"/>
                  <a:gd name="connsiteY2064" fmla="*/ 419310 h 734237"/>
                  <a:gd name="connsiteX2065" fmla="*/ 83576 w 1472512"/>
                  <a:gd name="connsiteY2065" fmla="*/ 417228 h 734237"/>
                  <a:gd name="connsiteX2066" fmla="*/ 82779 w 1472512"/>
                  <a:gd name="connsiteY2066" fmla="*/ 415380 h 734237"/>
                  <a:gd name="connsiteX2067" fmla="*/ 77693 w 1472512"/>
                  <a:gd name="connsiteY2067" fmla="*/ 408780 h 734237"/>
                  <a:gd name="connsiteX2068" fmla="*/ 72259 w 1472512"/>
                  <a:gd name="connsiteY2068" fmla="*/ 403618 h 734237"/>
                  <a:gd name="connsiteX2069" fmla="*/ 71422 w 1472512"/>
                  <a:gd name="connsiteY2069" fmla="*/ 400644 h 734237"/>
                  <a:gd name="connsiteX2070" fmla="*/ 71206 w 1472512"/>
                  <a:gd name="connsiteY2070" fmla="*/ 396568 h 734237"/>
                  <a:gd name="connsiteX2071" fmla="*/ 73336 w 1472512"/>
                  <a:gd name="connsiteY2071" fmla="*/ 394078 h 734237"/>
                  <a:gd name="connsiteX2072" fmla="*/ 74488 w 1472512"/>
                  <a:gd name="connsiteY2072" fmla="*/ 391889 h 734237"/>
                  <a:gd name="connsiteX2073" fmla="*/ 74373 w 1472512"/>
                  <a:gd name="connsiteY2073" fmla="*/ 389877 h 734237"/>
                  <a:gd name="connsiteX2074" fmla="*/ 74044 w 1472512"/>
                  <a:gd name="connsiteY2074" fmla="*/ 388405 h 734237"/>
                  <a:gd name="connsiteX2075" fmla="*/ 72175 w 1472512"/>
                  <a:gd name="connsiteY2075" fmla="*/ 385834 h 734237"/>
                  <a:gd name="connsiteX2076" fmla="*/ 64942 w 1472512"/>
                  <a:gd name="connsiteY2076" fmla="*/ 384308 h 734237"/>
                  <a:gd name="connsiteX2077" fmla="*/ 59057 w 1472512"/>
                  <a:gd name="connsiteY2077" fmla="*/ 377949 h 734237"/>
                  <a:gd name="connsiteX2078" fmla="*/ 58712 w 1472512"/>
                  <a:gd name="connsiteY2078" fmla="*/ 373080 h 734237"/>
                  <a:gd name="connsiteX2079" fmla="*/ 56396 w 1472512"/>
                  <a:gd name="connsiteY2079" fmla="*/ 368089 h 734237"/>
                  <a:gd name="connsiteX2080" fmla="*/ 56365 w 1472512"/>
                  <a:gd name="connsiteY2080" fmla="*/ 364841 h 734237"/>
                  <a:gd name="connsiteX2081" fmla="*/ 56013 w 1472512"/>
                  <a:gd name="connsiteY2081" fmla="*/ 361324 h 734237"/>
                  <a:gd name="connsiteX2082" fmla="*/ 57763 w 1472512"/>
                  <a:gd name="connsiteY2082" fmla="*/ 360555 h 734237"/>
                  <a:gd name="connsiteX2083" fmla="*/ 59333 w 1472512"/>
                  <a:gd name="connsiteY2083" fmla="*/ 360836 h 734237"/>
                  <a:gd name="connsiteX2084" fmla="*/ 59175 w 1472512"/>
                  <a:gd name="connsiteY2084" fmla="*/ 362236 h 734237"/>
                  <a:gd name="connsiteX2085" fmla="*/ 59699 w 1472512"/>
                  <a:gd name="connsiteY2085" fmla="*/ 364750 h 734237"/>
                  <a:gd name="connsiteX2086" fmla="*/ 61540 w 1472512"/>
                  <a:gd name="connsiteY2086" fmla="*/ 366638 h 734237"/>
                  <a:gd name="connsiteX2087" fmla="*/ 63297 w 1472512"/>
                  <a:gd name="connsiteY2087" fmla="*/ 367461 h 734237"/>
                  <a:gd name="connsiteX2088" fmla="*/ 64896 w 1472512"/>
                  <a:gd name="connsiteY2088" fmla="*/ 369296 h 734237"/>
                  <a:gd name="connsiteX2089" fmla="*/ 66094 w 1472512"/>
                  <a:gd name="connsiteY2089" fmla="*/ 369850 h 734237"/>
                  <a:gd name="connsiteX2090" fmla="*/ 67331 w 1472512"/>
                  <a:gd name="connsiteY2090" fmla="*/ 369984 h 734237"/>
                  <a:gd name="connsiteX2091" fmla="*/ 66668 w 1472512"/>
                  <a:gd name="connsiteY2091" fmla="*/ 368808 h 734237"/>
                  <a:gd name="connsiteX2092" fmla="*/ 65964 w 1472512"/>
                  <a:gd name="connsiteY2092" fmla="*/ 368054 h 734237"/>
                  <a:gd name="connsiteX2093" fmla="*/ 65098 w 1472512"/>
                  <a:gd name="connsiteY2093" fmla="*/ 365617 h 734237"/>
                  <a:gd name="connsiteX2094" fmla="*/ 63462 w 1472512"/>
                  <a:gd name="connsiteY2094" fmla="*/ 362503 h 734237"/>
                  <a:gd name="connsiteX2095" fmla="*/ 61580 w 1472512"/>
                  <a:gd name="connsiteY2095" fmla="*/ 360783 h 734237"/>
                  <a:gd name="connsiteX2096" fmla="*/ 60624 w 1472512"/>
                  <a:gd name="connsiteY2096" fmla="*/ 357644 h 734237"/>
                  <a:gd name="connsiteX2097" fmla="*/ 59807 w 1472512"/>
                  <a:gd name="connsiteY2097" fmla="*/ 356916 h 734237"/>
                  <a:gd name="connsiteX2098" fmla="*/ 59297 w 1472512"/>
                  <a:gd name="connsiteY2098" fmla="*/ 355751 h 734237"/>
                  <a:gd name="connsiteX2099" fmla="*/ 61115 w 1472512"/>
                  <a:gd name="connsiteY2099" fmla="*/ 354369 h 734237"/>
                  <a:gd name="connsiteX2100" fmla="*/ 63594 w 1472512"/>
                  <a:gd name="connsiteY2100" fmla="*/ 353384 h 734237"/>
                  <a:gd name="connsiteX2101" fmla="*/ 66919 w 1472512"/>
                  <a:gd name="connsiteY2101" fmla="*/ 353118 h 734237"/>
                  <a:gd name="connsiteX2102" fmla="*/ 76355 w 1472512"/>
                  <a:gd name="connsiteY2102" fmla="*/ 353578 h 734237"/>
                  <a:gd name="connsiteX2103" fmla="*/ 78363 w 1472512"/>
                  <a:gd name="connsiteY2103" fmla="*/ 352774 h 734237"/>
                  <a:gd name="connsiteX2104" fmla="*/ 80023 w 1472512"/>
                  <a:gd name="connsiteY2104" fmla="*/ 353037 h 734237"/>
                  <a:gd name="connsiteX2105" fmla="*/ 81239 w 1472512"/>
                  <a:gd name="connsiteY2105" fmla="*/ 352932 h 734237"/>
                  <a:gd name="connsiteX2106" fmla="*/ 78678 w 1472512"/>
                  <a:gd name="connsiteY2106" fmla="*/ 352102 h 734237"/>
                  <a:gd name="connsiteX2107" fmla="*/ 77237 w 1472512"/>
                  <a:gd name="connsiteY2107" fmla="*/ 352372 h 734237"/>
                  <a:gd name="connsiteX2108" fmla="*/ 75544 w 1472512"/>
                  <a:gd name="connsiteY2108" fmla="*/ 352206 h 734237"/>
                  <a:gd name="connsiteX2109" fmla="*/ 72173 w 1472512"/>
                  <a:gd name="connsiteY2109" fmla="*/ 352367 h 734237"/>
                  <a:gd name="connsiteX2110" fmla="*/ 70810 w 1472512"/>
                  <a:gd name="connsiteY2110" fmla="*/ 352017 h 734237"/>
                  <a:gd name="connsiteX2111" fmla="*/ 69306 w 1472512"/>
                  <a:gd name="connsiteY2111" fmla="*/ 351032 h 734237"/>
                  <a:gd name="connsiteX2112" fmla="*/ 68327 w 1472512"/>
                  <a:gd name="connsiteY2112" fmla="*/ 350930 h 734237"/>
                  <a:gd name="connsiteX2113" fmla="*/ 65208 w 1472512"/>
                  <a:gd name="connsiteY2113" fmla="*/ 352647 h 734237"/>
                  <a:gd name="connsiteX2114" fmla="*/ 63816 w 1472512"/>
                  <a:gd name="connsiteY2114" fmla="*/ 352439 h 734237"/>
                  <a:gd name="connsiteX2115" fmla="*/ 60530 w 1472512"/>
                  <a:gd name="connsiteY2115" fmla="*/ 350565 h 734237"/>
                  <a:gd name="connsiteX2116" fmla="*/ 59096 w 1472512"/>
                  <a:gd name="connsiteY2116" fmla="*/ 350300 h 734237"/>
                  <a:gd name="connsiteX2117" fmla="*/ 56787 w 1472512"/>
                  <a:gd name="connsiteY2117" fmla="*/ 351367 h 734237"/>
                  <a:gd name="connsiteX2118" fmla="*/ 56505 w 1472512"/>
                  <a:gd name="connsiteY2118" fmla="*/ 355960 h 734237"/>
                  <a:gd name="connsiteX2119" fmla="*/ 57221 w 1472512"/>
                  <a:gd name="connsiteY2119" fmla="*/ 359369 h 734237"/>
                  <a:gd name="connsiteX2120" fmla="*/ 55832 w 1472512"/>
                  <a:gd name="connsiteY2120" fmla="*/ 359716 h 734237"/>
                  <a:gd name="connsiteX2121" fmla="*/ 54229 w 1472512"/>
                  <a:gd name="connsiteY2121" fmla="*/ 358309 h 734237"/>
                  <a:gd name="connsiteX2122" fmla="*/ 51766 w 1472512"/>
                  <a:gd name="connsiteY2122" fmla="*/ 357474 h 734237"/>
                  <a:gd name="connsiteX2123" fmla="*/ 49733 w 1472512"/>
                  <a:gd name="connsiteY2123" fmla="*/ 356193 h 734237"/>
                  <a:gd name="connsiteX2124" fmla="*/ 46862 w 1472512"/>
                  <a:gd name="connsiteY2124" fmla="*/ 353815 h 734237"/>
                  <a:gd name="connsiteX2125" fmla="*/ 45355 w 1472512"/>
                  <a:gd name="connsiteY2125" fmla="*/ 352945 h 734237"/>
                  <a:gd name="connsiteX2126" fmla="*/ 43652 w 1472512"/>
                  <a:gd name="connsiteY2126" fmla="*/ 354922 h 734237"/>
                  <a:gd name="connsiteX2127" fmla="*/ 43583 w 1472512"/>
                  <a:gd name="connsiteY2127" fmla="*/ 354015 h 734237"/>
                  <a:gd name="connsiteX2128" fmla="*/ 44433 w 1472512"/>
                  <a:gd name="connsiteY2128" fmla="*/ 351716 h 734237"/>
                  <a:gd name="connsiteX2129" fmla="*/ 44192 w 1472512"/>
                  <a:gd name="connsiteY2129" fmla="*/ 347856 h 734237"/>
                  <a:gd name="connsiteX2130" fmla="*/ 46763 w 1472512"/>
                  <a:gd name="connsiteY2130" fmla="*/ 350936 h 734237"/>
                  <a:gd name="connsiteX2131" fmla="*/ 45964 w 1472512"/>
                  <a:gd name="connsiteY2131" fmla="*/ 348767 h 734237"/>
                  <a:gd name="connsiteX2132" fmla="*/ 43964 w 1472512"/>
                  <a:gd name="connsiteY2132" fmla="*/ 346382 h 734237"/>
                  <a:gd name="connsiteX2133" fmla="*/ 42443 w 1472512"/>
                  <a:gd name="connsiteY2133" fmla="*/ 345552 h 734237"/>
                  <a:gd name="connsiteX2134" fmla="*/ 40531 w 1472512"/>
                  <a:gd name="connsiteY2134" fmla="*/ 341274 h 734237"/>
                  <a:gd name="connsiteX2135" fmla="*/ 36229 w 1472512"/>
                  <a:gd name="connsiteY2135" fmla="*/ 338703 h 734237"/>
                  <a:gd name="connsiteX2136" fmla="*/ 32784 w 1472512"/>
                  <a:gd name="connsiteY2136" fmla="*/ 334548 h 734237"/>
                  <a:gd name="connsiteX2137" fmla="*/ 25735 w 1472512"/>
                  <a:gd name="connsiteY2137" fmla="*/ 327652 h 734237"/>
                  <a:gd name="connsiteX2138" fmla="*/ 25265 w 1472512"/>
                  <a:gd name="connsiteY2138" fmla="*/ 321575 h 734237"/>
                  <a:gd name="connsiteX2139" fmla="*/ 22696 w 1472512"/>
                  <a:gd name="connsiteY2139" fmla="*/ 313882 h 734237"/>
                  <a:gd name="connsiteX2140" fmla="*/ 23779 w 1472512"/>
                  <a:gd name="connsiteY2140" fmla="*/ 309497 h 734237"/>
                  <a:gd name="connsiteX2141" fmla="*/ 23634 w 1472512"/>
                  <a:gd name="connsiteY2141" fmla="*/ 306386 h 734237"/>
                  <a:gd name="connsiteX2142" fmla="*/ 22374 w 1472512"/>
                  <a:gd name="connsiteY2142" fmla="*/ 301683 h 734237"/>
                  <a:gd name="connsiteX2143" fmla="*/ 21058 w 1472512"/>
                  <a:gd name="connsiteY2143" fmla="*/ 299120 h 734237"/>
                  <a:gd name="connsiteX2144" fmla="*/ 15342 w 1472512"/>
                  <a:gd name="connsiteY2144" fmla="*/ 292091 h 734237"/>
                  <a:gd name="connsiteX2145" fmla="*/ 9844 w 1472512"/>
                  <a:gd name="connsiteY2145" fmla="*/ 287348 h 734237"/>
                  <a:gd name="connsiteX2146" fmla="*/ 9015 w 1472512"/>
                  <a:gd name="connsiteY2146" fmla="*/ 283755 h 734237"/>
                  <a:gd name="connsiteX2147" fmla="*/ 8630 w 1472512"/>
                  <a:gd name="connsiteY2147" fmla="*/ 280128 h 734237"/>
                  <a:gd name="connsiteX2148" fmla="*/ 9833 w 1472512"/>
                  <a:gd name="connsiteY2148" fmla="*/ 276897 h 734237"/>
                  <a:gd name="connsiteX2149" fmla="*/ 10873 w 1472512"/>
                  <a:gd name="connsiteY2149" fmla="*/ 273495 h 734237"/>
                  <a:gd name="connsiteX2150" fmla="*/ 11634 w 1472512"/>
                  <a:gd name="connsiteY2150" fmla="*/ 272596 h 734237"/>
                  <a:gd name="connsiteX2151" fmla="*/ 11929 w 1472512"/>
                  <a:gd name="connsiteY2151" fmla="*/ 272970 h 734237"/>
                  <a:gd name="connsiteX2152" fmla="*/ 11718 w 1472512"/>
                  <a:gd name="connsiteY2152" fmla="*/ 273696 h 734237"/>
                  <a:gd name="connsiteX2153" fmla="*/ 12498 w 1472512"/>
                  <a:gd name="connsiteY2153" fmla="*/ 273920 h 734237"/>
                  <a:gd name="connsiteX2154" fmla="*/ 12793 w 1472512"/>
                  <a:gd name="connsiteY2154" fmla="*/ 272418 h 734237"/>
                  <a:gd name="connsiteX2155" fmla="*/ 13258 w 1472512"/>
                  <a:gd name="connsiteY2155" fmla="*/ 271643 h 734237"/>
                  <a:gd name="connsiteX2156" fmla="*/ 12435 w 1472512"/>
                  <a:gd name="connsiteY2156" fmla="*/ 271542 h 734237"/>
                  <a:gd name="connsiteX2157" fmla="*/ 12519 w 1472512"/>
                  <a:gd name="connsiteY2157" fmla="*/ 271067 h 734237"/>
                  <a:gd name="connsiteX2158" fmla="*/ 13011 w 1472512"/>
                  <a:gd name="connsiteY2158" fmla="*/ 270118 h 734237"/>
                  <a:gd name="connsiteX2159" fmla="*/ 14716 w 1472512"/>
                  <a:gd name="connsiteY2159" fmla="*/ 265639 h 734237"/>
                  <a:gd name="connsiteX2160" fmla="*/ 14539 w 1472512"/>
                  <a:gd name="connsiteY2160" fmla="*/ 259987 h 734237"/>
                  <a:gd name="connsiteX2161" fmla="*/ 16363 w 1472512"/>
                  <a:gd name="connsiteY2161" fmla="*/ 253043 h 734237"/>
                  <a:gd name="connsiteX2162" fmla="*/ 16276 w 1472512"/>
                  <a:gd name="connsiteY2162" fmla="*/ 250747 h 734237"/>
                  <a:gd name="connsiteX2163" fmla="*/ 15109 w 1472512"/>
                  <a:gd name="connsiteY2163" fmla="*/ 245800 h 734237"/>
                  <a:gd name="connsiteX2164" fmla="*/ 13947 w 1472512"/>
                  <a:gd name="connsiteY2164" fmla="*/ 242830 h 734237"/>
                  <a:gd name="connsiteX2165" fmla="*/ 11870 w 1472512"/>
                  <a:gd name="connsiteY2165" fmla="*/ 240723 h 734237"/>
                  <a:gd name="connsiteX2166" fmla="*/ 12786 w 1472512"/>
                  <a:gd name="connsiteY2166" fmla="*/ 237646 h 734237"/>
                  <a:gd name="connsiteX2167" fmla="*/ 12712 w 1472512"/>
                  <a:gd name="connsiteY2167" fmla="*/ 234706 h 734237"/>
                  <a:gd name="connsiteX2168" fmla="*/ 9047 w 1472512"/>
                  <a:gd name="connsiteY2168" fmla="*/ 230469 h 734237"/>
                  <a:gd name="connsiteX2169" fmla="*/ 7651 w 1472512"/>
                  <a:gd name="connsiteY2169" fmla="*/ 224900 h 734237"/>
                  <a:gd name="connsiteX2170" fmla="*/ 7383 w 1472512"/>
                  <a:gd name="connsiteY2170" fmla="*/ 222544 h 734237"/>
                  <a:gd name="connsiteX2171" fmla="*/ 7751 w 1472512"/>
                  <a:gd name="connsiteY2171" fmla="*/ 216309 h 734237"/>
                  <a:gd name="connsiteX2172" fmla="*/ 6790 w 1472512"/>
                  <a:gd name="connsiteY2172" fmla="*/ 213645 h 734237"/>
                  <a:gd name="connsiteX2173" fmla="*/ 4345 w 1472512"/>
                  <a:gd name="connsiteY2173" fmla="*/ 209244 h 734237"/>
                  <a:gd name="connsiteX2174" fmla="*/ 5391 w 1472512"/>
                  <a:gd name="connsiteY2174" fmla="*/ 205415 h 734237"/>
                  <a:gd name="connsiteX2175" fmla="*/ 6518 w 1472512"/>
                  <a:gd name="connsiteY2175" fmla="*/ 203082 h 734237"/>
                  <a:gd name="connsiteX2176" fmla="*/ 9269 w 1472512"/>
                  <a:gd name="connsiteY2176" fmla="*/ 192884 h 734237"/>
                  <a:gd name="connsiteX2177" fmla="*/ 9932 w 1472512"/>
                  <a:gd name="connsiteY2177" fmla="*/ 192061 h 734237"/>
                  <a:gd name="connsiteX2178" fmla="*/ 11084 w 1472512"/>
                  <a:gd name="connsiteY2178" fmla="*/ 192086 h 734237"/>
                  <a:gd name="connsiteX2179" fmla="*/ 13088 w 1472512"/>
                  <a:gd name="connsiteY2179" fmla="*/ 190349 h 734237"/>
                  <a:gd name="connsiteX2180" fmla="*/ 12163 w 1472512"/>
                  <a:gd name="connsiteY2180" fmla="*/ 189944 h 734237"/>
                  <a:gd name="connsiteX2181" fmla="*/ 10764 w 1472512"/>
                  <a:gd name="connsiteY2181" fmla="*/ 190772 h 734237"/>
                  <a:gd name="connsiteX2182" fmla="*/ 12008 w 1472512"/>
                  <a:gd name="connsiteY2182" fmla="*/ 186724 h 734237"/>
                  <a:gd name="connsiteX2183" fmla="*/ 13407 w 1472512"/>
                  <a:gd name="connsiteY2183" fmla="*/ 183257 h 734237"/>
                  <a:gd name="connsiteX2184" fmla="*/ 14317 w 1472512"/>
                  <a:gd name="connsiteY2184" fmla="*/ 182006 h 734237"/>
                  <a:gd name="connsiteX2185" fmla="*/ 14778 w 1472512"/>
                  <a:gd name="connsiteY2185" fmla="*/ 170659 h 734237"/>
                  <a:gd name="connsiteX2186" fmla="*/ 15581 w 1472512"/>
                  <a:gd name="connsiteY2186" fmla="*/ 161960 h 734237"/>
                  <a:gd name="connsiteX2187" fmla="*/ 16901 w 1472512"/>
                  <a:gd name="connsiteY2187" fmla="*/ 159086 h 734237"/>
                  <a:gd name="connsiteX2188" fmla="*/ 16442 w 1472512"/>
                  <a:gd name="connsiteY2188" fmla="*/ 156120 h 734237"/>
                  <a:gd name="connsiteX2189" fmla="*/ 16975 w 1472512"/>
                  <a:gd name="connsiteY2189" fmla="*/ 152095 h 734237"/>
                  <a:gd name="connsiteX2190" fmla="*/ 16602 w 1472512"/>
                  <a:gd name="connsiteY2190" fmla="*/ 148023 h 734237"/>
                  <a:gd name="connsiteX2191" fmla="*/ 19422 w 1472512"/>
                  <a:gd name="connsiteY2191" fmla="*/ 128358 h 734237"/>
                  <a:gd name="connsiteX2192" fmla="*/ 19053 w 1472512"/>
                  <a:gd name="connsiteY2192" fmla="*/ 125975 h 734237"/>
                  <a:gd name="connsiteX2193" fmla="*/ 19914 w 1472512"/>
                  <a:gd name="connsiteY2193" fmla="*/ 122776 h 734237"/>
                  <a:gd name="connsiteX2194" fmla="*/ 19100 w 1472512"/>
                  <a:gd name="connsiteY2194" fmla="*/ 114327 h 734237"/>
                  <a:gd name="connsiteX2195" fmla="*/ 19460 w 1472512"/>
                  <a:gd name="connsiteY2195" fmla="*/ 104847 h 734237"/>
                  <a:gd name="connsiteX2196" fmla="*/ 18743 w 1472512"/>
                  <a:gd name="connsiteY2196" fmla="*/ 103642 h 734237"/>
                  <a:gd name="connsiteX2197" fmla="*/ 18384 w 1472512"/>
                  <a:gd name="connsiteY2197" fmla="*/ 102331 h 734237"/>
                  <a:gd name="connsiteX2198" fmla="*/ 19057 w 1472512"/>
                  <a:gd name="connsiteY2198" fmla="*/ 102139 h 734237"/>
                  <a:gd name="connsiteX2199" fmla="*/ 20365 w 1472512"/>
                  <a:gd name="connsiteY2199" fmla="*/ 103519 h 734237"/>
                  <a:gd name="connsiteX2200" fmla="*/ 26436 w 1472512"/>
                  <a:gd name="connsiteY2200" fmla="*/ 103504 h 734237"/>
                  <a:gd name="connsiteX2201" fmla="*/ 30314 w 1472512"/>
                  <a:gd name="connsiteY2201" fmla="*/ 102228 h 734237"/>
                  <a:gd name="connsiteX2202" fmla="*/ 31724 w 1472512"/>
                  <a:gd name="connsiteY2202" fmla="*/ 102650 h 734237"/>
                  <a:gd name="connsiteX2203" fmla="*/ 33359 w 1472512"/>
                  <a:gd name="connsiteY2203" fmla="*/ 104388 h 734237"/>
                  <a:gd name="connsiteX2204" fmla="*/ 35418 w 1472512"/>
                  <a:gd name="connsiteY2204" fmla="*/ 104738 h 734237"/>
                  <a:gd name="connsiteX2205" fmla="*/ 37993 w 1472512"/>
                  <a:gd name="connsiteY2205" fmla="*/ 104431 h 734237"/>
                  <a:gd name="connsiteX2206" fmla="*/ 37209 w 1472512"/>
                  <a:gd name="connsiteY2206" fmla="*/ 103995 h 734237"/>
                  <a:gd name="connsiteX2207" fmla="*/ 36002 w 1472512"/>
                  <a:gd name="connsiteY2207" fmla="*/ 103881 h 734237"/>
                  <a:gd name="connsiteX2208" fmla="*/ 33296 w 1472512"/>
                  <a:gd name="connsiteY2208" fmla="*/ 102281 h 734237"/>
                  <a:gd name="connsiteX2209" fmla="*/ 31763 w 1472512"/>
                  <a:gd name="connsiteY2209" fmla="*/ 100679 h 734237"/>
                  <a:gd name="connsiteX2210" fmla="*/ 27031 w 1472512"/>
                  <a:gd name="connsiteY2210" fmla="*/ 100788 h 734237"/>
                  <a:gd name="connsiteX2211" fmla="*/ 26060 w 1472512"/>
                  <a:gd name="connsiteY2211" fmla="*/ 99761 h 734237"/>
                  <a:gd name="connsiteX2212" fmla="*/ 20771 w 1472512"/>
                  <a:gd name="connsiteY2212" fmla="*/ 100787 h 734237"/>
                  <a:gd name="connsiteX2213" fmla="*/ 19137 w 1472512"/>
                  <a:gd name="connsiteY2213" fmla="*/ 99734 h 734237"/>
                  <a:gd name="connsiteX2214" fmla="*/ 16256 w 1472512"/>
                  <a:gd name="connsiteY2214" fmla="*/ 100413 h 734237"/>
                  <a:gd name="connsiteX2215" fmla="*/ 16960 w 1472512"/>
                  <a:gd name="connsiteY2215" fmla="*/ 97426 h 734237"/>
                  <a:gd name="connsiteX2216" fmla="*/ 16830 w 1472512"/>
                  <a:gd name="connsiteY2216" fmla="*/ 93662 h 734237"/>
                  <a:gd name="connsiteX2217" fmla="*/ 16980 w 1472512"/>
                  <a:gd name="connsiteY2217" fmla="*/ 89991 h 734237"/>
                  <a:gd name="connsiteX2218" fmla="*/ 17692 w 1472512"/>
                  <a:gd name="connsiteY2218" fmla="*/ 92673 h 734237"/>
                  <a:gd name="connsiteX2219" fmla="*/ 19484 w 1472512"/>
                  <a:gd name="connsiteY2219" fmla="*/ 95517 h 734237"/>
                  <a:gd name="connsiteX2220" fmla="*/ 20345 w 1472512"/>
                  <a:gd name="connsiteY2220" fmla="*/ 92290 h 734237"/>
                  <a:gd name="connsiteX2221" fmla="*/ 20938 w 1472512"/>
                  <a:gd name="connsiteY2221" fmla="*/ 88229 h 734237"/>
                  <a:gd name="connsiteX2222" fmla="*/ 19190 w 1472512"/>
                  <a:gd name="connsiteY2222" fmla="*/ 86667 h 734237"/>
                  <a:gd name="connsiteX2223" fmla="*/ 16282 w 1472512"/>
                  <a:gd name="connsiteY2223" fmla="*/ 85509 h 734237"/>
                  <a:gd name="connsiteX2224" fmla="*/ 15240 w 1472512"/>
                  <a:gd name="connsiteY2224" fmla="*/ 81720 h 734237"/>
                  <a:gd name="connsiteX2225" fmla="*/ 22119 w 1472512"/>
                  <a:gd name="connsiteY2225" fmla="*/ 78488 h 734237"/>
                  <a:gd name="connsiteX2226" fmla="*/ 18467 w 1472512"/>
                  <a:gd name="connsiteY2226" fmla="*/ 77801 h 734237"/>
                  <a:gd name="connsiteX2227" fmla="*/ 17035 w 1472512"/>
                  <a:gd name="connsiteY2227" fmla="*/ 76347 h 734237"/>
                  <a:gd name="connsiteX2228" fmla="*/ 15261 w 1472512"/>
                  <a:gd name="connsiteY2228" fmla="*/ 76169 h 734237"/>
                  <a:gd name="connsiteX2229" fmla="*/ 15132 w 1472512"/>
                  <a:gd name="connsiteY2229" fmla="*/ 77291 h 734237"/>
                  <a:gd name="connsiteX2230" fmla="*/ 14559 w 1472512"/>
                  <a:gd name="connsiteY2230" fmla="*/ 78761 h 734237"/>
                  <a:gd name="connsiteX2231" fmla="*/ 13938 w 1472512"/>
                  <a:gd name="connsiteY2231" fmla="*/ 76808 h 734237"/>
                  <a:gd name="connsiteX2232" fmla="*/ 13761 w 1472512"/>
                  <a:gd name="connsiteY2232" fmla="*/ 74511 h 734237"/>
                  <a:gd name="connsiteX2233" fmla="*/ 13038 w 1472512"/>
                  <a:gd name="connsiteY2233" fmla="*/ 70579 h 734237"/>
                  <a:gd name="connsiteX2234" fmla="*/ 10221 w 1472512"/>
                  <a:gd name="connsiteY2234" fmla="*/ 64247 h 734237"/>
                  <a:gd name="connsiteX2235" fmla="*/ 8519 w 1472512"/>
                  <a:gd name="connsiteY2235" fmla="*/ 56018 h 734237"/>
                  <a:gd name="connsiteX2236" fmla="*/ 6374 w 1472512"/>
                  <a:gd name="connsiteY2236" fmla="*/ 51944 h 734237"/>
                  <a:gd name="connsiteX2237" fmla="*/ 2268 w 1472512"/>
                  <a:gd name="connsiteY2237" fmla="*/ 48047 h 734237"/>
                  <a:gd name="connsiteX2238" fmla="*/ 1195 w 1472512"/>
                  <a:gd name="connsiteY2238" fmla="*/ 45771 h 734237"/>
                  <a:gd name="connsiteX2239" fmla="*/ 211 w 1472512"/>
                  <a:gd name="connsiteY2239" fmla="*/ 39988 h 734237"/>
                  <a:gd name="connsiteX2240" fmla="*/ 764 w 1472512"/>
                  <a:gd name="connsiteY2240" fmla="*/ 35608 h 734237"/>
                  <a:gd name="connsiteX2241" fmla="*/ 0 w 1472512"/>
                  <a:gd name="connsiteY2241" fmla="*/ 32521 h 734237"/>
                  <a:gd name="connsiteX2242" fmla="*/ 1973 w 1472512"/>
                  <a:gd name="connsiteY2242" fmla="*/ 32695 h 734237"/>
                  <a:gd name="connsiteX2243" fmla="*/ 7166 w 1472512"/>
                  <a:gd name="connsiteY2243" fmla="*/ 35121 h 734237"/>
                  <a:gd name="connsiteX2244" fmla="*/ 13634 w 1472512"/>
                  <a:gd name="connsiteY2244" fmla="*/ 37027 h 734237"/>
                  <a:gd name="connsiteX2245" fmla="*/ 15591 w 1472512"/>
                  <a:gd name="connsiteY2245" fmla="*/ 38411 h 734237"/>
                  <a:gd name="connsiteX2246" fmla="*/ 18729 w 1472512"/>
                  <a:gd name="connsiteY2246" fmla="*/ 39440 h 734237"/>
                  <a:gd name="connsiteX2247" fmla="*/ 36110 w 1472512"/>
                  <a:gd name="connsiteY2247" fmla="*/ 41035 h 734237"/>
                  <a:gd name="connsiteX2248" fmla="*/ 37246 w 1472512"/>
                  <a:gd name="connsiteY2248" fmla="*/ 40882 h 734237"/>
                  <a:gd name="connsiteX2249" fmla="*/ 39492 w 1472512"/>
                  <a:gd name="connsiteY2249" fmla="*/ 39894 h 734237"/>
                  <a:gd name="connsiteX2250" fmla="*/ 40447 w 1472512"/>
                  <a:gd name="connsiteY2250" fmla="*/ 40012 h 734237"/>
                  <a:gd name="connsiteX2251" fmla="*/ 43003 w 1472512"/>
                  <a:gd name="connsiteY2251" fmla="*/ 42272 h 734237"/>
                  <a:gd name="connsiteX2252" fmla="*/ 44288 w 1472512"/>
                  <a:gd name="connsiteY2252" fmla="*/ 42543 h 734237"/>
                  <a:gd name="connsiteX2253" fmla="*/ 45945 w 1472512"/>
                  <a:gd name="connsiteY2253" fmla="*/ 42423 h 734237"/>
                  <a:gd name="connsiteX2254" fmla="*/ 47170 w 1472512"/>
                  <a:gd name="connsiteY2254" fmla="*/ 41996 h 734237"/>
                  <a:gd name="connsiteX2255" fmla="*/ 49269 w 1472512"/>
                  <a:gd name="connsiteY2255" fmla="*/ 40447 h 734237"/>
                  <a:gd name="connsiteX2256" fmla="*/ 49551 w 1472512"/>
                  <a:gd name="connsiteY2256" fmla="*/ 41020 h 734237"/>
                  <a:gd name="connsiteX2257" fmla="*/ 49511 w 1472512"/>
                  <a:gd name="connsiteY2257" fmla="*/ 42455 h 734237"/>
                  <a:gd name="connsiteX2258" fmla="*/ 50260 w 1472512"/>
                  <a:gd name="connsiteY2258" fmla="*/ 44498 h 734237"/>
                  <a:gd name="connsiteX2259" fmla="*/ 51798 w 1472512"/>
                  <a:gd name="connsiteY2259" fmla="*/ 47148 h 734237"/>
                  <a:gd name="connsiteX2260" fmla="*/ 52380 w 1472512"/>
                  <a:gd name="connsiteY2260" fmla="*/ 48795 h 734237"/>
                  <a:gd name="connsiteX2261" fmla="*/ 49274 w 1472512"/>
                  <a:gd name="connsiteY2261" fmla="*/ 53431 h 734237"/>
                  <a:gd name="connsiteX2262" fmla="*/ 48678 w 1472512"/>
                  <a:gd name="connsiteY2262" fmla="*/ 53531 h 734237"/>
                  <a:gd name="connsiteX2263" fmla="*/ 48586 w 1472512"/>
                  <a:gd name="connsiteY2263" fmla="*/ 51962 h 734237"/>
                  <a:gd name="connsiteX2264" fmla="*/ 48177 w 1472512"/>
                  <a:gd name="connsiteY2264" fmla="*/ 51654 h 734237"/>
                  <a:gd name="connsiteX2265" fmla="*/ 42330 w 1472512"/>
                  <a:gd name="connsiteY2265" fmla="*/ 59477 h 734237"/>
                  <a:gd name="connsiteX2266" fmla="*/ 40278 w 1472512"/>
                  <a:gd name="connsiteY2266" fmla="*/ 63173 h 734237"/>
                  <a:gd name="connsiteX2267" fmla="*/ 40073 w 1472512"/>
                  <a:gd name="connsiteY2267" fmla="*/ 64845 h 734237"/>
                  <a:gd name="connsiteX2268" fmla="*/ 40143 w 1472512"/>
                  <a:gd name="connsiteY2268" fmla="*/ 65823 h 734237"/>
                  <a:gd name="connsiteX2269" fmla="*/ 40963 w 1472512"/>
                  <a:gd name="connsiteY2269" fmla="*/ 66064 h 734237"/>
                  <a:gd name="connsiteX2270" fmla="*/ 42832 w 1472512"/>
                  <a:gd name="connsiteY2270" fmla="*/ 65681 h 734237"/>
                  <a:gd name="connsiteX2271" fmla="*/ 45607 w 1472512"/>
                  <a:gd name="connsiteY2271" fmla="*/ 64147 h 734237"/>
                  <a:gd name="connsiteX2272" fmla="*/ 45740 w 1472512"/>
                  <a:gd name="connsiteY2272" fmla="*/ 63814 h 734237"/>
                  <a:gd name="connsiteX2273" fmla="*/ 43157 w 1472512"/>
                  <a:gd name="connsiteY2273" fmla="*/ 64361 h 734237"/>
                  <a:gd name="connsiteX2274" fmla="*/ 41916 w 1472512"/>
                  <a:gd name="connsiteY2274" fmla="*/ 64406 h 734237"/>
                  <a:gd name="connsiteX2275" fmla="*/ 42086 w 1472512"/>
                  <a:gd name="connsiteY2275" fmla="*/ 62659 h 734237"/>
                  <a:gd name="connsiteX2276" fmla="*/ 42380 w 1472512"/>
                  <a:gd name="connsiteY2276" fmla="*/ 61827 h 734237"/>
                  <a:gd name="connsiteX2277" fmla="*/ 44068 w 1472512"/>
                  <a:gd name="connsiteY2277" fmla="*/ 59237 h 734237"/>
                  <a:gd name="connsiteX2278" fmla="*/ 45843 w 1472512"/>
                  <a:gd name="connsiteY2278" fmla="*/ 57681 h 734237"/>
                  <a:gd name="connsiteX2279" fmla="*/ 48364 w 1472512"/>
                  <a:gd name="connsiteY2279" fmla="*/ 56022 h 734237"/>
                  <a:gd name="connsiteX2280" fmla="*/ 49817 w 1472512"/>
                  <a:gd name="connsiteY2280" fmla="*/ 54661 h 734237"/>
                  <a:gd name="connsiteX2281" fmla="*/ 50818 w 1472512"/>
                  <a:gd name="connsiteY2281" fmla="*/ 52663 h 734237"/>
                  <a:gd name="connsiteX2282" fmla="*/ 53617 w 1472512"/>
                  <a:gd name="connsiteY2282" fmla="*/ 50278 h 734237"/>
                  <a:gd name="connsiteX2283" fmla="*/ 54134 w 1472512"/>
                  <a:gd name="connsiteY2283" fmla="*/ 49614 h 734237"/>
                  <a:gd name="connsiteX2284" fmla="*/ 54011 w 1472512"/>
                  <a:gd name="connsiteY2284" fmla="*/ 47649 h 734237"/>
                  <a:gd name="connsiteX2285" fmla="*/ 54189 w 1472512"/>
                  <a:gd name="connsiteY2285" fmla="*/ 47275 h 734237"/>
                  <a:gd name="connsiteX2286" fmla="*/ 55538 w 1472512"/>
                  <a:gd name="connsiteY2286" fmla="*/ 47540 h 734237"/>
                  <a:gd name="connsiteX2287" fmla="*/ 56101 w 1472512"/>
                  <a:gd name="connsiteY2287" fmla="*/ 50921 h 734237"/>
                  <a:gd name="connsiteX2288" fmla="*/ 55765 w 1472512"/>
                  <a:gd name="connsiteY2288" fmla="*/ 52428 h 734237"/>
                  <a:gd name="connsiteX2289" fmla="*/ 53355 w 1472512"/>
                  <a:gd name="connsiteY2289" fmla="*/ 54263 h 734237"/>
                  <a:gd name="connsiteX2290" fmla="*/ 53055 w 1472512"/>
                  <a:gd name="connsiteY2290" fmla="*/ 54911 h 734237"/>
                  <a:gd name="connsiteX2291" fmla="*/ 53477 w 1472512"/>
                  <a:gd name="connsiteY2291" fmla="*/ 57415 h 734237"/>
                  <a:gd name="connsiteX2292" fmla="*/ 53104 w 1472512"/>
                  <a:gd name="connsiteY2292" fmla="*/ 57656 h 734237"/>
                  <a:gd name="connsiteX2293" fmla="*/ 52184 w 1472512"/>
                  <a:gd name="connsiteY2293" fmla="*/ 57361 h 734237"/>
                  <a:gd name="connsiteX2294" fmla="*/ 51899 w 1472512"/>
                  <a:gd name="connsiteY2294" fmla="*/ 57520 h 734237"/>
                  <a:gd name="connsiteX2295" fmla="*/ 54185 w 1472512"/>
                  <a:gd name="connsiteY2295" fmla="*/ 60239 h 734237"/>
                  <a:gd name="connsiteX2296" fmla="*/ 54912 w 1472512"/>
                  <a:gd name="connsiteY2296" fmla="*/ 62351 h 734237"/>
                  <a:gd name="connsiteX2297" fmla="*/ 55009 w 1472512"/>
                  <a:gd name="connsiteY2297" fmla="*/ 64235 h 734237"/>
                  <a:gd name="connsiteX2298" fmla="*/ 54388 w 1472512"/>
                  <a:gd name="connsiteY2298" fmla="*/ 67849 h 734237"/>
                  <a:gd name="connsiteX2299" fmla="*/ 53725 w 1472512"/>
                  <a:gd name="connsiteY2299" fmla="*/ 68447 h 734237"/>
                  <a:gd name="connsiteX2300" fmla="*/ 52585 w 1472512"/>
                  <a:gd name="connsiteY2300" fmla="*/ 68227 h 734237"/>
                  <a:gd name="connsiteX2301" fmla="*/ 51077 w 1472512"/>
                  <a:gd name="connsiteY2301" fmla="*/ 67097 h 734237"/>
                  <a:gd name="connsiteX2302" fmla="*/ 50741 w 1472512"/>
                  <a:gd name="connsiteY2302" fmla="*/ 67461 h 734237"/>
                  <a:gd name="connsiteX2303" fmla="*/ 49544 w 1472512"/>
                  <a:gd name="connsiteY2303" fmla="*/ 70263 h 734237"/>
                  <a:gd name="connsiteX2304" fmla="*/ 49149 w 1472512"/>
                  <a:gd name="connsiteY2304" fmla="*/ 70018 h 734237"/>
                  <a:gd name="connsiteX2305" fmla="*/ 48402 w 1472512"/>
                  <a:gd name="connsiteY2305" fmla="*/ 66692 h 734237"/>
                  <a:gd name="connsiteX2306" fmla="*/ 47996 w 1472512"/>
                  <a:gd name="connsiteY2306" fmla="*/ 66445 h 734237"/>
                  <a:gd name="connsiteX2307" fmla="*/ 45674 w 1472512"/>
                  <a:gd name="connsiteY2307" fmla="*/ 67961 h 734237"/>
                  <a:gd name="connsiteX2308" fmla="*/ 44738 w 1472512"/>
                  <a:gd name="connsiteY2308" fmla="*/ 69416 h 734237"/>
                  <a:gd name="connsiteX2309" fmla="*/ 43936 w 1472512"/>
                  <a:gd name="connsiteY2309" fmla="*/ 71741 h 734237"/>
                  <a:gd name="connsiteX2310" fmla="*/ 42916 w 1472512"/>
                  <a:gd name="connsiteY2310" fmla="*/ 72827 h 734237"/>
                  <a:gd name="connsiteX2311" fmla="*/ 45811 w 1472512"/>
                  <a:gd name="connsiteY2311" fmla="*/ 73065 h 734237"/>
                  <a:gd name="connsiteX2312" fmla="*/ 48418 w 1472512"/>
                  <a:gd name="connsiteY2312" fmla="*/ 72597 h 734237"/>
                  <a:gd name="connsiteX2313" fmla="*/ 50511 w 1472512"/>
                  <a:gd name="connsiteY2313" fmla="*/ 73700 h 734237"/>
                  <a:gd name="connsiteX2314" fmla="*/ 51224 w 1472512"/>
                  <a:gd name="connsiteY2314" fmla="*/ 73730 h 734237"/>
                  <a:gd name="connsiteX2315" fmla="*/ 53135 w 1472512"/>
                  <a:gd name="connsiteY2315" fmla="*/ 72654 h 734237"/>
                  <a:gd name="connsiteX2316" fmla="*/ 53719 w 1472512"/>
                  <a:gd name="connsiteY2316" fmla="*/ 71921 h 734237"/>
                  <a:gd name="connsiteX2317" fmla="*/ 55300 w 1472512"/>
                  <a:gd name="connsiteY2317" fmla="*/ 68416 h 734237"/>
                  <a:gd name="connsiteX2318" fmla="*/ 56093 w 1472512"/>
                  <a:gd name="connsiteY2318" fmla="*/ 67787 h 734237"/>
                  <a:gd name="connsiteX2319" fmla="*/ 57273 w 1472512"/>
                  <a:gd name="connsiteY2319" fmla="*/ 67763 h 734237"/>
                  <a:gd name="connsiteX2320" fmla="*/ 58414 w 1472512"/>
                  <a:gd name="connsiteY2320" fmla="*/ 67236 h 734237"/>
                  <a:gd name="connsiteX2321" fmla="*/ 60105 w 1472512"/>
                  <a:gd name="connsiteY2321" fmla="*/ 65313 h 734237"/>
                  <a:gd name="connsiteX2322" fmla="*/ 60174 w 1472512"/>
                  <a:gd name="connsiteY2322" fmla="*/ 64550 h 734237"/>
                  <a:gd name="connsiteX2323" fmla="*/ 59559 w 1472512"/>
                  <a:gd name="connsiteY2323" fmla="*/ 60241 h 734237"/>
                  <a:gd name="connsiteX2324" fmla="*/ 59734 w 1472512"/>
                  <a:gd name="connsiteY2324" fmla="*/ 57794 h 734237"/>
                  <a:gd name="connsiteX2325" fmla="*/ 59418 w 1472512"/>
                  <a:gd name="connsiteY2325" fmla="*/ 57019 h 734237"/>
                  <a:gd name="connsiteX2326" fmla="*/ 58658 w 1472512"/>
                  <a:gd name="connsiteY2326" fmla="*/ 56213 h 734237"/>
                  <a:gd name="connsiteX2327" fmla="*/ 58754 w 1472512"/>
                  <a:gd name="connsiteY2327" fmla="*/ 55432 h 734237"/>
                  <a:gd name="connsiteX2328" fmla="*/ 59343 w 1472512"/>
                  <a:gd name="connsiteY2328" fmla="*/ 54144 h 734237"/>
                  <a:gd name="connsiteX2329" fmla="*/ 59387 w 1472512"/>
                  <a:gd name="connsiteY2329" fmla="*/ 52979 h 734237"/>
                  <a:gd name="connsiteX2330" fmla="*/ 58882 w 1472512"/>
                  <a:gd name="connsiteY2330" fmla="*/ 51943 h 734237"/>
                  <a:gd name="connsiteX2331" fmla="*/ 59110 w 1472512"/>
                  <a:gd name="connsiteY2331" fmla="*/ 50764 h 734237"/>
                  <a:gd name="connsiteX2332" fmla="*/ 60704 w 1472512"/>
                  <a:gd name="connsiteY2332" fmla="*/ 48226 h 734237"/>
                  <a:gd name="connsiteX2333" fmla="*/ 61007 w 1472512"/>
                  <a:gd name="connsiteY2333" fmla="*/ 47107 h 734237"/>
                  <a:gd name="connsiteX2334" fmla="*/ 62958 w 1472512"/>
                  <a:gd name="connsiteY2334" fmla="*/ 44578 h 734237"/>
                  <a:gd name="connsiteX2335" fmla="*/ 62465 w 1472512"/>
                  <a:gd name="connsiteY2335" fmla="*/ 43560 h 734237"/>
                  <a:gd name="connsiteX2336" fmla="*/ 61031 w 1472512"/>
                  <a:gd name="connsiteY2336" fmla="*/ 42318 h 734237"/>
                  <a:gd name="connsiteX2337" fmla="*/ 60126 w 1472512"/>
                  <a:gd name="connsiteY2337" fmla="*/ 41222 h 734237"/>
                  <a:gd name="connsiteX2338" fmla="*/ 59216 w 1472512"/>
                  <a:gd name="connsiteY2338" fmla="*/ 39509 h 734237"/>
                  <a:gd name="connsiteX2339" fmla="*/ 58523 w 1472512"/>
                  <a:gd name="connsiteY2339" fmla="*/ 38935 h 734237"/>
                  <a:gd name="connsiteX2340" fmla="*/ 58296 w 1472512"/>
                  <a:gd name="connsiteY2340" fmla="*/ 39196 h 734237"/>
                  <a:gd name="connsiteX2341" fmla="*/ 59269 w 1472512"/>
                  <a:gd name="connsiteY2341" fmla="*/ 41999 h 734237"/>
                  <a:gd name="connsiteX2342" fmla="*/ 59060 w 1472512"/>
                  <a:gd name="connsiteY2342" fmla="*/ 42188 h 734237"/>
                  <a:gd name="connsiteX2343" fmla="*/ 56527 w 1472512"/>
                  <a:gd name="connsiteY2343" fmla="*/ 40678 h 734237"/>
                  <a:gd name="connsiteX2344" fmla="*/ 55943 w 1472512"/>
                  <a:gd name="connsiteY2344" fmla="*/ 39726 h 734237"/>
                  <a:gd name="connsiteX2345" fmla="*/ 55632 w 1472512"/>
                  <a:gd name="connsiteY2345" fmla="*/ 38433 h 734237"/>
                  <a:gd name="connsiteX2346" fmla="*/ 55857 w 1472512"/>
                  <a:gd name="connsiteY2346" fmla="*/ 37462 h 734237"/>
                  <a:gd name="connsiteX2347" fmla="*/ 57217 w 1472512"/>
                  <a:gd name="connsiteY2347" fmla="*/ 36502 h 734237"/>
                  <a:gd name="connsiteX2348" fmla="*/ 58840 w 1472512"/>
                  <a:gd name="connsiteY2348" fmla="*/ 36154 h 734237"/>
                  <a:gd name="connsiteX2349" fmla="*/ 58710 w 1472512"/>
                  <a:gd name="connsiteY2349" fmla="*/ 35346 h 734237"/>
                  <a:gd name="connsiteX2350" fmla="*/ 56670 w 1472512"/>
                  <a:gd name="connsiteY2350" fmla="*/ 32719 h 734237"/>
                  <a:gd name="connsiteX2351" fmla="*/ 55313 w 1472512"/>
                  <a:gd name="connsiteY2351" fmla="*/ 31522 h 734237"/>
                  <a:gd name="connsiteX2352" fmla="*/ 54270 w 1472512"/>
                  <a:gd name="connsiteY2352" fmla="*/ 30941 h 734237"/>
                  <a:gd name="connsiteX2353" fmla="*/ 52861 w 1472512"/>
                  <a:gd name="connsiteY2353" fmla="*/ 30790 h 734237"/>
                  <a:gd name="connsiteX2354" fmla="*/ 52230 w 1472512"/>
                  <a:gd name="connsiteY2354" fmla="*/ 30362 h 734237"/>
                  <a:gd name="connsiteX2355" fmla="*/ 52065 w 1472512"/>
                  <a:gd name="connsiteY2355" fmla="*/ 29746 h 734237"/>
                  <a:gd name="connsiteX2356" fmla="*/ 52364 w 1472512"/>
                  <a:gd name="connsiteY2356" fmla="*/ 28935 h 734237"/>
                  <a:gd name="connsiteX2357" fmla="*/ 53112 w 1472512"/>
                  <a:gd name="connsiteY2357" fmla="*/ 28677 h 734237"/>
                  <a:gd name="connsiteX2358" fmla="*/ 55287 w 1472512"/>
                  <a:gd name="connsiteY2358" fmla="*/ 29001 h 734237"/>
                  <a:gd name="connsiteX2359" fmla="*/ 56458 w 1472512"/>
                  <a:gd name="connsiteY2359" fmla="*/ 28426 h 734237"/>
                  <a:gd name="connsiteX2360" fmla="*/ 56347 w 1472512"/>
                  <a:gd name="connsiteY2360" fmla="*/ 27380 h 734237"/>
                  <a:gd name="connsiteX2361" fmla="*/ 55998 w 1472512"/>
                  <a:gd name="connsiteY2361" fmla="*/ 26801 h 734237"/>
                  <a:gd name="connsiteX2362" fmla="*/ 56051 w 1472512"/>
                  <a:gd name="connsiteY2362" fmla="*/ 23057 h 734237"/>
                  <a:gd name="connsiteX2363" fmla="*/ 55226 w 1472512"/>
                  <a:gd name="connsiteY2363" fmla="*/ 20009 h 734237"/>
                  <a:gd name="connsiteX2364" fmla="*/ 54794 w 1472512"/>
                  <a:gd name="connsiteY2364" fmla="*/ 19494 h 734237"/>
                  <a:gd name="connsiteX2365" fmla="*/ 54331 w 1472512"/>
                  <a:gd name="connsiteY2365" fmla="*/ 19442 h 734237"/>
                  <a:gd name="connsiteX2366" fmla="*/ 53839 w 1472512"/>
                  <a:gd name="connsiteY2366" fmla="*/ 19853 h 734237"/>
                  <a:gd name="connsiteX2367" fmla="*/ 52472 w 1472512"/>
                  <a:gd name="connsiteY2367" fmla="*/ 19958 h 734237"/>
                  <a:gd name="connsiteX2368" fmla="*/ 51633 w 1472512"/>
                  <a:gd name="connsiteY2368" fmla="*/ 18958 h 734237"/>
                  <a:gd name="connsiteX2369" fmla="*/ 50700 w 1472512"/>
                  <a:gd name="connsiteY2369" fmla="*/ 17030 h 734237"/>
                  <a:gd name="connsiteX2370" fmla="*/ 49009 w 1472512"/>
                  <a:gd name="connsiteY2370" fmla="*/ 12425 h 734237"/>
                  <a:gd name="connsiteX2371" fmla="*/ 51621 w 1472512"/>
                  <a:gd name="connsiteY2371" fmla="*/ 12425 h 734237"/>
                  <a:gd name="connsiteX2372" fmla="*/ 62497 w 1472512"/>
                  <a:gd name="connsiteY2372" fmla="*/ 12425 h 734237"/>
                  <a:gd name="connsiteX2373" fmla="*/ 73376 w 1472512"/>
                  <a:gd name="connsiteY2373" fmla="*/ 12425 h 734237"/>
                  <a:gd name="connsiteX2374" fmla="*/ 84252 w 1472512"/>
                  <a:gd name="connsiteY2374" fmla="*/ 12425 h 734237"/>
                  <a:gd name="connsiteX2375" fmla="*/ 95129 w 1472512"/>
                  <a:gd name="connsiteY2375" fmla="*/ 12425 h 734237"/>
                  <a:gd name="connsiteX2376" fmla="*/ 106006 w 1472512"/>
                  <a:gd name="connsiteY2376" fmla="*/ 12425 h 734237"/>
                  <a:gd name="connsiteX2377" fmla="*/ 116884 w 1472512"/>
                  <a:gd name="connsiteY2377" fmla="*/ 12425 h 734237"/>
                  <a:gd name="connsiteX2378" fmla="*/ 127760 w 1472512"/>
                  <a:gd name="connsiteY2378" fmla="*/ 12425 h 734237"/>
                  <a:gd name="connsiteX2379" fmla="*/ 138636 w 1472512"/>
                  <a:gd name="connsiteY2379" fmla="*/ 12424 h 734237"/>
                  <a:gd name="connsiteX2380" fmla="*/ 149514 w 1472512"/>
                  <a:gd name="connsiteY2380" fmla="*/ 12424 h 734237"/>
                  <a:gd name="connsiteX2381" fmla="*/ 160391 w 1472512"/>
                  <a:gd name="connsiteY2381" fmla="*/ 12424 h 734237"/>
                  <a:gd name="connsiteX2382" fmla="*/ 171267 w 1472512"/>
                  <a:gd name="connsiteY2382" fmla="*/ 12424 h 734237"/>
                  <a:gd name="connsiteX2383" fmla="*/ 182146 w 1472512"/>
                  <a:gd name="connsiteY2383" fmla="*/ 12424 h 734237"/>
                  <a:gd name="connsiteX2384" fmla="*/ 193022 w 1472512"/>
                  <a:gd name="connsiteY2384" fmla="*/ 12424 h 734237"/>
                  <a:gd name="connsiteX2385" fmla="*/ 203899 w 1472512"/>
                  <a:gd name="connsiteY2385" fmla="*/ 12424 h 734237"/>
                  <a:gd name="connsiteX2386" fmla="*/ 214777 w 1472512"/>
                  <a:gd name="connsiteY2386" fmla="*/ 12424 h 734237"/>
                  <a:gd name="connsiteX2387" fmla="*/ 225654 w 1472512"/>
                  <a:gd name="connsiteY2387" fmla="*/ 12424 h 734237"/>
                  <a:gd name="connsiteX2388" fmla="*/ 236530 w 1472512"/>
                  <a:gd name="connsiteY2388" fmla="*/ 12424 h 734237"/>
                  <a:gd name="connsiteX2389" fmla="*/ 247408 w 1472512"/>
                  <a:gd name="connsiteY2389" fmla="*/ 12424 h 734237"/>
                  <a:gd name="connsiteX2390" fmla="*/ 258285 w 1472512"/>
                  <a:gd name="connsiteY2390" fmla="*/ 12424 h 734237"/>
                  <a:gd name="connsiteX2391" fmla="*/ 269161 w 1472512"/>
                  <a:gd name="connsiteY2391" fmla="*/ 12424 h 734237"/>
                  <a:gd name="connsiteX2392" fmla="*/ 280037 w 1472512"/>
                  <a:gd name="connsiteY2392" fmla="*/ 12424 h 734237"/>
                  <a:gd name="connsiteX2393" fmla="*/ 290916 w 1472512"/>
                  <a:gd name="connsiteY2393" fmla="*/ 12424 h 734237"/>
                  <a:gd name="connsiteX2394" fmla="*/ 301792 w 1472512"/>
                  <a:gd name="connsiteY2394" fmla="*/ 12424 h 734237"/>
                  <a:gd name="connsiteX2395" fmla="*/ 312669 w 1472512"/>
                  <a:gd name="connsiteY2395" fmla="*/ 12424 h 734237"/>
                  <a:gd name="connsiteX2396" fmla="*/ 323547 w 1472512"/>
                  <a:gd name="connsiteY2396" fmla="*/ 12424 h 734237"/>
                  <a:gd name="connsiteX2397" fmla="*/ 334424 w 1472512"/>
                  <a:gd name="connsiteY2397" fmla="*/ 12424 h 734237"/>
                  <a:gd name="connsiteX2398" fmla="*/ 345300 w 1472512"/>
                  <a:gd name="connsiteY2398" fmla="*/ 12424 h 734237"/>
                  <a:gd name="connsiteX2399" fmla="*/ 356179 w 1472512"/>
                  <a:gd name="connsiteY2399" fmla="*/ 12424 h 734237"/>
                  <a:gd name="connsiteX2400" fmla="*/ 367054 w 1472512"/>
                  <a:gd name="connsiteY2400" fmla="*/ 12424 h 734237"/>
                  <a:gd name="connsiteX2401" fmla="*/ 377931 w 1472512"/>
                  <a:gd name="connsiteY2401" fmla="*/ 12424 h 734237"/>
                  <a:gd name="connsiteX2402" fmla="*/ 388807 w 1472512"/>
                  <a:gd name="connsiteY2402" fmla="*/ 12424 h 734237"/>
                  <a:gd name="connsiteX2403" fmla="*/ 399686 w 1472512"/>
                  <a:gd name="connsiteY2403" fmla="*/ 12422 h 734237"/>
                  <a:gd name="connsiteX2404" fmla="*/ 410562 w 1472512"/>
                  <a:gd name="connsiteY2404" fmla="*/ 12422 h 734237"/>
                  <a:gd name="connsiteX2405" fmla="*/ 421439 w 1472512"/>
                  <a:gd name="connsiteY2405" fmla="*/ 12422 h 734237"/>
                  <a:gd name="connsiteX2406" fmla="*/ 432317 w 1472512"/>
                  <a:gd name="connsiteY2406" fmla="*/ 12422 h 734237"/>
                  <a:gd name="connsiteX2407" fmla="*/ 443194 w 1472512"/>
                  <a:gd name="connsiteY2407" fmla="*/ 12422 h 734237"/>
                  <a:gd name="connsiteX2408" fmla="*/ 454070 w 1472512"/>
                  <a:gd name="connsiteY2408" fmla="*/ 12422 h 734237"/>
                  <a:gd name="connsiteX2409" fmla="*/ 464949 w 1472512"/>
                  <a:gd name="connsiteY2409" fmla="*/ 12422 h 734237"/>
                  <a:gd name="connsiteX2410" fmla="*/ 475824 w 1472512"/>
                  <a:gd name="connsiteY2410" fmla="*/ 12422 h 734237"/>
                  <a:gd name="connsiteX2411" fmla="*/ 486701 w 1472512"/>
                  <a:gd name="connsiteY2411" fmla="*/ 12422 h 734237"/>
                  <a:gd name="connsiteX2412" fmla="*/ 497579 w 1472512"/>
                  <a:gd name="connsiteY2412" fmla="*/ 12422 h 734237"/>
                  <a:gd name="connsiteX2413" fmla="*/ 508456 w 1472512"/>
                  <a:gd name="connsiteY2413" fmla="*/ 12422 h 734237"/>
                  <a:gd name="connsiteX2414" fmla="*/ 519332 w 1472512"/>
                  <a:gd name="connsiteY2414" fmla="*/ 12422 h 734237"/>
                  <a:gd name="connsiteX2415" fmla="*/ 530209 w 1472512"/>
                  <a:gd name="connsiteY2415" fmla="*/ 12422 h 734237"/>
                  <a:gd name="connsiteX2416" fmla="*/ 541087 w 1472512"/>
                  <a:gd name="connsiteY2416" fmla="*/ 12422 h 734237"/>
                  <a:gd name="connsiteX2417" fmla="*/ 551964 w 1472512"/>
                  <a:gd name="connsiteY2417" fmla="*/ 12422 h 734237"/>
                  <a:gd name="connsiteX2418" fmla="*/ 562840 w 1472512"/>
                  <a:gd name="connsiteY2418" fmla="*/ 12422 h 734237"/>
                  <a:gd name="connsiteX2419" fmla="*/ 573719 w 1472512"/>
                  <a:gd name="connsiteY2419" fmla="*/ 12422 h 734237"/>
                  <a:gd name="connsiteX2420" fmla="*/ 584594 w 1472512"/>
                  <a:gd name="connsiteY2420" fmla="*/ 12422 h 734237"/>
                  <a:gd name="connsiteX2421" fmla="*/ 595471 w 1472512"/>
                  <a:gd name="connsiteY2421" fmla="*/ 12422 h 734237"/>
                  <a:gd name="connsiteX2422" fmla="*/ 606348 w 1472512"/>
                  <a:gd name="connsiteY2422" fmla="*/ 12422 h 734237"/>
                  <a:gd name="connsiteX2423" fmla="*/ 617226 w 1472512"/>
                  <a:gd name="connsiteY2423" fmla="*/ 12422 h 734237"/>
                  <a:gd name="connsiteX2424" fmla="*/ 628102 w 1472512"/>
                  <a:gd name="connsiteY2424" fmla="*/ 12422 h 734237"/>
                  <a:gd name="connsiteX2425" fmla="*/ 638980 w 1472512"/>
                  <a:gd name="connsiteY2425" fmla="*/ 12422 h 734237"/>
                  <a:gd name="connsiteX2426" fmla="*/ 649857 w 1472512"/>
                  <a:gd name="connsiteY2426" fmla="*/ 12422 h 734237"/>
                  <a:gd name="connsiteX2427" fmla="*/ 660734 w 1472512"/>
                  <a:gd name="connsiteY2427" fmla="*/ 12421 h 734237"/>
                  <a:gd name="connsiteX2428" fmla="*/ 671610 w 1472512"/>
                  <a:gd name="connsiteY2428" fmla="*/ 12421 h 734237"/>
                  <a:gd name="connsiteX2429" fmla="*/ 682489 w 1472512"/>
                  <a:gd name="connsiteY2429" fmla="*/ 12421 h 734237"/>
                  <a:gd name="connsiteX2430" fmla="*/ 693365 w 1472512"/>
                  <a:gd name="connsiteY2430" fmla="*/ 12421 h 734237"/>
                  <a:gd name="connsiteX2431" fmla="*/ 704241 w 1472512"/>
                  <a:gd name="connsiteY2431" fmla="*/ 12421 h 734237"/>
                  <a:gd name="connsiteX2432" fmla="*/ 715120 w 1472512"/>
                  <a:gd name="connsiteY2432" fmla="*/ 12421 h 734237"/>
                  <a:gd name="connsiteX2433" fmla="*/ 725996 w 1472512"/>
                  <a:gd name="connsiteY2433" fmla="*/ 12421 h 734237"/>
                  <a:gd name="connsiteX2434" fmla="*/ 736872 w 1472512"/>
                  <a:gd name="connsiteY2434" fmla="*/ 12421 h 734237"/>
                  <a:gd name="connsiteX2435" fmla="*/ 747750 w 1472512"/>
                  <a:gd name="connsiteY2435" fmla="*/ 12421 h 734237"/>
                  <a:gd name="connsiteX2436" fmla="*/ 753767 w 1472512"/>
                  <a:gd name="connsiteY2436" fmla="*/ 12467 h 734237"/>
                  <a:gd name="connsiteX2437" fmla="*/ 753864 w 1472512"/>
                  <a:gd name="connsiteY2437" fmla="*/ 5502 h 73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</a:cxnLst>
                <a:rect l="l" t="t" r="r" b="b"/>
                <a:pathLst>
                  <a:path w="1472512" h="734237">
                    <a:moveTo>
                      <a:pt x="1095457" y="733306"/>
                    </a:moveTo>
                    <a:lnTo>
                      <a:pt x="1096197" y="733339"/>
                    </a:lnTo>
                    <a:lnTo>
                      <a:pt x="1096170" y="733907"/>
                    </a:lnTo>
                    <a:lnTo>
                      <a:pt x="1095045" y="734176"/>
                    </a:lnTo>
                    <a:lnTo>
                      <a:pt x="1094396" y="734237"/>
                    </a:lnTo>
                    <a:lnTo>
                      <a:pt x="1094341" y="733817"/>
                    </a:lnTo>
                    <a:close/>
                    <a:moveTo>
                      <a:pt x="1100696" y="730258"/>
                    </a:moveTo>
                    <a:lnTo>
                      <a:pt x="1101478" y="731523"/>
                    </a:lnTo>
                    <a:lnTo>
                      <a:pt x="1101463" y="732291"/>
                    </a:lnTo>
                    <a:lnTo>
                      <a:pt x="1100584" y="732677"/>
                    </a:lnTo>
                    <a:lnTo>
                      <a:pt x="1098932" y="732945"/>
                    </a:lnTo>
                    <a:lnTo>
                      <a:pt x="1100265" y="731877"/>
                    </a:lnTo>
                    <a:close/>
                    <a:moveTo>
                      <a:pt x="1104323" y="728609"/>
                    </a:moveTo>
                    <a:lnTo>
                      <a:pt x="1106818" y="730369"/>
                    </a:lnTo>
                    <a:lnTo>
                      <a:pt x="1106882" y="730841"/>
                    </a:lnTo>
                    <a:lnTo>
                      <a:pt x="1106499" y="731306"/>
                    </a:lnTo>
                    <a:lnTo>
                      <a:pt x="1105735" y="731863"/>
                    </a:lnTo>
                    <a:lnTo>
                      <a:pt x="1105370" y="731691"/>
                    </a:lnTo>
                    <a:lnTo>
                      <a:pt x="1105370" y="730879"/>
                    </a:lnTo>
                    <a:lnTo>
                      <a:pt x="1104283" y="729079"/>
                    </a:lnTo>
                    <a:close/>
                    <a:moveTo>
                      <a:pt x="1116814" y="728352"/>
                    </a:moveTo>
                    <a:lnTo>
                      <a:pt x="1115323" y="729209"/>
                    </a:lnTo>
                    <a:lnTo>
                      <a:pt x="1113913" y="729509"/>
                    </a:lnTo>
                    <a:lnTo>
                      <a:pt x="1112745" y="730152"/>
                    </a:lnTo>
                    <a:lnTo>
                      <a:pt x="1111537" y="729680"/>
                    </a:lnTo>
                    <a:lnTo>
                      <a:pt x="1112866" y="729038"/>
                    </a:lnTo>
                    <a:close/>
                    <a:moveTo>
                      <a:pt x="1120157" y="725997"/>
                    </a:moveTo>
                    <a:lnTo>
                      <a:pt x="1120520" y="726297"/>
                    </a:lnTo>
                    <a:lnTo>
                      <a:pt x="1120479" y="726682"/>
                    </a:lnTo>
                    <a:lnTo>
                      <a:pt x="1119392" y="727154"/>
                    </a:lnTo>
                    <a:lnTo>
                      <a:pt x="1118908" y="727154"/>
                    </a:lnTo>
                    <a:lnTo>
                      <a:pt x="1119150" y="726768"/>
                    </a:lnTo>
                    <a:close/>
                    <a:moveTo>
                      <a:pt x="1124589" y="723424"/>
                    </a:moveTo>
                    <a:lnTo>
                      <a:pt x="1124872" y="723511"/>
                    </a:lnTo>
                    <a:lnTo>
                      <a:pt x="1124267" y="724455"/>
                    </a:lnTo>
                    <a:lnTo>
                      <a:pt x="1123583" y="724582"/>
                    </a:lnTo>
                    <a:close/>
                    <a:moveTo>
                      <a:pt x="1133991" y="712382"/>
                    </a:moveTo>
                    <a:lnTo>
                      <a:pt x="1130810" y="717962"/>
                    </a:lnTo>
                    <a:lnTo>
                      <a:pt x="1125740" y="723068"/>
                    </a:lnTo>
                    <a:lnTo>
                      <a:pt x="1126302" y="721791"/>
                    </a:lnTo>
                    <a:lnTo>
                      <a:pt x="1128278" y="719058"/>
                    </a:lnTo>
                    <a:lnTo>
                      <a:pt x="1128917" y="717771"/>
                    </a:lnTo>
                    <a:lnTo>
                      <a:pt x="1130252" y="716956"/>
                    </a:lnTo>
                    <a:lnTo>
                      <a:pt x="1131496" y="715480"/>
                    </a:lnTo>
                    <a:lnTo>
                      <a:pt x="1131589" y="713758"/>
                    </a:lnTo>
                    <a:lnTo>
                      <a:pt x="1133394" y="712555"/>
                    </a:lnTo>
                    <a:close/>
                    <a:moveTo>
                      <a:pt x="1084393" y="679632"/>
                    </a:moveTo>
                    <a:lnTo>
                      <a:pt x="1085996" y="681575"/>
                    </a:lnTo>
                    <a:lnTo>
                      <a:pt x="1086569" y="682015"/>
                    </a:lnTo>
                    <a:lnTo>
                      <a:pt x="1088581" y="682215"/>
                    </a:lnTo>
                    <a:lnTo>
                      <a:pt x="1087672" y="682928"/>
                    </a:lnTo>
                    <a:lnTo>
                      <a:pt x="1085832" y="682404"/>
                    </a:lnTo>
                    <a:lnTo>
                      <a:pt x="1084827" y="681468"/>
                    </a:lnTo>
                    <a:close/>
                    <a:moveTo>
                      <a:pt x="1085215" y="675451"/>
                    </a:moveTo>
                    <a:lnTo>
                      <a:pt x="1086439" y="676415"/>
                    </a:lnTo>
                    <a:lnTo>
                      <a:pt x="1087392" y="679514"/>
                    </a:lnTo>
                    <a:lnTo>
                      <a:pt x="1087357" y="681122"/>
                    </a:lnTo>
                    <a:lnTo>
                      <a:pt x="1086071" y="678429"/>
                    </a:lnTo>
                    <a:close/>
                    <a:moveTo>
                      <a:pt x="697033" y="661854"/>
                    </a:moveTo>
                    <a:lnTo>
                      <a:pt x="697921" y="672691"/>
                    </a:lnTo>
                    <a:lnTo>
                      <a:pt x="701721" y="686423"/>
                    </a:lnTo>
                    <a:lnTo>
                      <a:pt x="702526" y="690259"/>
                    </a:lnTo>
                    <a:lnTo>
                      <a:pt x="702172" y="691526"/>
                    </a:lnTo>
                    <a:lnTo>
                      <a:pt x="700061" y="685603"/>
                    </a:lnTo>
                    <a:lnTo>
                      <a:pt x="696623" y="672170"/>
                    </a:lnTo>
                    <a:lnTo>
                      <a:pt x="696493" y="664497"/>
                    </a:lnTo>
                    <a:close/>
                    <a:moveTo>
                      <a:pt x="705335" y="644642"/>
                    </a:moveTo>
                    <a:lnTo>
                      <a:pt x="700481" y="652376"/>
                    </a:lnTo>
                    <a:lnTo>
                      <a:pt x="697859" y="659007"/>
                    </a:lnTo>
                    <a:lnTo>
                      <a:pt x="697064" y="660588"/>
                    </a:lnTo>
                    <a:lnTo>
                      <a:pt x="697283" y="658232"/>
                    </a:lnTo>
                    <a:lnTo>
                      <a:pt x="699355" y="652874"/>
                    </a:lnTo>
                    <a:lnTo>
                      <a:pt x="703564" y="645823"/>
                    </a:lnTo>
                    <a:close/>
                    <a:moveTo>
                      <a:pt x="1129404" y="643855"/>
                    </a:moveTo>
                    <a:lnTo>
                      <a:pt x="1130455" y="645400"/>
                    </a:lnTo>
                    <a:lnTo>
                      <a:pt x="1131481" y="648594"/>
                    </a:lnTo>
                    <a:lnTo>
                      <a:pt x="1135785" y="659603"/>
                    </a:lnTo>
                    <a:lnTo>
                      <a:pt x="1136200" y="661625"/>
                    </a:lnTo>
                    <a:lnTo>
                      <a:pt x="1133855" y="656932"/>
                    </a:lnTo>
                    <a:lnTo>
                      <a:pt x="1130956" y="649563"/>
                    </a:lnTo>
                    <a:close/>
                    <a:moveTo>
                      <a:pt x="710518" y="636064"/>
                    </a:moveTo>
                    <a:lnTo>
                      <a:pt x="710968" y="637283"/>
                    </a:lnTo>
                    <a:lnTo>
                      <a:pt x="708887" y="639291"/>
                    </a:lnTo>
                    <a:lnTo>
                      <a:pt x="706515" y="642447"/>
                    </a:lnTo>
                    <a:lnTo>
                      <a:pt x="705960" y="642514"/>
                    </a:lnTo>
                    <a:lnTo>
                      <a:pt x="707195" y="640256"/>
                    </a:lnTo>
                    <a:lnTo>
                      <a:pt x="707424" y="639351"/>
                    </a:lnTo>
                    <a:lnTo>
                      <a:pt x="709449" y="636491"/>
                    </a:lnTo>
                    <a:close/>
                    <a:moveTo>
                      <a:pt x="722095" y="629193"/>
                    </a:moveTo>
                    <a:lnTo>
                      <a:pt x="721846" y="630404"/>
                    </a:lnTo>
                    <a:lnTo>
                      <a:pt x="718516" y="632124"/>
                    </a:lnTo>
                    <a:lnTo>
                      <a:pt x="712890" y="635521"/>
                    </a:lnTo>
                    <a:lnTo>
                      <a:pt x="711953" y="635637"/>
                    </a:lnTo>
                    <a:lnTo>
                      <a:pt x="713114" y="634145"/>
                    </a:lnTo>
                    <a:lnTo>
                      <a:pt x="715002" y="633391"/>
                    </a:lnTo>
                    <a:lnTo>
                      <a:pt x="719142" y="630525"/>
                    </a:lnTo>
                    <a:lnTo>
                      <a:pt x="720831" y="630327"/>
                    </a:lnTo>
                    <a:lnTo>
                      <a:pt x="721710" y="629339"/>
                    </a:lnTo>
                    <a:close/>
                    <a:moveTo>
                      <a:pt x="762341" y="602578"/>
                    </a:moveTo>
                    <a:lnTo>
                      <a:pt x="763829" y="602640"/>
                    </a:lnTo>
                    <a:lnTo>
                      <a:pt x="761346" y="605036"/>
                    </a:lnTo>
                    <a:lnTo>
                      <a:pt x="756888" y="608009"/>
                    </a:lnTo>
                    <a:lnTo>
                      <a:pt x="755613" y="608276"/>
                    </a:lnTo>
                    <a:lnTo>
                      <a:pt x="761174" y="604001"/>
                    </a:lnTo>
                    <a:close/>
                    <a:moveTo>
                      <a:pt x="836342" y="594154"/>
                    </a:moveTo>
                    <a:lnTo>
                      <a:pt x="837613" y="594237"/>
                    </a:lnTo>
                    <a:lnTo>
                      <a:pt x="839622" y="595463"/>
                    </a:lnTo>
                    <a:lnTo>
                      <a:pt x="840358" y="595804"/>
                    </a:lnTo>
                    <a:lnTo>
                      <a:pt x="840699" y="596300"/>
                    </a:lnTo>
                    <a:lnTo>
                      <a:pt x="840503" y="597076"/>
                    </a:lnTo>
                    <a:lnTo>
                      <a:pt x="839694" y="598142"/>
                    </a:lnTo>
                    <a:lnTo>
                      <a:pt x="838746" y="598539"/>
                    </a:lnTo>
                    <a:lnTo>
                      <a:pt x="834526" y="596128"/>
                    </a:lnTo>
                    <a:lnTo>
                      <a:pt x="834261" y="595091"/>
                    </a:lnTo>
                    <a:close/>
                    <a:moveTo>
                      <a:pt x="1019706" y="591687"/>
                    </a:moveTo>
                    <a:lnTo>
                      <a:pt x="1015349" y="594190"/>
                    </a:lnTo>
                    <a:lnTo>
                      <a:pt x="1012789" y="595193"/>
                    </a:lnTo>
                    <a:lnTo>
                      <a:pt x="1010021" y="594464"/>
                    </a:lnTo>
                    <a:lnTo>
                      <a:pt x="1011742" y="594325"/>
                    </a:lnTo>
                    <a:lnTo>
                      <a:pt x="1012986" y="594620"/>
                    </a:lnTo>
                    <a:lnTo>
                      <a:pt x="1016137" y="593187"/>
                    </a:lnTo>
                    <a:lnTo>
                      <a:pt x="1017790" y="592101"/>
                    </a:lnTo>
                    <a:close/>
                    <a:moveTo>
                      <a:pt x="914208" y="591115"/>
                    </a:moveTo>
                    <a:lnTo>
                      <a:pt x="913784" y="592239"/>
                    </a:lnTo>
                    <a:lnTo>
                      <a:pt x="912398" y="593699"/>
                    </a:lnTo>
                    <a:lnTo>
                      <a:pt x="912462" y="593143"/>
                    </a:lnTo>
                    <a:lnTo>
                      <a:pt x="913482" y="591682"/>
                    </a:lnTo>
                    <a:close/>
                    <a:moveTo>
                      <a:pt x="914355" y="582638"/>
                    </a:moveTo>
                    <a:lnTo>
                      <a:pt x="915401" y="584211"/>
                    </a:lnTo>
                    <a:lnTo>
                      <a:pt x="915741" y="586082"/>
                    </a:lnTo>
                    <a:lnTo>
                      <a:pt x="915362" y="589588"/>
                    </a:lnTo>
                    <a:lnTo>
                      <a:pt x="914643" y="590476"/>
                    </a:lnTo>
                    <a:lnTo>
                      <a:pt x="915348" y="586222"/>
                    </a:lnTo>
                    <a:close/>
                    <a:moveTo>
                      <a:pt x="906250" y="579511"/>
                    </a:moveTo>
                    <a:lnTo>
                      <a:pt x="905586" y="580697"/>
                    </a:lnTo>
                    <a:lnTo>
                      <a:pt x="905247" y="581875"/>
                    </a:lnTo>
                    <a:lnTo>
                      <a:pt x="905337" y="583173"/>
                    </a:lnTo>
                    <a:lnTo>
                      <a:pt x="904087" y="582527"/>
                    </a:lnTo>
                    <a:lnTo>
                      <a:pt x="902236" y="582468"/>
                    </a:lnTo>
                    <a:lnTo>
                      <a:pt x="903051" y="582024"/>
                    </a:lnTo>
                    <a:lnTo>
                      <a:pt x="903624" y="581592"/>
                    </a:lnTo>
                    <a:lnTo>
                      <a:pt x="903908" y="581127"/>
                    </a:lnTo>
                    <a:close/>
                    <a:moveTo>
                      <a:pt x="918030" y="576838"/>
                    </a:moveTo>
                    <a:lnTo>
                      <a:pt x="921827" y="577820"/>
                    </a:lnTo>
                    <a:lnTo>
                      <a:pt x="922232" y="578190"/>
                    </a:lnTo>
                    <a:lnTo>
                      <a:pt x="921912" y="578501"/>
                    </a:lnTo>
                    <a:lnTo>
                      <a:pt x="919652" y="577919"/>
                    </a:lnTo>
                    <a:lnTo>
                      <a:pt x="918279" y="577378"/>
                    </a:lnTo>
                    <a:close/>
                    <a:moveTo>
                      <a:pt x="933681" y="576572"/>
                    </a:moveTo>
                    <a:lnTo>
                      <a:pt x="934650" y="577170"/>
                    </a:lnTo>
                    <a:lnTo>
                      <a:pt x="932406" y="577769"/>
                    </a:lnTo>
                    <a:lnTo>
                      <a:pt x="929078" y="577714"/>
                    </a:lnTo>
                    <a:lnTo>
                      <a:pt x="928402" y="577503"/>
                    </a:lnTo>
                    <a:lnTo>
                      <a:pt x="929737" y="577104"/>
                    </a:lnTo>
                    <a:close/>
                    <a:moveTo>
                      <a:pt x="1104351" y="557012"/>
                    </a:moveTo>
                    <a:lnTo>
                      <a:pt x="1103218" y="563852"/>
                    </a:lnTo>
                    <a:lnTo>
                      <a:pt x="1102726" y="561431"/>
                    </a:lnTo>
                    <a:lnTo>
                      <a:pt x="1102677" y="559079"/>
                    </a:lnTo>
                    <a:lnTo>
                      <a:pt x="1103537" y="557687"/>
                    </a:lnTo>
                    <a:close/>
                    <a:moveTo>
                      <a:pt x="156960" y="498703"/>
                    </a:moveTo>
                    <a:lnTo>
                      <a:pt x="158226" y="500775"/>
                    </a:lnTo>
                    <a:lnTo>
                      <a:pt x="161396" y="503919"/>
                    </a:lnTo>
                    <a:lnTo>
                      <a:pt x="162232" y="504540"/>
                    </a:lnTo>
                    <a:lnTo>
                      <a:pt x="160747" y="504799"/>
                    </a:lnTo>
                    <a:lnTo>
                      <a:pt x="159100" y="504218"/>
                    </a:lnTo>
                    <a:lnTo>
                      <a:pt x="157679" y="501467"/>
                    </a:lnTo>
                    <a:lnTo>
                      <a:pt x="156115" y="499316"/>
                    </a:lnTo>
                    <a:close/>
                    <a:moveTo>
                      <a:pt x="132264" y="491593"/>
                    </a:moveTo>
                    <a:lnTo>
                      <a:pt x="133447" y="491806"/>
                    </a:lnTo>
                    <a:lnTo>
                      <a:pt x="134383" y="493009"/>
                    </a:lnTo>
                    <a:lnTo>
                      <a:pt x="134486" y="493443"/>
                    </a:lnTo>
                    <a:lnTo>
                      <a:pt x="133351" y="493497"/>
                    </a:lnTo>
                    <a:lnTo>
                      <a:pt x="131793" y="493231"/>
                    </a:lnTo>
                    <a:lnTo>
                      <a:pt x="130987" y="491700"/>
                    </a:lnTo>
                    <a:close/>
                    <a:moveTo>
                      <a:pt x="157017" y="486023"/>
                    </a:moveTo>
                    <a:lnTo>
                      <a:pt x="161179" y="487794"/>
                    </a:lnTo>
                    <a:lnTo>
                      <a:pt x="162294" y="488632"/>
                    </a:lnTo>
                    <a:lnTo>
                      <a:pt x="163583" y="490734"/>
                    </a:lnTo>
                    <a:lnTo>
                      <a:pt x="161727" y="490475"/>
                    </a:lnTo>
                    <a:lnTo>
                      <a:pt x="159786" y="490592"/>
                    </a:lnTo>
                    <a:lnTo>
                      <a:pt x="159198" y="489449"/>
                    </a:lnTo>
                    <a:lnTo>
                      <a:pt x="158618" y="487860"/>
                    </a:lnTo>
                    <a:lnTo>
                      <a:pt x="158229" y="487454"/>
                    </a:lnTo>
                    <a:lnTo>
                      <a:pt x="156900" y="487312"/>
                    </a:lnTo>
                    <a:lnTo>
                      <a:pt x="156800" y="487168"/>
                    </a:lnTo>
                    <a:lnTo>
                      <a:pt x="156644" y="486392"/>
                    </a:lnTo>
                    <a:close/>
                    <a:moveTo>
                      <a:pt x="118317" y="470293"/>
                    </a:moveTo>
                    <a:lnTo>
                      <a:pt x="120293" y="471486"/>
                    </a:lnTo>
                    <a:lnTo>
                      <a:pt x="120560" y="471818"/>
                    </a:lnTo>
                    <a:lnTo>
                      <a:pt x="119040" y="473381"/>
                    </a:lnTo>
                    <a:lnTo>
                      <a:pt x="117245" y="473781"/>
                    </a:lnTo>
                    <a:lnTo>
                      <a:pt x="115887" y="473404"/>
                    </a:lnTo>
                    <a:lnTo>
                      <a:pt x="113725" y="470655"/>
                    </a:lnTo>
                    <a:close/>
                    <a:moveTo>
                      <a:pt x="110770" y="468951"/>
                    </a:moveTo>
                    <a:lnTo>
                      <a:pt x="111137" y="469314"/>
                    </a:lnTo>
                    <a:lnTo>
                      <a:pt x="112328" y="470340"/>
                    </a:lnTo>
                    <a:lnTo>
                      <a:pt x="110973" y="470414"/>
                    </a:lnTo>
                    <a:lnTo>
                      <a:pt x="108886" y="470109"/>
                    </a:lnTo>
                    <a:lnTo>
                      <a:pt x="109616" y="469438"/>
                    </a:lnTo>
                    <a:close/>
                    <a:moveTo>
                      <a:pt x="123152" y="468768"/>
                    </a:moveTo>
                    <a:lnTo>
                      <a:pt x="128344" y="470238"/>
                    </a:lnTo>
                    <a:lnTo>
                      <a:pt x="131143" y="469533"/>
                    </a:lnTo>
                    <a:lnTo>
                      <a:pt x="131649" y="470246"/>
                    </a:lnTo>
                    <a:lnTo>
                      <a:pt x="131319" y="470864"/>
                    </a:lnTo>
                    <a:lnTo>
                      <a:pt x="125009" y="471977"/>
                    </a:lnTo>
                    <a:lnTo>
                      <a:pt x="123071" y="471198"/>
                    </a:lnTo>
                    <a:lnTo>
                      <a:pt x="122894" y="470130"/>
                    </a:lnTo>
                    <a:lnTo>
                      <a:pt x="122240" y="469108"/>
                    </a:lnTo>
                    <a:close/>
                    <a:moveTo>
                      <a:pt x="1225398" y="450920"/>
                    </a:moveTo>
                    <a:lnTo>
                      <a:pt x="1226716" y="451083"/>
                    </a:lnTo>
                    <a:lnTo>
                      <a:pt x="1228655" y="452225"/>
                    </a:lnTo>
                    <a:lnTo>
                      <a:pt x="1228087" y="452294"/>
                    </a:lnTo>
                    <a:lnTo>
                      <a:pt x="1227085" y="451975"/>
                    </a:lnTo>
                    <a:lnTo>
                      <a:pt x="1225703" y="451367"/>
                    </a:lnTo>
                    <a:close/>
                    <a:moveTo>
                      <a:pt x="1237300" y="444032"/>
                    </a:moveTo>
                    <a:lnTo>
                      <a:pt x="1233465" y="447936"/>
                    </a:lnTo>
                    <a:lnTo>
                      <a:pt x="1229742" y="452569"/>
                    </a:lnTo>
                    <a:lnTo>
                      <a:pt x="1229107" y="452899"/>
                    </a:lnTo>
                    <a:lnTo>
                      <a:pt x="1231442" y="449301"/>
                    </a:lnTo>
                    <a:lnTo>
                      <a:pt x="1236055" y="444731"/>
                    </a:lnTo>
                    <a:close/>
                    <a:moveTo>
                      <a:pt x="1248152" y="436768"/>
                    </a:moveTo>
                    <a:lnTo>
                      <a:pt x="1243517" y="438833"/>
                    </a:lnTo>
                    <a:lnTo>
                      <a:pt x="1242993" y="438709"/>
                    </a:lnTo>
                    <a:lnTo>
                      <a:pt x="1246036" y="437233"/>
                    </a:lnTo>
                    <a:close/>
                    <a:moveTo>
                      <a:pt x="1255255" y="419981"/>
                    </a:moveTo>
                    <a:lnTo>
                      <a:pt x="1255894" y="421510"/>
                    </a:lnTo>
                    <a:lnTo>
                      <a:pt x="1256456" y="425933"/>
                    </a:lnTo>
                    <a:lnTo>
                      <a:pt x="1256244" y="429283"/>
                    </a:lnTo>
                    <a:lnTo>
                      <a:pt x="1255106" y="434160"/>
                    </a:lnTo>
                    <a:lnTo>
                      <a:pt x="1254220" y="435324"/>
                    </a:lnTo>
                    <a:lnTo>
                      <a:pt x="1250798" y="436113"/>
                    </a:lnTo>
                    <a:lnTo>
                      <a:pt x="1250495" y="435861"/>
                    </a:lnTo>
                    <a:lnTo>
                      <a:pt x="1254417" y="434210"/>
                    </a:lnTo>
                    <a:lnTo>
                      <a:pt x="1255654" y="428390"/>
                    </a:lnTo>
                    <a:lnTo>
                      <a:pt x="1255824" y="425703"/>
                    </a:lnTo>
                    <a:lnTo>
                      <a:pt x="1255236" y="420961"/>
                    </a:lnTo>
                    <a:close/>
                    <a:moveTo>
                      <a:pt x="1249804" y="414834"/>
                    </a:moveTo>
                    <a:lnTo>
                      <a:pt x="1251548" y="415874"/>
                    </a:lnTo>
                    <a:lnTo>
                      <a:pt x="1251860" y="416740"/>
                    </a:lnTo>
                    <a:lnTo>
                      <a:pt x="1251884" y="417460"/>
                    </a:lnTo>
                    <a:lnTo>
                      <a:pt x="1251499" y="418050"/>
                    </a:lnTo>
                    <a:close/>
                    <a:moveTo>
                      <a:pt x="1265603" y="345759"/>
                    </a:moveTo>
                    <a:lnTo>
                      <a:pt x="1264626" y="349242"/>
                    </a:lnTo>
                    <a:lnTo>
                      <a:pt x="1262916" y="352443"/>
                    </a:lnTo>
                    <a:lnTo>
                      <a:pt x="1259604" y="357889"/>
                    </a:lnTo>
                    <a:lnTo>
                      <a:pt x="1258444" y="358368"/>
                    </a:lnTo>
                    <a:lnTo>
                      <a:pt x="1262336" y="352446"/>
                    </a:lnTo>
                    <a:lnTo>
                      <a:pt x="1264595" y="347478"/>
                    </a:lnTo>
                    <a:close/>
                    <a:moveTo>
                      <a:pt x="1290888" y="302554"/>
                    </a:moveTo>
                    <a:lnTo>
                      <a:pt x="1290213" y="304525"/>
                    </a:lnTo>
                    <a:lnTo>
                      <a:pt x="1287221" y="309062"/>
                    </a:lnTo>
                    <a:lnTo>
                      <a:pt x="1287152" y="308191"/>
                    </a:lnTo>
                    <a:close/>
                    <a:moveTo>
                      <a:pt x="1291048" y="275071"/>
                    </a:moveTo>
                    <a:lnTo>
                      <a:pt x="1291858" y="275347"/>
                    </a:lnTo>
                    <a:lnTo>
                      <a:pt x="1291892" y="276372"/>
                    </a:lnTo>
                    <a:lnTo>
                      <a:pt x="1291578" y="277249"/>
                    </a:lnTo>
                    <a:lnTo>
                      <a:pt x="1290077" y="278597"/>
                    </a:lnTo>
                    <a:lnTo>
                      <a:pt x="1288811" y="279171"/>
                    </a:lnTo>
                    <a:lnTo>
                      <a:pt x="1287593" y="279296"/>
                    </a:lnTo>
                    <a:lnTo>
                      <a:pt x="1288810" y="276397"/>
                    </a:lnTo>
                    <a:close/>
                    <a:moveTo>
                      <a:pt x="1337638" y="260074"/>
                    </a:moveTo>
                    <a:lnTo>
                      <a:pt x="1333727" y="263553"/>
                    </a:lnTo>
                    <a:lnTo>
                      <a:pt x="1331626" y="265146"/>
                    </a:lnTo>
                    <a:lnTo>
                      <a:pt x="1329813" y="267108"/>
                    </a:lnTo>
                    <a:lnTo>
                      <a:pt x="1331452" y="267307"/>
                    </a:lnTo>
                    <a:lnTo>
                      <a:pt x="1332861" y="266731"/>
                    </a:lnTo>
                    <a:lnTo>
                      <a:pt x="1334197" y="265567"/>
                    </a:lnTo>
                    <a:lnTo>
                      <a:pt x="1337298" y="263991"/>
                    </a:lnTo>
                    <a:lnTo>
                      <a:pt x="1339940" y="263303"/>
                    </a:lnTo>
                    <a:lnTo>
                      <a:pt x="1340771" y="263160"/>
                    </a:lnTo>
                    <a:lnTo>
                      <a:pt x="1342032" y="264265"/>
                    </a:lnTo>
                    <a:lnTo>
                      <a:pt x="1344530" y="263377"/>
                    </a:lnTo>
                    <a:lnTo>
                      <a:pt x="1347099" y="262879"/>
                    </a:lnTo>
                    <a:lnTo>
                      <a:pt x="1335983" y="267933"/>
                    </a:lnTo>
                    <a:lnTo>
                      <a:pt x="1333710" y="268502"/>
                    </a:lnTo>
                    <a:lnTo>
                      <a:pt x="1330458" y="270005"/>
                    </a:lnTo>
                    <a:lnTo>
                      <a:pt x="1327384" y="271070"/>
                    </a:lnTo>
                    <a:lnTo>
                      <a:pt x="1325170" y="271458"/>
                    </a:lnTo>
                    <a:lnTo>
                      <a:pt x="1314164" y="275200"/>
                    </a:lnTo>
                    <a:lnTo>
                      <a:pt x="1313291" y="275281"/>
                    </a:lnTo>
                    <a:lnTo>
                      <a:pt x="1312347" y="274916"/>
                    </a:lnTo>
                    <a:lnTo>
                      <a:pt x="1303281" y="276842"/>
                    </a:lnTo>
                    <a:lnTo>
                      <a:pt x="1299561" y="277060"/>
                    </a:lnTo>
                    <a:lnTo>
                      <a:pt x="1296173" y="277731"/>
                    </a:lnTo>
                    <a:lnTo>
                      <a:pt x="1298679" y="276181"/>
                    </a:lnTo>
                    <a:lnTo>
                      <a:pt x="1298734" y="275601"/>
                    </a:lnTo>
                    <a:lnTo>
                      <a:pt x="1298134" y="275147"/>
                    </a:lnTo>
                    <a:lnTo>
                      <a:pt x="1296793" y="275279"/>
                    </a:lnTo>
                    <a:lnTo>
                      <a:pt x="1295422" y="276875"/>
                    </a:lnTo>
                    <a:lnTo>
                      <a:pt x="1293231" y="277409"/>
                    </a:lnTo>
                    <a:lnTo>
                      <a:pt x="1292792" y="275670"/>
                    </a:lnTo>
                    <a:lnTo>
                      <a:pt x="1293524" y="274325"/>
                    </a:lnTo>
                    <a:lnTo>
                      <a:pt x="1294515" y="273047"/>
                    </a:lnTo>
                    <a:lnTo>
                      <a:pt x="1296691" y="271039"/>
                    </a:lnTo>
                    <a:lnTo>
                      <a:pt x="1299803" y="269765"/>
                    </a:lnTo>
                    <a:lnTo>
                      <a:pt x="1301385" y="268665"/>
                    </a:lnTo>
                    <a:lnTo>
                      <a:pt x="1302480" y="269634"/>
                    </a:lnTo>
                    <a:lnTo>
                      <a:pt x="1302722" y="268324"/>
                    </a:lnTo>
                    <a:lnTo>
                      <a:pt x="1303565" y="267567"/>
                    </a:lnTo>
                    <a:lnTo>
                      <a:pt x="1304482" y="267160"/>
                    </a:lnTo>
                    <a:lnTo>
                      <a:pt x="1306686" y="267150"/>
                    </a:lnTo>
                    <a:lnTo>
                      <a:pt x="1307873" y="266944"/>
                    </a:lnTo>
                    <a:lnTo>
                      <a:pt x="1308731" y="266508"/>
                    </a:lnTo>
                    <a:lnTo>
                      <a:pt x="1309613" y="266427"/>
                    </a:lnTo>
                    <a:lnTo>
                      <a:pt x="1312024" y="267021"/>
                    </a:lnTo>
                    <a:lnTo>
                      <a:pt x="1314380" y="266851"/>
                    </a:lnTo>
                    <a:lnTo>
                      <a:pt x="1316282" y="266031"/>
                    </a:lnTo>
                    <a:lnTo>
                      <a:pt x="1318259" y="265755"/>
                    </a:lnTo>
                    <a:lnTo>
                      <a:pt x="1323487" y="265569"/>
                    </a:lnTo>
                    <a:lnTo>
                      <a:pt x="1328684" y="264970"/>
                    </a:lnTo>
                    <a:lnTo>
                      <a:pt x="1330762" y="263902"/>
                    </a:lnTo>
                    <a:lnTo>
                      <a:pt x="1335126" y="260909"/>
                    </a:lnTo>
                    <a:close/>
                    <a:moveTo>
                      <a:pt x="1394599" y="252637"/>
                    </a:moveTo>
                    <a:lnTo>
                      <a:pt x="1396018" y="255646"/>
                    </a:lnTo>
                    <a:lnTo>
                      <a:pt x="1396213" y="256653"/>
                    </a:lnTo>
                    <a:lnTo>
                      <a:pt x="1394245" y="257142"/>
                    </a:lnTo>
                    <a:lnTo>
                      <a:pt x="1389705" y="256020"/>
                    </a:lnTo>
                    <a:lnTo>
                      <a:pt x="1393440" y="255069"/>
                    </a:lnTo>
                    <a:lnTo>
                      <a:pt x="1394051" y="254738"/>
                    </a:lnTo>
                    <a:lnTo>
                      <a:pt x="1394538" y="253339"/>
                    </a:lnTo>
                    <a:close/>
                    <a:moveTo>
                      <a:pt x="1379936" y="250817"/>
                    </a:moveTo>
                    <a:lnTo>
                      <a:pt x="1382249" y="252110"/>
                    </a:lnTo>
                    <a:lnTo>
                      <a:pt x="1382642" y="253282"/>
                    </a:lnTo>
                    <a:lnTo>
                      <a:pt x="1375618" y="254770"/>
                    </a:lnTo>
                    <a:lnTo>
                      <a:pt x="1374497" y="253809"/>
                    </a:lnTo>
                    <a:lnTo>
                      <a:pt x="1376250" y="253365"/>
                    </a:lnTo>
                    <a:lnTo>
                      <a:pt x="1378464" y="251082"/>
                    </a:lnTo>
                    <a:close/>
                    <a:moveTo>
                      <a:pt x="1360847" y="247322"/>
                    </a:moveTo>
                    <a:lnTo>
                      <a:pt x="1361097" y="248224"/>
                    </a:lnTo>
                    <a:lnTo>
                      <a:pt x="1360821" y="249962"/>
                    </a:lnTo>
                    <a:lnTo>
                      <a:pt x="1360114" y="250527"/>
                    </a:lnTo>
                    <a:lnTo>
                      <a:pt x="1359849" y="249055"/>
                    </a:lnTo>
                    <a:lnTo>
                      <a:pt x="1360344" y="247362"/>
                    </a:lnTo>
                    <a:close/>
                    <a:moveTo>
                      <a:pt x="1364221" y="244805"/>
                    </a:moveTo>
                    <a:lnTo>
                      <a:pt x="1363983" y="249758"/>
                    </a:lnTo>
                    <a:lnTo>
                      <a:pt x="1362719" y="250592"/>
                    </a:lnTo>
                    <a:lnTo>
                      <a:pt x="1361308" y="250445"/>
                    </a:lnTo>
                    <a:lnTo>
                      <a:pt x="1362024" y="249320"/>
                    </a:lnTo>
                    <a:lnTo>
                      <a:pt x="1362297" y="247667"/>
                    </a:lnTo>
                    <a:lnTo>
                      <a:pt x="1362994" y="245851"/>
                    </a:lnTo>
                    <a:lnTo>
                      <a:pt x="1363394" y="245295"/>
                    </a:lnTo>
                    <a:close/>
                    <a:moveTo>
                      <a:pt x="1429406" y="164388"/>
                    </a:moveTo>
                    <a:lnTo>
                      <a:pt x="1429937" y="164822"/>
                    </a:lnTo>
                    <a:lnTo>
                      <a:pt x="1430772" y="166270"/>
                    </a:lnTo>
                    <a:lnTo>
                      <a:pt x="1429803" y="166889"/>
                    </a:lnTo>
                    <a:lnTo>
                      <a:pt x="1428770" y="166690"/>
                    </a:lnTo>
                    <a:lnTo>
                      <a:pt x="1428736" y="165145"/>
                    </a:lnTo>
                    <a:lnTo>
                      <a:pt x="1429049" y="164622"/>
                    </a:lnTo>
                    <a:close/>
                    <a:moveTo>
                      <a:pt x="1439032" y="158114"/>
                    </a:moveTo>
                    <a:lnTo>
                      <a:pt x="1440597" y="158682"/>
                    </a:lnTo>
                    <a:lnTo>
                      <a:pt x="1441799" y="161001"/>
                    </a:lnTo>
                    <a:lnTo>
                      <a:pt x="1441893" y="162001"/>
                    </a:lnTo>
                    <a:lnTo>
                      <a:pt x="1440408" y="162610"/>
                    </a:lnTo>
                    <a:lnTo>
                      <a:pt x="1438781" y="162345"/>
                    </a:lnTo>
                    <a:lnTo>
                      <a:pt x="1438815" y="163998"/>
                    </a:lnTo>
                    <a:lnTo>
                      <a:pt x="1438632" y="164592"/>
                    </a:lnTo>
                    <a:lnTo>
                      <a:pt x="1436829" y="163742"/>
                    </a:lnTo>
                    <a:lnTo>
                      <a:pt x="1436167" y="163195"/>
                    </a:lnTo>
                    <a:lnTo>
                      <a:pt x="1436225" y="161006"/>
                    </a:lnTo>
                    <a:lnTo>
                      <a:pt x="1437818" y="158933"/>
                    </a:lnTo>
                    <a:close/>
                    <a:moveTo>
                      <a:pt x="46551" y="68443"/>
                    </a:moveTo>
                    <a:lnTo>
                      <a:pt x="47469" y="70328"/>
                    </a:lnTo>
                    <a:lnTo>
                      <a:pt x="47368" y="70702"/>
                    </a:lnTo>
                    <a:lnTo>
                      <a:pt x="47126" y="71337"/>
                    </a:lnTo>
                    <a:lnTo>
                      <a:pt x="46766" y="71302"/>
                    </a:lnTo>
                    <a:lnTo>
                      <a:pt x="45969" y="70013"/>
                    </a:lnTo>
                    <a:lnTo>
                      <a:pt x="45867" y="69101"/>
                    </a:lnTo>
                    <a:close/>
                    <a:moveTo>
                      <a:pt x="57175" y="61483"/>
                    </a:moveTo>
                    <a:lnTo>
                      <a:pt x="57852" y="62902"/>
                    </a:lnTo>
                    <a:lnTo>
                      <a:pt x="59076" y="64548"/>
                    </a:lnTo>
                    <a:lnTo>
                      <a:pt x="58959" y="65283"/>
                    </a:lnTo>
                    <a:lnTo>
                      <a:pt x="57980" y="65857"/>
                    </a:lnTo>
                    <a:lnTo>
                      <a:pt x="57473" y="65709"/>
                    </a:lnTo>
                    <a:lnTo>
                      <a:pt x="57442" y="64842"/>
                    </a:lnTo>
                    <a:lnTo>
                      <a:pt x="57178" y="64710"/>
                    </a:lnTo>
                    <a:lnTo>
                      <a:pt x="56122" y="65752"/>
                    </a:lnTo>
                    <a:lnTo>
                      <a:pt x="56200" y="63694"/>
                    </a:lnTo>
                    <a:lnTo>
                      <a:pt x="56721" y="61522"/>
                    </a:lnTo>
                    <a:close/>
                    <a:moveTo>
                      <a:pt x="55106" y="54548"/>
                    </a:moveTo>
                    <a:lnTo>
                      <a:pt x="55936" y="54983"/>
                    </a:lnTo>
                    <a:lnTo>
                      <a:pt x="56175" y="55240"/>
                    </a:lnTo>
                    <a:lnTo>
                      <a:pt x="56445" y="58096"/>
                    </a:lnTo>
                    <a:lnTo>
                      <a:pt x="56308" y="58716"/>
                    </a:lnTo>
                    <a:lnTo>
                      <a:pt x="54901" y="57975"/>
                    </a:lnTo>
                    <a:lnTo>
                      <a:pt x="54439" y="57289"/>
                    </a:lnTo>
                    <a:lnTo>
                      <a:pt x="54494" y="55753"/>
                    </a:lnTo>
                    <a:lnTo>
                      <a:pt x="54841" y="54751"/>
                    </a:lnTo>
                    <a:close/>
                    <a:moveTo>
                      <a:pt x="53094" y="32395"/>
                    </a:moveTo>
                    <a:lnTo>
                      <a:pt x="53734" y="32513"/>
                    </a:lnTo>
                    <a:lnTo>
                      <a:pt x="54526" y="33201"/>
                    </a:lnTo>
                    <a:lnTo>
                      <a:pt x="55468" y="34455"/>
                    </a:lnTo>
                    <a:lnTo>
                      <a:pt x="55293" y="35344"/>
                    </a:lnTo>
                    <a:lnTo>
                      <a:pt x="51474" y="37071"/>
                    </a:lnTo>
                    <a:lnTo>
                      <a:pt x="51349" y="37476"/>
                    </a:lnTo>
                    <a:lnTo>
                      <a:pt x="53201" y="37963"/>
                    </a:lnTo>
                    <a:lnTo>
                      <a:pt x="53885" y="38396"/>
                    </a:lnTo>
                    <a:lnTo>
                      <a:pt x="54519" y="39826"/>
                    </a:lnTo>
                    <a:lnTo>
                      <a:pt x="55768" y="44100"/>
                    </a:lnTo>
                    <a:lnTo>
                      <a:pt x="56303" y="42321"/>
                    </a:lnTo>
                    <a:lnTo>
                      <a:pt x="59775" y="45402"/>
                    </a:lnTo>
                    <a:lnTo>
                      <a:pt x="59778" y="46920"/>
                    </a:lnTo>
                    <a:lnTo>
                      <a:pt x="59355" y="47427"/>
                    </a:lnTo>
                    <a:lnTo>
                      <a:pt x="58635" y="47605"/>
                    </a:lnTo>
                    <a:lnTo>
                      <a:pt x="57967" y="47162"/>
                    </a:lnTo>
                    <a:lnTo>
                      <a:pt x="57354" y="46101"/>
                    </a:lnTo>
                    <a:lnTo>
                      <a:pt x="56572" y="45537"/>
                    </a:lnTo>
                    <a:lnTo>
                      <a:pt x="54909" y="45173"/>
                    </a:lnTo>
                    <a:lnTo>
                      <a:pt x="54044" y="43964"/>
                    </a:lnTo>
                    <a:lnTo>
                      <a:pt x="53744" y="43137"/>
                    </a:lnTo>
                    <a:lnTo>
                      <a:pt x="53663" y="40740"/>
                    </a:lnTo>
                    <a:lnTo>
                      <a:pt x="53246" y="39995"/>
                    </a:lnTo>
                    <a:lnTo>
                      <a:pt x="52363" y="39830"/>
                    </a:lnTo>
                    <a:lnTo>
                      <a:pt x="51519" y="39263"/>
                    </a:lnTo>
                    <a:lnTo>
                      <a:pt x="50214" y="37586"/>
                    </a:lnTo>
                    <a:lnTo>
                      <a:pt x="50029" y="37138"/>
                    </a:lnTo>
                    <a:lnTo>
                      <a:pt x="50648" y="35770"/>
                    </a:lnTo>
                    <a:lnTo>
                      <a:pt x="52064" y="33481"/>
                    </a:lnTo>
                    <a:close/>
                    <a:moveTo>
                      <a:pt x="46541" y="26918"/>
                    </a:moveTo>
                    <a:lnTo>
                      <a:pt x="46965" y="27015"/>
                    </a:lnTo>
                    <a:lnTo>
                      <a:pt x="47144" y="28547"/>
                    </a:lnTo>
                    <a:lnTo>
                      <a:pt x="48350" y="30168"/>
                    </a:lnTo>
                    <a:lnTo>
                      <a:pt x="48190" y="30854"/>
                    </a:lnTo>
                    <a:lnTo>
                      <a:pt x="47790" y="31176"/>
                    </a:lnTo>
                    <a:lnTo>
                      <a:pt x="46426" y="30745"/>
                    </a:lnTo>
                    <a:lnTo>
                      <a:pt x="45620" y="30018"/>
                    </a:lnTo>
                    <a:lnTo>
                      <a:pt x="45348" y="29106"/>
                    </a:lnTo>
                    <a:lnTo>
                      <a:pt x="45860" y="27364"/>
                    </a:lnTo>
                    <a:close/>
                    <a:moveTo>
                      <a:pt x="40708" y="24897"/>
                    </a:moveTo>
                    <a:lnTo>
                      <a:pt x="43004" y="27348"/>
                    </a:lnTo>
                    <a:lnTo>
                      <a:pt x="43286" y="28578"/>
                    </a:lnTo>
                    <a:lnTo>
                      <a:pt x="43958" y="29655"/>
                    </a:lnTo>
                    <a:lnTo>
                      <a:pt x="41211" y="28965"/>
                    </a:lnTo>
                    <a:lnTo>
                      <a:pt x="40050" y="28348"/>
                    </a:lnTo>
                    <a:lnTo>
                      <a:pt x="39707" y="27745"/>
                    </a:lnTo>
                    <a:lnTo>
                      <a:pt x="39295" y="25768"/>
                    </a:lnTo>
                    <a:lnTo>
                      <a:pt x="39484" y="25123"/>
                    </a:lnTo>
                    <a:close/>
                    <a:moveTo>
                      <a:pt x="46229" y="21714"/>
                    </a:moveTo>
                    <a:lnTo>
                      <a:pt x="49178" y="22948"/>
                    </a:lnTo>
                    <a:lnTo>
                      <a:pt x="49517" y="23661"/>
                    </a:lnTo>
                    <a:lnTo>
                      <a:pt x="48493" y="24355"/>
                    </a:lnTo>
                    <a:lnTo>
                      <a:pt x="47763" y="24461"/>
                    </a:lnTo>
                    <a:lnTo>
                      <a:pt x="46602" y="23344"/>
                    </a:lnTo>
                    <a:lnTo>
                      <a:pt x="46095" y="23211"/>
                    </a:lnTo>
                    <a:lnTo>
                      <a:pt x="46503" y="24929"/>
                    </a:lnTo>
                    <a:lnTo>
                      <a:pt x="46362" y="25513"/>
                    </a:lnTo>
                    <a:lnTo>
                      <a:pt x="43987" y="24457"/>
                    </a:lnTo>
                    <a:lnTo>
                      <a:pt x="43548" y="23621"/>
                    </a:lnTo>
                    <a:lnTo>
                      <a:pt x="44215" y="22737"/>
                    </a:lnTo>
                    <a:lnTo>
                      <a:pt x="45711" y="21824"/>
                    </a:lnTo>
                    <a:close/>
                    <a:moveTo>
                      <a:pt x="753940" y="0"/>
                    </a:moveTo>
                    <a:lnTo>
                      <a:pt x="759448" y="670"/>
                    </a:lnTo>
                    <a:lnTo>
                      <a:pt x="761095" y="1674"/>
                    </a:lnTo>
                    <a:lnTo>
                      <a:pt x="761616" y="2152"/>
                    </a:lnTo>
                    <a:lnTo>
                      <a:pt x="761461" y="3670"/>
                    </a:lnTo>
                    <a:lnTo>
                      <a:pt x="761917" y="8269"/>
                    </a:lnTo>
                    <a:lnTo>
                      <a:pt x="762914" y="12099"/>
                    </a:lnTo>
                    <a:lnTo>
                      <a:pt x="765227" y="16687"/>
                    </a:lnTo>
                    <a:lnTo>
                      <a:pt x="765234" y="16702"/>
                    </a:lnTo>
                    <a:lnTo>
                      <a:pt x="765424" y="18492"/>
                    </a:lnTo>
                    <a:lnTo>
                      <a:pt x="766183" y="19611"/>
                    </a:lnTo>
                    <a:lnTo>
                      <a:pt x="767571" y="20655"/>
                    </a:lnTo>
                    <a:lnTo>
                      <a:pt x="772846" y="21920"/>
                    </a:lnTo>
                    <a:lnTo>
                      <a:pt x="782004" y="23398"/>
                    </a:lnTo>
                    <a:lnTo>
                      <a:pt x="787196" y="25095"/>
                    </a:lnTo>
                    <a:lnTo>
                      <a:pt x="788422" y="27007"/>
                    </a:lnTo>
                    <a:lnTo>
                      <a:pt x="790868" y="27774"/>
                    </a:lnTo>
                    <a:lnTo>
                      <a:pt x="794527" y="27400"/>
                    </a:lnTo>
                    <a:lnTo>
                      <a:pt x="797094" y="26601"/>
                    </a:lnTo>
                    <a:lnTo>
                      <a:pt x="799281" y="24790"/>
                    </a:lnTo>
                    <a:lnTo>
                      <a:pt x="802341" y="24388"/>
                    </a:lnTo>
                    <a:lnTo>
                      <a:pt x="804960" y="24503"/>
                    </a:lnTo>
                    <a:lnTo>
                      <a:pt x="807601" y="24682"/>
                    </a:lnTo>
                    <a:lnTo>
                      <a:pt x="809017" y="24946"/>
                    </a:lnTo>
                    <a:lnTo>
                      <a:pt x="813086" y="26389"/>
                    </a:lnTo>
                    <a:lnTo>
                      <a:pt x="815740" y="27566"/>
                    </a:lnTo>
                    <a:lnTo>
                      <a:pt x="819552" y="29751"/>
                    </a:lnTo>
                    <a:lnTo>
                      <a:pt x="821661" y="30723"/>
                    </a:lnTo>
                    <a:lnTo>
                      <a:pt x="822674" y="32995"/>
                    </a:lnTo>
                    <a:lnTo>
                      <a:pt x="823854" y="35910"/>
                    </a:lnTo>
                    <a:lnTo>
                      <a:pt x="825542" y="35910"/>
                    </a:lnTo>
                    <a:lnTo>
                      <a:pt x="826811" y="34203"/>
                    </a:lnTo>
                    <a:lnTo>
                      <a:pt x="830048" y="33894"/>
                    </a:lnTo>
                    <a:lnTo>
                      <a:pt x="834298" y="35086"/>
                    </a:lnTo>
                    <a:lnTo>
                      <a:pt x="838044" y="38491"/>
                    </a:lnTo>
                    <a:lnTo>
                      <a:pt x="843428" y="41523"/>
                    </a:lnTo>
                    <a:lnTo>
                      <a:pt x="846719" y="43031"/>
                    </a:lnTo>
                    <a:lnTo>
                      <a:pt x="850063" y="43023"/>
                    </a:lnTo>
                    <a:lnTo>
                      <a:pt x="854313" y="41523"/>
                    </a:lnTo>
                    <a:lnTo>
                      <a:pt x="858832" y="38617"/>
                    </a:lnTo>
                    <a:lnTo>
                      <a:pt x="862082" y="38113"/>
                    </a:lnTo>
                    <a:lnTo>
                      <a:pt x="864013" y="38394"/>
                    </a:lnTo>
                    <a:lnTo>
                      <a:pt x="865112" y="40660"/>
                    </a:lnTo>
                    <a:lnTo>
                      <a:pt x="866462" y="41523"/>
                    </a:lnTo>
                    <a:lnTo>
                      <a:pt x="869964" y="41261"/>
                    </a:lnTo>
                    <a:lnTo>
                      <a:pt x="877285" y="41699"/>
                    </a:lnTo>
                    <a:lnTo>
                      <a:pt x="883109" y="41081"/>
                    </a:lnTo>
                    <a:lnTo>
                      <a:pt x="884432" y="42383"/>
                    </a:lnTo>
                    <a:lnTo>
                      <a:pt x="885613" y="44431"/>
                    </a:lnTo>
                    <a:lnTo>
                      <a:pt x="887976" y="45076"/>
                    </a:lnTo>
                    <a:lnTo>
                      <a:pt x="891181" y="44431"/>
                    </a:lnTo>
                    <a:lnTo>
                      <a:pt x="896916" y="44932"/>
                    </a:lnTo>
                    <a:lnTo>
                      <a:pt x="899338" y="45050"/>
                    </a:lnTo>
                    <a:lnTo>
                      <a:pt x="903992" y="44279"/>
                    </a:lnTo>
                    <a:lnTo>
                      <a:pt x="906225" y="43385"/>
                    </a:lnTo>
                    <a:lnTo>
                      <a:pt x="909364" y="41873"/>
                    </a:lnTo>
                    <a:lnTo>
                      <a:pt x="913545" y="39856"/>
                    </a:lnTo>
                    <a:lnTo>
                      <a:pt x="920865" y="36322"/>
                    </a:lnTo>
                    <a:lnTo>
                      <a:pt x="926823" y="35046"/>
                    </a:lnTo>
                    <a:lnTo>
                      <a:pt x="932373" y="37583"/>
                    </a:lnTo>
                    <a:lnTo>
                      <a:pt x="936791" y="39818"/>
                    </a:lnTo>
                    <a:lnTo>
                      <a:pt x="938499" y="40682"/>
                    </a:lnTo>
                    <a:lnTo>
                      <a:pt x="943004" y="42957"/>
                    </a:lnTo>
                    <a:lnTo>
                      <a:pt x="949373" y="46173"/>
                    </a:lnTo>
                    <a:lnTo>
                      <a:pt x="956675" y="49857"/>
                    </a:lnTo>
                    <a:lnTo>
                      <a:pt x="963975" y="53534"/>
                    </a:lnTo>
                    <a:lnTo>
                      <a:pt x="970343" y="56740"/>
                    </a:lnTo>
                    <a:lnTo>
                      <a:pt x="974849" y="59002"/>
                    </a:lnTo>
                    <a:lnTo>
                      <a:pt x="976558" y="59861"/>
                    </a:lnTo>
                    <a:lnTo>
                      <a:pt x="981510" y="62451"/>
                    </a:lnTo>
                    <a:lnTo>
                      <a:pt x="986461" y="65041"/>
                    </a:lnTo>
                    <a:lnTo>
                      <a:pt x="991410" y="67627"/>
                    </a:lnTo>
                    <a:lnTo>
                      <a:pt x="996362" y="70211"/>
                    </a:lnTo>
                    <a:lnTo>
                      <a:pt x="1001313" y="72793"/>
                    </a:lnTo>
                    <a:lnTo>
                      <a:pt x="1006264" y="75370"/>
                    </a:lnTo>
                    <a:lnTo>
                      <a:pt x="1011213" y="77948"/>
                    </a:lnTo>
                    <a:lnTo>
                      <a:pt x="1016164" y="80524"/>
                    </a:lnTo>
                    <a:lnTo>
                      <a:pt x="1017413" y="84800"/>
                    </a:lnTo>
                    <a:lnTo>
                      <a:pt x="1018629" y="88957"/>
                    </a:lnTo>
                    <a:lnTo>
                      <a:pt x="1021527" y="91972"/>
                    </a:lnTo>
                    <a:lnTo>
                      <a:pt x="1024181" y="94723"/>
                    </a:lnTo>
                    <a:lnTo>
                      <a:pt x="1025716" y="94578"/>
                    </a:lnTo>
                    <a:lnTo>
                      <a:pt x="1027274" y="93418"/>
                    </a:lnTo>
                    <a:lnTo>
                      <a:pt x="1028263" y="92857"/>
                    </a:lnTo>
                    <a:lnTo>
                      <a:pt x="1029921" y="92766"/>
                    </a:lnTo>
                    <a:lnTo>
                      <a:pt x="1033608" y="91771"/>
                    </a:lnTo>
                    <a:lnTo>
                      <a:pt x="1034698" y="91988"/>
                    </a:lnTo>
                    <a:lnTo>
                      <a:pt x="1035317" y="92485"/>
                    </a:lnTo>
                    <a:lnTo>
                      <a:pt x="1035369" y="93265"/>
                    </a:lnTo>
                    <a:lnTo>
                      <a:pt x="1035242" y="93883"/>
                    </a:lnTo>
                    <a:lnTo>
                      <a:pt x="1034672" y="95126"/>
                    </a:lnTo>
                    <a:lnTo>
                      <a:pt x="1035573" y="97493"/>
                    </a:lnTo>
                    <a:lnTo>
                      <a:pt x="1035762" y="100120"/>
                    </a:lnTo>
                    <a:lnTo>
                      <a:pt x="1036256" y="102104"/>
                    </a:lnTo>
                    <a:lnTo>
                      <a:pt x="1037766" y="104641"/>
                    </a:lnTo>
                    <a:lnTo>
                      <a:pt x="1039077" y="106623"/>
                    </a:lnTo>
                    <a:lnTo>
                      <a:pt x="1040728" y="107005"/>
                    </a:lnTo>
                    <a:lnTo>
                      <a:pt x="1044552" y="105851"/>
                    </a:lnTo>
                    <a:lnTo>
                      <a:pt x="1046947" y="105415"/>
                    </a:lnTo>
                    <a:lnTo>
                      <a:pt x="1048307" y="105604"/>
                    </a:lnTo>
                    <a:lnTo>
                      <a:pt x="1050634" y="107458"/>
                    </a:lnTo>
                    <a:lnTo>
                      <a:pt x="1051773" y="108573"/>
                    </a:lnTo>
                    <a:lnTo>
                      <a:pt x="1052045" y="109498"/>
                    </a:lnTo>
                    <a:lnTo>
                      <a:pt x="1048902" y="115148"/>
                    </a:lnTo>
                    <a:lnTo>
                      <a:pt x="1053885" y="117948"/>
                    </a:lnTo>
                    <a:lnTo>
                      <a:pt x="1059447" y="121006"/>
                    </a:lnTo>
                    <a:lnTo>
                      <a:pt x="1066078" y="124647"/>
                    </a:lnTo>
                    <a:lnTo>
                      <a:pt x="1070133" y="126873"/>
                    </a:lnTo>
                    <a:lnTo>
                      <a:pt x="1075472" y="130050"/>
                    </a:lnTo>
                    <a:lnTo>
                      <a:pt x="1076387" y="134571"/>
                    </a:lnTo>
                    <a:lnTo>
                      <a:pt x="1077157" y="138381"/>
                    </a:lnTo>
                    <a:lnTo>
                      <a:pt x="1078138" y="143686"/>
                    </a:lnTo>
                    <a:lnTo>
                      <a:pt x="1079139" y="149086"/>
                    </a:lnTo>
                    <a:lnTo>
                      <a:pt x="1080137" y="154459"/>
                    </a:lnTo>
                    <a:lnTo>
                      <a:pt x="1081195" y="160149"/>
                    </a:lnTo>
                    <a:lnTo>
                      <a:pt x="1082356" y="166390"/>
                    </a:lnTo>
                    <a:lnTo>
                      <a:pt x="1083389" y="171918"/>
                    </a:lnTo>
                    <a:lnTo>
                      <a:pt x="1084516" y="177943"/>
                    </a:lnTo>
                    <a:lnTo>
                      <a:pt x="1086015" y="185765"/>
                    </a:lnTo>
                    <a:lnTo>
                      <a:pt x="1084674" y="188774"/>
                    </a:lnTo>
                    <a:lnTo>
                      <a:pt x="1081755" y="195316"/>
                    </a:lnTo>
                    <a:lnTo>
                      <a:pt x="1079118" y="201217"/>
                    </a:lnTo>
                    <a:lnTo>
                      <a:pt x="1078887" y="202927"/>
                    </a:lnTo>
                    <a:lnTo>
                      <a:pt x="1077074" y="211508"/>
                    </a:lnTo>
                    <a:lnTo>
                      <a:pt x="1075620" y="215047"/>
                    </a:lnTo>
                    <a:lnTo>
                      <a:pt x="1073074" y="217098"/>
                    </a:lnTo>
                    <a:lnTo>
                      <a:pt x="1070546" y="219087"/>
                    </a:lnTo>
                    <a:lnTo>
                      <a:pt x="1067395" y="222415"/>
                    </a:lnTo>
                    <a:lnTo>
                      <a:pt x="1063927" y="224059"/>
                    </a:lnTo>
                    <a:lnTo>
                      <a:pt x="1062154" y="225025"/>
                    </a:lnTo>
                    <a:lnTo>
                      <a:pt x="1061227" y="226548"/>
                    </a:lnTo>
                    <a:lnTo>
                      <a:pt x="1060203" y="229885"/>
                    </a:lnTo>
                    <a:lnTo>
                      <a:pt x="1060400" y="234973"/>
                    </a:lnTo>
                    <a:lnTo>
                      <a:pt x="1063256" y="239346"/>
                    </a:lnTo>
                    <a:lnTo>
                      <a:pt x="1067434" y="241790"/>
                    </a:lnTo>
                    <a:lnTo>
                      <a:pt x="1071928" y="244167"/>
                    </a:lnTo>
                    <a:lnTo>
                      <a:pt x="1078330" y="244178"/>
                    </a:lnTo>
                    <a:lnTo>
                      <a:pt x="1084089" y="241005"/>
                    </a:lnTo>
                    <a:lnTo>
                      <a:pt x="1090190" y="237641"/>
                    </a:lnTo>
                    <a:lnTo>
                      <a:pt x="1095629" y="234639"/>
                    </a:lnTo>
                    <a:lnTo>
                      <a:pt x="1102099" y="231064"/>
                    </a:lnTo>
                    <a:lnTo>
                      <a:pt x="1107958" y="227823"/>
                    </a:lnTo>
                    <a:lnTo>
                      <a:pt x="1114321" y="226656"/>
                    </a:lnTo>
                    <a:lnTo>
                      <a:pt x="1123137" y="225041"/>
                    </a:lnTo>
                    <a:lnTo>
                      <a:pt x="1134235" y="223006"/>
                    </a:lnTo>
                    <a:lnTo>
                      <a:pt x="1139639" y="220686"/>
                    </a:lnTo>
                    <a:lnTo>
                      <a:pt x="1146623" y="217687"/>
                    </a:lnTo>
                    <a:lnTo>
                      <a:pt x="1154677" y="214222"/>
                    </a:lnTo>
                    <a:lnTo>
                      <a:pt x="1161629" y="211229"/>
                    </a:lnTo>
                    <a:lnTo>
                      <a:pt x="1165123" y="209569"/>
                    </a:lnTo>
                    <a:lnTo>
                      <a:pt x="1167610" y="207675"/>
                    </a:lnTo>
                    <a:lnTo>
                      <a:pt x="1168227" y="206272"/>
                    </a:lnTo>
                    <a:lnTo>
                      <a:pt x="1168079" y="205467"/>
                    </a:lnTo>
                    <a:lnTo>
                      <a:pt x="1167438" y="204659"/>
                    </a:lnTo>
                    <a:lnTo>
                      <a:pt x="1166552" y="204064"/>
                    </a:lnTo>
                    <a:lnTo>
                      <a:pt x="1165763" y="203557"/>
                    </a:lnTo>
                    <a:lnTo>
                      <a:pt x="1165394" y="202928"/>
                    </a:lnTo>
                    <a:lnTo>
                      <a:pt x="1165320" y="201554"/>
                    </a:lnTo>
                    <a:lnTo>
                      <a:pt x="1164837" y="200763"/>
                    </a:lnTo>
                    <a:lnTo>
                      <a:pt x="1164375" y="200181"/>
                    </a:lnTo>
                    <a:lnTo>
                      <a:pt x="1164551" y="194855"/>
                    </a:lnTo>
                    <a:lnTo>
                      <a:pt x="1163942" y="193202"/>
                    </a:lnTo>
                    <a:lnTo>
                      <a:pt x="1161677" y="189007"/>
                    </a:lnTo>
                    <a:lnTo>
                      <a:pt x="1165998" y="187125"/>
                    </a:lnTo>
                    <a:lnTo>
                      <a:pt x="1170001" y="185378"/>
                    </a:lnTo>
                    <a:lnTo>
                      <a:pt x="1173193" y="184084"/>
                    </a:lnTo>
                    <a:lnTo>
                      <a:pt x="1179880" y="183880"/>
                    </a:lnTo>
                    <a:lnTo>
                      <a:pt x="1186092" y="183906"/>
                    </a:lnTo>
                    <a:lnTo>
                      <a:pt x="1194651" y="183942"/>
                    </a:lnTo>
                    <a:lnTo>
                      <a:pt x="1201864" y="183971"/>
                    </a:lnTo>
                    <a:lnTo>
                      <a:pt x="1210277" y="184005"/>
                    </a:lnTo>
                    <a:lnTo>
                      <a:pt x="1215210" y="184025"/>
                    </a:lnTo>
                    <a:lnTo>
                      <a:pt x="1221673" y="183964"/>
                    </a:lnTo>
                    <a:lnTo>
                      <a:pt x="1224824" y="179108"/>
                    </a:lnTo>
                    <a:lnTo>
                      <a:pt x="1227639" y="174758"/>
                    </a:lnTo>
                    <a:lnTo>
                      <a:pt x="1230738" y="170598"/>
                    </a:lnTo>
                    <a:lnTo>
                      <a:pt x="1236251" y="165706"/>
                    </a:lnTo>
                    <a:lnTo>
                      <a:pt x="1237851" y="164826"/>
                    </a:lnTo>
                    <a:lnTo>
                      <a:pt x="1238735" y="162894"/>
                    </a:lnTo>
                    <a:lnTo>
                      <a:pt x="1242076" y="161058"/>
                    </a:lnTo>
                    <a:lnTo>
                      <a:pt x="1245756" y="159353"/>
                    </a:lnTo>
                    <a:lnTo>
                      <a:pt x="1247199" y="157752"/>
                    </a:lnTo>
                    <a:lnTo>
                      <a:pt x="1247898" y="156841"/>
                    </a:lnTo>
                    <a:lnTo>
                      <a:pt x="1257865" y="148195"/>
                    </a:lnTo>
                    <a:lnTo>
                      <a:pt x="1263525" y="144194"/>
                    </a:lnTo>
                    <a:lnTo>
                      <a:pt x="1268199" y="141966"/>
                    </a:lnTo>
                    <a:lnTo>
                      <a:pt x="1271757" y="140899"/>
                    </a:lnTo>
                    <a:lnTo>
                      <a:pt x="1274160" y="141052"/>
                    </a:lnTo>
                    <a:lnTo>
                      <a:pt x="1275527" y="140901"/>
                    </a:lnTo>
                    <a:lnTo>
                      <a:pt x="1276691" y="140899"/>
                    </a:lnTo>
                    <a:lnTo>
                      <a:pt x="1282632" y="140890"/>
                    </a:lnTo>
                    <a:lnTo>
                      <a:pt x="1293247" y="140875"/>
                    </a:lnTo>
                    <a:lnTo>
                      <a:pt x="1303863" y="140860"/>
                    </a:lnTo>
                    <a:lnTo>
                      <a:pt x="1314478" y="140846"/>
                    </a:lnTo>
                    <a:lnTo>
                      <a:pt x="1325093" y="140830"/>
                    </a:lnTo>
                    <a:lnTo>
                      <a:pt x="1335709" y="140815"/>
                    </a:lnTo>
                    <a:lnTo>
                      <a:pt x="1346324" y="140801"/>
                    </a:lnTo>
                    <a:lnTo>
                      <a:pt x="1356939" y="140785"/>
                    </a:lnTo>
                    <a:lnTo>
                      <a:pt x="1359451" y="134700"/>
                    </a:lnTo>
                    <a:lnTo>
                      <a:pt x="1361792" y="131862"/>
                    </a:lnTo>
                    <a:lnTo>
                      <a:pt x="1364998" y="132802"/>
                    </a:lnTo>
                    <a:lnTo>
                      <a:pt x="1366705" y="132723"/>
                    </a:lnTo>
                    <a:lnTo>
                      <a:pt x="1368604" y="131259"/>
                    </a:lnTo>
                    <a:lnTo>
                      <a:pt x="1370143" y="130370"/>
                    </a:lnTo>
                    <a:lnTo>
                      <a:pt x="1371157" y="130502"/>
                    </a:lnTo>
                    <a:lnTo>
                      <a:pt x="1372022" y="131842"/>
                    </a:lnTo>
                    <a:lnTo>
                      <a:pt x="1372744" y="132736"/>
                    </a:lnTo>
                    <a:lnTo>
                      <a:pt x="1373585" y="132476"/>
                    </a:lnTo>
                    <a:lnTo>
                      <a:pt x="1374304" y="131211"/>
                    </a:lnTo>
                    <a:lnTo>
                      <a:pt x="1374279" y="129456"/>
                    </a:lnTo>
                    <a:lnTo>
                      <a:pt x="1375264" y="128232"/>
                    </a:lnTo>
                    <a:lnTo>
                      <a:pt x="1376434" y="128045"/>
                    </a:lnTo>
                    <a:lnTo>
                      <a:pt x="1377515" y="128084"/>
                    </a:lnTo>
                    <a:lnTo>
                      <a:pt x="1378054" y="127487"/>
                    </a:lnTo>
                    <a:lnTo>
                      <a:pt x="1377995" y="126632"/>
                    </a:lnTo>
                    <a:lnTo>
                      <a:pt x="1377605" y="125251"/>
                    </a:lnTo>
                    <a:lnTo>
                      <a:pt x="1377737" y="123588"/>
                    </a:lnTo>
                    <a:lnTo>
                      <a:pt x="1380437" y="120649"/>
                    </a:lnTo>
                    <a:lnTo>
                      <a:pt x="1383748" y="118654"/>
                    </a:lnTo>
                    <a:lnTo>
                      <a:pt x="1384909" y="117656"/>
                    </a:lnTo>
                    <a:lnTo>
                      <a:pt x="1385247" y="115633"/>
                    </a:lnTo>
                    <a:lnTo>
                      <a:pt x="1387144" y="113529"/>
                    </a:lnTo>
                    <a:lnTo>
                      <a:pt x="1388094" y="112318"/>
                    </a:lnTo>
                    <a:lnTo>
                      <a:pt x="1388326" y="111267"/>
                    </a:lnTo>
                    <a:lnTo>
                      <a:pt x="1387833" y="109971"/>
                    </a:lnTo>
                    <a:lnTo>
                      <a:pt x="1387883" y="107500"/>
                    </a:lnTo>
                    <a:lnTo>
                      <a:pt x="1388536" y="104547"/>
                    </a:lnTo>
                    <a:lnTo>
                      <a:pt x="1389317" y="101325"/>
                    </a:lnTo>
                    <a:lnTo>
                      <a:pt x="1391067" y="98419"/>
                    </a:lnTo>
                    <a:lnTo>
                      <a:pt x="1393937" y="95245"/>
                    </a:lnTo>
                    <a:lnTo>
                      <a:pt x="1394676" y="91069"/>
                    </a:lnTo>
                    <a:lnTo>
                      <a:pt x="1395454" y="86659"/>
                    </a:lnTo>
                    <a:lnTo>
                      <a:pt x="1398923" y="82355"/>
                    </a:lnTo>
                    <a:lnTo>
                      <a:pt x="1402856" y="77467"/>
                    </a:lnTo>
                    <a:lnTo>
                      <a:pt x="1405095" y="74682"/>
                    </a:lnTo>
                    <a:lnTo>
                      <a:pt x="1409134" y="69608"/>
                    </a:lnTo>
                    <a:lnTo>
                      <a:pt x="1412006" y="65991"/>
                    </a:lnTo>
                    <a:lnTo>
                      <a:pt x="1413453" y="64330"/>
                    </a:lnTo>
                    <a:lnTo>
                      <a:pt x="1414965" y="62356"/>
                    </a:lnTo>
                    <a:lnTo>
                      <a:pt x="1417430" y="62946"/>
                    </a:lnTo>
                    <a:lnTo>
                      <a:pt x="1419879" y="63534"/>
                    </a:lnTo>
                    <a:lnTo>
                      <a:pt x="1419522" y="66395"/>
                    </a:lnTo>
                    <a:lnTo>
                      <a:pt x="1419922" y="68478"/>
                    </a:lnTo>
                    <a:lnTo>
                      <a:pt x="1421081" y="69681"/>
                    </a:lnTo>
                    <a:lnTo>
                      <a:pt x="1422763" y="70493"/>
                    </a:lnTo>
                    <a:lnTo>
                      <a:pt x="1424033" y="70764"/>
                    </a:lnTo>
                    <a:lnTo>
                      <a:pt x="1425531" y="70748"/>
                    </a:lnTo>
                    <a:lnTo>
                      <a:pt x="1429616" y="69129"/>
                    </a:lnTo>
                    <a:lnTo>
                      <a:pt x="1434416" y="68086"/>
                    </a:lnTo>
                    <a:lnTo>
                      <a:pt x="1437056" y="67105"/>
                    </a:lnTo>
                    <a:lnTo>
                      <a:pt x="1437538" y="66189"/>
                    </a:lnTo>
                    <a:lnTo>
                      <a:pt x="1438740" y="65867"/>
                    </a:lnTo>
                    <a:lnTo>
                      <a:pt x="1440664" y="66142"/>
                    </a:lnTo>
                    <a:lnTo>
                      <a:pt x="1444202" y="68439"/>
                    </a:lnTo>
                    <a:lnTo>
                      <a:pt x="1448333" y="71900"/>
                    </a:lnTo>
                    <a:lnTo>
                      <a:pt x="1451600" y="74634"/>
                    </a:lnTo>
                    <a:lnTo>
                      <a:pt x="1451700" y="79370"/>
                    </a:lnTo>
                    <a:lnTo>
                      <a:pt x="1451764" y="84380"/>
                    </a:lnTo>
                    <a:lnTo>
                      <a:pt x="1451832" y="89653"/>
                    </a:lnTo>
                    <a:lnTo>
                      <a:pt x="1451880" y="93409"/>
                    </a:lnTo>
                    <a:lnTo>
                      <a:pt x="1451964" y="98561"/>
                    </a:lnTo>
                    <a:lnTo>
                      <a:pt x="1452029" y="102652"/>
                    </a:lnTo>
                    <a:lnTo>
                      <a:pt x="1452118" y="107985"/>
                    </a:lnTo>
                    <a:lnTo>
                      <a:pt x="1452164" y="110832"/>
                    </a:lnTo>
                    <a:lnTo>
                      <a:pt x="1452614" y="111654"/>
                    </a:lnTo>
                    <a:lnTo>
                      <a:pt x="1452343" y="112774"/>
                    </a:lnTo>
                    <a:lnTo>
                      <a:pt x="1452225" y="113335"/>
                    </a:lnTo>
                    <a:lnTo>
                      <a:pt x="1452254" y="113780"/>
                    </a:lnTo>
                    <a:lnTo>
                      <a:pt x="1452433" y="114342"/>
                    </a:lnTo>
                    <a:lnTo>
                      <a:pt x="1452403" y="115125"/>
                    </a:lnTo>
                    <a:lnTo>
                      <a:pt x="1451984" y="115836"/>
                    </a:lnTo>
                    <a:lnTo>
                      <a:pt x="1451776" y="116654"/>
                    </a:lnTo>
                    <a:lnTo>
                      <a:pt x="1451715" y="117998"/>
                    </a:lnTo>
                    <a:lnTo>
                      <a:pt x="1452164" y="118817"/>
                    </a:lnTo>
                    <a:lnTo>
                      <a:pt x="1452912" y="119300"/>
                    </a:lnTo>
                    <a:lnTo>
                      <a:pt x="1453541" y="119300"/>
                    </a:lnTo>
                    <a:lnTo>
                      <a:pt x="1454350" y="119786"/>
                    </a:lnTo>
                    <a:lnTo>
                      <a:pt x="1455397" y="120643"/>
                    </a:lnTo>
                    <a:lnTo>
                      <a:pt x="1456983" y="121388"/>
                    </a:lnTo>
                    <a:lnTo>
                      <a:pt x="1458629" y="121648"/>
                    </a:lnTo>
                    <a:lnTo>
                      <a:pt x="1459767" y="121461"/>
                    </a:lnTo>
                    <a:lnTo>
                      <a:pt x="1461144" y="121947"/>
                    </a:lnTo>
                    <a:lnTo>
                      <a:pt x="1461623" y="123137"/>
                    </a:lnTo>
                    <a:lnTo>
                      <a:pt x="1461354" y="124252"/>
                    </a:lnTo>
                    <a:lnTo>
                      <a:pt x="1460576" y="124773"/>
                    </a:lnTo>
                    <a:lnTo>
                      <a:pt x="1459738" y="125185"/>
                    </a:lnTo>
                    <a:lnTo>
                      <a:pt x="1459588" y="126038"/>
                    </a:lnTo>
                    <a:lnTo>
                      <a:pt x="1460007" y="126931"/>
                    </a:lnTo>
                    <a:lnTo>
                      <a:pt x="1460606" y="127712"/>
                    </a:lnTo>
                    <a:lnTo>
                      <a:pt x="1461265" y="129083"/>
                    </a:lnTo>
                    <a:lnTo>
                      <a:pt x="1460994" y="130270"/>
                    </a:lnTo>
                    <a:lnTo>
                      <a:pt x="1460396" y="131273"/>
                    </a:lnTo>
                    <a:lnTo>
                      <a:pt x="1460126" y="132312"/>
                    </a:lnTo>
                    <a:lnTo>
                      <a:pt x="1460636" y="133203"/>
                    </a:lnTo>
                    <a:lnTo>
                      <a:pt x="1461982" y="134389"/>
                    </a:lnTo>
                    <a:lnTo>
                      <a:pt x="1462820" y="135538"/>
                    </a:lnTo>
                    <a:lnTo>
                      <a:pt x="1464138" y="136170"/>
                    </a:lnTo>
                    <a:lnTo>
                      <a:pt x="1464766" y="135723"/>
                    </a:lnTo>
                    <a:lnTo>
                      <a:pt x="1465276" y="135130"/>
                    </a:lnTo>
                    <a:lnTo>
                      <a:pt x="1465813" y="134686"/>
                    </a:lnTo>
                    <a:lnTo>
                      <a:pt x="1466741" y="134946"/>
                    </a:lnTo>
                    <a:lnTo>
                      <a:pt x="1467819" y="135279"/>
                    </a:lnTo>
                    <a:lnTo>
                      <a:pt x="1468996" y="135676"/>
                    </a:lnTo>
                    <a:lnTo>
                      <a:pt x="1468855" y="136637"/>
                    </a:lnTo>
                    <a:lnTo>
                      <a:pt x="1469573" y="138256"/>
                    </a:lnTo>
                    <a:lnTo>
                      <a:pt x="1470128" y="141364"/>
                    </a:lnTo>
                    <a:lnTo>
                      <a:pt x="1469275" y="142777"/>
                    </a:lnTo>
                    <a:lnTo>
                      <a:pt x="1469458" y="144646"/>
                    </a:lnTo>
                    <a:lnTo>
                      <a:pt x="1471823" y="145189"/>
                    </a:lnTo>
                    <a:lnTo>
                      <a:pt x="1472399" y="145761"/>
                    </a:lnTo>
                    <a:lnTo>
                      <a:pt x="1472512" y="146452"/>
                    </a:lnTo>
                    <a:lnTo>
                      <a:pt x="1467301" y="151236"/>
                    </a:lnTo>
                    <a:lnTo>
                      <a:pt x="1462894" y="150567"/>
                    </a:lnTo>
                    <a:lnTo>
                      <a:pt x="1460502" y="151834"/>
                    </a:lnTo>
                    <a:lnTo>
                      <a:pt x="1457997" y="152205"/>
                    </a:lnTo>
                    <a:lnTo>
                      <a:pt x="1456898" y="154338"/>
                    </a:lnTo>
                    <a:lnTo>
                      <a:pt x="1455523" y="154791"/>
                    </a:lnTo>
                    <a:lnTo>
                      <a:pt x="1453640" y="154661"/>
                    </a:lnTo>
                    <a:lnTo>
                      <a:pt x="1452015" y="154060"/>
                    </a:lnTo>
                    <a:lnTo>
                      <a:pt x="1450777" y="154356"/>
                    </a:lnTo>
                    <a:lnTo>
                      <a:pt x="1449042" y="158205"/>
                    </a:lnTo>
                    <a:lnTo>
                      <a:pt x="1447623" y="157869"/>
                    </a:lnTo>
                    <a:lnTo>
                      <a:pt x="1447057" y="159253"/>
                    </a:lnTo>
                    <a:lnTo>
                      <a:pt x="1446315" y="159858"/>
                    </a:lnTo>
                    <a:lnTo>
                      <a:pt x="1445226" y="160376"/>
                    </a:lnTo>
                    <a:lnTo>
                      <a:pt x="1444280" y="158668"/>
                    </a:lnTo>
                    <a:lnTo>
                      <a:pt x="1443679" y="157043"/>
                    </a:lnTo>
                    <a:lnTo>
                      <a:pt x="1442791" y="156687"/>
                    </a:lnTo>
                    <a:lnTo>
                      <a:pt x="1441613" y="156271"/>
                    </a:lnTo>
                    <a:lnTo>
                      <a:pt x="1440401" y="156285"/>
                    </a:lnTo>
                    <a:lnTo>
                      <a:pt x="1439594" y="156517"/>
                    </a:lnTo>
                    <a:lnTo>
                      <a:pt x="1438590" y="157569"/>
                    </a:lnTo>
                    <a:lnTo>
                      <a:pt x="1437136" y="158471"/>
                    </a:lnTo>
                    <a:lnTo>
                      <a:pt x="1436037" y="157719"/>
                    </a:lnTo>
                    <a:lnTo>
                      <a:pt x="1435177" y="156509"/>
                    </a:lnTo>
                    <a:lnTo>
                      <a:pt x="1434440" y="158454"/>
                    </a:lnTo>
                    <a:lnTo>
                      <a:pt x="1433369" y="160506"/>
                    </a:lnTo>
                    <a:lnTo>
                      <a:pt x="1433548" y="162896"/>
                    </a:lnTo>
                    <a:lnTo>
                      <a:pt x="1433086" y="164312"/>
                    </a:lnTo>
                    <a:lnTo>
                      <a:pt x="1432070" y="163930"/>
                    </a:lnTo>
                    <a:lnTo>
                      <a:pt x="1431059" y="162688"/>
                    </a:lnTo>
                    <a:lnTo>
                      <a:pt x="1428220" y="161694"/>
                    </a:lnTo>
                    <a:lnTo>
                      <a:pt x="1425958" y="161785"/>
                    </a:lnTo>
                    <a:lnTo>
                      <a:pt x="1426419" y="160458"/>
                    </a:lnTo>
                    <a:lnTo>
                      <a:pt x="1428557" y="158551"/>
                    </a:lnTo>
                    <a:lnTo>
                      <a:pt x="1427898" y="158176"/>
                    </a:lnTo>
                    <a:lnTo>
                      <a:pt x="1426849" y="158441"/>
                    </a:lnTo>
                    <a:lnTo>
                      <a:pt x="1426393" y="158176"/>
                    </a:lnTo>
                    <a:lnTo>
                      <a:pt x="1427142" y="156443"/>
                    </a:lnTo>
                    <a:lnTo>
                      <a:pt x="1427215" y="154530"/>
                    </a:lnTo>
                    <a:lnTo>
                      <a:pt x="1426257" y="155199"/>
                    </a:lnTo>
                    <a:lnTo>
                      <a:pt x="1425054" y="157219"/>
                    </a:lnTo>
                    <a:lnTo>
                      <a:pt x="1422143" y="158824"/>
                    </a:lnTo>
                    <a:lnTo>
                      <a:pt x="1422280" y="161511"/>
                    </a:lnTo>
                    <a:lnTo>
                      <a:pt x="1419539" y="167012"/>
                    </a:lnTo>
                    <a:lnTo>
                      <a:pt x="1419418" y="169350"/>
                    </a:lnTo>
                    <a:lnTo>
                      <a:pt x="1417660" y="171216"/>
                    </a:lnTo>
                    <a:lnTo>
                      <a:pt x="1415394" y="172820"/>
                    </a:lnTo>
                    <a:lnTo>
                      <a:pt x="1412372" y="172368"/>
                    </a:lnTo>
                    <a:lnTo>
                      <a:pt x="1410064" y="173761"/>
                    </a:lnTo>
                    <a:lnTo>
                      <a:pt x="1408894" y="175360"/>
                    </a:lnTo>
                    <a:lnTo>
                      <a:pt x="1407876" y="175599"/>
                    </a:lnTo>
                    <a:lnTo>
                      <a:pt x="1407346" y="173564"/>
                    </a:lnTo>
                    <a:lnTo>
                      <a:pt x="1406960" y="172934"/>
                    </a:lnTo>
                    <a:lnTo>
                      <a:pt x="1406111" y="175936"/>
                    </a:lnTo>
                    <a:lnTo>
                      <a:pt x="1405244" y="176123"/>
                    </a:lnTo>
                    <a:lnTo>
                      <a:pt x="1404916" y="173995"/>
                    </a:lnTo>
                    <a:lnTo>
                      <a:pt x="1404506" y="172587"/>
                    </a:lnTo>
                    <a:lnTo>
                      <a:pt x="1403326" y="173801"/>
                    </a:lnTo>
                    <a:lnTo>
                      <a:pt x="1402543" y="177014"/>
                    </a:lnTo>
                    <a:lnTo>
                      <a:pt x="1401722" y="176743"/>
                    </a:lnTo>
                    <a:lnTo>
                      <a:pt x="1401461" y="175548"/>
                    </a:lnTo>
                    <a:lnTo>
                      <a:pt x="1400872" y="175186"/>
                    </a:lnTo>
                    <a:lnTo>
                      <a:pt x="1400672" y="176551"/>
                    </a:lnTo>
                    <a:lnTo>
                      <a:pt x="1400967" y="178473"/>
                    </a:lnTo>
                    <a:lnTo>
                      <a:pt x="1400540" y="179497"/>
                    </a:lnTo>
                    <a:lnTo>
                      <a:pt x="1399724" y="178950"/>
                    </a:lnTo>
                    <a:lnTo>
                      <a:pt x="1398903" y="178026"/>
                    </a:lnTo>
                    <a:lnTo>
                      <a:pt x="1397550" y="178727"/>
                    </a:lnTo>
                    <a:lnTo>
                      <a:pt x="1396306" y="179012"/>
                    </a:lnTo>
                    <a:lnTo>
                      <a:pt x="1396301" y="178072"/>
                    </a:lnTo>
                    <a:lnTo>
                      <a:pt x="1396538" y="176918"/>
                    </a:lnTo>
                    <a:lnTo>
                      <a:pt x="1394060" y="177556"/>
                    </a:lnTo>
                    <a:lnTo>
                      <a:pt x="1391089" y="179682"/>
                    </a:lnTo>
                    <a:lnTo>
                      <a:pt x="1388783" y="182623"/>
                    </a:lnTo>
                    <a:lnTo>
                      <a:pt x="1389582" y="183113"/>
                    </a:lnTo>
                    <a:lnTo>
                      <a:pt x="1390483" y="184048"/>
                    </a:lnTo>
                    <a:lnTo>
                      <a:pt x="1386475" y="188583"/>
                    </a:lnTo>
                    <a:lnTo>
                      <a:pt x="1382368" y="192661"/>
                    </a:lnTo>
                    <a:lnTo>
                      <a:pt x="1379265" y="199305"/>
                    </a:lnTo>
                    <a:lnTo>
                      <a:pt x="1378019" y="200083"/>
                    </a:lnTo>
                    <a:lnTo>
                      <a:pt x="1376950" y="201298"/>
                    </a:lnTo>
                    <a:lnTo>
                      <a:pt x="1375813" y="205300"/>
                    </a:lnTo>
                    <a:lnTo>
                      <a:pt x="1374501" y="208860"/>
                    </a:lnTo>
                    <a:lnTo>
                      <a:pt x="1375236" y="210442"/>
                    </a:lnTo>
                    <a:lnTo>
                      <a:pt x="1375719" y="212072"/>
                    </a:lnTo>
                    <a:lnTo>
                      <a:pt x="1376884" y="213672"/>
                    </a:lnTo>
                    <a:lnTo>
                      <a:pt x="1377874" y="213818"/>
                    </a:lnTo>
                    <a:lnTo>
                      <a:pt x="1378946" y="213528"/>
                    </a:lnTo>
                    <a:lnTo>
                      <a:pt x="1379734" y="213595"/>
                    </a:lnTo>
                    <a:lnTo>
                      <a:pt x="1380239" y="214276"/>
                    </a:lnTo>
                    <a:lnTo>
                      <a:pt x="1380015" y="215092"/>
                    </a:lnTo>
                    <a:lnTo>
                      <a:pt x="1378778" y="215294"/>
                    </a:lnTo>
                    <a:lnTo>
                      <a:pt x="1376471" y="216720"/>
                    </a:lnTo>
                    <a:lnTo>
                      <a:pt x="1374449" y="217267"/>
                    </a:lnTo>
                    <a:lnTo>
                      <a:pt x="1373435" y="218990"/>
                    </a:lnTo>
                    <a:lnTo>
                      <a:pt x="1371915" y="220978"/>
                    </a:lnTo>
                    <a:lnTo>
                      <a:pt x="1368963" y="224079"/>
                    </a:lnTo>
                    <a:lnTo>
                      <a:pt x="1370223" y="225034"/>
                    </a:lnTo>
                    <a:lnTo>
                      <a:pt x="1374784" y="226111"/>
                    </a:lnTo>
                    <a:lnTo>
                      <a:pt x="1376817" y="227218"/>
                    </a:lnTo>
                    <a:lnTo>
                      <a:pt x="1379894" y="232997"/>
                    </a:lnTo>
                    <a:lnTo>
                      <a:pt x="1379191" y="233574"/>
                    </a:lnTo>
                    <a:lnTo>
                      <a:pt x="1378912" y="234632"/>
                    </a:lnTo>
                    <a:lnTo>
                      <a:pt x="1381647" y="236114"/>
                    </a:lnTo>
                    <a:lnTo>
                      <a:pt x="1382521" y="240254"/>
                    </a:lnTo>
                    <a:lnTo>
                      <a:pt x="1384767" y="241661"/>
                    </a:lnTo>
                    <a:lnTo>
                      <a:pt x="1388114" y="242526"/>
                    </a:lnTo>
                    <a:lnTo>
                      <a:pt x="1392207" y="241276"/>
                    </a:lnTo>
                    <a:lnTo>
                      <a:pt x="1395614" y="239555"/>
                    </a:lnTo>
                    <a:lnTo>
                      <a:pt x="1395495" y="238143"/>
                    </a:lnTo>
                    <a:lnTo>
                      <a:pt x="1393354" y="234857"/>
                    </a:lnTo>
                    <a:lnTo>
                      <a:pt x="1392838" y="233312"/>
                    </a:lnTo>
                    <a:lnTo>
                      <a:pt x="1391249" y="232312"/>
                    </a:lnTo>
                    <a:lnTo>
                      <a:pt x="1390644" y="233159"/>
                    </a:lnTo>
                    <a:lnTo>
                      <a:pt x="1389617" y="232058"/>
                    </a:lnTo>
                    <a:lnTo>
                      <a:pt x="1389502" y="231441"/>
                    </a:lnTo>
                    <a:lnTo>
                      <a:pt x="1390459" y="231140"/>
                    </a:lnTo>
                    <a:lnTo>
                      <a:pt x="1391572" y="231260"/>
                    </a:lnTo>
                    <a:lnTo>
                      <a:pt x="1392872" y="231835"/>
                    </a:lnTo>
                    <a:lnTo>
                      <a:pt x="1396215" y="235421"/>
                    </a:lnTo>
                    <a:lnTo>
                      <a:pt x="1397142" y="240114"/>
                    </a:lnTo>
                    <a:lnTo>
                      <a:pt x="1397339" y="243092"/>
                    </a:lnTo>
                    <a:lnTo>
                      <a:pt x="1396961" y="244109"/>
                    </a:lnTo>
                    <a:lnTo>
                      <a:pt x="1395989" y="243900"/>
                    </a:lnTo>
                    <a:lnTo>
                      <a:pt x="1394132" y="244102"/>
                    </a:lnTo>
                    <a:lnTo>
                      <a:pt x="1385327" y="245642"/>
                    </a:lnTo>
                    <a:lnTo>
                      <a:pt x="1383372" y="246997"/>
                    </a:lnTo>
                    <a:lnTo>
                      <a:pt x="1378888" y="248470"/>
                    </a:lnTo>
                    <a:lnTo>
                      <a:pt x="1378609" y="247736"/>
                    </a:lnTo>
                    <a:lnTo>
                      <a:pt x="1378933" y="246217"/>
                    </a:lnTo>
                    <a:lnTo>
                      <a:pt x="1378650" y="243102"/>
                    </a:lnTo>
                    <a:lnTo>
                      <a:pt x="1377765" y="242958"/>
                    </a:lnTo>
                    <a:lnTo>
                      <a:pt x="1370798" y="248034"/>
                    </a:lnTo>
                    <a:lnTo>
                      <a:pt x="1368106" y="248353"/>
                    </a:lnTo>
                    <a:lnTo>
                      <a:pt x="1365841" y="249835"/>
                    </a:lnTo>
                    <a:lnTo>
                      <a:pt x="1365335" y="249014"/>
                    </a:lnTo>
                    <a:lnTo>
                      <a:pt x="1364930" y="245209"/>
                    </a:lnTo>
                    <a:lnTo>
                      <a:pt x="1366346" y="242013"/>
                    </a:lnTo>
                    <a:lnTo>
                      <a:pt x="1365592" y="242065"/>
                    </a:lnTo>
                    <a:lnTo>
                      <a:pt x="1363225" y="243983"/>
                    </a:lnTo>
                    <a:lnTo>
                      <a:pt x="1362214" y="242803"/>
                    </a:lnTo>
                    <a:lnTo>
                      <a:pt x="1361707" y="241508"/>
                    </a:lnTo>
                    <a:lnTo>
                      <a:pt x="1360979" y="240776"/>
                    </a:lnTo>
                    <a:lnTo>
                      <a:pt x="1360188" y="240498"/>
                    </a:lnTo>
                    <a:lnTo>
                      <a:pt x="1360864" y="243326"/>
                    </a:lnTo>
                    <a:lnTo>
                      <a:pt x="1359259" y="245447"/>
                    </a:lnTo>
                    <a:lnTo>
                      <a:pt x="1358820" y="250924"/>
                    </a:lnTo>
                    <a:lnTo>
                      <a:pt x="1356804" y="253201"/>
                    </a:lnTo>
                    <a:lnTo>
                      <a:pt x="1350517" y="254664"/>
                    </a:lnTo>
                    <a:lnTo>
                      <a:pt x="1346418" y="254356"/>
                    </a:lnTo>
                    <a:lnTo>
                      <a:pt x="1342746" y="254810"/>
                    </a:lnTo>
                    <a:lnTo>
                      <a:pt x="1337864" y="255859"/>
                    </a:lnTo>
                    <a:lnTo>
                      <a:pt x="1335165" y="255235"/>
                    </a:lnTo>
                    <a:lnTo>
                      <a:pt x="1332402" y="256343"/>
                    </a:lnTo>
                    <a:lnTo>
                      <a:pt x="1323019" y="256643"/>
                    </a:lnTo>
                    <a:lnTo>
                      <a:pt x="1321042" y="256056"/>
                    </a:lnTo>
                    <a:lnTo>
                      <a:pt x="1318515" y="258147"/>
                    </a:lnTo>
                    <a:lnTo>
                      <a:pt x="1314471" y="259381"/>
                    </a:lnTo>
                    <a:lnTo>
                      <a:pt x="1304248" y="264058"/>
                    </a:lnTo>
                    <a:lnTo>
                      <a:pt x="1301994" y="265757"/>
                    </a:lnTo>
                    <a:lnTo>
                      <a:pt x="1299248" y="268409"/>
                    </a:lnTo>
                    <a:lnTo>
                      <a:pt x="1297404" y="269835"/>
                    </a:lnTo>
                    <a:lnTo>
                      <a:pt x="1295890" y="270299"/>
                    </a:lnTo>
                    <a:lnTo>
                      <a:pt x="1294957" y="271484"/>
                    </a:lnTo>
                    <a:lnTo>
                      <a:pt x="1293940" y="272259"/>
                    </a:lnTo>
                    <a:lnTo>
                      <a:pt x="1294923" y="269612"/>
                    </a:lnTo>
                    <a:lnTo>
                      <a:pt x="1295990" y="267378"/>
                    </a:lnTo>
                    <a:lnTo>
                      <a:pt x="1296877" y="263047"/>
                    </a:lnTo>
                    <a:lnTo>
                      <a:pt x="1296615" y="259540"/>
                    </a:lnTo>
                    <a:lnTo>
                      <a:pt x="1295516" y="258097"/>
                    </a:lnTo>
                    <a:lnTo>
                      <a:pt x="1294379" y="257135"/>
                    </a:lnTo>
                    <a:lnTo>
                      <a:pt x="1295711" y="260598"/>
                    </a:lnTo>
                    <a:lnTo>
                      <a:pt x="1295926" y="264840"/>
                    </a:lnTo>
                    <a:lnTo>
                      <a:pt x="1295468" y="267323"/>
                    </a:lnTo>
                    <a:lnTo>
                      <a:pt x="1292960" y="272108"/>
                    </a:lnTo>
                    <a:lnTo>
                      <a:pt x="1291894" y="273220"/>
                    </a:lnTo>
                    <a:lnTo>
                      <a:pt x="1290645" y="274199"/>
                    </a:lnTo>
                    <a:lnTo>
                      <a:pt x="1289705" y="274625"/>
                    </a:lnTo>
                    <a:lnTo>
                      <a:pt x="1288836" y="275388"/>
                    </a:lnTo>
                    <a:lnTo>
                      <a:pt x="1287827" y="276598"/>
                    </a:lnTo>
                    <a:lnTo>
                      <a:pt x="1286871" y="278998"/>
                    </a:lnTo>
                    <a:lnTo>
                      <a:pt x="1287451" y="281184"/>
                    </a:lnTo>
                    <a:lnTo>
                      <a:pt x="1292338" y="281981"/>
                    </a:lnTo>
                    <a:lnTo>
                      <a:pt x="1293650" y="281308"/>
                    </a:lnTo>
                    <a:lnTo>
                      <a:pt x="1294318" y="282872"/>
                    </a:lnTo>
                    <a:lnTo>
                      <a:pt x="1294692" y="285044"/>
                    </a:lnTo>
                    <a:lnTo>
                      <a:pt x="1294326" y="287391"/>
                    </a:lnTo>
                    <a:lnTo>
                      <a:pt x="1293508" y="289778"/>
                    </a:lnTo>
                    <a:lnTo>
                      <a:pt x="1292889" y="292740"/>
                    </a:lnTo>
                    <a:lnTo>
                      <a:pt x="1292363" y="297250"/>
                    </a:lnTo>
                    <a:lnTo>
                      <a:pt x="1291572" y="301303"/>
                    </a:lnTo>
                    <a:lnTo>
                      <a:pt x="1291469" y="300072"/>
                    </a:lnTo>
                    <a:lnTo>
                      <a:pt x="1291962" y="295142"/>
                    </a:lnTo>
                    <a:lnTo>
                      <a:pt x="1291162" y="295658"/>
                    </a:lnTo>
                    <a:lnTo>
                      <a:pt x="1290610" y="296797"/>
                    </a:lnTo>
                    <a:lnTo>
                      <a:pt x="1289118" y="303151"/>
                    </a:lnTo>
                    <a:lnTo>
                      <a:pt x="1287067" y="306532"/>
                    </a:lnTo>
                    <a:lnTo>
                      <a:pt x="1285176" y="308869"/>
                    </a:lnTo>
                    <a:lnTo>
                      <a:pt x="1283229" y="308483"/>
                    </a:lnTo>
                    <a:lnTo>
                      <a:pt x="1283666" y="310339"/>
                    </a:lnTo>
                    <a:lnTo>
                      <a:pt x="1283130" y="311306"/>
                    </a:lnTo>
                    <a:lnTo>
                      <a:pt x="1282672" y="313320"/>
                    </a:lnTo>
                    <a:lnTo>
                      <a:pt x="1281509" y="314656"/>
                    </a:lnTo>
                    <a:lnTo>
                      <a:pt x="1280418" y="314528"/>
                    </a:lnTo>
                    <a:lnTo>
                      <a:pt x="1278847" y="315447"/>
                    </a:lnTo>
                    <a:lnTo>
                      <a:pt x="1278229" y="316151"/>
                    </a:lnTo>
                    <a:lnTo>
                      <a:pt x="1278183" y="317498"/>
                    </a:lnTo>
                    <a:lnTo>
                      <a:pt x="1277133" y="318683"/>
                    </a:lnTo>
                    <a:lnTo>
                      <a:pt x="1273343" y="324830"/>
                    </a:lnTo>
                    <a:lnTo>
                      <a:pt x="1270054" y="326643"/>
                    </a:lnTo>
                    <a:lnTo>
                      <a:pt x="1269266" y="326379"/>
                    </a:lnTo>
                    <a:lnTo>
                      <a:pt x="1270134" y="323480"/>
                    </a:lnTo>
                    <a:lnTo>
                      <a:pt x="1270728" y="320546"/>
                    </a:lnTo>
                    <a:lnTo>
                      <a:pt x="1268731" y="319270"/>
                    </a:lnTo>
                    <a:lnTo>
                      <a:pt x="1266821" y="318594"/>
                    </a:lnTo>
                    <a:lnTo>
                      <a:pt x="1264629" y="318683"/>
                    </a:lnTo>
                    <a:lnTo>
                      <a:pt x="1262207" y="316398"/>
                    </a:lnTo>
                    <a:lnTo>
                      <a:pt x="1259085" y="314737"/>
                    </a:lnTo>
                    <a:lnTo>
                      <a:pt x="1254728" y="310238"/>
                    </a:lnTo>
                    <a:lnTo>
                      <a:pt x="1254855" y="308989"/>
                    </a:lnTo>
                    <a:lnTo>
                      <a:pt x="1254745" y="306891"/>
                    </a:lnTo>
                    <a:lnTo>
                      <a:pt x="1256070" y="303576"/>
                    </a:lnTo>
                    <a:lnTo>
                      <a:pt x="1257339" y="301256"/>
                    </a:lnTo>
                    <a:lnTo>
                      <a:pt x="1259091" y="300054"/>
                    </a:lnTo>
                    <a:lnTo>
                      <a:pt x="1264178" y="298828"/>
                    </a:lnTo>
                    <a:lnTo>
                      <a:pt x="1265453" y="296986"/>
                    </a:lnTo>
                    <a:lnTo>
                      <a:pt x="1266209" y="295432"/>
                    </a:lnTo>
                    <a:lnTo>
                      <a:pt x="1263689" y="298099"/>
                    </a:lnTo>
                    <a:lnTo>
                      <a:pt x="1259915" y="299004"/>
                    </a:lnTo>
                    <a:lnTo>
                      <a:pt x="1257881" y="299999"/>
                    </a:lnTo>
                    <a:lnTo>
                      <a:pt x="1256254" y="301519"/>
                    </a:lnTo>
                    <a:lnTo>
                      <a:pt x="1255291" y="303427"/>
                    </a:lnTo>
                    <a:lnTo>
                      <a:pt x="1253111" y="305725"/>
                    </a:lnTo>
                    <a:lnTo>
                      <a:pt x="1253264" y="307263"/>
                    </a:lnTo>
                    <a:lnTo>
                      <a:pt x="1253629" y="308357"/>
                    </a:lnTo>
                    <a:lnTo>
                      <a:pt x="1253461" y="310634"/>
                    </a:lnTo>
                    <a:lnTo>
                      <a:pt x="1254840" y="312852"/>
                    </a:lnTo>
                    <a:lnTo>
                      <a:pt x="1257574" y="316485"/>
                    </a:lnTo>
                    <a:lnTo>
                      <a:pt x="1258096" y="322120"/>
                    </a:lnTo>
                    <a:lnTo>
                      <a:pt x="1260183" y="325884"/>
                    </a:lnTo>
                    <a:lnTo>
                      <a:pt x="1263380" y="330269"/>
                    </a:lnTo>
                    <a:lnTo>
                      <a:pt x="1265839" y="331515"/>
                    </a:lnTo>
                    <a:lnTo>
                      <a:pt x="1265959" y="333144"/>
                    </a:lnTo>
                    <a:lnTo>
                      <a:pt x="1264824" y="335832"/>
                    </a:lnTo>
                    <a:lnTo>
                      <a:pt x="1263328" y="337061"/>
                    </a:lnTo>
                    <a:lnTo>
                      <a:pt x="1265273" y="336815"/>
                    </a:lnTo>
                    <a:lnTo>
                      <a:pt x="1266242" y="337429"/>
                    </a:lnTo>
                    <a:lnTo>
                      <a:pt x="1267185" y="339669"/>
                    </a:lnTo>
                    <a:lnTo>
                      <a:pt x="1267112" y="341953"/>
                    </a:lnTo>
                    <a:lnTo>
                      <a:pt x="1266793" y="343240"/>
                    </a:lnTo>
                    <a:lnTo>
                      <a:pt x="1266203" y="343753"/>
                    </a:lnTo>
                    <a:lnTo>
                      <a:pt x="1266229" y="342439"/>
                    </a:lnTo>
                    <a:lnTo>
                      <a:pt x="1265812" y="341982"/>
                    </a:lnTo>
                    <a:lnTo>
                      <a:pt x="1265123" y="342553"/>
                    </a:lnTo>
                    <a:lnTo>
                      <a:pt x="1264676" y="343202"/>
                    </a:lnTo>
                    <a:lnTo>
                      <a:pt x="1264492" y="345757"/>
                    </a:lnTo>
                    <a:lnTo>
                      <a:pt x="1264020" y="347035"/>
                    </a:lnTo>
                    <a:lnTo>
                      <a:pt x="1262350" y="347413"/>
                    </a:lnTo>
                    <a:lnTo>
                      <a:pt x="1260658" y="350763"/>
                    </a:lnTo>
                    <a:lnTo>
                      <a:pt x="1259083" y="352662"/>
                    </a:lnTo>
                    <a:lnTo>
                      <a:pt x="1252887" y="365477"/>
                    </a:lnTo>
                    <a:lnTo>
                      <a:pt x="1253123" y="367615"/>
                    </a:lnTo>
                    <a:lnTo>
                      <a:pt x="1251990" y="368304"/>
                    </a:lnTo>
                    <a:lnTo>
                      <a:pt x="1250273" y="368862"/>
                    </a:lnTo>
                    <a:lnTo>
                      <a:pt x="1248538" y="370140"/>
                    </a:lnTo>
                    <a:lnTo>
                      <a:pt x="1247385" y="371547"/>
                    </a:lnTo>
                    <a:lnTo>
                      <a:pt x="1246315" y="375330"/>
                    </a:lnTo>
                    <a:lnTo>
                      <a:pt x="1244265" y="379584"/>
                    </a:lnTo>
                    <a:lnTo>
                      <a:pt x="1242986" y="377812"/>
                    </a:lnTo>
                    <a:lnTo>
                      <a:pt x="1242658" y="376295"/>
                    </a:lnTo>
                    <a:lnTo>
                      <a:pt x="1243227" y="372334"/>
                    </a:lnTo>
                    <a:lnTo>
                      <a:pt x="1245444" y="365833"/>
                    </a:lnTo>
                    <a:lnTo>
                      <a:pt x="1247888" y="361786"/>
                    </a:lnTo>
                    <a:lnTo>
                      <a:pt x="1249751" y="359865"/>
                    </a:lnTo>
                    <a:lnTo>
                      <a:pt x="1251283" y="355947"/>
                    </a:lnTo>
                    <a:lnTo>
                      <a:pt x="1249348" y="355363"/>
                    </a:lnTo>
                    <a:lnTo>
                      <a:pt x="1246396" y="355427"/>
                    </a:lnTo>
                    <a:lnTo>
                      <a:pt x="1246952" y="353617"/>
                    </a:lnTo>
                    <a:lnTo>
                      <a:pt x="1247813" y="352022"/>
                    </a:lnTo>
                    <a:lnTo>
                      <a:pt x="1246274" y="350432"/>
                    </a:lnTo>
                    <a:lnTo>
                      <a:pt x="1245364" y="350229"/>
                    </a:lnTo>
                    <a:lnTo>
                      <a:pt x="1244426" y="349577"/>
                    </a:lnTo>
                    <a:lnTo>
                      <a:pt x="1245526" y="348253"/>
                    </a:lnTo>
                    <a:lnTo>
                      <a:pt x="1246063" y="346852"/>
                    </a:lnTo>
                    <a:lnTo>
                      <a:pt x="1245735" y="345147"/>
                    </a:lnTo>
                    <a:lnTo>
                      <a:pt x="1246196" y="343862"/>
                    </a:lnTo>
                    <a:lnTo>
                      <a:pt x="1245427" y="344056"/>
                    </a:lnTo>
                    <a:lnTo>
                      <a:pt x="1244191" y="345416"/>
                    </a:lnTo>
                    <a:lnTo>
                      <a:pt x="1243423" y="345958"/>
                    </a:lnTo>
                    <a:lnTo>
                      <a:pt x="1242955" y="344756"/>
                    </a:lnTo>
                    <a:lnTo>
                      <a:pt x="1242421" y="345027"/>
                    </a:lnTo>
                    <a:lnTo>
                      <a:pt x="1242074" y="345855"/>
                    </a:lnTo>
                    <a:lnTo>
                      <a:pt x="1241284" y="346308"/>
                    </a:lnTo>
                    <a:lnTo>
                      <a:pt x="1239618" y="345179"/>
                    </a:lnTo>
                    <a:lnTo>
                      <a:pt x="1237191" y="343884"/>
                    </a:lnTo>
                    <a:lnTo>
                      <a:pt x="1235840" y="341654"/>
                    </a:lnTo>
                    <a:lnTo>
                      <a:pt x="1235069" y="339927"/>
                    </a:lnTo>
                    <a:lnTo>
                      <a:pt x="1235853" y="336798"/>
                    </a:lnTo>
                    <a:lnTo>
                      <a:pt x="1237530" y="336242"/>
                    </a:lnTo>
                    <a:lnTo>
                      <a:pt x="1239709" y="336751"/>
                    </a:lnTo>
                    <a:lnTo>
                      <a:pt x="1242567" y="336746"/>
                    </a:lnTo>
                    <a:lnTo>
                      <a:pt x="1242158" y="336051"/>
                    </a:lnTo>
                    <a:lnTo>
                      <a:pt x="1241139" y="336164"/>
                    </a:lnTo>
                    <a:lnTo>
                      <a:pt x="1238127" y="333624"/>
                    </a:lnTo>
                    <a:lnTo>
                      <a:pt x="1237157" y="332088"/>
                    </a:lnTo>
                    <a:lnTo>
                      <a:pt x="1235490" y="331666"/>
                    </a:lnTo>
                    <a:lnTo>
                      <a:pt x="1234732" y="333143"/>
                    </a:lnTo>
                    <a:lnTo>
                      <a:pt x="1233888" y="333535"/>
                    </a:lnTo>
                    <a:lnTo>
                      <a:pt x="1234929" y="330304"/>
                    </a:lnTo>
                    <a:lnTo>
                      <a:pt x="1236291" y="330172"/>
                    </a:lnTo>
                    <a:lnTo>
                      <a:pt x="1238301" y="329276"/>
                    </a:lnTo>
                    <a:lnTo>
                      <a:pt x="1237717" y="327404"/>
                    </a:lnTo>
                    <a:lnTo>
                      <a:pt x="1236448" y="326585"/>
                    </a:lnTo>
                    <a:lnTo>
                      <a:pt x="1234156" y="327613"/>
                    </a:lnTo>
                    <a:lnTo>
                      <a:pt x="1234183" y="326295"/>
                    </a:lnTo>
                    <a:lnTo>
                      <a:pt x="1234613" y="324607"/>
                    </a:lnTo>
                    <a:lnTo>
                      <a:pt x="1236341" y="324613"/>
                    </a:lnTo>
                    <a:lnTo>
                      <a:pt x="1237854" y="325163"/>
                    </a:lnTo>
                    <a:lnTo>
                      <a:pt x="1239142" y="322437"/>
                    </a:lnTo>
                    <a:lnTo>
                      <a:pt x="1239199" y="321218"/>
                    </a:lnTo>
                    <a:lnTo>
                      <a:pt x="1237060" y="322990"/>
                    </a:lnTo>
                    <a:lnTo>
                      <a:pt x="1236579" y="319169"/>
                    </a:lnTo>
                    <a:lnTo>
                      <a:pt x="1238685" y="315480"/>
                    </a:lnTo>
                    <a:lnTo>
                      <a:pt x="1240693" y="313870"/>
                    </a:lnTo>
                    <a:lnTo>
                      <a:pt x="1243204" y="313916"/>
                    </a:lnTo>
                    <a:lnTo>
                      <a:pt x="1245755" y="313657"/>
                    </a:lnTo>
                    <a:lnTo>
                      <a:pt x="1244154" y="312981"/>
                    </a:lnTo>
                    <a:lnTo>
                      <a:pt x="1242511" y="312613"/>
                    </a:lnTo>
                    <a:lnTo>
                      <a:pt x="1243745" y="311153"/>
                    </a:lnTo>
                    <a:lnTo>
                      <a:pt x="1244798" y="310891"/>
                    </a:lnTo>
                    <a:lnTo>
                      <a:pt x="1245832" y="309617"/>
                    </a:lnTo>
                    <a:lnTo>
                      <a:pt x="1243345" y="309807"/>
                    </a:lnTo>
                    <a:lnTo>
                      <a:pt x="1243639" y="307395"/>
                    </a:lnTo>
                    <a:lnTo>
                      <a:pt x="1242430" y="307886"/>
                    </a:lnTo>
                    <a:lnTo>
                      <a:pt x="1240984" y="308112"/>
                    </a:lnTo>
                    <a:lnTo>
                      <a:pt x="1240422" y="309136"/>
                    </a:lnTo>
                    <a:lnTo>
                      <a:pt x="1240532" y="310833"/>
                    </a:lnTo>
                    <a:lnTo>
                      <a:pt x="1240110" y="311946"/>
                    </a:lnTo>
                    <a:lnTo>
                      <a:pt x="1238985" y="312841"/>
                    </a:lnTo>
                    <a:lnTo>
                      <a:pt x="1237085" y="313538"/>
                    </a:lnTo>
                    <a:lnTo>
                      <a:pt x="1236902" y="312330"/>
                    </a:lnTo>
                    <a:lnTo>
                      <a:pt x="1236273" y="311781"/>
                    </a:lnTo>
                    <a:lnTo>
                      <a:pt x="1236038" y="314369"/>
                    </a:lnTo>
                    <a:lnTo>
                      <a:pt x="1235540" y="315248"/>
                    </a:lnTo>
                    <a:lnTo>
                      <a:pt x="1234152" y="312822"/>
                    </a:lnTo>
                    <a:lnTo>
                      <a:pt x="1233735" y="313311"/>
                    </a:lnTo>
                    <a:lnTo>
                      <a:pt x="1233788" y="313999"/>
                    </a:lnTo>
                    <a:lnTo>
                      <a:pt x="1233434" y="315191"/>
                    </a:lnTo>
                    <a:lnTo>
                      <a:pt x="1232243" y="315812"/>
                    </a:lnTo>
                    <a:lnTo>
                      <a:pt x="1232316" y="317339"/>
                    </a:lnTo>
                    <a:lnTo>
                      <a:pt x="1231854" y="318171"/>
                    </a:lnTo>
                    <a:lnTo>
                      <a:pt x="1228040" y="316845"/>
                    </a:lnTo>
                    <a:lnTo>
                      <a:pt x="1227950" y="317295"/>
                    </a:lnTo>
                    <a:lnTo>
                      <a:pt x="1230108" y="320152"/>
                    </a:lnTo>
                    <a:lnTo>
                      <a:pt x="1231683" y="321127"/>
                    </a:lnTo>
                    <a:lnTo>
                      <a:pt x="1231875" y="322683"/>
                    </a:lnTo>
                    <a:lnTo>
                      <a:pt x="1230522" y="323974"/>
                    </a:lnTo>
                    <a:lnTo>
                      <a:pt x="1228656" y="322859"/>
                    </a:lnTo>
                    <a:lnTo>
                      <a:pt x="1228342" y="322942"/>
                    </a:lnTo>
                    <a:lnTo>
                      <a:pt x="1229356" y="324851"/>
                    </a:lnTo>
                    <a:lnTo>
                      <a:pt x="1229996" y="326521"/>
                    </a:lnTo>
                    <a:lnTo>
                      <a:pt x="1229338" y="327918"/>
                    </a:lnTo>
                    <a:lnTo>
                      <a:pt x="1229440" y="329637"/>
                    </a:lnTo>
                    <a:lnTo>
                      <a:pt x="1229298" y="331195"/>
                    </a:lnTo>
                    <a:lnTo>
                      <a:pt x="1228895" y="332555"/>
                    </a:lnTo>
                    <a:lnTo>
                      <a:pt x="1229802" y="338812"/>
                    </a:lnTo>
                    <a:lnTo>
                      <a:pt x="1230894" y="340511"/>
                    </a:lnTo>
                    <a:lnTo>
                      <a:pt x="1231969" y="342136"/>
                    </a:lnTo>
                    <a:lnTo>
                      <a:pt x="1232538" y="343656"/>
                    </a:lnTo>
                    <a:lnTo>
                      <a:pt x="1231398" y="343878"/>
                    </a:lnTo>
                    <a:lnTo>
                      <a:pt x="1229583" y="342627"/>
                    </a:lnTo>
                    <a:lnTo>
                      <a:pt x="1227988" y="341674"/>
                    </a:lnTo>
                    <a:lnTo>
                      <a:pt x="1226089" y="338623"/>
                    </a:lnTo>
                    <a:lnTo>
                      <a:pt x="1225776" y="337405"/>
                    </a:lnTo>
                    <a:lnTo>
                      <a:pt x="1225312" y="336440"/>
                    </a:lnTo>
                    <a:lnTo>
                      <a:pt x="1225535" y="338654"/>
                    </a:lnTo>
                    <a:lnTo>
                      <a:pt x="1226214" y="341123"/>
                    </a:lnTo>
                    <a:lnTo>
                      <a:pt x="1232162" y="346643"/>
                    </a:lnTo>
                    <a:lnTo>
                      <a:pt x="1233262" y="348759"/>
                    </a:lnTo>
                    <a:lnTo>
                      <a:pt x="1234098" y="350420"/>
                    </a:lnTo>
                    <a:lnTo>
                      <a:pt x="1233888" y="352012"/>
                    </a:lnTo>
                    <a:lnTo>
                      <a:pt x="1232336" y="350885"/>
                    </a:lnTo>
                    <a:lnTo>
                      <a:pt x="1230999" y="349450"/>
                    </a:lnTo>
                    <a:lnTo>
                      <a:pt x="1227449" y="347827"/>
                    </a:lnTo>
                    <a:lnTo>
                      <a:pt x="1222970" y="346801"/>
                    </a:lnTo>
                    <a:lnTo>
                      <a:pt x="1220445" y="343025"/>
                    </a:lnTo>
                    <a:lnTo>
                      <a:pt x="1220454" y="344600"/>
                    </a:lnTo>
                    <a:lnTo>
                      <a:pt x="1219893" y="345937"/>
                    </a:lnTo>
                    <a:lnTo>
                      <a:pt x="1218351" y="344308"/>
                    </a:lnTo>
                    <a:lnTo>
                      <a:pt x="1217377" y="342917"/>
                    </a:lnTo>
                    <a:lnTo>
                      <a:pt x="1217051" y="341393"/>
                    </a:lnTo>
                    <a:lnTo>
                      <a:pt x="1215123" y="341496"/>
                    </a:lnTo>
                    <a:lnTo>
                      <a:pt x="1213103" y="342822"/>
                    </a:lnTo>
                    <a:lnTo>
                      <a:pt x="1211149" y="342508"/>
                    </a:lnTo>
                    <a:lnTo>
                      <a:pt x="1210917" y="339921"/>
                    </a:lnTo>
                    <a:lnTo>
                      <a:pt x="1211446" y="338551"/>
                    </a:lnTo>
                    <a:lnTo>
                      <a:pt x="1213638" y="335307"/>
                    </a:lnTo>
                    <a:lnTo>
                      <a:pt x="1215705" y="333651"/>
                    </a:lnTo>
                    <a:lnTo>
                      <a:pt x="1216617" y="331509"/>
                    </a:lnTo>
                    <a:lnTo>
                      <a:pt x="1216307" y="328188"/>
                    </a:lnTo>
                    <a:lnTo>
                      <a:pt x="1215917" y="331569"/>
                    </a:lnTo>
                    <a:lnTo>
                      <a:pt x="1214736" y="333241"/>
                    </a:lnTo>
                    <a:lnTo>
                      <a:pt x="1212881" y="334519"/>
                    </a:lnTo>
                    <a:lnTo>
                      <a:pt x="1210438" y="336797"/>
                    </a:lnTo>
                    <a:lnTo>
                      <a:pt x="1209841" y="338901"/>
                    </a:lnTo>
                    <a:lnTo>
                      <a:pt x="1209078" y="342836"/>
                    </a:lnTo>
                    <a:lnTo>
                      <a:pt x="1210111" y="344168"/>
                    </a:lnTo>
                    <a:lnTo>
                      <a:pt x="1211165" y="344515"/>
                    </a:lnTo>
                    <a:lnTo>
                      <a:pt x="1214277" y="343623"/>
                    </a:lnTo>
                    <a:lnTo>
                      <a:pt x="1215887" y="344021"/>
                    </a:lnTo>
                    <a:lnTo>
                      <a:pt x="1219470" y="348753"/>
                    </a:lnTo>
                    <a:lnTo>
                      <a:pt x="1226140" y="350623"/>
                    </a:lnTo>
                    <a:lnTo>
                      <a:pt x="1228573" y="351791"/>
                    </a:lnTo>
                    <a:lnTo>
                      <a:pt x="1230556" y="354255"/>
                    </a:lnTo>
                    <a:lnTo>
                      <a:pt x="1233536" y="355674"/>
                    </a:lnTo>
                    <a:lnTo>
                      <a:pt x="1235849" y="357733"/>
                    </a:lnTo>
                    <a:lnTo>
                      <a:pt x="1235912" y="359076"/>
                    </a:lnTo>
                    <a:lnTo>
                      <a:pt x="1235111" y="360664"/>
                    </a:lnTo>
                    <a:lnTo>
                      <a:pt x="1234795" y="362812"/>
                    </a:lnTo>
                    <a:lnTo>
                      <a:pt x="1233812" y="364165"/>
                    </a:lnTo>
                    <a:lnTo>
                      <a:pt x="1231453" y="364321"/>
                    </a:lnTo>
                    <a:lnTo>
                      <a:pt x="1230028" y="363973"/>
                    </a:lnTo>
                    <a:lnTo>
                      <a:pt x="1222368" y="356419"/>
                    </a:lnTo>
                    <a:lnTo>
                      <a:pt x="1221453" y="355724"/>
                    </a:lnTo>
                    <a:lnTo>
                      <a:pt x="1218612" y="351762"/>
                    </a:lnTo>
                    <a:lnTo>
                      <a:pt x="1215278" y="349638"/>
                    </a:lnTo>
                    <a:lnTo>
                      <a:pt x="1214247" y="349683"/>
                    </a:lnTo>
                    <a:lnTo>
                      <a:pt x="1218992" y="353610"/>
                    </a:lnTo>
                    <a:lnTo>
                      <a:pt x="1220929" y="356354"/>
                    </a:lnTo>
                    <a:lnTo>
                      <a:pt x="1224340" y="360197"/>
                    </a:lnTo>
                    <a:lnTo>
                      <a:pt x="1226780" y="361823"/>
                    </a:lnTo>
                    <a:lnTo>
                      <a:pt x="1228574" y="364359"/>
                    </a:lnTo>
                    <a:lnTo>
                      <a:pt x="1230242" y="365547"/>
                    </a:lnTo>
                    <a:lnTo>
                      <a:pt x="1234796" y="367237"/>
                    </a:lnTo>
                    <a:lnTo>
                      <a:pt x="1233213" y="368452"/>
                    </a:lnTo>
                    <a:lnTo>
                      <a:pt x="1235740" y="369487"/>
                    </a:lnTo>
                    <a:lnTo>
                      <a:pt x="1236101" y="371387"/>
                    </a:lnTo>
                    <a:lnTo>
                      <a:pt x="1235870" y="373552"/>
                    </a:lnTo>
                    <a:lnTo>
                      <a:pt x="1232362" y="372696"/>
                    </a:lnTo>
                    <a:lnTo>
                      <a:pt x="1232248" y="374292"/>
                    </a:lnTo>
                    <a:lnTo>
                      <a:pt x="1232561" y="375233"/>
                    </a:lnTo>
                    <a:lnTo>
                      <a:pt x="1231012" y="376008"/>
                    </a:lnTo>
                    <a:lnTo>
                      <a:pt x="1228857" y="374955"/>
                    </a:lnTo>
                    <a:lnTo>
                      <a:pt x="1223261" y="369185"/>
                    </a:lnTo>
                    <a:lnTo>
                      <a:pt x="1223309" y="369957"/>
                    </a:lnTo>
                    <a:lnTo>
                      <a:pt x="1223762" y="370853"/>
                    </a:lnTo>
                    <a:lnTo>
                      <a:pt x="1227008" y="374567"/>
                    </a:lnTo>
                    <a:lnTo>
                      <a:pt x="1229903" y="376793"/>
                    </a:lnTo>
                    <a:lnTo>
                      <a:pt x="1232358" y="377798"/>
                    </a:lnTo>
                    <a:lnTo>
                      <a:pt x="1234251" y="379661"/>
                    </a:lnTo>
                    <a:lnTo>
                      <a:pt x="1234919" y="380788"/>
                    </a:lnTo>
                    <a:lnTo>
                      <a:pt x="1235363" y="382497"/>
                    </a:lnTo>
                    <a:lnTo>
                      <a:pt x="1233962" y="383657"/>
                    </a:lnTo>
                    <a:lnTo>
                      <a:pt x="1232364" y="384298"/>
                    </a:lnTo>
                    <a:lnTo>
                      <a:pt x="1230804" y="383140"/>
                    </a:lnTo>
                    <a:lnTo>
                      <a:pt x="1229661" y="381920"/>
                    </a:lnTo>
                    <a:lnTo>
                      <a:pt x="1227226" y="379849"/>
                    </a:lnTo>
                    <a:lnTo>
                      <a:pt x="1226497" y="377531"/>
                    </a:lnTo>
                    <a:lnTo>
                      <a:pt x="1224644" y="377651"/>
                    </a:lnTo>
                    <a:lnTo>
                      <a:pt x="1216902" y="374710"/>
                    </a:lnTo>
                    <a:lnTo>
                      <a:pt x="1210681" y="374371"/>
                    </a:lnTo>
                    <a:lnTo>
                      <a:pt x="1211289" y="374964"/>
                    </a:lnTo>
                    <a:lnTo>
                      <a:pt x="1212076" y="375357"/>
                    </a:lnTo>
                    <a:lnTo>
                      <a:pt x="1217031" y="376083"/>
                    </a:lnTo>
                    <a:lnTo>
                      <a:pt x="1218989" y="377436"/>
                    </a:lnTo>
                    <a:lnTo>
                      <a:pt x="1223064" y="378637"/>
                    </a:lnTo>
                    <a:lnTo>
                      <a:pt x="1225452" y="378965"/>
                    </a:lnTo>
                    <a:lnTo>
                      <a:pt x="1226419" y="382651"/>
                    </a:lnTo>
                    <a:lnTo>
                      <a:pt x="1229717" y="385187"/>
                    </a:lnTo>
                    <a:lnTo>
                      <a:pt x="1230146" y="387063"/>
                    </a:lnTo>
                    <a:lnTo>
                      <a:pt x="1232398" y="387274"/>
                    </a:lnTo>
                    <a:lnTo>
                      <a:pt x="1236360" y="385432"/>
                    </a:lnTo>
                    <a:lnTo>
                      <a:pt x="1238918" y="386078"/>
                    </a:lnTo>
                    <a:lnTo>
                      <a:pt x="1242605" y="386605"/>
                    </a:lnTo>
                    <a:lnTo>
                      <a:pt x="1243450" y="388091"/>
                    </a:lnTo>
                    <a:lnTo>
                      <a:pt x="1244082" y="390916"/>
                    </a:lnTo>
                    <a:lnTo>
                      <a:pt x="1245386" y="394091"/>
                    </a:lnTo>
                    <a:lnTo>
                      <a:pt x="1248768" y="406587"/>
                    </a:lnTo>
                    <a:lnTo>
                      <a:pt x="1253849" y="416778"/>
                    </a:lnTo>
                    <a:lnTo>
                      <a:pt x="1254474" y="418529"/>
                    </a:lnTo>
                    <a:lnTo>
                      <a:pt x="1253292" y="416993"/>
                    </a:lnTo>
                    <a:lnTo>
                      <a:pt x="1249524" y="410247"/>
                    </a:lnTo>
                    <a:lnTo>
                      <a:pt x="1247444" y="405368"/>
                    </a:lnTo>
                    <a:lnTo>
                      <a:pt x="1245306" y="396739"/>
                    </a:lnTo>
                    <a:lnTo>
                      <a:pt x="1244686" y="394804"/>
                    </a:lnTo>
                    <a:lnTo>
                      <a:pt x="1243956" y="394031"/>
                    </a:lnTo>
                    <a:lnTo>
                      <a:pt x="1243475" y="394660"/>
                    </a:lnTo>
                    <a:lnTo>
                      <a:pt x="1243269" y="395762"/>
                    </a:lnTo>
                    <a:lnTo>
                      <a:pt x="1243617" y="396606"/>
                    </a:lnTo>
                    <a:lnTo>
                      <a:pt x="1242775" y="399450"/>
                    </a:lnTo>
                    <a:lnTo>
                      <a:pt x="1243140" y="400753"/>
                    </a:lnTo>
                    <a:lnTo>
                      <a:pt x="1244507" y="402101"/>
                    </a:lnTo>
                    <a:lnTo>
                      <a:pt x="1245993" y="405461"/>
                    </a:lnTo>
                    <a:lnTo>
                      <a:pt x="1247180" y="409981"/>
                    </a:lnTo>
                    <a:lnTo>
                      <a:pt x="1245575" y="408150"/>
                    </a:lnTo>
                    <a:lnTo>
                      <a:pt x="1243861" y="407178"/>
                    </a:lnTo>
                    <a:lnTo>
                      <a:pt x="1241194" y="406433"/>
                    </a:lnTo>
                    <a:lnTo>
                      <a:pt x="1238819" y="405129"/>
                    </a:lnTo>
                    <a:lnTo>
                      <a:pt x="1238992" y="407001"/>
                    </a:lnTo>
                    <a:lnTo>
                      <a:pt x="1238765" y="409022"/>
                    </a:lnTo>
                    <a:lnTo>
                      <a:pt x="1236934" y="408406"/>
                    </a:lnTo>
                    <a:lnTo>
                      <a:pt x="1235688" y="407735"/>
                    </a:lnTo>
                    <a:lnTo>
                      <a:pt x="1236790" y="409888"/>
                    </a:lnTo>
                    <a:lnTo>
                      <a:pt x="1234396" y="409242"/>
                    </a:lnTo>
                    <a:lnTo>
                      <a:pt x="1232803" y="409377"/>
                    </a:lnTo>
                    <a:lnTo>
                      <a:pt x="1231767" y="411288"/>
                    </a:lnTo>
                    <a:lnTo>
                      <a:pt x="1230376" y="412448"/>
                    </a:lnTo>
                    <a:lnTo>
                      <a:pt x="1228322" y="412821"/>
                    </a:lnTo>
                    <a:lnTo>
                      <a:pt x="1225272" y="411074"/>
                    </a:lnTo>
                    <a:lnTo>
                      <a:pt x="1224284" y="408954"/>
                    </a:lnTo>
                    <a:lnTo>
                      <a:pt x="1223875" y="406590"/>
                    </a:lnTo>
                    <a:lnTo>
                      <a:pt x="1223713" y="409384"/>
                    </a:lnTo>
                    <a:lnTo>
                      <a:pt x="1224255" y="412292"/>
                    </a:lnTo>
                    <a:lnTo>
                      <a:pt x="1224064" y="414501"/>
                    </a:lnTo>
                    <a:lnTo>
                      <a:pt x="1227001" y="414906"/>
                    </a:lnTo>
                    <a:lnTo>
                      <a:pt x="1229746" y="414547"/>
                    </a:lnTo>
                    <a:lnTo>
                      <a:pt x="1233451" y="414638"/>
                    </a:lnTo>
                    <a:lnTo>
                      <a:pt x="1235867" y="414225"/>
                    </a:lnTo>
                    <a:lnTo>
                      <a:pt x="1237322" y="413522"/>
                    </a:lnTo>
                    <a:lnTo>
                      <a:pt x="1240811" y="414131"/>
                    </a:lnTo>
                    <a:lnTo>
                      <a:pt x="1241060" y="416798"/>
                    </a:lnTo>
                    <a:lnTo>
                      <a:pt x="1240660" y="419447"/>
                    </a:lnTo>
                    <a:lnTo>
                      <a:pt x="1240458" y="422265"/>
                    </a:lnTo>
                    <a:lnTo>
                      <a:pt x="1241425" y="422247"/>
                    </a:lnTo>
                    <a:lnTo>
                      <a:pt x="1242562" y="421346"/>
                    </a:lnTo>
                    <a:lnTo>
                      <a:pt x="1243129" y="416295"/>
                    </a:lnTo>
                    <a:lnTo>
                      <a:pt x="1246317" y="414427"/>
                    </a:lnTo>
                    <a:lnTo>
                      <a:pt x="1247386" y="414555"/>
                    </a:lnTo>
                    <a:lnTo>
                      <a:pt x="1248401" y="416179"/>
                    </a:lnTo>
                    <a:lnTo>
                      <a:pt x="1248743" y="417827"/>
                    </a:lnTo>
                    <a:lnTo>
                      <a:pt x="1249103" y="420088"/>
                    </a:lnTo>
                    <a:lnTo>
                      <a:pt x="1248359" y="423530"/>
                    </a:lnTo>
                    <a:lnTo>
                      <a:pt x="1243459" y="427551"/>
                    </a:lnTo>
                    <a:lnTo>
                      <a:pt x="1239950" y="431266"/>
                    </a:lnTo>
                    <a:lnTo>
                      <a:pt x="1238157" y="432022"/>
                    </a:lnTo>
                    <a:lnTo>
                      <a:pt x="1235569" y="431590"/>
                    </a:lnTo>
                    <a:lnTo>
                      <a:pt x="1232636" y="430656"/>
                    </a:lnTo>
                    <a:lnTo>
                      <a:pt x="1231197" y="430468"/>
                    </a:lnTo>
                    <a:lnTo>
                      <a:pt x="1230104" y="430780"/>
                    </a:lnTo>
                    <a:lnTo>
                      <a:pt x="1229438" y="429637"/>
                    </a:lnTo>
                    <a:lnTo>
                      <a:pt x="1229008" y="427550"/>
                    </a:lnTo>
                    <a:lnTo>
                      <a:pt x="1227867" y="426857"/>
                    </a:lnTo>
                    <a:lnTo>
                      <a:pt x="1227003" y="426934"/>
                    </a:lnTo>
                    <a:lnTo>
                      <a:pt x="1226413" y="429151"/>
                    </a:lnTo>
                    <a:lnTo>
                      <a:pt x="1223678" y="429781"/>
                    </a:lnTo>
                    <a:lnTo>
                      <a:pt x="1219958" y="428866"/>
                    </a:lnTo>
                    <a:lnTo>
                      <a:pt x="1216060" y="427000"/>
                    </a:lnTo>
                    <a:lnTo>
                      <a:pt x="1217732" y="429001"/>
                    </a:lnTo>
                    <a:lnTo>
                      <a:pt x="1227401" y="432731"/>
                    </a:lnTo>
                    <a:lnTo>
                      <a:pt x="1228489" y="433428"/>
                    </a:lnTo>
                    <a:lnTo>
                      <a:pt x="1229505" y="434447"/>
                    </a:lnTo>
                    <a:lnTo>
                      <a:pt x="1228153" y="436046"/>
                    </a:lnTo>
                    <a:lnTo>
                      <a:pt x="1227093" y="437846"/>
                    </a:lnTo>
                    <a:lnTo>
                      <a:pt x="1226945" y="439257"/>
                    </a:lnTo>
                    <a:lnTo>
                      <a:pt x="1226570" y="440147"/>
                    </a:lnTo>
                    <a:lnTo>
                      <a:pt x="1222715" y="442548"/>
                    </a:lnTo>
                    <a:lnTo>
                      <a:pt x="1220626" y="442124"/>
                    </a:lnTo>
                    <a:lnTo>
                      <a:pt x="1215288" y="437796"/>
                    </a:lnTo>
                    <a:lnTo>
                      <a:pt x="1217719" y="441539"/>
                    </a:lnTo>
                    <a:lnTo>
                      <a:pt x="1219667" y="443126"/>
                    </a:lnTo>
                    <a:lnTo>
                      <a:pt x="1223587" y="443974"/>
                    </a:lnTo>
                    <a:lnTo>
                      <a:pt x="1230940" y="442575"/>
                    </a:lnTo>
                    <a:lnTo>
                      <a:pt x="1233350" y="444101"/>
                    </a:lnTo>
                    <a:lnTo>
                      <a:pt x="1231372" y="446804"/>
                    </a:lnTo>
                    <a:lnTo>
                      <a:pt x="1229404" y="448698"/>
                    </a:lnTo>
                    <a:lnTo>
                      <a:pt x="1226825" y="448909"/>
                    </a:lnTo>
                    <a:lnTo>
                      <a:pt x="1224554" y="449422"/>
                    </a:lnTo>
                    <a:lnTo>
                      <a:pt x="1223887" y="450725"/>
                    </a:lnTo>
                    <a:lnTo>
                      <a:pt x="1222267" y="450806"/>
                    </a:lnTo>
                    <a:lnTo>
                      <a:pt x="1219736" y="450883"/>
                    </a:lnTo>
                    <a:lnTo>
                      <a:pt x="1215819" y="451002"/>
                    </a:lnTo>
                    <a:lnTo>
                      <a:pt x="1213666" y="450698"/>
                    </a:lnTo>
                    <a:lnTo>
                      <a:pt x="1210659" y="453357"/>
                    </a:lnTo>
                    <a:lnTo>
                      <a:pt x="1209524" y="453723"/>
                    </a:lnTo>
                    <a:lnTo>
                      <a:pt x="1207937" y="453223"/>
                    </a:lnTo>
                    <a:lnTo>
                      <a:pt x="1207273" y="451088"/>
                    </a:lnTo>
                    <a:lnTo>
                      <a:pt x="1206565" y="450037"/>
                    </a:lnTo>
                    <a:lnTo>
                      <a:pt x="1206546" y="454033"/>
                    </a:lnTo>
                    <a:lnTo>
                      <a:pt x="1206824" y="455110"/>
                    </a:lnTo>
                    <a:lnTo>
                      <a:pt x="1207393" y="455920"/>
                    </a:lnTo>
                    <a:lnTo>
                      <a:pt x="1203876" y="458087"/>
                    </a:lnTo>
                    <a:lnTo>
                      <a:pt x="1200507" y="460786"/>
                    </a:lnTo>
                    <a:lnTo>
                      <a:pt x="1199301" y="461521"/>
                    </a:lnTo>
                    <a:lnTo>
                      <a:pt x="1197930" y="462871"/>
                    </a:lnTo>
                    <a:lnTo>
                      <a:pt x="1195121" y="466774"/>
                    </a:lnTo>
                    <a:lnTo>
                      <a:pt x="1194427" y="469615"/>
                    </a:lnTo>
                    <a:lnTo>
                      <a:pt x="1193412" y="472782"/>
                    </a:lnTo>
                    <a:lnTo>
                      <a:pt x="1193284" y="471355"/>
                    </a:lnTo>
                    <a:lnTo>
                      <a:pt x="1193458" y="468955"/>
                    </a:lnTo>
                    <a:lnTo>
                      <a:pt x="1192764" y="466203"/>
                    </a:lnTo>
                    <a:lnTo>
                      <a:pt x="1192321" y="471243"/>
                    </a:lnTo>
                    <a:lnTo>
                      <a:pt x="1191232" y="473582"/>
                    </a:lnTo>
                    <a:lnTo>
                      <a:pt x="1181217" y="473417"/>
                    </a:lnTo>
                    <a:lnTo>
                      <a:pt x="1176834" y="474687"/>
                    </a:lnTo>
                    <a:lnTo>
                      <a:pt x="1170105" y="478959"/>
                    </a:lnTo>
                    <a:lnTo>
                      <a:pt x="1168093" y="480830"/>
                    </a:lnTo>
                    <a:lnTo>
                      <a:pt x="1162536" y="488057"/>
                    </a:lnTo>
                    <a:lnTo>
                      <a:pt x="1161117" y="492675"/>
                    </a:lnTo>
                    <a:lnTo>
                      <a:pt x="1159979" y="490734"/>
                    </a:lnTo>
                    <a:lnTo>
                      <a:pt x="1160261" y="489278"/>
                    </a:lnTo>
                    <a:lnTo>
                      <a:pt x="1160284" y="488086"/>
                    </a:lnTo>
                    <a:lnTo>
                      <a:pt x="1158884" y="490641"/>
                    </a:lnTo>
                    <a:lnTo>
                      <a:pt x="1160213" y="494358"/>
                    </a:lnTo>
                    <a:lnTo>
                      <a:pt x="1159020" y="495776"/>
                    </a:lnTo>
                    <a:lnTo>
                      <a:pt x="1155348" y="498423"/>
                    </a:lnTo>
                    <a:lnTo>
                      <a:pt x="1153339" y="498857"/>
                    </a:lnTo>
                    <a:lnTo>
                      <a:pt x="1151084" y="499609"/>
                    </a:lnTo>
                    <a:lnTo>
                      <a:pt x="1150372" y="502217"/>
                    </a:lnTo>
                    <a:lnTo>
                      <a:pt x="1147311" y="504621"/>
                    </a:lnTo>
                    <a:lnTo>
                      <a:pt x="1145526" y="505684"/>
                    </a:lnTo>
                    <a:lnTo>
                      <a:pt x="1142257" y="505040"/>
                    </a:lnTo>
                    <a:lnTo>
                      <a:pt x="1143264" y="507353"/>
                    </a:lnTo>
                    <a:lnTo>
                      <a:pt x="1142063" y="509104"/>
                    </a:lnTo>
                    <a:lnTo>
                      <a:pt x="1139996" y="510444"/>
                    </a:lnTo>
                    <a:lnTo>
                      <a:pt x="1137425" y="511320"/>
                    </a:lnTo>
                    <a:lnTo>
                      <a:pt x="1135951" y="511212"/>
                    </a:lnTo>
                    <a:lnTo>
                      <a:pt x="1134691" y="511677"/>
                    </a:lnTo>
                    <a:lnTo>
                      <a:pt x="1133705" y="512790"/>
                    </a:lnTo>
                    <a:lnTo>
                      <a:pt x="1131295" y="513829"/>
                    </a:lnTo>
                    <a:lnTo>
                      <a:pt x="1128792" y="513245"/>
                    </a:lnTo>
                    <a:lnTo>
                      <a:pt x="1125953" y="512894"/>
                    </a:lnTo>
                    <a:lnTo>
                      <a:pt x="1124373" y="513516"/>
                    </a:lnTo>
                    <a:lnTo>
                      <a:pt x="1127030" y="514548"/>
                    </a:lnTo>
                    <a:lnTo>
                      <a:pt x="1128452" y="516042"/>
                    </a:lnTo>
                    <a:lnTo>
                      <a:pt x="1128159" y="518054"/>
                    </a:lnTo>
                    <a:lnTo>
                      <a:pt x="1127448" y="518830"/>
                    </a:lnTo>
                    <a:lnTo>
                      <a:pt x="1125772" y="519883"/>
                    </a:lnTo>
                    <a:lnTo>
                      <a:pt x="1125036" y="519726"/>
                    </a:lnTo>
                    <a:lnTo>
                      <a:pt x="1124586" y="518777"/>
                    </a:lnTo>
                    <a:lnTo>
                      <a:pt x="1124041" y="516802"/>
                    </a:lnTo>
                    <a:lnTo>
                      <a:pt x="1123260" y="517224"/>
                    </a:lnTo>
                    <a:lnTo>
                      <a:pt x="1123125" y="518144"/>
                    </a:lnTo>
                    <a:lnTo>
                      <a:pt x="1122456" y="518471"/>
                    </a:lnTo>
                    <a:lnTo>
                      <a:pt x="1120078" y="515324"/>
                    </a:lnTo>
                    <a:lnTo>
                      <a:pt x="1120197" y="517725"/>
                    </a:lnTo>
                    <a:lnTo>
                      <a:pt x="1121027" y="519570"/>
                    </a:lnTo>
                    <a:lnTo>
                      <a:pt x="1121831" y="520504"/>
                    </a:lnTo>
                    <a:lnTo>
                      <a:pt x="1122641" y="521056"/>
                    </a:lnTo>
                    <a:lnTo>
                      <a:pt x="1122841" y="521911"/>
                    </a:lnTo>
                    <a:lnTo>
                      <a:pt x="1121214" y="523992"/>
                    </a:lnTo>
                    <a:lnTo>
                      <a:pt x="1120377" y="524455"/>
                    </a:lnTo>
                    <a:lnTo>
                      <a:pt x="1118887" y="524793"/>
                    </a:lnTo>
                    <a:lnTo>
                      <a:pt x="1118049" y="526075"/>
                    </a:lnTo>
                    <a:lnTo>
                      <a:pt x="1118296" y="527180"/>
                    </a:lnTo>
                    <a:lnTo>
                      <a:pt x="1116993" y="529574"/>
                    </a:lnTo>
                    <a:lnTo>
                      <a:pt x="1113879" y="531069"/>
                    </a:lnTo>
                    <a:lnTo>
                      <a:pt x="1112927" y="531012"/>
                    </a:lnTo>
                    <a:lnTo>
                      <a:pt x="1112151" y="531449"/>
                    </a:lnTo>
                    <a:lnTo>
                      <a:pt x="1112604" y="532515"/>
                    </a:lnTo>
                    <a:lnTo>
                      <a:pt x="1113382" y="533290"/>
                    </a:lnTo>
                    <a:lnTo>
                      <a:pt x="1113355" y="534010"/>
                    </a:lnTo>
                    <a:lnTo>
                      <a:pt x="1112532" y="534988"/>
                    </a:lnTo>
                    <a:lnTo>
                      <a:pt x="1110906" y="535261"/>
                    </a:lnTo>
                    <a:lnTo>
                      <a:pt x="1109992" y="536376"/>
                    </a:lnTo>
                    <a:lnTo>
                      <a:pt x="1110281" y="537427"/>
                    </a:lnTo>
                    <a:lnTo>
                      <a:pt x="1110818" y="538015"/>
                    </a:lnTo>
                    <a:lnTo>
                      <a:pt x="1110707" y="539025"/>
                    </a:lnTo>
                    <a:lnTo>
                      <a:pt x="1108857" y="540042"/>
                    </a:lnTo>
                    <a:lnTo>
                      <a:pt x="1108425" y="541039"/>
                    </a:lnTo>
                    <a:lnTo>
                      <a:pt x="1109341" y="541334"/>
                    </a:lnTo>
                    <a:lnTo>
                      <a:pt x="1110049" y="541039"/>
                    </a:lnTo>
                    <a:lnTo>
                      <a:pt x="1110566" y="541254"/>
                    </a:lnTo>
                    <a:lnTo>
                      <a:pt x="1109457" y="542922"/>
                    </a:lnTo>
                    <a:lnTo>
                      <a:pt x="1108461" y="543940"/>
                    </a:lnTo>
                    <a:lnTo>
                      <a:pt x="1107516" y="545767"/>
                    </a:lnTo>
                    <a:lnTo>
                      <a:pt x="1105322" y="546272"/>
                    </a:lnTo>
                    <a:lnTo>
                      <a:pt x="1105406" y="546862"/>
                    </a:lnTo>
                    <a:lnTo>
                      <a:pt x="1106644" y="547383"/>
                    </a:lnTo>
                    <a:lnTo>
                      <a:pt x="1107681" y="548788"/>
                    </a:lnTo>
                    <a:lnTo>
                      <a:pt x="1105733" y="551377"/>
                    </a:lnTo>
                    <a:lnTo>
                      <a:pt x="1104516" y="551165"/>
                    </a:lnTo>
                    <a:lnTo>
                      <a:pt x="1103772" y="550595"/>
                    </a:lnTo>
                    <a:lnTo>
                      <a:pt x="1103298" y="552639"/>
                    </a:lnTo>
                    <a:lnTo>
                      <a:pt x="1103479" y="553728"/>
                    </a:lnTo>
                    <a:lnTo>
                      <a:pt x="1103016" y="555956"/>
                    </a:lnTo>
                    <a:lnTo>
                      <a:pt x="1102271" y="558633"/>
                    </a:lnTo>
                    <a:lnTo>
                      <a:pt x="1101766" y="559732"/>
                    </a:lnTo>
                    <a:lnTo>
                      <a:pt x="1101872" y="561777"/>
                    </a:lnTo>
                    <a:lnTo>
                      <a:pt x="1102185" y="563751"/>
                    </a:lnTo>
                    <a:lnTo>
                      <a:pt x="1103378" y="566293"/>
                    </a:lnTo>
                    <a:lnTo>
                      <a:pt x="1105200" y="576678"/>
                    </a:lnTo>
                    <a:lnTo>
                      <a:pt x="1106441" y="580278"/>
                    </a:lnTo>
                    <a:lnTo>
                      <a:pt x="1108676" y="589977"/>
                    </a:lnTo>
                    <a:lnTo>
                      <a:pt x="1112375" y="599360"/>
                    </a:lnTo>
                    <a:lnTo>
                      <a:pt x="1117591" y="610677"/>
                    </a:lnTo>
                    <a:lnTo>
                      <a:pt x="1126156" y="624357"/>
                    </a:lnTo>
                    <a:lnTo>
                      <a:pt x="1127181" y="626302"/>
                    </a:lnTo>
                    <a:lnTo>
                      <a:pt x="1126065" y="627952"/>
                    </a:lnTo>
                    <a:lnTo>
                      <a:pt x="1125726" y="629661"/>
                    </a:lnTo>
                    <a:lnTo>
                      <a:pt x="1125628" y="632234"/>
                    </a:lnTo>
                    <a:lnTo>
                      <a:pt x="1125937" y="634741"/>
                    </a:lnTo>
                    <a:lnTo>
                      <a:pt x="1126950" y="637800"/>
                    </a:lnTo>
                    <a:lnTo>
                      <a:pt x="1128895" y="642473"/>
                    </a:lnTo>
                    <a:lnTo>
                      <a:pt x="1127808" y="641541"/>
                    </a:lnTo>
                    <a:lnTo>
                      <a:pt x="1124990" y="634832"/>
                    </a:lnTo>
                    <a:lnTo>
                      <a:pt x="1124663" y="630886"/>
                    </a:lnTo>
                    <a:lnTo>
                      <a:pt x="1125068" y="625283"/>
                    </a:lnTo>
                    <a:lnTo>
                      <a:pt x="1124406" y="625420"/>
                    </a:lnTo>
                    <a:lnTo>
                      <a:pt x="1123870" y="627240"/>
                    </a:lnTo>
                    <a:lnTo>
                      <a:pt x="1123574" y="629378"/>
                    </a:lnTo>
                    <a:lnTo>
                      <a:pt x="1122859" y="630205"/>
                    </a:lnTo>
                    <a:lnTo>
                      <a:pt x="1121884" y="626945"/>
                    </a:lnTo>
                    <a:lnTo>
                      <a:pt x="1121952" y="625469"/>
                    </a:lnTo>
                    <a:lnTo>
                      <a:pt x="1122989" y="623745"/>
                    </a:lnTo>
                    <a:lnTo>
                      <a:pt x="1122688" y="623124"/>
                    </a:lnTo>
                    <a:lnTo>
                      <a:pt x="1121012" y="622241"/>
                    </a:lnTo>
                    <a:lnTo>
                      <a:pt x="1120656" y="620853"/>
                    </a:lnTo>
                    <a:lnTo>
                      <a:pt x="1120883" y="619480"/>
                    </a:lnTo>
                    <a:lnTo>
                      <a:pt x="1119921" y="618747"/>
                    </a:lnTo>
                    <a:lnTo>
                      <a:pt x="1119169" y="618781"/>
                    </a:lnTo>
                    <a:lnTo>
                      <a:pt x="1119673" y="622165"/>
                    </a:lnTo>
                    <a:lnTo>
                      <a:pt x="1120468" y="624239"/>
                    </a:lnTo>
                    <a:lnTo>
                      <a:pt x="1121453" y="629210"/>
                    </a:lnTo>
                    <a:lnTo>
                      <a:pt x="1123042" y="632218"/>
                    </a:lnTo>
                    <a:lnTo>
                      <a:pt x="1123966" y="634739"/>
                    </a:lnTo>
                    <a:lnTo>
                      <a:pt x="1134783" y="661564"/>
                    </a:lnTo>
                    <a:lnTo>
                      <a:pt x="1137342" y="664969"/>
                    </a:lnTo>
                    <a:lnTo>
                      <a:pt x="1138289" y="667413"/>
                    </a:lnTo>
                    <a:lnTo>
                      <a:pt x="1139275" y="672521"/>
                    </a:lnTo>
                    <a:lnTo>
                      <a:pt x="1139497" y="679070"/>
                    </a:lnTo>
                    <a:lnTo>
                      <a:pt x="1137730" y="691017"/>
                    </a:lnTo>
                    <a:lnTo>
                      <a:pt x="1137327" y="699150"/>
                    </a:lnTo>
                    <a:lnTo>
                      <a:pt x="1137074" y="698903"/>
                    </a:lnTo>
                    <a:lnTo>
                      <a:pt x="1136905" y="698047"/>
                    </a:lnTo>
                    <a:lnTo>
                      <a:pt x="1136497" y="697929"/>
                    </a:lnTo>
                    <a:lnTo>
                      <a:pt x="1134963" y="701651"/>
                    </a:lnTo>
                    <a:lnTo>
                      <a:pt x="1132876" y="705007"/>
                    </a:lnTo>
                    <a:lnTo>
                      <a:pt x="1132190" y="710220"/>
                    </a:lnTo>
                    <a:lnTo>
                      <a:pt x="1131190" y="712827"/>
                    </a:lnTo>
                    <a:lnTo>
                      <a:pt x="1128187" y="715583"/>
                    </a:lnTo>
                    <a:lnTo>
                      <a:pt x="1126326" y="715513"/>
                    </a:lnTo>
                    <a:lnTo>
                      <a:pt x="1121762" y="717580"/>
                    </a:lnTo>
                    <a:lnTo>
                      <a:pt x="1118556" y="717042"/>
                    </a:lnTo>
                    <a:lnTo>
                      <a:pt x="1114735" y="718208"/>
                    </a:lnTo>
                    <a:lnTo>
                      <a:pt x="1112223" y="718077"/>
                    </a:lnTo>
                    <a:lnTo>
                      <a:pt x="1110771" y="715619"/>
                    </a:lnTo>
                    <a:lnTo>
                      <a:pt x="1110992" y="714520"/>
                    </a:lnTo>
                    <a:lnTo>
                      <a:pt x="1111571" y="713413"/>
                    </a:lnTo>
                    <a:lnTo>
                      <a:pt x="1112550" y="713157"/>
                    </a:lnTo>
                    <a:lnTo>
                      <a:pt x="1115924" y="715733"/>
                    </a:lnTo>
                    <a:lnTo>
                      <a:pt x="1116560" y="714648"/>
                    </a:lnTo>
                    <a:lnTo>
                      <a:pt x="1115542" y="713359"/>
                    </a:lnTo>
                    <a:lnTo>
                      <a:pt x="1113591" y="712639"/>
                    </a:lnTo>
                    <a:lnTo>
                      <a:pt x="1112149" y="711848"/>
                    </a:lnTo>
                    <a:lnTo>
                      <a:pt x="1109246" y="705965"/>
                    </a:lnTo>
                    <a:lnTo>
                      <a:pt x="1106239" y="701922"/>
                    </a:lnTo>
                    <a:lnTo>
                      <a:pt x="1105731" y="699218"/>
                    </a:lnTo>
                    <a:lnTo>
                      <a:pt x="1100545" y="697568"/>
                    </a:lnTo>
                    <a:lnTo>
                      <a:pt x="1096789" y="695069"/>
                    </a:lnTo>
                    <a:lnTo>
                      <a:pt x="1094340" y="690622"/>
                    </a:lnTo>
                    <a:lnTo>
                      <a:pt x="1092936" y="682724"/>
                    </a:lnTo>
                    <a:lnTo>
                      <a:pt x="1091279" y="681836"/>
                    </a:lnTo>
                    <a:lnTo>
                      <a:pt x="1090578" y="681221"/>
                    </a:lnTo>
                    <a:lnTo>
                      <a:pt x="1092197" y="678288"/>
                    </a:lnTo>
                    <a:lnTo>
                      <a:pt x="1093902" y="675826"/>
                    </a:lnTo>
                    <a:lnTo>
                      <a:pt x="1092552" y="676438"/>
                    </a:lnTo>
                    <a:lnTo>
                      <a:pt x="1091556" y="677349"/>
                    </a:lnTo>
                    <a:lnTo>
                      <a:pt x="1090293" y="679522"/>
                    </a:lnTo>
                    <a:lnTo>
                      <a:pt x="1089368" y="679857"/>
                    </a:lnTo>
                    <a:lnTo>
                      <a:pt x="1088520" y="679522"/>
                    </a:lnTo>
                    <a:lnTo>
                      <a:pt x="1087544" y="675353"/>
                    </a:lnTo>
                    <a:lnTo>
                      <a:pt x="1087824" y="670222"/>
                    </a:lnTo>
                    <a:lnTo>
                      <a:pt x="1089192" y="668301"/>
                    </a:lnTo>
                    <a:lnTo>
                      <a:pt x="1087089" y="668251"/>
                    </a:lnTo>
                    <a:lnTo>
                      <a:pt x="1084910" y="668982"/>
                    </a:lnTo>
                    <a:lnTo>
                      <a:pt x="1085230" y="670693"/>
                    </a:lnTo>
                    <a:lnTo>
                      <a:pt x="1084922" y="671633"/>
                    </a:lnTo>
                    <a:lnTo>
                      <a:pt x="1083335" y="671392"/>
                    </a:lnTo>
                    <a:lnTo>
                      <a:pt x="1082133" y="670791"/>
                    </a:lnTo>
                    <a:lnTo>
                      <a:pt x="1080499" y="669010"/>
                    </a:lnTo>
                    <a:lnTo>
                      <a:pt x="1078272" y="665610"/>
                    </a:lnTo>
                    <a:lnTo>
                      <a:pt x="1073703" y="656231"/>
                    </a:lnTo>
                    <a:lnTo>
                      <a:pt x="1072812" y="654908"/>
                    </a:lnTo>
                    <a:lnTo>
                      <a:pt x="1071302" y="653520"/>
                    </a:lnTo>
                    <a:lnTo>
                      <a:pt x="1072013" y="653089"/>
                    </a:lnTo>
                    <a:lnTo>
                      <a:pt x="1073310" y="652834"/>
                    </a:lnTo>
                    <a:lnTo>
                      <a:pt x="1076244" y="648603"/>
                    </a:lnTo>
                    <a:lnTo>
                      <a:pt x="1078548" y="646043"/>
                    </a:lnTo>
                    <a:lnTo>
                      <a:pt x="1079313" y="644273"/>
                    </a:lnTo>
                    <a:lnTo>
                      <a:pt x="1079180" y="643515"/>
                    </a:lnTo>
                    <a:lnTo>
                      <a:pt x="1078161" y="642415"/>
                    </a:lnTo>
                    <a:lnTo>
                      <a:pt x="1076824" y="643376"/>
                    </a:lnTo>
                    <a:lnTo>
                      <a:pt x="1076250" y="643102"/>
                    </a:lnTo>
                    <a:lnTo>
                      <a:pt x="1074745" y="640880"/>
                    </a:lnTo>
                    <a:lnTo>
                      <a:pt x="1073308" y="640252"/>
                    </a:lnTo>
                    <a:lnTo>
                      <a:pt x="1072306" y="640733"/>
                    </a:lnTo>
                    <a:lnTo>
                      <a:pt x="1073364" y="642554"/>
                    </a:lnTo>
                    <a:lnTo>
                      <a:pt x="1074311" y="643230"/>
                    </a:lnTo>
                    <a:lnTo>
                      <a:pt x="1073945" y="645875"/>
                    </a:lnTo>
                    <a:lnTo>
                      <a:pt x="1073561" y="646738"/>
                    </a:lnTo>
                    <a:lnTo>
                      <a:pt x="1072672" y="647497"/>
                    </a:lnTo>
                    <a:lnTo>
                      <a:pt x="1071282" y="647093"/>
                    </a:lnTo>
                    <a:lnTo>
                      <a:pt x="1070580" y="647746"/>
                    </a:lnTo>
                    <a:lnTo>
                      <a:pt x="1069752" y="647056"/>
                    </a:lnTo>
                    <a:lnTo>
                      <a:pt x="1068930" y="645895"/>
                    </a:lnTo>
                    <a:lnTo>
                      <a:pt x="1068013" y="643981"/>
                    </a:lnTo>
                    <a:lnTo>
                      <a:pt x="1070435" y="633194"/>
                    </a:lnTo>
                    <a:lnTo>
                      <a:pt x="1072679" y="626310"/>
                    </a:lnTo>
                    <a:lnTo>
                      <a:pt x="1072934" y="618442"/>
                    </a:lnTo>
                    <a:lnTo>
                      <a:pt x="1073101" y="617276"/>
                    </a:lnTo>
                    <a:lnTo>
                      <a:pt x="1072912" y="615183"/>
                    </a:lnTo>
                    <a:lnTo>
                      <a:pt x="1069905" y="610630"/>
                    </a:lnTo>
                    <a:lnTo>
                      <a:pt x="1056611" y="599501"/>
                    </a:lnTo>
                    <a:lnTo>
                      <a:pt x="1046308" y="586289"/>
                    </a:lnTo>
                    <a:lnTo>
                      <a:pt x="1037383" y="581324"/>
                    </a:lnTo>
                    <a:lnTo>
                      <a:pt x="1030611" y="582414"/>
                    </a:lnTo>
                    <a:lnTo>
                      <a:pt x="1029439" y="583412"/>
                    </a:lnTo>
                    <a:lnTo>
                      <a:pt x="1028936" y="584717"/>
                    </a:lnTo>
                    <a:lnTo>
                      <a:pt x="1029361" y="586194"/>
                    </a:lnTo>
                    <a:lnTo>
                      <a:pt x="1028745" y="586808"/>
                    </a:lnTo>
                    <a:lnTo>
                      <a:pt x="1026928" y="586730"/>
                    </a:lnTo>
                    <a:lnTo>
                      <a:pt x="1024480" y="587074"/>
                    </a:lnTo>
                    <a:lnTo>
                      <a:pt x="1018089" y="590556"/>
                    </a:lnTo>
                    <a:lnTo>
                      <a:pt x="1015834" y="590427"/>
                    </a:lnTo>
                    <a:lnTo>
                      <a:pt x="1013787" y="591329"/>
                    </a:lnTo>
                    <a:lnTo>
                      <a:pt x="1012254" y="592004"/>
                    </a:lnTo>
                    <a:lnTo>
                      <a:pt x="1008255" y="592372"/>
                    </a:lnTo>
                    <a:lnTo>
                      <a:pt x="1004864" y="593144"/>
                    </a:lnTo>
                    <a:lnTo>
                      <a:pt x="1003399" y="592726"/>
                    </a:lnTo>
                    <a:lnTo>
                      <a:pt x="1002444" y="590708"/>
                    </a:lnTo>
                    <a:lnTo>
                      <a:pt x="1002444" y="588619"/>
                    </a:lnTo>
                    <a:lnTo>
                      <a:pt x="1003219" y="590220"/>
                    </a:lnTo>
                    <a:lnTo>
                      <a:pt x="1004418" y="591473"/>
                    </a:lnTo>
                    <a:lnTo>
                      <a:pt x="1004968" y="590973"/>
                    </a:lnTo>
                    <a:lnTo>
                      <a:pt x="1005174" y="589864"/>
                    </a:lnTo>
                    <a:lnTo>
                      <a:pt x="1003980" y="587691"/>
                    </a:lnTo>
                    <a:lnTo>
                      <a:pt x="1000136" y="584898"/>
                    </a:lnTo>
                    <a:lnTo>
                      <a:pt x="995762" y="580817"/>
                    </a:lnTo>
                    <a:lnTo>
                      <a:pt x="997095" y="580951"/>
                    </a:lnTo>
                    <a:lnTo>
                      <a:pt x="997433" y="580077"/>
                    </a:lnTo>
                    <a:lnTo>
                      <a:pt x="996077" y="578929"/>
                    </a:lnTo>
                    <a:lnTo>
                      <a:pt x="996649" y="577602"/>
                    </a:lnTo>
                    <a:lnTo>
                      <a:pt x="997606" y="576208"/>
                    </a:lnTo>
                    <a:lnTo>
                      <a:pt x="995759" y="576417"/>
                    </a:lnTo>
                    <a:lnTo>
                      <a:pt x="994103" y="577393"/>
                    </a:lnTo>
                    <a:lnTo>
                      <a:pt x="994048" y="578599"/>
                    </a:lnTo>
                    <a:lnTo>
                      <a:pt x="993720" y="579557"/>
                    </a:lnTo>
                    <a:lnTo>
                      <a:pt x="992829" y="579418"/>
                    </a:lnTo>
                    <a:lnTo>
                      <a:pt x="991173" y="578231"/>
                    </a:lnTo>
                    <a:lnTo>
                      <a:pt x="983022" y="574927"/>
                    </a:lnTo>
                    <a:lnTo>
                      <a:pt x="975898" y="573063"/>
                    </a:lnTo>
                    <a:lnTo>
                      <a:pt x="981367" y="572224"/>
                    </a:lnTo>
                    <a:lnTo>
                      <a:pt x="984332" y="572876"/>
                    </a:lnTo>
                    <a:lnTo>
                      <a:pt x="983978" y="571876"/>
                    </a:lnTo>
                    <a:lnTo>
                      <a:pt x="983264" y="571239"/>
                    </a:lnTo>
                    <a:lnTo>
                      <a:pt x="980925" y="570434"/>
                    </a:lnTo>
                    <a:lnTo>
                      <a:pt x="977946" y="570741"/>
                    </a:lnTo>
                    <a:lnTo>
                      <a:pt x="976063" y="570363"/>
                    </a:lnTo>
                    <a:lnTo>
                      <a:pt x="974139" y="571160"/>
                    </a:lnTo>
                    <a:lnTo>
                      <a:pt x="972030" y="572348"/>
                    </a:lnTo>
                    <a:lnTo>
                      <a:pt x="970153" y="572958"/>
                    </a:lnTo>
                    <a:lnTo>
                      <a:pt x="962806" y="573812"/>
                    </a:lnTo>
                    <a:lnTo>
                      <a:pt x="956849" y="574739"/>
                    </a:lnTo>
                    <a:lnTo>
                      <a:pt x="957804" y="573761"/>
                    </a:lnTo>
                    <a:lnTo>
                      <a:pt x="958823" y="573132"/>
                    </a:lnTo>
                    <a:lnTo>
                      <a:pt x="962344" y="572175"/>
                    </a:lnTo>
                    <a:lnTo>
                      <a:pt x="962870" y="570186"/>
                    </a:lnTo>
                    <a:lnTo>
                      <a:pt x="962042" y="568268"/>
                    </a:lnTo>
                    <a:lnTo>
                      <a:pt x="961117" y="568729"/>
                    </a:lnTo>
                    <a:lnTo>
                      <a:pt x="960144" y="570226"/>
                    </a:lnTo>
                    <a:lnTo>
                      <a:pt x="958951" y="569147"/>
                    </a:lnTo>
                    <a:lnTo>
                      <a:pt x="957629" y="569152"/>
                    </a:lnTo>
                    <a:lnTo>
                      <a:pt x="957270" y="571536"/>
                    </a:lnTo>
                    <a:lnTo>
                      <a:pt x="955575" y="573132"/>
                    </a:lnTo>
                    <a:lnTo>
                      <a:pt x="954812" y="574739"/>
                    </a:lnTo>
                    <a:lnTo>
                      <a:pt x="949844" y="575998"/>
                    </a:lnTo>
                    <a:lnTo>
                      <a:pt x="949207" y="575578"/>
                    </a:lnTo>
                    <a:lnTo>
                      <a:pt x="950661" y="574052"/>
                    </a:lnTo>
                    <a:lnTo>
                      <a:pt x="950545" y="573203"/>
                    </a:lnTo>
                    <a:lnTo>
                      <a:pt x="948887" y="573932"/>
                    </a:lnTo>
                    <a:lnTo>
                      <a:pt x="946107" y="576824"/>
                    </a:lnTo>
                    <a:lnTo>
                      <a:pt x="936318" y="577770"/>
                    </a:lnTo>
                    <a:lnTo>
                      <a:pt x="936854" y="577113"/>
                    </a:lnTo>
                    <a:lnTo>
                      <a:pt x="938920" y="576981"/>
                    </a:lnTo>
                    <a:lnTo>
                      <a:pt x="941821" y="576067"/>
                    </a:lnTo>
                    <a:lnTo>
                      <a:pt x="941234" y="574526"/>
                    </a:lnTo>
                    <a:lnTo>
                      <a:pt x="940115" y="572831"/>
                    </a:lnTo>
                    <a:lnTo>
                      <a:pt x="939082" y="572643"/>
                    </a:lnTo>
                    <a:lnTo>
                      <a:pt x="938402" y="571648"/>
                    </a:lnTo>
                    <a:lnTo>
                      <a:pt x="938435" y="568515"/>
                    </a:lnTo>
                    <a:lnTo>
                      <a:pt x="937775" y="566682"/>
                    </a:lnTo>
                    <a:lnTo>
                      <a:pt x="936182" y="564796"/>
                    </a:lnTo>
                    <a:lnTo>
                      <a:pt x="935643" y="565158"/>
                    </a:lnTo>
                    <a:lnTo>
                      <a:pt x="934471" y="568384"/>
                    </a:lnTo>
                    <a:lnTo>
                      <a:pt x="933497" y="572609"/>
                    </a:lnTo>
                    <a:lnTo>
                      <a:pt x="933016" y="573974"/>
                    </a:lnTo>
                    <a:lnTo>
                      <a:pt x="930114" y="574069"/>
                    </a:lnTo>
                    <a:lnTo>
                      <a:pt x="927545" y="573780"/>
                    </a:lnTo>
                    <a:lnTo>
                      <a:pt x="918816" y="574288"/>
                    </a:lnTo>
                    <a:lnTo>
                      <a:pt x="915554" y="572858"/>
                    </a:lnTo>
                    <a:lnTo>
                      <a:pt x="914202" y="572582"/>
                    </a:lnTo>
                    <a:lnTo>
                      <a:pt x="913378" y="572615"/>
                    </a:lnTo>
                    <a:lnTo>
                      <a:pt x="909582" y="573927"/>
                    </a:lnTo>
                    <a:lnTo>
                      <a:pt x="905255" y="574932"/>
                    </a:lnTo>
                    <a:lnTo>
                      <a:pt x="904237" y="574616"/>
                    </a:lnTo>
                    <a:lnTo>
                      <a:pt x="902784" y="574570"/>
                    </a:lnTo>
                    <a:lnTo>
                      <a:pt x="899647" y="577987"/>
                    </a:lnTo>
                    <a:lnTo>
                      <a:pt x="895949" y="579586"/>
                    </a:lnTo>
                    <a:lnTo>
                      <a:pt x="886618" y="576712"/>
                    </a:lnTo>
                    <a:lnTo>
                      <a:pt x="884297" y="574399"/>
                    </a:lnTo>
                    <a:lnTo>
                      <a:pt x="882237" y="573904"/>
                    </a:lnTo>
                    <a:lnTo>
                      <a:pt x="879704" y="573618"/>
                    </a:lnTo>
                    <a:lnTo>
                      <a:pt x="876982" y="576464"/>
                    </a:lnTo>
                    <a:lnTo>
                      <a:pt x="874915" y="580302"/>
                    </a:lnTo>
                    <a:lnTo>
                      <a:pt x="878181" y="582405"/>
                    </a:lnTo>
                    <a:lnTo>
                      <a:pt x="880978" y="583410"/>
                    </a:lnTo>
                    <a:lnTo>
                      <a:pt x="885600" y="582567"/>
                    </a:lnTo>
                    <a:lnTo>
                      <a:pt x="888153" y="580706"/>
                    </a:lnTo>
                    <a:lnTo>
                      <a:pt x="890241" y="580767"/>
                    </a:lnTo>
                    <a:lnTo>
                      <a:pt x="891238" y="580390"/>
                    </a:lnTo>
                    <a:lnTo>
                      <a:pt x="892147" y="579418"/>
                    </a:lnTo>
                    <a:lnTo>
                      <a:pt x="893932" y="580185"/>
                    </a:lnTo>
                    <a:lnTo>
                      <a:pt x="893996" y="580952"/>
                    </a:lnTo>
                    <a:lnTo>
                      <a:pt x="892729" y="582035"/>
                    </a:lnTo>
                    <a:lnTo>
                      <a:pt x="891133" y="582946"/>
                    </a:lnTo>
                    <a:lnTo>
                      <a:pt x="890166" y="584019"/>
                    </a:lnTo>
                    <a:lnTo>
                      <a:pt x="891986" y="586181"/>
                    </a:lnTo>
                    <a:lnTo>
                      <a:pt x="894847" y="586908"/>
                    </a:lnTo>
                    <a:lnTo>
                      <a:pt x="895922" y="586594"/>
                    </a:lnTo>
                    <a:lnTo>
                      <a:pt x="896589" y="584164"/>
                    </a:lnTo>
                    <a:lnTo>
                      <a:pt x="898348" y="582598"/>
                    </a:lnTo>
                    <a:lnTo>
                      <a:pt x="900738" y="582936"/>
                    </a:lnTo>
                    <a:lnTo>
                      <a:pt x="900398" y="583919"/>
                    </a:lnTo>
                    <a:lnTo>
                      <a:pt x="900733" y="584845"/>
                    </a:lnTo>
                    <a:lnTo>
                      <a:pt x="901832" y="586428"/>
                    </a:lnTo>
                    <a:lnTo>
                      <a:pt x="901706" y="588694"/>
                    </a:lnTo>
                    <a:lnTo>
                      <a:pt x="901919" y="589239"/>
                    </a:lnTo>
                    <a:lnTo>
                      <a:pt x="899343" y="590240"/>
                    </a:lnTo>
                    <a:lnTo>
                      <a:pt x="897423" y="590579"/>
                    </a:lnTo>
                    <a:lnTo>
                      <a:pt x="895888" y="591887"/>
                    </a:lnTo>
                    <a:lnTo>
                      <a:pt x="896692" y="592647"/>
                    </a:lnTo>
                    <a:lnTo>
                      <a:pt x="895127" y="593313"/>
                    </a:lnTo>
                    <a:lnTo>
                      <a:pt x="894071" y="593046"/>
                    </a:lnTo>
                    <a:lnTo>
                      <a:pt x="893538" y="593293"/>
                    </a:lnTo>
                    <a:lnTo>
                      <a:pt x="893379" y="594096"/>
                    </a:lnTo>
                    <a:lnTo>
                      <a:pt x="892571" y="594842"/>
                    </a:lnTo>
                    <a:lnTo>
                      <a:pt x="893747" y="597087"/>
                    </a:lnTo>
                    <a:lnTo>
                      <a:pt x="896157" y="598552"/>
                    </a:lnTo>
                    <a:lnTo>
                      <a:pt x="897857" y="600387"/>
                    </a:lnTo>
                    <a:lnTo>
                      <a:pt x="904693" y="602804"/>
                    </a:lnTo>
                    <a:lnTo>
                      <a:pt x="906349" y="602736"/>
                    </a:lnTo>
                    <a:lnTo>
                      <a:pt x="907980" y="605166"/>
                    </a:lnTo>
                    <a:lnTo>
                      <a:pt x="909295" y="606002"/>
                    </a:lnTo>
                    <a:lnTo>
                      <a:pt x="910559" y="606427"/>
                    </a:lnTo>
                    <a:lnTo>
                      <a:pt x="910415" y="608099"/>
                    </a:lnTo>
                    <a:lnTo>
                      <a:pt x="908167" y="609321"/>
                    </a:lnTo>
                    <a:lnTo>
                      <a:pt x="907559" y="610780"/>
                    </a:lnTo>
                    <a:lnTo>
                      <a:pt x="906993" y="611600"/>
                    </a:lnTo>
                    <a:lnTo>
                      <a:pt x="905979" y="610562"/>
                    </a:lnTo>
                    <a:lnTo>
                      <a:pt x="904938" y="609809"/>
                    </a:lnTo>
                    <a:lnTo>
                      <a:pt x="902529" y="612098"/>
                    </a:lnTo>
                    <a:lnTo>
                      <a:pt x="901366" y="612580"/>
                    </a:lnTo>
                    <a:lnTo>
                      <a:pt x="901942" y="610112"/>
                    </a:lnTo>
                    <a:lnTo>
                      <a:pt x="901032" y="609145"/>
                    </a:lnTo>
                    <a:lnTo>
                      <a:pt x="899656" y="606669"/>
                    </a:lnTo>
                    <a:lnTo>
                      <a:pt x="897651" y="605138"/>
                    </a:lnTo>
                    <a:lnTo>
                      <a:pt x="896237" y="604631"/>
                    </a:lnTo>
                    <a:lnTo>
                      <a:pt x="895138" y="603660"/>
                    </a:lnTo>
                    <a:lnTo>
                      <a:pt x="893806" y="603268"/>
                    </a:lnTo>
                    <a:lnTo>
                      <a:pt x="892671" y="603368"/>
                    </a:lnTo>
                    <a:lnTo>
                      <a:pt x="890747" y="602804"/>
                    </a:lnTo>
                    <a:lnTo>
                      <a:pt x="890620" y="601485"/>
                    </a:lnTo>
                    <a:lnTo>
                      <a:pt x="890087" y="600498"/>
                    </a:lnTo>
                    <a:lnTo>
                      <a:pt x="888582" y="599332"/>
                    </a:lnTo>
                    <a:lnTo>
                      <a:pt x="881393" y="597129"/>
                    </a:lnTo>
                    <a:lnTo>
                      <a:pt x="881349" y="598041"/>
                    </a:lnTo>
                    <a:lnTo>
                      <a:pt x="881847" y="598727"/>
                    </a:lnTo>
                    <a:lnTo>
                      <a:pt x="882880" y="599184"/>
                    </a:lnTo>
                    <a:lnTo>
                      <a:pt x="884116" y="600073"/>
                    </a:lnTo>
                    <a:lnTo>
                      <a:pt x="884104" y="602704"/>
                    </a:lnTo>
                    <a:lnTo>
                      <a:pt x="883571" y="603817"/>
                    </a:lnTo>
                    <a:lnTo>
                      <a:pt x="883340" y="605403"/>
                    </a:lnTo>
                    <a:lnTo>
                      <a:pt x="882866" y="607013"/>
                    </a:lnTo>
                    <a:lnTo>
                      <a:pt x="881985" y="608282"/>
                    </a:lnTo>
                    <a:lnTo>
                      <a:pt x="880022" y="609148"/>
                    </a:lnTo>
                    <a:lnTo>
                      <a:pt x="879156" y="608424"/>
                    </a:lnTo>
                    <a:lnTo>
                      <a:pt x="877757" y="604956"/>
                    </a:lnTo>
                    <a:lnTo>
                      <a:pt x="875777" y="603863"/>
                    </a:lnTo>
                    <a:lnTo>
                      <a:pt x="872632" y="603735"/>
                    </a:lnTo>
                    <a:lnTo>
                      <a:pt x="870496" y="604518"/>
                    </a:lnTo>
                    <a:lnTo>
                      <a:pt x="868168" y="607879"/>
                    </a:lnTo>
                    <a:lnTo>
                      <a:pt x="866292" y="608428"/>
                    </a:lnTo>
                    <a:lnTo>
                      <a:pt x="859872" y="606687"/>
                    </a:lnTo>
                    <a:lnTo>
                      <a:pt x="852539" y="604034"/>
                    </a:lnTo>
                    <a:lnTo>
                      <a:pt x="852729" y="603150"/>
                    </a:lnTo>
                    <a:lnTo>
                      <a:pt x="853882" y="602866"/>
                    </a:lnTo>
                    <a:lnTo>
                      <a:pt x="856094" y="603229"/>
                    </a:lnTo>
                    <a:lnTo>
                      <a:pt x="855977" y="602318"/>
                    </a:lnTo>
                    <a:lnTo>
                      <a:pt x="853717" y="599351"/>
                    </a:lnTo>
                    <a:lnTo>
                      <a:pt x="853302" y="598011"/>
                    </a:lnTo>
                    <a:lnTo>
                      <a:pt x="853593" y="596375"/>
                    </a:lnTo>
                    <a:lnTo>
                      <a:pt x="852856" y="596411"/>
                    </a:lnTo>
                    <a:lnTo>
                      <a:pt x="851499" y="597785"/>
                    </a:lnTo>
                    <a:lnTo>
                      <a:pt x="846824" y="596621"/>
                    </a:lnTo>
                    <a:lnTo>
                      <a:pt x="845533" y="595230"/>
                    </a:lnTo>
                    <a:lnTo>
                      <a:pt x="842786" y="591307"/>
                    </a:lnTo>
                    <a:lnTo>
                      <a:pt x="838910" y="591179"/>
                    </a:lnTo>
                    <a:lnTo>
                      <a:pt x="837156" y="588799"/>
                    </a:lnTo>
                    <a:lnTo>
                      <a:pt x="833988" y="589796"/>
                    </a:lnTo>
                    <a:lnTo>
                      <a:pt x="832385" y="590898"/>
                    </a:lnTo>
                    <a:lnTo>
                      <a:pt x="830975" y="592608"/>
                    </a:lnTo>
                    <a:lnTo>
                      <a:pt x="831523" y="593493"/>
                    </a:lnTo>
                    <a:lnTo>
                      <a:pt x="832929" y="594899"/>
                    </a:lnTo>
                    <a:lnTo>
                      <a:pt x="832288" y="595577"/>
                    </a:lnTo>
                    <a:lnTo>
                      <a:pt x="827777" y="596580"/>
                    </a:lnTo>
                    <a:lnTo>
                      <a:pt x="817306" y="595460"/>
                    </a:lnTo>
                    <a:lnTo>
                      <a:pt x="814244" y="594412"/>
                    </a:lnTo>
                    <a:lnTo>
                      <a:pt x="810135" y="592198"/>
                    </a:lnTo>
                    <a:lnTo>
                      <a:pt x="804439" y="590391"/>
                    </a:lnTo>
                    <a:lnTo>
                      <a:pt x="801696" y="590099"/>
                    </a:lnTo>
                    <a:lnTo>
                      <a:pt x="799012" y="590458"/>
                    </a:lnTo>
                    <a:lnTo>
                      <a:pt x="791197" y="590643"/>
                    </a:lnTo>
                    <a:lnTo>
                      <a:pt x="789383" y="591124"/>
                    </a:lnTo>
                    <a:lnTo>
                      <a:pt x="787838" y="591890"/>
                    </a:lnTo>
                    <a:lnTo>
                      <a:pt x="786836" y="591041"/>
                    </a:lnTo>
                    <a:lnTo>
                      <a:pt x="786372" y="589525"/>
                    </a:lnTo>
                    <a:lnTo>
                      <a:pt x="787280" y="589278"/>
                    </a:lnTo>
                    <a:lnTo>
                      <a:pt x="788289" y="588386"/>
                    </a:lnTo>
                    <a:lnTo>
                      <a:pt x="789199" y="586622"/>
                    </a:lnTo>
                    <a:lnTo>
                      <a:pt x="789303" y="585555"/>
                    </a:lnTo>
                    <a:lnTo>
                      <a:pt x="788666" y="584858"/>
                    </a:lnTo>
                    <a:lnTo>
                      <a:pt x="787456" y="584788"/>
                    </a:lnTo>
                    <a:lnTo>
                      <a:pt x="784781" y="589386"/>
                    </a:lnTo>
                    <a:lnTo>
                      <a:pt x="786309" y="591960"/>
                    </a:lnTo>
                    <a:lnTo>
                      <a:pt x="786204" y="592888"/>
                    </a:lnTo>
                    <a:lnTo>
                      <a:pt x="780868" y="593417"/>
                    </a:lnTo>
                    <a:lnTo>
                      <a:pt x="768756" y="598594"/>
                    </a:lnTo>
                    <a:lnTo>
                      <a:pt x="764033" y="601383"/>
                    </a:lnTo>
                    <a:lnTo>
                      <a:pt x="764274" y="600445"/>
                    </a:lnTo>
                    <a:lnTo>
                      <a:pt x="769986" y="596828"/>
                    </a:lnTo>
                    <a:lnTo>
                      <a:pt x="767970" y="596275"/>
                    </a:lnTo>
                    <a:lnTo>
                      <a:pt x="764722" y="597179"/>
                    </a:lnTo>
                    <a:lnTo>
                      <a:pt x="763557" y="596831"/>
                    </a:lnTo>
                    <a:lnTo>
                      <a:pt x="764933" y="593838"/>
                    </a:lnTo>
                    <a:lnTo>
                      <a:pt x="764485" y="591198"/>
                    </a:lnTo>
                    <a:lnTo>
                      <a:pt x="762178" y="591126"/>
                    </a:lnTo>
                    <a:lnTo>
                      <a:pt x="760710" y="593234"/>
                    </a:lnTo>
                    <a:lnTo>
                      <a:pt x="759690" y="593145"/>
                    </a:lnTo>
                    <a:lnTo>
                      <a:pt x="758353" y="592240"/>
                    </a:lnTo>
                    <a:lnTo>
                      <a:pt x="757317" y="592526"/>
                    </a:lnTo>
                    <a:lnTo>
                      <a:pt x="758084" y="597302"/>
                    </a:lnTo>
                    <a:lnTo>
                      <a:pt x="759536" y="599264"/>
                    </a:lnTo>
                    <a:lnTo>
                      <a:pt x="760751" y="601765"/>
                    </a:lnTo>
                    <a:lnTo>
                      <a:pt x="757434" y="604854"/>
                    </a:lnTo>
                    <a:lnTo>
                      <a:pt x="754354" y="607401"/>
                    </a:lnTo>
                    <a:lnTo>
                      <a:pt x="754020" y="609861"/>
                    </a:lnTo>
                    <a:lnTo>
                      <a:pt x="750924" y="613064"/>
                    </a:lnTo>
                    <a:lnTo>
                      <a:pt x="748012" y="614879"/>
                    </a:lnTo>
                    <a:lnTo>
                      <a:pt x="741170" y="619143"/>
                    </a:lnTo>
                    <a:lnTo>
                      <a:pt x="739217" y="620055"/>
                    </a:lnTo>
                    <a:lnTo>
                      <a:pt x="736131" y="622033"/>
                    </a:lnTo>
                    <a:lnTo>
                      <a:pt x="731870" y="623515"/>
                    </a:lnTo>
                    <a:lnTo>
                      <a:pt x="727786" y="625866"/>
                    </a:lnTo>
                    <a:lnTo>
                      <a:pt x="726408" y="626223"/>
                    </a:lnTo>
                    <a:lnTo>
                      <a:pt x="729016" y="624233"/>
                    </a:lnTo>
                    <a:lnTo>
                      <a:pt x="732109" y="622265"/>
                    </a:lnTo>
                    <a:lnTo>
                      <a:pt x="729457" y="622535"/>
                    </a:lnTo>
                    <a:lnTo>
                      <a:pt x="725367" y="621623"/>
                    </a:lnTo>
                    <a:lnTo>
                      <a:pt x="722865" y="621570"/>
                    </a:lnTo>
                    <a:lnTo>
                      <a:pt x="722847" y="622288"/>
                    </a:lnTo>
                    <a:lnTo>
                      <a:pt x="720943" y="623302"/>
                    </a:lnTo>
                    <a:lnTo>
                      <a:pt x="718972" y="621812"/>
                    </a:lnTo>
                    <a:lnTo>
                      <a:pt x="718112" y="620809"/>
                    </a:lnTo>
                    <a:lnTo>
                      <a:pt x="717705" y="619944"/>
                    </a:lnTo>
                    <a:lnTo>
                      <a:pt x="716868" y="619735"/>
                    </a:lnTo>
                    <a:lnTo>
                      <a:pt x="716064" y="620136"/>
                    </a:lnTo>
                    <a:lnTo>
                      <a:pt x="719007" y="626230"/>
                    </a:lnTo>
                    <a:lnTo>
                      <a:pt x="720260" y="626493"/>
                    </a:lnTo>
                    <a:lnTo>
                      <a:pt x="721649" y="627098"/>
                    </a:lnTo>
                    <a:lnTo>
                      <a:pt x="719921" y="628518"/>
                    </a:lnTo>
                    <a:lnTo>
                      <a:pt x="718062" y="629592"/>
                    </a:lnTo>
                    <a:lnTo>
                      <a:pt x="715136" y="630307"/>
                    </a:lnTo>
                    <a:lnTo>
                      <a:pt x="712659" y="628086"/>
                    </a:lnTo>
                    <a:lnTo>
                      <a:pt x="712121" y="630872"/>
                    </a:lnTo>
                    <a:lnTo>
                      <a:pt x="711806" y="633654"/>
                    </a:lnTo>
                    <a:lnTo>
                      <a:pt x="710974" y="634368"/>
                    </a:lnTo>
                    <a:lnTo>
                      <a:pt x="709645" y="635384"/>
                    </a:lnTo>
                    <a:lnTo>
                      <a:pt x="708925" y="634617"/>
                    </a:lnTo>
                    <a:lnTo>
                      <a:pt x="708582" y="633541"/>
                    </a:lnTo>
                    <a:lnTo>
                      <a:pt x="707732" y="634502"/>
                    </a:lnTo>
                    <a:lnTo>
                      <a:pt x="706486" y="635221"/>
                    </a:lnTo>
                    <a:lnTo>
                      <a:pt x="704431" y="635365"/>
                    </a:lnTo>
                    <a:lnTo>
                      <a:pt x="702889" y="635749"/>
                    </a:lnTo>
                    <a:lnTo>
                      <a:pt x="702925" y="636901"/>
                    </a:lnTo>
                    <a:lnTo>
                      <a:pt x="703278" y="638057"/>
                    </a:lnTo>
                    <a:lnTo>
                      <a:pt x="706004" y="637144"/>
                    </a:lnTo>
                    <a:lnTo>
                      <a:pt x="705017" y="640118"/>
                    </a:lnTo>
                    <a:lnTo>
                      <a:pt x="702507" y="643054"/>
                    </a:lnTo>
                    <a:lnTo>
                      <a:pt x="700464" y="643748"/>
                    </a:lnTo>
                    <a:lnTo>
                      <a:pt x="697337" y="643319"/>
                    </a:lnTo>
                    <a:lnTo>
                      <a:pt x="696565" y="643614"/>
                    </a:lnTo>
                    <a:lnTo>
                      <a:pt x="695873" y="644223"/>
                    </a:lnTo>
                    <a:lnTo>
                      <a:pt x="699515" y="648814"/>
                    </a:lnTo>
                    <a:lnTo>
                      <a:pt x="697174" y="655729"/>
                    </a:lnTo>
                    <a:lnTo>
                      <a:pt x="695679" y="658233"/>
                    </a:lnTo>
                    <a:lnTo>
                      <a:pt x="694641" y="658553"/>
                    </a:lnTo>
                    <a:lnTo>
                      <a:pt x="693516" y="658626"/>
                    </a:lnTo>
                    <a:lnTo>
                      <a:pt x="689480" y="656401"/>
                    </a:lnTo>
                    <a:lnTo>
                      <a:pt x="687278" y="654679"/>
                    </a:lnTo>
                    <a:lnTo>
                      <a:pt x="689217" y="659363"/>
                    </a:lnTo>
                    <a:lnTo>
                      <a:pt x="694506" y="660730"/>
                    </a:lnTo>
                    <a:lnTo>
                      <a:pt x="694776" y="662499"/>
                    </a:lnTo>
                    <a:lnTo>
                      <a:pt x="694747" y="664013"/>
                    </a:lnTo>
                    <a:lnTo>
                      <a:pt x="693704" y="665786"/>
                    </a:lnTo>
                    <a:lnTo>
                      <a:pt x="692731" y="668143"/>
                    </a:lnTo>
                    <a:lnTo>
                      <a:pt x="693450" y="669784"/>
                    </a:lnTo>
                    <a:lnTo>
                      <a:pt x="694284" y="673838"/>
                    </a:lnTo>
                    <a:lnTo>
                      <a:pt x="694998" y="675698"/>
                    </a:lnTo>
                    <a:lnTo>
                      <a:pt x="695782" y="681335"/>
                    </a:lnTo>
                    <a:lnTo>
                      <a:pt x="696618" y="683777"/>
                    </a:lnTo>
                    <a:lnTo>
                      <a:pt x="701424" y="692757"/>
                    </a:lnTo>
                    <a:lnTo>
                      <a:pt x="703045" y="692826"/>
                    </a:lnTo>
                    <a:lnTo>
                      <a:pt x="703305" y="693798"/>
                    </a:lnTo>
                    <a:lnTo>
                      <a:pt x="703150" y="695661"/>
                    </a:lnTo>
                    <a:lnTo>
                      <a:pt x="699692" y="696202"/>
                    </a:lnTo>
                    <a:lnTo>
                      <a:pt x="698242" y="697032"/>
                    </a:lnTo>
                    <a:lnTo>
                      <a:pt x="697958" y="697754"/>
                    </a:lnTo>
                    <a:lnTo>
                      <a:pt x="697745" y="698142"/>
                    </a:lnTo>
                    <a:lnTo>
                      <a:pt x="697298" y="698107"/>
                    </a:lnTo>
                    <a:lnTo>
                      <a:pt x="695649" y="697588"/>
                    </a:lnTo>
                    <a:lnTo>
                      <a:pt x="691901" y="695041"/>
                    </a:lnTo>
                    <a:lnTo>
                      <a:pt x="686437" y="693462"/>
                    </a:lnTo>
                    <a:lnTo>
                      <a:pt x="679258" y="692850"/>
                    </a:lnTo>
                    <a:lnTo>
                      <a:pt x="674354" y="691575"/>
                    </a:lnTo>
                    <a:lnTo>
                      <a:pt x="671725" y="689631"/>
                    </a:lnTo>
                    <a:lnTo>
                      <a:pt x="668975" y="688478"/>
                    </a:lnTo>
                    <a:lnTo>
                      <a:pt x="666109" y="688115"/>
                    </a:lnTo>
                    <a:lnTo>
                      <a:pt x="663733" y="687060"/>
                    </a:lnTo>
                    <a:lnTo>
                      <a:pt x="661850" y="685311"/>
                    </a:lnTo>
                    <a:lnTo>
                      <a:pt x="659096" y="684194"/>
                    </a:lnTo>
                    <a:lnTo>
                      <a:pt x="655471" y="683710"/>
                    </a:lnTo>
                    <a:lnTo>
                      <a:pt x="653112" y="682399"/>
                    </a:lnTo>
                    <a:lnTo>
                      <a:pt x="651471" y="679191"/>
                    </a:lnTo>
                    <a:lnTo>
                      <a:pt x="651464" y="679143"/>
                    </a:lnTo>
                    <a:lnTo>
                      <a:pt x="649995" y="673775"/>
                    </a:lnTo>
                    <a:lnTo>
                      <a:pt x="648145" y="670409"/>
                    </a:lnTo>
                    <a:lnTo>
                      <a:pt x="644545" y="666241"/>
                    </a:lnTo>
                    <a:lnTo>
                      <a:pt x="644215" y="665693"/>
                    </a:lnTo>
                    <a:lnTo>
                      <a:pt x="644214" y="665692"/>
                    </a:lnTo>
                    <a:lnTo>
                      <a:pt x="644184" y="665006"/>
                    </a:lnTo>
                    <a:lnTo>
                      <a:pt x="644631" y="662578"/>
                    </a:lnTo>
                    <a:lnTo>
                      <a:pt x="644251" y="660831"/>
                    </a:lnTo>
                    <a:lnTo>
                      <a:pt x="643111" y="659408"/>
                    </a:lnTo>
                    <a:lnTo>
                      <a:pt x="642850" y="657901"/>
                    </a:lnTo>
                    <a:lnTo>
                      <a:pt x="643467" y="656314"/>
                    </a:lnTo>
                    <a:lnTo>
                      <a:pt x="643507" y="654407"/>
                    </a:lnTo>
                    <a:lnTo>
                      <a:pt x="642970" y="652180"/>
                    </a:lnTo>
                    <a:lnTo>
                      <a:pt x="640675" y="649770"/>
                    </a:lnTo>
                    <a:lnTo>
                      <a:pt x="636620" y="647180"/>
                    </a:lnTo>
                    <a:lnTo>
                      <a:pt x="633166" y="643393"/>
                    </a:lnTo>
                    <a:lnTo>
                      <a:pt x="630314" y="638413"/>
                    </a:lnTo>
                    <a:lnTo>
                      <a:pt x="627495" y="634960"/>
                    </a:lnTo>
                    <a:lnTo>
                      <a:pt x="624706" y="633034"/>
                    </a:lnTo>
                    <a:lnTo>
                      <a:pt x="622799" y="630684"/>
                    </a:lnTo>
                    <a:lnTo>
                      <a:pt x="621772" y="627906"/>
                    </a:lnTo>
                    <a:lnTo>
                      <a:pt x="621470" y="626293"/>
                    </a:lnTo>
                    <a:lnTo>
                      <a:pt x="621888" y="625848"/>
                    </a:lnTo>
                    <a:lnTo>
                      <a:pt x="620175" y="622756"/>
                    </a:lnTo>
                    <a:lnTo>
                      <a:pt x="616328" y="617018"/>
                    </a:lnTo>
                    <a:lnTo>
                      <a:pt x="614117" y="612816"/>
                    </a:lnTo>
                    <a:lnTo>
                      <a:pt x="613549" y="610158"/>
                    </a:lnTo>
                    <a:lnTo>
                      <a:pt x="611101" y="606992"/>
                    </a:lnTo>
                    <a:lnTo>
                      <a:pt x="606777" y="603319"/>
                    </a:lnTo>
                    <a:lnTo>
                      <a:pt x="604425" y="600928"/>
                    </a:lnTo>
                    <a:lnTo>
                      <a:pt x="603855" y="599269"/>
                    </a:lnTo>
                    <a:lnTo>
                      <a:pt x="603846" y="599265"/>
                    </a:lnTo>
                    <a:lnTo>
                      <a:pt x="597098" y="594429"/>
                    </a:lnTo>
                    <a:lnTo>
                      <a:pt x="595138" y="591405"/>
                    </a:lnTo>
                    <a:lnTo>
                      <a:pt x="593607" y="590449"/>
                    </a:lnTo>
                    <a:lnTo>
                      <a:pt x="591850" y="590552"/>
                    </a:lnTo>
                    <a:lnTo>
                      <a:pt x="590948" y="590262"/>
                    </a:lnTo>
                    <a:lnTo>
                      <a:pt x="590902" y="589578"/>
                    </a:lnTo>
                    <a:lnTo>
                      <a:pt x="590334" y="589546"/>
                    </a:lnTo>
                    <a:lnTo>
                      <a:pt x="589238" y="590167"/>
                    </a:lnTo>
                    <a:lnTo>
                      <a:pt x="585649" y="590293"/>
                    </a:lnTo>
                    <a:lnTo>
                      <a:pt x="579563" y="589923"/>
                    </a:lnTo>
                    <a:lnTo>
                      <a:pt x="575170" y="589100"/>
                    </a:lnTo>
                    <a:lnTo>
                      <a:pt x="572470" y="587819"/>
                    </a:lnTo>
                    <a:lnTo>
                      <a:pt x="570579" y="587992"/>
                    </a:lnTo>
                    <a:lnTo>
                      <a:pt x="569492" y="589620"/>
                    </a:lnTo>
                    <a:lnTo>
                      <a:pt x="567180" y="590666"/>
                    </a:lnTo>
                    <a:lnTo>
                      <a:pt x="563643" y="591133"/>
                    </a:lnTo>
                    <a:lnTo>
                      <a:pt x="560603" y="594154"/>
                    </a:lnTo>
                    <a:lnTo>
                      <a:pt x="558057" y="599723"/>
                    </a:lnTo>
                    <a:lnTo>
                      <a:pt x="556937" y="603301"/>
                    </a:lnTo>
                    <a:lnTo>
                      <a:pt x="557248" y="604895"/>
                    </a:lnTo>
                    <a:lnTo>
                      <a:pt x="556577" y="606051"/>
                    </a:lnTo>
                    <a:lnTo>
                      <a:pt x="554922" y="606774"/>
                    </a:lnTo>
                    <a:lnTo>
                      <a:pt x="553238" y="608390"/>
                    </a:lnTo>
                    <a:lnTo>
                      <a:pt x="551525" y="610899"/>
                    </a:lnTo>
                    <a:lnTo>
                      <a:pt x="549527" y="612111"/>
                    </a:lnTo>
                    <a:lnTo>
                      <a:pt x="547246" y="612031"/>
                    </a:lnTo>
                    <a:lnTo>
                      <a:pt x="543031" y="610098"/>
                    </a:lnTo>
                    <a:lnTo>
                      <a:pt x="536883" y="606315"/>
                    </a:lnTo>
                    <a:lnTo>
                      <a:pt x="532062" y="603975"/>
                    </a:lnTo>
                    <a:lnTo>
                      <a:pt x="528572" y="603084"/>
                    </a:lnTo>
                    <a:lnTo>
                      <a:pt x="525489" y="601332"/>
                    </a:lnTo>
                    <a:lnTo>
                      <a:pt x="522813" y="598722"/>
                    </a:lnTo>
                    <a:lnTo>
                      <a:pt x="520346" y="596982"/>
                    </a:lnTo>
                    <a:lnTo>
                      <a:pt x="518091" y="596110"/>
                    </a:lnTo>
                    <a:lnTo>
                      <a:pt x="515454" y="593214"/>
                    </a:lnTo>
                    <a:lnTo>
                      <a:pt x="512438" y="588289"/>
                    </a:lnTo>
                    <a:lnTo>
                      <a:pt x="510929" y="584488"/>
                    </a:lnTo>
                    <a:lnTo>
                      <a:pt x="510929" y="580468"/>
                    </a:lnTo>
                    <a:lnTo>
                      <a:pt x="506987" y="571705"/>
                    </a:lnTo>
                    <a:lnTo>
                      <a:pt x="504896" y="567903"/>
                    </a:lnTo>
                    <a:lnTo>
                      <a:pt x="503341" y="566149"/>
                    </a:lnTo>
                    <a:lnTo>
                      <a:pt x="500297" y="564057"/>
                    </a:lnTo>
                    <a:lnTo>
                      <a:pt x="495764" y="561623"/>
                    </a:lnTo>
                    <a:lnTo>
                      <a:pt x="489689" y="556752"/>
                    </a:lnTo>
                    <a:lnTo>
                      <a:pt x="482069" y="549433"/>
                    </a:lnTo>
                    <a:lnTo>
                      <a:pt x="476677" y="545018"/>
                    </a:lnTo>
                    <a:lnTo>
                      <a:pt x="473514" y="543520"/>
                    </a:lnTo>
                    <a:lnTo>
                      <a:pt x="470768" y="540877"/>
                    </a:lnTo>
                    <a:lnTo>
                      <a:pt x="468440" y="537087"/>
                    </a:lnTo>
                    <a:lnTo>
                      <a:pt x="466168" y="534675"/>
                    </a:lnTo>
                    <a:lnTo>
                      <a:pt x="465928" y="534563"/>
                    </a:lnTo>
                    <a:lnTo>
                      <a:pt x="465729" y="534513"/>
                    </a:lnTo>
                    <a:lnTo>
                      <a:pt x="460122" y="534480"/>
                    </a:lnTo>
                    <a:lnTo>
                      <a:pt x="454514" y="534448"/>
                    </a:lnTo>
                    <a:lnTo>
                      <a:pt x="448905" y="534415"/>
                    </a:lnTo>
                    <a:lnTo>
                      <a:pt x="443298" y="534384"/>
                    </a:lnTo>
                    <a:lnTo>
                      <a:pt x="437691" y="534352"/>
                    </a:lnTo>
                    <a:lnTo>
                      <a:pt x="432082" y="534319"/>
                    </a:lnTo>
                    <a:lnTo>
                      <a:pt x="426474" y="534287"/>
                    </a:lnTo>
                    <a:lnTo>
                      <a:pt x="420867" y="534253"/>
                    </a:lnTo>
                    <a:lnTo>
                      <a:pt x="420849" y="537430"/>
                    </a:lnTo>
                    <a:lnTo>
                      <a:pt x="420832" y="540603"/>
                    </a:lnTo>
                    <a:lnTo>
                      <a:pt x="420816" y="543775"/>
                    </a:lnTo>
                    <a:lnTo>
                      <a:pt x="420800" y="546943"/>
                    </a:lnTo>
                    <a:lnTo>
                      <a:pt x="411784" y="546960"/>
                    </a:lnTo>
                    <a:lnTo>
                      <a:pt x="402767" y="546980"/>
                    </a:lnTo>
                    <a:lnTo>
                      <a:pt x="393751" y="546999"/>
                    </a:lnTo>
                    <a:lnTo>
                      <a:pt x="384735" y="547017"/>
                    </a:lnTo>
                    <a:lnTo>
                      <a:pt x="375720" y="547035"/>
                    </a:lnTo>
                    <a:lnTo>
                      <a:pt x="366702" y="547052"/>
                    </a:lnTo>
                    <a:lnTo>
                      <a:pt x="357686" y="547072"/>
                    </a:lnTo>
                    <a:lnTo>
                      <a:pt x="348670" y="547089"/>
                    </a:lnTo>
                    <a:lnTo>
                      <a:pt x="336572" y="542918"/>
                    </a:lnTo>
                    <a:lnTo>
                      <a:pt x="324474" y="538746"/>
                    </a:lnTo>
                    <a:lnTo>
                      <a:pt x="312375" y="534567"/>
                    </a:lnTo>
                    <a:lnTo>
                      <a:pt x="300277" y="530385"/>
                    </a:lnTo>
                    <a:lnTo>
                      <a:pt x="288180" y="526198"/>
                    </a:lnTo>
                    <a:lnTo>
                      <a:pt x="276082" y="522007"/>
                    </a:lnTo>
                    <a:lnTo>
                      <a:pt x="263984" y="517813"/>
                    </a:lnTo>
                    <a:lnTo>
                      <a:pt x="251886" y="513613"/>
                    </a:lnTo>
                    <a:lnTo>
                      <a:pt x="253109" y="512010"/>
                    </a:lnTo>
                    <a:lnTo>
                      <a:pt x="254723" y="507733"/>
                    </a:lnTo>
                    <a:lnTo>
                      <a:pt x="251806" y="508034"/>
                    </a:lnTo>
                    <a:lnTo>
                      <a:pt x="244507" y="508643"/>
                    </a:lnTo>
                    <a:lnTo>
                      <a:pt x="237206" y="509253"/>
                    </a:lnTo>
                    <a:lnTo>
                      <a:pt x="229907" y="509860"/>
                    </a:lnTo>
                    <a:lnTo>
                      <a:pt x="222608" y="510470"/>
                    </a:lnTo>
                    <a:lnTo>
                      <a:pt x="215308" y="511079"/>
                    </a:lnTo>
                    <a:lnTo>
                      <a:pt x="208009" y="511685"/>
                    </a:lnTo>
                    <a:lnTo>
                      <a:pt x="200710" y="512295"/>
                    </a:lnTo>
                    <a:lnTo>
                      <a:pt x="193409" y="512903"/>
                    </a:lnTo>
                    <a:lnTo>
                      <a:pt x="193352" y="512722"/>
                    </a:lnTo>
                    <a:lnTo>
                      <a:pt x="193176" y="509614"/>
                    </a:lnTo>
                    <a:lnTo>
                      <a:pt x="191993" y="508513"/>
                    </a:lnTo>
                    <a:lnTo>
                      <a:pt x="190471" y="509191"/>
                    </a:lnTo>
                    <a:lnTo>
                      <a:pt x="189775" y="505149"/>
                    </a:lnTo>
                    <a:lnTo>
                      <a:pt x="190157" y="503238"/>
                    </a:lnTo>
                    <a:lnTo>
                      <a:pt x="189972" y="501374"/>
                    </a:lnTo>
                    <a:lnTo>
                      <a:pt x="188547" y="496784"/>
                    </a:lnTo>
                    <a:lnTo>
                      <a:pt x="184757" y="491209"/>
                    </a:lnTo>
                    <a:lnTo>
                      <a:pt x="176565" y="484269"/>
                    </a:lnTo>
                    <a:lnTo>
                      <a:pt x="172392" y="481948"/>
                    </a:lnTo>
                    <a:lnTo>
                      <a:pt x="169117" y="479015"/>
                    </a:lnTo>
                    <a:lnTo>
                      <a:pt x="167041" y="478198"/>
                    </a:lnTo>
                    <a:lnTo>
                      <a:pt x="164426" y="477972"/>
                    </a:lnTo>
                    <a:lnTo>
                      <a:pt x="163667" y="479297"/>
                    </a:lnTo>
                    <a:lnTo>
                      <a:pt x="160700" y="478391"/>
                    </a:lnTo>
                    <a:lnTo>
                      <a:pt x="161145" y="475115"/>
                    </a:lnTo>
                    <a:lnTo>
                      <a:pt x="158258" y="470555"/>
                    </a:lnTo>
                    <a:lnTo>
                      <a:pt x="155894" y="470050"/>
                    </a:lnTo>
                    <a:lnTo>
                      <a:pt x="149946" y="470352"/>
                    </a:lnTo>
                    <a:lnTo>
                      <a:pt x="141993" y="467839"/>
                    </a:lnTo>
                    <a:lnTo>
                      <a:pt x="139645" y="466344"/>
                    </a:lnTo>
                    <a:lnTo>
                      <a:pt x="138832" y="463663"/>
                    </a:lnTo>
                    <a:lnTo>
                      <a:pt x="135109" y="461330"/>
                    </a:lnTo>
                    <a:lnTo>
                      <a:pt x="130201" y="459046"/>
                    </a:lnTo>
                    <a:lnTo>
                      <a:pt x="127468" y="459574"/>
                    </a:lnTo>
                    <a:lnTo>
                      <a:pt x="123892" y="459220"/>
                    </a:lnTo>
                    <a:lnTo>
                      <a:pt x="118799" y="457570"/>
                    </a:lnTo>
                    <a:lnTo>
                      <a:pt x="115826" y="457364"/>
                    </a:lnTo>
                    <a:lnTo>
                      <a:pt x="110037" y="457851"/>
                    </a:lnTo>
                    <a:lnTo>
                      <a:pt x="107875" y="457504"/>
                    </a:lnTo>
                    <a:lnTo>
                      <a:pt x="105870" y="455422"/>
                    </a:lnTo>
                    <a:lnTo>
                      <a:pt x="103705" y="454384"/>
                    </a:lnTo>
                    <a:lnTo>
                      <a:pt x="104163" y="451821"/>
                    </a:lnTo>
                    <a:lnTo>
                      <a:pt x="103886" y="449502"/>
                    </a:lnTo>
                    <a:lnTo>
                      <a:pt x="104210" y="447696"/>
                    </a:lnTo>
                    <a:lnTo>
                      <a:pt x="103238" y="443733"/>
                    </a:lnTo>
                    <a:lnTo>
                      <a:pt x="103988" y="440058"/>
                    </a:lnTo>
                    <a:lnTo>
                      <a:pt x="103337" y="438729"/>
                    </a:lnTo>
                    <a:lnTo>
                      <a:pt x="102115" y="437709"/>
                    </a:lnTo>
                    <a:lnTo>
                      <a:pt x="98279" y="436206"/>
                    </a:lnTo>
                    <a:lnTo>
                      <a:pt x="97578" y="434316"/>
                    </a:lnTo>
                    <a:lnTo>
                      <a:pt x="98205" y="431695"/>
                    </a:lnTo>
                    <a:lnTo>
                      <a:pt x="97201" y="429965"/>
                    </a:lnTo>
                    <a:lnTo>
                      <a:pt x="94057" y="428352"/>
                    </a:lnTo>
                    <a:lnTo>
                      <a:pt x="91122" y="424686"/>
                    </a:lnTo>
                    <a:lnTo>
                      <a:pt x="87399" y="422678"/>
                    </a:lnTo>
                    <a:lnTo>
                      <a:pt x="85870" y="419310"/>
                    </a:lnTo>
                    <a:lnTo>
                      <a:pt x="83576" y="417228"/>
                    </a:lnTo>
                    <a:lnTo>
                      <a:pt x="82779" y="415380"/>
                    </a:lnTo>
                    <a:lnTo>
                      <a:pt x="77693" y="408780"/>
                    </a:lnTo>
                    <a:lnTo>
                      <a:pt x="72259" y="403618"/>
                    </a:lnTo>
                    <a:lnTo>
                      <a:pt x="71422" y="400644"/>
                    </a:lnTo>
                    <a:lnTo>
                      <a:pt x="71206" y="396568"/>
                    </a:lnTo>
                    <a:lnTo>
                      <a:pt x="73336" y="394078"/>
                    </a:lnTo>
                    <a:lnTo>
                      <a:pt x="74488" y="391889"/>
                    </a:lnTo>
                    <a:lnTo>
                      <a:pt x="74373" y="389877"/>
                    </a:lnTo>
                    <a:lnTo>
                      <a:pt x="74044" y="388405"/>
                    </a:lnTo>
                    <a:lnTo>
                      <a:pt x="72175" y="385834"/>
                    </a:lnTo>
                    <a:lnTo>
                      <a:pt x="64942" y="384308"/>
                    </a:lnTo>
                    <a:lnTo>
                      <a:pt x="59057" y="377949"/>
                    </a:lnTo>
                    <a:lnTo>
                      <a:pt x="58712" y="373080"/>
                    </a:lnTo>
                    <a:lnTo>
                      <a:pt x="56396" y="368089"/>
                    </a:lnTo>
                    <a:lnTo>
                      <a:pt x="56365" y="364841"/>
                    </a:lnTo>
                    <a:lnTo>
                      <a:pt x="56013" y="361324"/>
                    </a:lnTo>
                    <a:lnTo>
                      <a:pt x="57763" y="360555"/>
                    </a:lnTo>
                    <a:lnTo>
                      <a:pt x="59333" y="360836"/>
                    </a:lnTo>
                    <a:lnTo>
                      <a:pt x="59175" y="362236"/>
                    </a:lnTo>
                    <a:lnTo>
                      <a:pt x="59699" y="364750"/>
                    </a:lnTo>
                    <a:lnTo>
                      <a:pt x="61540" y="366638"/>
                    </a:lnTo>
                    <a:lnTo>
                      <a:pt x="63297" y="367461"/>
                    </a:lnTo>
                    <a:lnTo>
                      <a:pt x="64896" y="369296"/>
                    </a:lnTo>
                    <a:lnTo>
                      <a:pt x="66094" y="369850"/>
                    </a:lnTo>
                    <a:lnTo>
                      <a:pt x="67331" y="369984"/>
                    </a:lnTo>
                    <a:lnTo>
                      <a:pt x="66668" y="368808"/>
                    </a:lnTo>
                    <a:lnTo>
                      <a:pt x="65964" y="368054"/>
                    </a:lnTo>
                    <a:lnTo>
                      <a:pt x="65098" y="365617"/>
                    </a:lnTo>
                    <a:lnTo>
                      <a:pt x="63462" y="362503"/>
                    </a:lnTo>
                    <a:lnTo>
                      <a:pt x="61580" y="360783"/>
                    </a:lnTo>
                    <a:lnTo>
                      <a:pt x="60624" y="357644"/>
                    </a:lnTo>
                    <a:lnTo>
                      <a:pt x="59807" y="356916"/>
                    </a:lnTo>
                    <a:lnTo>
                      <a:pt x="59297" y="355751"/>
                    </a:lnTo>
                    <a:lnTo>
                      <a:pt x="61115" y="354369"/>
                    </a:lnTo>
                    <a:lnTo>
                      <a:pt x="63594" y="353384"/>
                    </a:lnTo>
                    <a:lnTo>
                      <a:pt x="66919" y="353118"/>
                    </a:lnTo>
                    <a:lnTo>
                      <a:pt x="76355" y="353578"/>
                    </a:lnTo>
                    <a:lnTo>
                      <a:pt x="78363" y="352774"/>
                    </a:lnTo>
                    <a:lnTo>
                      <a:pt x="80023" y="353037"/>
                    </a:lnTo>
                    <a:lnTo>
                      <a:pt x="81239" y="352932"/>
                    </a:lnTo>
                    <a:lnTo>
                      <a:pt x="78678" y="352102"/>
                    </a:lnTo>
                    <a:lnTo>
                      <a:pt x="77237" y="352372"/>
                    </a:lnTo>
                    <a:lnTo>
                      <a:pt x="75544" y="352206"/>
                    </a:lnTo>
                    <a:lnTo>
                      <a:pt x="72173" y="352367"/>
                    </a:lnTo>
                    <a:lnTo>
                      <a:pt x="70810" y="352017"/>
                    </a:lnTo>
                    <a:lnTo>
                      <a:pt x="69306" y="351032"/>
                    </a:lnTo>
                    <a:lnTo>
                      <a:pt x="68327" y="350930"/>
                    </a:lnTo>
                    <a:lnTo>
                      <a:pt x="65208" y="352647"/>
                    </a:lnTo>
                    <a:lnTo>
                      <a:pt x="63816" y="352439"/>
                    </a:lnTo>
                    <a:lnTo>
                      <a:pt x="60530" y="350565"/>
                    </a:lnTo>
                    <a:lnTo>
                      <a:pt x="59096" y="350300"/>
                    </a:lnTo>
                    <a:lnTo>
                      <a:pt x="56787" y="351367"/>
                    </a:lnTo>
                    <a:lnTo>
                      <a:pt x="56505" y="355960"/>
                    </a:lnTo>
                    <a:lnTo>
                      <a:pt x="57221" y="359369"/>
                    </a:lnTo>
                    <a:lnTo>
                      <a:pt x="55832" y="359716"/>
                    </a:lnTo>
                    <a:lnTo>
                      <a:pt x="54229" y="358309"/>
                    </a:lnTo>
                    <a:lnTo>
                      <a:pt x="51766" y="357474"/>
                    </a:lnTo>
                    <a:lnTo>
                      <a:pt x="49733" y="356193"/>
                    </a:lnTo>
                    <a:lnTo>
                      <a:pt x="46862" y="353815"/>
                    </a:lnTo>
                    <a:lnTo>
                      <a:pt x="45355" y="352945"/>
                    </a:lnTo>
                    <a:lnTo>
                      <a:pt x="43652" y="354922"/>
                    </a:lnTo>
                    <a:lnTo>
                      <a:pt x="43583" y="354015"/>
                    </a:lnTo>
                    <a:lnTo>
                      <a:pt x="44433" y="351716"/>
                    </a:lnTo>
                    <a:lnTo>
                      <a:pt x="44192" y="347856"/>
                    </a:lnTo>
                    <a:lnTo>
                      <a:pt x="46763" y="350936"/>
                    </a:lnTo>
                    <a:lnTo>
                      <a:pt x="45964" y="348767"/>
                    </a:lnTo>
                    <a:lnTo>
                      <a:pt x="43964" y="346382"/>
                    </a:lnTo>
                    <a:lnTo>
                      <a:pt x="42443" y="345552"/>
                    </a:lnTo>
                    <a:lnTo>
                      <a:pt x="40531" y="341274"/>
                    </a:lnTo>
                    <a:lnTo>
                      <a:pt x="36229" y="338703"/>
                    </a:lnTo>
                    <a:lnTo>
                      <a:pt x="32784" y="334548"/>
                    </a:lnTo>
                    <a:lnTo>
                      <a:pt x="25735" y="327652"/>
                    </a:lnTo>
                    <a:lnTo>
                      <a:pt x="25265" y="321575"/>
                    </a:lnTo>
                    <a:lnTo>
                      <a:pt x="22696" y="313882"/>
                    </a:lnTo>
                    <a:lnTo>
                      <a:pt x="23779" y="309497"/>
                    </a:lnTo>
                    <a:lnTo>
                      <a:pt x="23634" y="306386"/>
                    </a:lnTo>
                    <a:lnTo>
                      <a:pt x="22374" y="301683"/>
                    </a:lnTo>
                    <a:lnTo>
                      <a:pt x="21058" y="299120"/>
                    </a:lnTo>
                    <a:lnTo>
                      <a:pt x="15342" y="292091"/>
                    </a:lnTo>
                    <a:lnTo>
                      <a:pt x="9844" y="287348"/>
                    </a:lnTo>
                    <a:lnTo>
                      <a:pt x="9015" y="283755"/>
                    </a:lnTo>
                    <a:lnTo>
                      <a:pt x="8630" y="280128"/>
                    </a:lnTo>
                    <a:lnTo>
                      <a:pt x="9833" y="276897"/>
                    </a:lnTo>
                    <a:lnTo>
                      <a:pt x="10873" y="273495"/>
                    </a:lnTo>
                    <a:lnTo>
                      <a:pt x="11634" y="272596"/>
                    </a:lnTo>
                    <a:lnTo>
                      <a:pt x="11929" y="272970"/>
                    </a:lnTo>
                    <a:lnTo>
                      <a:pt x="11718" y="273696"/>
                    </a:lnTo>
                    <a:lnTo>
                      <a:pt x="12498" y="273920"/>
                    </a:lnTo>
                    <a:lnTo>
                      <a:pt x="12793" y="272418"/>
                    </a:lnTo>
                    <a:lnTo>
                      <a:pt x="13258" y="271643"/>
                    </a:lnTo>
                    <a:lnTo>
                      <a:pt x="12435" y="271542"/>
                    </a:lnTo>
                    <a:lnTo>
                      <a:pt x="12519" y="271067"/>
                    </a:lnTo>
                    <a:lnTo>
                      <a:pt x="13011" y="270118"/>
                    </a:lnTo>
                    <a:lnTo>
                      <a:pt x="14716" y="265639"/>
                    </a:lnTo>
                    <a:lnTo>
                      <a:pt x="14539" y="259987"/>
                    </a:lnTo>
                    <a:lnTo>
                      <a:pt x="16363" y="253043"/>
                    </a:lnTo>
                    <a:lnTo>
                      <a:pt x="16276" y="250747"/>
                    </a:lnTo>
                    <a:lnTo>
                      <a:pt x="15109" y="245800"/>
                    </a:lnTo>
                    <a:lnTo>
                      <a:pt x="13947" y="242830"/>
                    </a:lnTo>
                    <a:lnTo>
                      <a:pt x="11870" y="240723"/>
                    </a:lnTo>
                    <a:lnTo>
                      <a:pt x="12786" y="237646"/>
                    </a:lnTo>
                    <a:lnTo>
                      <a:pt x="12712" y="234706"/>
                    </a:lnTo>
                    <a:lnTo>
                      <a:pt x="9047" y="230469"/>
                    </a:lnTo>
                    <a:lnTo>
                      <a:pt x="7651" y="224900"/>
                    </a:lnTo>
                    <a:lnTo>
                      <a:pt x="7383" y="222544"/>
                    </a:lnTo>
                    <a:lnTo>
                      <a:pt x="7751" y="216309"/>
                    </a:lnTo>
                    <a:lnTo>
                      <a:pt x="6790" y="213645"/>
                    </a:lnTo>
                    <a:lnTo>
                      <a:pt x="4345" y="209244"/>
                    </a:lnTo>
                    <a:lnTo>
                      <a:pt x="5391" y="205415"/>
                    </a:lnTo>
                    <a:lnTo>
                      <a:pt x="6518" y="203082"/>
                    </a:lnTo>
                    <a:lnTo>
                      <a:pt x="9269" y="192884"/>
                    </a:lnTo>
                    <a:lnTo>
                      <a:pt x="9932" y="192061"/>
                    </a:lnTo>
                    <a:lnTo>
                      <a:pt x="11084" y="192086"/>
                    </a:lnTo>
                    <a:lnTo>
                      <a:pt x="13088" y="190349"/>
                    </a:lnTo>
                    <a:lnTo>
                      <a:pt x="12163" y="189944"/>
                    </a:lnTo>
                    <a:lnTo>
                      <a:pt x="10764" y="190772"/>
                    </a:lnTo>
                    <a:lnTo>
                      <a:pt x="12008" y="186724"/>
                    </a:lnTo>
                    <a:lnTo>
                      <a:pt x="13407" y="183257"/>
                    </a:lnTo>
                    <a:lnTo>
                      <a:pt x="14317" y="182006"/>
                    </a:lnTo>
                    <a:lnTo>
                      <a:pt x="14778" y="170659"/>
                    </a:lnTo>
                    <a:lnTo>
                      <a:pt x="15581" y="161960"/>
                    </a:lnTo>
                    <a:lnTo>
                      <a:pt x="16901" y="159086"/>
                    </a:lnTo>
                    <a:lnTo>
                      <a:pt x="16442" y="156120"/>
                    </a:lnTo>
                    <a:lnTo>
                      <a:pt x="16975" y="152095"/>
                    </a:lnTo>
                    <a:lnTo>
                      <a:pt x="16602" y="148023"/>
                    </a:lnTo>
                    <a:lnTo>
                      <a:pt x="19422" y="128358"/>
                    </a:lnTo>
                    <a:lnTo>
                      <a:pt x="19053" y="125975"/>
                    </a:lnTo>
                    <a:lnTo>
                      <a:pt x="19914" y="122776"/>
                    </a:lnTo>
                    <a:lnTo>
                      <a:pt x="19100" y="114327"/>
                    </a:lnTo>
                    <a:lnTo>
                      <a:pt x="19460" y="104847"/>
                    </a:lnTo>
                    <a:lnTo>
                      <a:pt x="18743" y="103642"/>
                    </a:lnTo>
                    <a:lnTo>
                      <a:pt x="18384" y="102331"/>
                    </a:lnTo>
                    <a:lnTo>
                      <a:pt x="19057" y="102139"/>
                    </a:lnTo>
                    <a:lnTo>
                      <a:pt x="20365" y="103519"/>
                    </a:lnTo>
                    <a:lnTo>
                      <a:pt x="26436" y="103504"/>
                    </a:lnTo>
                    <a:lnTo>
                      <a:pt x="30314" y="102228"/>
                    </a:lnTo>
                    <a:lnTo>
                      <a:pt x="31724" y="102650"/>
                    </a:lnTo>
                    <a:lnTo>
                      <a:pt x="33359" y="104388"/>
                    </a:lnTo>
                    <a:lnTo>
                      <a:pt x="35418" y="104738"/>
                    </a:lnTo>
                    <a:lnTo>
                      <a:pt x="37993" y="104431"/>
                    </a:lnTo>
                    <a:lnTo>
                      <a:pt x="37209" y="103995"/>
                    </a:lnTo>
                    <a:lnTo>
                      <a:pt x="36002" y="103881"/>
                    </a:lnTo>
                    <a:lnTo>
                      <a:pt x="33296" y="102281"/>
                    </a:lnTo>
                    <a:lnTo>
                      <a:pt x="31763" y="100679"/>
                    </a:lnTo>
                    <a:lnTo>
                      <a:pt x="27031" y="100788"/>
                    </a:lnTo>
                    <a:lnTo>
                      <a:pt x="26060" y="99761"/>
                    </a:lnTo>
                    <a:lnTo>
                      <a:pt x="20771" y="100787"/>
                    </a:lnTo>
                    <a:lnTo>
                      <a:pt x="19137" y="99734"/>
                    </a:lnTo>
                    <a:lnTo>
                      <a:pt x="16256" y="100413"/>
                    </a:lnTo>
                    <a:lnTo>
                      <a:pt x="16960" y="97426"/>
                    </a:lnTo>
                    <a:lnTo>
                      <a:pt x="16830" y="93662"/>
                    </a:lnTo>
                    <a:lnTo>
                      <a:pt x="16980" y="89991"/>
                    </a:lnTo>
                    <a:lnTo>
                      <a:pt x="17692" y="92673"/>
                    </a:lnTo>
                    <a:lnTo>
                      <a:pt x="19484" y="95517"/>
                    </a:lnTo>
                    <a:lnTo>
                      <a:pt x="20345" y="92290"/>
                    </a:lnTo>
                    <a:lnTo>
                      <a:pt x="20938" y="88229"/>
                    </a:lnTo>
                    <a:lnTo>
                      <a:pt x="19190" y="86667"/>
                    </a:lnTo>
                    <a:lnTo>
                      <a:pt x="16282" y="85509"/>
                    </a:lnTo>
                    <a:lnTo>
                      <a:pt x="15240" y="81720"/>
                    </a:lnTo>
                    <a:lnTo>
                      <a:pt x="22119" y="78488"/>
                    </a:lnTo>
                    <a:lnTo>
                      <a:pt x="18467" y="77801"/>
                    </a:lnTo>
                    <a:lnTo>
                      <a:pt x="17035" y="76347"/>
                    </a:lnTo>
                    <a:lnTo>
                      <a:pt x="15261" y="76169"/>
                    </a:lnTo>
                    <a:lnTo>
                      <a:pt x="15132" y="77291"/>
                    </a:lnTo>
                    <a:lnTo>
                      <a:pt x="14559" y="78761"/>
                    </a:lnTo>
                    <a:lnTo>
                      <a:pt x="13938" y="76808"/>
                    </a:lnTo>
                    <a:lnTo>
                      <a:pt x="13761" y="74511"/>
                    </a:lnTo>
                    <a:lnTo>
                      <a:pt x="13038" y="70579"/>
                    </a:lnTo>
                    <a:lnTo>
                      <a:pt x="10221" y="64247"/>
                    </a:lnTo>
                    <a:lnTo>
                      <a:pt x="8519" y="56018"/>
                    </a:lnTo>
                    <a:lnTo>
                      <a:pt x="6374" y="51944"/>
                    </a:lnTo>
                    <a:lnTo>
                      <a:pt x="2268" y="48047"/>
                    </a:lnTo>
                    <a:lnTo>
                      <a:pt x="1195" y="45771"/>
                    </a:lnTo>
                    <a:lnTo>
                      <a:pt x="211" y="39988"/>
                    </a:lnTo>
                    <a:lnTo>
                      <a:pt x="764" y="35608"/>
                    </a:lnTo>
                    <a:lnTo>
                      <a:pt x="0" y="32521"/>
                    </a:lnTo>
                    <a:lnTo>
                      <a:pt x="1973" y="32695"/>
                    </a:lnTo>
                    <a:lnTo>
                      <a:pt x="7166" y="35121"/>
                    </a:lnTo>
                    <a:lnTo>
                      <a:pt x="13634" y="37027"/>
                    </a:lnTo>
                    <a:lnTo>
                      <a:pt x="15591" y="38411"/>
                    </a:lnTo>
                    <a:lnTo>
                      <a:pt x="18729" y="39440"/>
                    </a:lnTo>
                    <a:lnTo>
                      <a:pt x="36110" y="41035"/>
                    </a:lnTo>
                    <a:lnTo>
                      <a:pt x="37246" y="40882"/>
                    </a:lnTo>
                    <a:lnTo>
                      <a:pt x="39492" y="39894"/>
                    </a:lnTo>
                    <a:lnTo>
                      <a:pt x="40447" y="40012"/>
                    </a:lnTo>
                    <a:lnTo>
                      <a:pt x="43003" y="42272"/>
                    </a:lnTo>
                    <a:lnTo>
                      <a:pt x="44288" y="42543"/>
                    </a:lnTo>
                    <a:lnTo>
                      <a:pt x="45945" y="42423"/>
                    </a:lnTo>
                    <a:lnTo>
                      <a:pt x="47170" y="41996"/>
                    </a:lnTo>
                    <a:lnTo>
                      <a:pt x="49269" y="40447"/>
                    </a:lnTo>
                    <a:lnTo>
                      <a:pt x="49551" y="41020"/>
                    </a:lnTo>
                    <a:lnTo>
                      <a:pt x="49511" y="42455"/>
                    </a:lnTo>
                    <a:lnTo>
                      <a:pt x="50260" y="44498"/>
                    </a:lnTo>
                    <a:lnTo>
                      <a:pt x="51798" y="47148"/>
                    </a:lnTo>
                    <a:lnTo>
                      <a:pt x="52380" y="48795"/>
                    </a:lnTo>
                    <a:lnTo>
                      <a:pt x="49274" y="53431"/>
                    </a:lnTo>
                    <a:lnTo>
                      <a:pt x="48678" y="53531"/>
                    </a:lnTo>
                    <a:lnTo>
                      <a:pt x="48586" y="51962"/>
                    </a:lnTo>
                    <a:lnTo>
                      <a:pt x="48177" y="51654"/>
                    </a:lnTo>
                    <a:lnTo>
                      <a:pt x="42330" y="59477"/>
                    </a:lnTo>
                    <a:lnTo>
                      <a:pt x="40278" y="63173"/>
                    </a:lnTo>
                    <a:lnTo>
                      <a:pt x="40073" y="64845"/>
                    </a:lnTo>
                    <a:lnTo>
                      <a:pt x="40143" y="65823"/>
                    </a:lnTo>
                    <a:lnTo>
                      <a:pt x="40963" y="66064"/>
                    </a:lnTo>
                    <a:lnTo>
                      <a:pt x="42832" y="65681"/>
                    </a:lnTo>
                    <a:lnTo>
                      <a:pt x="45607" y="64147"/>
                    </a:lnTo>
                    <a:lnTo>
                      <a:pt x="45740" y="63814"/>
                    </a:lnTo>
                    <a:lnTo>
                      <a:pt x="43157" y="64361"/>
                    </a:lnTo>
                    <a:lnTo>
                      <a:pt x="41916" y="64406"/>
                    </a:lnTo>
                    <a:lnTo>
                      <a:pt x="42086" y="62659"/>
                    </a:lnTo>
                    <a:lnTo>
                      <a:pt x="42380" y="61827"/>
                    </a:lnTo>
                    <a:lnTo>
                      <a:pt x="44068" y="59237"/>
                    </a:lnTo>
                    <a:lnTo>
                      <a:pt x="45843" y="57681"/>
                    </a:lnTo>
                    <a:lnTo>
                      <a:pt x="48364" y="56022"/>
                    </a:lnTo>
                    <a:lnTo>
                      <a:pt x="49817" y="54661"/>
                    </a:lnTo>
                    <a:lnTo>
                      <a:pt x="50818" y="52663"/>
                    </a:lnTo>
                    <a:lnTo>
                      <a:pt x="53617" y="50278"/>
                    </a:lnTo>
                    <a:lnTo>
                      <a:pt x="54134" y="49614"/>
                    </a:lnTo>
                    <a:lnTo>
                      <a:pt x="54011" y="47649"/>
                    </a:lnTo>
                    <a:lnTo>
                      <a:pt x="54189" y="47275"/>
                    </a:lnTo>
                    <a:lnTo>
                      <a:pt x="55538" y="47540"/>
                    </a:lnTo>
                    <a:lnTo>
                      <a:pt x="56101" y="50921"/>
                    </a:lnTo>
                    <a:lnTo>
                      <a:pt x="55765" y="52428"/>
                    </a:lnTo>
                    <a:lnTo>
                      <a:pt x="53355" y="54263"/>
                    </a:lnTo>
                    <a:lnTo>
                      <a:pt x="53055" y="54911"/>
                    </a:lnTo>
                    <a:lnTo>
                      <a:pt x="53477" y="57415"/>
                    </a:lnTo>
                    <a:lnTo>
                      <a:pt x="53104" y="57656"/>
                    </a:lnTo>
                    <a:lnTo>
                      <a:pt x="52184" y="57361"/>
                    </a:lnTo>
                    <a:lnTo>
                      <a:pt x="51899" y="57520"/>
                    </a:lnTo>
                    <a:lnTo>
                      <a:pt x="54185" y="60239"/>
                    </a:lnTo>
                    <a:lnTo>
                      <a:pt x="54912" y="62351"/>
                    </a:lnTo>
                    <a:lnTo>
                      <a:pt x="55009" y="64235"/>
                    </a:lnTo>
                    <a:lnTo>
                      <a:pt x="54388" y="67849"/>
                    </a:lnTo>
                    <a:lnTo>
                      <a:pt x="53725" y="68447"/>
                    </a:lnTo>
                    <a:lnTo>
                      <a:pt x="52585" y="68227"/>
                    </a:lnTo>
                    <a:lnTo>
                      <a:pt x="51077" y="67097"/>
                    </a:lnTo>
                    <a:lnTo>
                      <a:pt x="50741" y="67461"/>
                    </a:lnTo>
                    <a:lnTo>
                      <a:pt x="49544" y="70263"/>
                    </a:lnTo>
                    <a:lnTo>
                      <a:pt x="49149" y="70018"/>
                    </a:lnTo>
                    <a:lnTo>
                      <a:pt x="48402" y="66692"/>
                    </a:lnTo>
                    <a:lnTo>
                      <a:pt x="47996" y="66445"/>
                    </a:lnTo>
                    <a:lnTo>
                      <a:pt x="45674" y="67961"/>
                    </a:lnTo>
                    <a:lnTo>
                      <a:pt x="44738" y="69416"/>
                    </a:lnTo>
                    <a:lnTo>
                      <a:pt x="43936" y="71741"/>
                    </a:lnTo>
                    <a:lnTo>
                      <a:pt x="42916" y="72827"/>
                    </a:lnTo>
                    <a:lnTo>
                      <a:pt x="45811" y="73065"/>
                    </a:lnTo>
                    <a:lnTo>
                      <a:pt x="48418" y="72597"/>
                    </a:lnTo>
                    <a:lnTo>
                      <a:pt x="50511" y="73700"/>
                    </a:lnTo>
                    <a:lnTo>
                      <a:pt x="51224" y="73730"/>
                    </a:lnTo>
                    <a:lnTo>
                      <a:pt x="53135" y="72654"/>
                    </a:lnTo>
                    <a:lnTo>
                      <a:pt x="53719" y="71921"/>
                    </a:lnTo>
                    <a:lnTo>
                      <a:pt x="55300" y="68416"/>
                    </a:lnTo>
                    <a:lnTo>
                      <a:pt x="56093" y="67787"/>
                    </a:lnTo>
                    <a:lnTo>
                      <a:pt x="57273" y="67763"/>
                    </a:lnTo>
                    <a:lnTo>
                      <a:pt x="58414" y="67236"/>
                    </a:lnTo>
                    <a:lnTo>
                      <a:pt x="60105" y="65313"/>
                    </a:lnTo>
                    <a:lnTo>
                      <a:pt x="60174" y="64550"/>
                    </a:lnTo>
                    <a:lnTo>
                      <a:pt x="59559" y="60241"/>
                    </a:lnTo>
                    <a:lnTo>
                      <a:pt x="59734" y="57794"/>
                    </a:lnTo>
                    <a:lnTo>
                      <a:pt x="59418" y="57019"/>
                    </a:lnTo>
                    <a:lnTo>
                      <a:pt x="58658" y="56213"/>
                    </a:lnTo>
                    <a:lnTo>
                      <a:pt x="58754" y="55432"/>
                    </a:lnTo>
                    <a:lnTo>
                      <a:pt x="59343" y="54144"/>
                    </a:lnTo>
                    <a:lnTo>
                      <a:pt x="59387" y="52979"/>
                    </a:lnTo>
                    <a:lnTo>
                      <a:pt x="58882" y="51943"/>
                    </a:lnTo>
                    <a:lnTo>
                      <a:pt x="59110" y="50764"/>
                    </a:lnTo>
                    <a:lnTo>
                      <a:pt x="60704" y="48226"/>
                    </a:lnTo>
                    <a:lnTo>
                      <a:pt x="61007" y="47107"/>
                    </a:lnTo>
                    <a:lnTo>
                      <a:pt x="62958" y="44578"/>
                    </a:lnTo>
                    <a:lnTo>
                      <a:pt x="62465" y="43560"/>
                    </a:lnTo>
                    <a:lnTo>
                      <a:pt x="61031" y="42318"/>
                    </a:lnTo>
                    <a:lnTo>
                      <a:pt x="60126" y="41222"/>
                    </a:lnTo>
                    <a:lnTo>
                      <a:pt x="59216" y="39509"/>
                    </a:lnTo>
                    <a:lnTo>
                      <a:pt x="58523" y="38935"/>
                    </a:lnTo>
                    <a:lnTo>
                      <a:pt x="58296" y="39196"/>
                    </a:lnTo>
                    <a:lnTo>
                      <a:pt x="59269" y="41999"/>
                    </a:lnTo>
                    <a:lnTo>
                      <a:pt x="59060" y="42188"/>
                    </a:lnTo>
                    <a:lnTo>
                      <a:pt x="56527" y="40678"/>
                    </a:lnTo>
                    <a:lnTo>
                      <a:pt x="55943" y="39726"/>
                    </a:lnTo>
                    <a:lnTo>
                      <a:pt x="55632" y="38433"/>
                    </a:lnTo>
                    <a:lnTo>
                      <a:pt x="55857" y="37462"/>
                    </a:lnTo>
                    <a:lnTo>
                      <a:pt x="57217" y="36502"/>
                    </a:lnTo>
                    <a:lnTo>
                      <a:pt x="58840" y="36154"/>
                    </a:lnTo>
                    <a:lnTo>
                      <a:pt x="58710" y="35346"/>
                    </a:lnTo>
                    <a:lnTo>
                      <a:pt x="56670" y="32719"/>
                    </a:lnTo>
                    <a:lnTo>
                      <a:pt x="55313" y="31522"/>
                    </a:lnTo>
                    <a:lnTo>
                      <a:pt x="54270" y="30941"/>
                    </a:lnTo>
                    <a:lnTo>
                      <a:pt x="52861" y="30790"/>
                    </a:lnTo>
                    <a:lnTo>
                      <a:pt x="52230" y="30362"/>
                    </a:lnTo>
                    <a:lnTo>
                      <a:pt x="52065" y="29746"/>
                    </a:lnTo>
                    <a:lnTo>
                      <a:pt x="52364" y="28935"/>
                    </a:lnTo>
                    <a:lnTo>
                      <a:pt x="53112" y="28677"/>
                    </a:lnTo>
                    <a:lnTo>
                      <a:pt x="55287" y="29001"/>
                    </a:lnTo>
                    <a:lnTo>
                      <a:pt x="56458" y="28426"/>
                    </a:lnTo>
                    <a:lnTo>
                      <a:pt x="56347" y="27380"/>
                    </a:lnTo>
                    <a:lnTo>
                      <a:pt x="55998" y="26801"/>
                    </a:lnTo>
                    <a:lnTo>
                      <a:pt x="56051" y="23057"/>
                    </a:lnTo>
                    <a:lnTo>
                      <a:pt x="55226" y="20009"/>
                    </a:lnTo>
                    <a:lnTo>
                      <a:pt x="54794" y="19494"/>
                    </a:lnTo>
                    <a:lnTo>
                      <a:pt x="54331" y="19442"/>
                    </a:lnTo>
                    <a:lnTo>
                      <a:pt x="53839" y="19853"/>
                    </a:lnTo>
                    <a:lnTo>
                      <a:pt x="52472" y="19958"/>
                    </a:lnTo>
                    <a:lnTo>
                      <a:pt x="51633" y="18958"/>
                    </a:lnTo>
                    <a:lnTo>
                      <a:pt x="50700" y="17030"/>
                    </a:lnTo>
                    <a:lnTo>
                      <a:pt x="49009" y="12425"/>
                    </a:lnTo>
                    <a:lnTo>
                      <a:pt x="51621" y="12425"/>
                    </a:lnTo>
                    <a:lnTo>
                      <a:pt x="62497" y="12425"/>
                    </a:lnTo>
                    <a:lnTo>
                      <a:pt x="73376" y="12425"/>
                    </a:lnTo>
                    <a:lnTo>
                      <a:pt x="84252" y="12425"/>
                    </a:lnTo>
                    <a:lnTo>
                      <a:pt x="95129" y="12425"/>
                    </a:lnTo>
                    <a:lnTo>
                      <a:pt x="106006" y="12425"/>
                    </a:lnTo>
                    <a:lnTo>
                      <a:pt x="116884" y="12425"/>
                    </a:lnTo>
                    <a:lnTo>
                      <a:pt x="127760" y="12425"/>
                    </a:lnTo>
                    <a:lnTo>
                      <a:pt x="138636" y="12424"/>
                    </a:lnTo>
                    <a:lnTo>
                      <a:pt x="149514" y="12424"/>
                    </a:lnTo>
                    <a:lnTo>
                      <a:pt x="160391" y="12424"/>
                    </a:lnTo>
                    <a:lnTo>
                      <a:pt x="171267" y="12424"/>
                    </a:lnTo>
                    <a:lnTo>
                      <a:pt x="182146" y="12424"/>
                    </a:lnTo>
                    <a:lnTo>
                      <a:pt x="193022" y="12424"/>
                    </a:lnTo>
                    <a:lnTo>
                      <a:pt x="203899" y="12424"/>
                    </a:lnTo>
                    <a:lnTo>
                      <a:pt x="214777" y="12424"/>
                    </a:lnTo>
                    <a:lnTo>
                      <a:pt x="225654" y="12424"/>
                    </a:lnTo>
                    <a:lnTo>
                      <a:pt x="236530" y="12424"/>
                    </a:lnTo>
                    <a:lnTo>
                      <a:pt x="247408" y="12424"/>
                    </a:lnTo>
                    <a:lnTo>
                      <a:pt x="258285" y="12424"/>
                    </a:lnTo>
                    <a:lnTo>
                      <a:pt x="269161" y="12424"/>
                    </a:lnTo>
                    <a:lnTo>
                      <a:pt x="280037" y="12424"/>
                    </a:lnTo>
                    <a:lnTo>
                      <a:pt x="290916" y="12424"/>
                    </a:lnTo>
                    <a:lnTo>
                      <a:pt x="301792" y="12424"/>
                    </a:lnTo>
                    <a:lnTo>
                      <a:pt x="312669" y="12424"/>
                    </a:lnTo>
                    <a:lnTo>
                      <a:pt x="323547" y="12424"/>
                    </a:lnTo>
                    <a:lnTo>
                      <a:pt x="334424" y="12424"/>
                    </a:lnTo>
                    <a:lnTo>
                      <a:pt x="345300" y="12424"/>
                    </a:lnTo>
                    <a:lnTo>
                      <a:pt x="356179" y="12424"/>
                    </a:lnTo>
                    <a:lnTo>
                      <a:pt x="367054" y="12424"/>
                    </a:lnTo>
                    <a:lnTo>
                      <a:pt x="377931" y="12424"/>
                    </a:lnTo>
                    <a:lnTo>
                      <a:pt x="388807" y="12424"/>
                    </a:lnTo>
                    <a:lnTo>
                      <a:pt x="399686" y="12422"/>
                    </a:lnTo>
                    <a:lnTo>
                      <a:pt x="410562" y="12422"/>
                    </a:lnTo>
                    <a:lnTo>
                      <a:pt x="421439" y="12422"/>
                    </a:lnTo>
                    <a:lnTo>
                      <a:pt x="432317" y="12422"/>
                    </a:lnTo>
                    <a:lnTo>
                      <a:pt x="443194" y="12422"/>
                    </a:lnTo>
                    <a:lnTo>
                      <a:pt x="454070" y="12422"/>
                    </a:lnTo>
                    <a:lnTo>
                      <a:pt x="464949" y="12422"/>
                    </a:lnTo>
                    <a:lnTo>
                      <a:pt x="475824" y="12422"/>
                    </a:lnTo>
                    <a:lnTo>
                      <a:pt x="486701" y="12422"/>
                    </a:lnTo>
                    <a:lnTo>
                      <a:pt x="497579" y="12422"/>
                    </a:lnTo>
                    <a:lnTo>
                      <a:pt x="508456" y="12422"/>
                    </a:lnTo>
                    <a:lnTo>
                      <a:pt x="519332" y="12422"/>
                    </a:lnTo>
                    <a:lnTo>
                      <a:pt x="530209" y="12422"/>
                    </a:lnTo>
                    <a:lnTo>
                      <a:pt x="541087" y="12422"/>
                    </a:lnTo>
                    <a:lnTo>
                      <a:pt x="551964" y="12422"/>
                    </a:lnTo>
                    <a:lnTo>
                      <a:pt x="562840" y="12422"/>
                    </a:lnTo>
                    <a:lnTo>
                      <a:pt x="573719" y="12422"/>
                    </a:lnTo>
                    <a:lnTo>
                      <a:pt x="584594" y="12422"/>
                    </a:lnTo>
                    <a:lnTo>
                      <a:pt x="595471" y="12422"/>
                    </a:lnTo>
                    <a:lnTo>
                      <a:pt x="606348" y="12422"/>
                    </a:lnTo>
                    <a:lnTo>
                      <a:pt x="617226" y="12422"/>
                    </a:lnTo>
                    <a:lnTo>
                      <a:pt x="628102" y="12422"/>
                    </a:lnTo>
                    <a:lnTo>
                      <a:pt x="638980" y="12422"/>
                    </a:lnTo>
                    <a:lnTo>
                      <a:pt x="649857" y="12422"/>
                    </a:lnTo>
                    <a:lnTo>
                      <a:pt x="660734" y="12421"/>
                    </a:lnTo>
                    <a:lnTo>
                      <a:pt x="671610" y="12421"/>
                    </a:lnTo>
                    <a:lnTo>
                      <a:pt x="682489" y="12421"/>
                    </a:lnTo>
                    <a:lnTo>
                      <a:pt x="693365" y="12421"/>
                    </a:lnTo>
                    <a:lnTo>
                      <a:pt x="704241" y="12421"/>
                    </a:lnTo>
                    <a:lnTo>
                      <a:pt x="715120" y="12421"/>
                    </a:lnTo>
                    <a:lnTo>
                      <a:pt x="725996" y="12421"/>
                    </a:lnTo>
                    <a:lnTo>
                      <a:pt x="736872" y="12421"/>
                    </a:lnTo>
                    <a:lnTo>
                      <a:pt x="747750" y="12421"/>
                    </a:lnTo>
                    <a:lnTo>
                      <a:pt x="753767" y="12467"/>
                    </a:lnTo>
                    <a:lnTo>
                      <a:pt x="753864" y="5502"/>
                    </a:lnTo>
                    <a:close/>
                  </a:path>
                </a:pathLst>
              </a:custGeom>
              <a:solidFill>
                <a:srgbClr val="FF0000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4FA6AD06-F150-4FB0-A1A8-CA20548B3737}"/>
                  </a:ext>
                </a:extLst>
              </p:cNvPr>
              <p:cNvSpPr/>
              <p:nvPr/>
            </p:nvSpPr>
            <p:spPr>
              <a:xfrm>
                <a:off x="3414616" y="2422654"/>
                <a:ext cx="2114550" cy="1092994"/>
              </a:xfrm>
              <a:custGeom>
                <a:avLst/>
                <a:gdLst>
                  <a:gd name="connsiteX0" fmla="*/ 0 w 2114550"/>
                  <a:gd name="connsiteY0" fmla="*/ 471488 h 1092994"/>
                  <a:gd name="connsiteX1" fmla="*/ 0 w 2114550"/>
                  <a:gd name="connsiteY1" fmla="*/ 97631 h 1092994"/>
                  <a:gd name="connsiteX2" fmla="*/ 42862 w 2114550"/>
                  <a:gd name="connsiteY2" fmla="*/ 107156 h 1092994"/>
                  <a:gd name="connsiteX3" fmla="*/ 80962 w 2114550"/>
                  <a:gd name="connsiteY3" fmla="*/ 128588 h 1092994"/>
                  <a:gd name="connsiteX4" fmla="*/ 104775 w 2114550"/>
                  <a:gd name="connsiteY4" fmla="*/ 133350 h 1092994"/>
                  <a:gd name="connsiteX5" fmla="*/ 126206 w 2114550"/>
                  <a:gd name="connsiteY5" fmla="*/ 116681 h 1092994"/>
                  <a:gd name="connsiteX6" fmla="*/ 159543 w 2114550"/>
                  <a:gd name="connsiteY6" fmla="*/ 97631 h 1092994"/>
                  <a:gd name="connsiteX7" fmla="*/ 195262 w 2114550"/>
                  <a:gd name="connsiteY7" fmla="*/ 107156 h 1092994"/>
                  <a:gd name="connsiteX8" fmla="*/ 230981 w 2114550"/>
                  <a:gd name="connsiteY8" fmla="*/ 90488 h 1092994"/>
                  <a:gd name="connsiteX9" fmla="*/ 271462 w 2114550"/>
                  <a:gd name="connsiteY9" fmla="*/ 78581 h 1092994"/>
                  <a:gd name="connsiteX10" fmla="*/ 290512 w 2114550"/>
                  <a:gd name="connsiteY10" fmla="*/ 95250 h 1092994"/>
                  <a:gd name="connsiteX11" fmla="*/ 311943 w 2114550"/>
                  <a:gd name="connsiteY11" fmla="*/ 85725 h 1092994"/>
                  <a:gd name="connsiteX12" fmla="*/ 314325 w 2114550"/>
                  <a:gd name="connsiteY12" fmla="*/ 59531 h 1092994"/>
                  <a:gd name="connsiteX13" fmla="*/ 373856 w 2114550"/>
                  <a:gd name="connsiteY13" fmla="*/ 109538 h 1092994"/>
                  <a:gd name="connsiteX14" fmla="*/ 409575 w 2114550"/>
                  <a:gd name="connsiteY14" fmla="*/ 83344 h 1092994"/>
                  <a:gd name="connsiteX15" fmla="*/ 414337 w 2114550"/>
                  <a:gd name="connsiteY15" fmla="*/ 114300 h 1092994"/>
                  <a:gd name="connsiteX16" fmla="*/ 438150 w 2114550"/>
                  <a:gd name="connsiteY16" fmla="*/ 109538 h 1092994"/>
                  <a:gd name="connsiteX17" fmla="*/ 450056 w 2114550"/>
                  <a:gd name="connsiteY17" fmla="*/ 90488 h 1092994"/>
                  <a:gd name="connsiteX18" fmla="*/ 490537 w 2114550"/>
                  <a:gd name="connsiteY18" fmla="*/ 100013 h 1092994"/>
                  <a:gd name="connsiteX19" fmla="*/ 531018 w 2114550"/>
                  <a:gd name="connsiteY19" fmla="*/ 119063 h 1092994"/>
                  <a:gd name="connsiteX20" fmla="*/ 611981 w 2114550"/>
                  <a:gd name="connsiteY20" fmla="*/ 138113 h 1092994"/>
                  <a:gd name="connsiteX21" fmla="*/ 642937 w 2114550"/>
                  <a:gd name="connsiteY21" fmla="*/ 130969 h 1092994"/>
                  <a:gd name="connsiteX22" fmla="*/ 669131 w 2114550"/>
                  <a:gd name="connsiteY22" fmla="*/ 154781 h 1092994"/>
                  <a:gd name="connsiteX23" fmla="*/ 640556 w 2114550"/>
                  <a:gd name="connsiteY23" fmla="*/ 178594 h 1092994"/>
                  <a:gd name="connsiteX24" fmla="*/ 688181 w 2114550"/>
                  <a:gd name="connsiteY24" fmla="*/ 188119 h 1092994"/>
                  <a:gd name="connsiteX25" fmla="*/ 747712 w 2114550"/>
                  <a:gd name="connsiteY25" fmla="*/ 185738 h 1092994"/>
                  <a:gd name="connsiteX26" fmla="*/ 766762 w 2114550"/>
                  <a:gd name="connsiteY26" fmla="*/ 171450 h 1092994"/>
                  <a:gd name="connsiteX27" fmla="*/ 785812 w 2114550"/>
                  <a:gd name="connsiteY27" fmla="*/ 197644 h 1092994"/>
                  <a:gd name="connsiteX28" fmla="*/ 816768 w 2114550"/>
                  <a:gd name="connsiteY28" fmla="*/ 176213 h 1092994"/>
                  <a:gd name="connsiteX29" fmla="*/ 804862 w 2114550"/>
                  <a:gd name="connsiteY29" fmla="*/ 157163 h 1092994"/>
                  <a:gd name="connsiteX30" fmla="*/ 814387 w 2114550"/>
                  <a:gd name="connsiteY30" fmla="*/ 147638 h 1092994"/>
                  <a:gd name="connsiteX31" fmla="*/ 838200 w 2114550"/>
                  <a:gd name="connsiteY31" fmla="*/ 147638 h 1092994"/>
                  <a:gd name="connsiteX32" fmla="*/ 869156 w 2114550"/>
                  <a:gd name="connsiteY32" fmla="*/ 140494 h 1092994"/>
                  <a:gd name="connsiteX33" fmla="*/ 902493 w 2114550"/>
                  <a:gd name="connsiteY33" fmla="*/ 169069 h 1092994"/>
                  <a:gd name="connsiteX34" fmla="*/ 931068 w 2114550"/>
                  <a:gd name="connsiteY34" fmla="*/ 171450 h 1092994"/>
                  <a:gd name="connsiteX35" fmla="*/ 978693 w 2114550"/>
                  <a:gd name="connsiteY35" fmla="*/ 190500 h 1092994"/>
                  <a:gd name="connsiteX36" fmla="*/ 1019175 w 2114550"/>
                  <a:gd name="connsiteY36" fmla="*/ 178594 h 1092994"/>
                  <a:gd name="connsiteX37" fmla="*/ 1054893 w 2114550"/>
                  <a:gd name="connsiteY37" fmla="*/ 185738 h 1092994"/>
                  <a:gd name="connsiteX38" fmla="*/ 1052512 w 2114550"/>
                  <a:gd name="connsiteY38" fmla="*/ 166688 h 1092994"/>
                  <a:gd name="connsiteX39" fmla="*/ 1073943 w 2114550"/>
                  <a:gd name="connsiteY39" fmla="*/ 154781 h 1092994"/>
                  <a:gd name="connsiteX40" fmla="*/ 1104900 w 2114550"/>
                  <a:gd name="connsiteY40" fmla="*/ 161925 h 1092994"/>
                  <a:gd name="connsiteX41" fmla="*/ 1107281 w 2114550"/>
                  <a:gd name="connsiteY41" fmla="*/ 202406 h 1092994"/>
                  <a:gd name="connsiteX42" fmla="*/ 1131093 w 2114550"/>
                  <a:gd name="connsiteY42" fmla="*/ 171450 h 1092994"/>
                  <a:gd name="connsiteX43" fmla="*/ 1152525 w 2114550"/>
                  <a:gd name="connsiteY43" fmla="*/ 171450 h 1092994"/>
                  <a:gd name="connsiteX44" fmla="*/ 1162050 w 2114550"/>
                  <a:gd name="connsiteY44" fmla="*/ 123825 h 1092994"/>
                  <a:gd name="connsiteX45" fmla="*/ 1143000 w 2114550"/>
                  <a:gd name="connsiteY45" fmla="*/ 100013 h 1092994"/>
                  <a:gd name="connsiteX46" fmla="*/ 1116806 w 2114550"/>
                  <a:gd name="connsiteY46" fmla="*/ 83344 h 1092994"/>
                  <a:gd name="connsiteX47" fmla="*/ 1100137 w 2114550"/>
                  <a:gd name="connsiteY47" fmla="*/ 76200 h 1092994"/>
                  <a:gd name="connsiteX48" fmla="*/ 1107281 w 2114550"/>
                  <a:gd name="connsiteY48" fmla="*/ 40481 h 1092994"/>
                  <a:gd name="connsiteX49" fmla="*/ 1138237 w 2114550"/>
                  <a:gd name="connsiteY49" fmla="*/ 0 h 1092994"/>
                  <a:gd name="connsiteX50" fmla="*/ 1181100 w 2114550"/>
                  <a:gd name="connsiteY50" fmla="*/ 7144 h 1092994"/>
                  <a:gd name="connsiteX51" fmla="*/ 1197768 w 2114550"/>
                  <a:gd name="connsiteY51" fmla="*/ 30956 h 1092994"/>
                  <a:gd name="connsiteX52" fmla="*/ 1221581 w 2114550"/>
                  <a:gd name="connsiteY52" fmla="*/ 73819 h 1092994"/>
                  <a:gd name="connsiteX53" fmla="*/ 1200150 w 2114550"/>
                  <a:gd name="connsiteY53" fmla="*/ 95250 h 1092994"/>
                  <a:gd name="connsiteX54" fmla="*/ 1245393 w 2114550"/>
                  <a:gd name="connsiteY54" fmla="*/ 104775 h 1092994"/>
                  <a:gd name="connsiteX55" fmla="*/ 1252537 w 2114550"/>
                  <a:gd name="connsiteY55" fmla="*/ 152400 h 1092994"/>
                  <a:gd name="connsiteX56" fmla="*/ 1283493 w 2114550"/>
                  <a:gd name="connsiteY56" fmla="*/ 126206 h 1092994"/>
                  <a:gd name="connsiteX57" fmla="*/ 1307306 w 2114550"/>
                  <a:gd name="connsiteY57" fmla="*/ 142875 h 1092994"/>
                  <a:gd name="connsiteX58" fmla="*/ 1307306 w 2114550"/>
                  <a:gd name="connsiteY58" fmla="*/ 178594 h 1092994"/>
                  <a:gd name="connsiteX59" fmla="*/ 1331118 w 2114550"/>
                  <a:gd name="connsiteY59" fmla="*/ 207169 h 1092994"/>
                  <a:gd name="connsiteX60" fmla="*/ 1357312 w 2114550"/>
                  <a:gd name="connsiteY60" fmla="*/ 173831 h 1092994"/>
                  <a:gd name="connsiteX61" fmla="*/ 1373981 w 2114550"/>
                  <a:gd name="connsiteY61" fmla="*/ 140494 h 1092994"/>
                  <a:gd name="connsiteX62" fmla="*/ 1378743 w 2114550"/>
                  <a:gd name="connsiteY62" fmla="*/ 85725 h 1092994"/>
                  <a:gd name="connsiteX63" fmla="*/ 1450181 w 2114550"/>
                  <a:gd name="connsiteY63" fmla="*/ 102394 h 1092994"/>
                  <a:gd name="connsiteX64" fmla="*/ 1481137 w 2114550"/>
                  <a:gd name="connsiteY64" fmla="*/ 126206 h 1092994"/>
                  <a:gd name="connsiteX65" fmla="*/ 1481137 w 2114550"/>
                  <a:gd name="connsiteY65" fmla="*/ 140494 h 1092994"/>
                  <a:gd name="connsiteX66" fmla="*/ 1464468 w 2114550"/>
                  <a:gd name="connsiteY66" fmla="*/ 159544 h 1092994"/>
                  <a:gd name="connsiteX67" fmla="*/ 1478756 w 2114550"/>
                  <a:gd name="connsiteY67" fmla="*/ 188119 h 1092994"/>
                  <a:gd name="connsiteX68" fmla="*/ 1476375 w 2114550"/>
                  <a:gd name="connsiteY68" fmla="*/ 207169 h 1092994"/>
                  <a:gd name="connsiteX69" fmla="*/ 1445418 w 2114550"/>
                  <a:gd name="connsiteY69" fmla="*/ 223838 h 1092994"/>
                  <a:gd name="connsiteX70" fmla="*/ 1416843 w 2114550"/>
                  <a:gd name="connsiteY70" fmla="*/ 238125 h 1092994"/>
                  <a:gd name="connsiteX71" fmla="*/ 1393031 w 2114550"/>
                  <a:gd name="connsiteY71" fmla="*/ 240506 h 1092994"/>
                  <a:gd name="connsiteX72" fmla="*/ 1364456 w 2114550"/>
                  <a:gd name="connsiteY72" fmla="*/ 226219 h 1092994"/>
                  <a:gd name="connsiteX73" fmla="*/ 1359693 w 2114550"/>
                  <a:gd name="connsiteY73" fmla="*/ 245269 h 1092994"/>
                  <a:gd name="connsiteX74" fmla="*/ 1350168 w 2114550"/>
                  <a:gd name="connsiteY74" fmla="*/ 269081 h 1092994"/>
                  <a:gd name="connsiteX75" fmla="*/ 1333500 w 2114550"/>
                  <a:gd name="connsiteY75" fmla="*/ 295275 h 1092994"/>
                  <a:gd name="connsiteX76" fmla="*/ 1331118 w 2114550"/>
                  <a:gd name="connsiteY76" fmla="*/ 307181 h 1092994"/>
                  <a:gd name="connsiteX77" fmla="*/ 1300162 w 2114550"/>
                  <a:gd name="connsiteY77" fmla="*/ 330994 h 1092994"/>
                  <a:gd name="connsiteX78" fmla="*/ 1269206 w 2114550"/>
                  <a:gd name="connsiteY78" fmla="*/ 330994 h 1092994"/>
                  <a:gd name="connsiteX79" fmla="*/ 1243012 w 2114550"/>
                  <a:gd name="connsiteY79" fmla="*/ 352425 h 1092994"/>
                  <a:gd name="connsiteX80" fmla="*/ 1250156 w 2114550"/>
                  <a:gd name="connsiteY80" fmla="*/ 376238 h 1092994"/>
                  <a:gd name="connsiteX81" fmla="*/ 1221581 w 2114550"/>
                  <a:gd name="connsiteY81" fmla="*/ 378619 h 1092994"/>
                  <a:gd name="connsiteX82" fmla="*/ 1173956 w 2114550"/>
                  <a:gd name="connsiteY82" fmla="*/ 438150 h 1092994"/>
                  <a:gd name="connsiteX83" fmla="*/ 1152525 w 2114550"/>
                  <a:gd name="connsiteY83" fmla="*/ 481013 h 1092994"/>
                  <a:gd name="connsiteX84" fmla="*/ 1147762 w 2114550"/>
                  <a:gd name="connsiteY84" fmla="*/ 531019 h 1092994"/>
                  <a:gd name="connsiteX85" fmla="*/ 1183481 w 2114550"/>
                  <a:gd name="connsiteY85" fmla="*/ 545306 h 1092994"/>
                  <a:gd name="connsiteX86" fmla="*/ 1207293 w 2114550"/>
                  <a:gd name="connsiteY86" fmla="*/ 602456 h 1092994"/>
                  <a:gd name="connsiteX87" fmla="*/ 1240631 w 2114550"/>
                  <a:gd name="connsiteY87" fmla="*/ 588169 h 1092994"/>
                  <a:gd name="connsiteX88" fmla="*/ 1266825 w 2114550"/>
                  <a:gd name="connsiteY88" fmla="*/ 597694 h 1092994"/>
                  <a:gd name="connsiteX89" fmla="*/ 1304925 w 2114550"/>
                  <a:gd name="connsiteY89" fmla="*/ 614363 h 1092994"/>
                  <a:gd name="connsiteX90" fmla="*/ 1326356 w 2114550"/>
                  <a:gd name="connsiteY90" fmla="*/ 628650 h 1092994"/>
                  <a:gd name="connsiteX91" fmla="*/ 1331118 w 2114550"/>
                  <a:gd name="connsiteY91" fmla="*/ 638175 h 1092994"/>
                  <a:gd name="connsiteX92" fmla="*/ 1357312 w 2114550"/>
                  <a:gd name="connsiteY92" fmla="*/ 638175 h 1092994"/>
                  <a:gd name="connsiteX93" fmla="*/ 1388268 w 2114550"/>
                  <a:gd name="connsiteY93" fmla="*/ 657225 h 1092994"/>
                  <a:gd name="connsiteX94" fmla="*/ 1452562 w 2114550"/>
                  <a:gd name="connsiteY94" fmla="*/ 661988 h 1092994"/>
                  <a:gd name="connsiteX95" fmla="*/ 1454943 w 2114550"/>
                  <a:gd name="connsiteY95" fmla="*/ 695325 h 1092994"/>
                  <a:gd name="connsiteX96" fmla="*/ 1471612 w 2114550"/>
                  <a:gd name="connsiteY96" fmla="*/ 750094 h 1092994"/>
                  <a:gd name="connsiteX97" fmla="*/ 1516856 w 2114550"/>
                  <a:gd name="connsiteY97" fmla="*/ 792956 h 1092994"/>
                  <a:gd name="connsiteX98" fmla="*/ 1538287 w 2114550"/>
                  <a:gd name="connsiteY98" fmla="*/ 783431 h 1092994"/>
                  <a:gd name="connsiteX99" fmla="*/ 1552575 w 2114550"/>
                  <a:gd name="connsiteY99" fmla="*/ 745331 h 1092994"/>
                  <a:gd name="connsiteX100" fmla="*/ 1535906 w 2114550"/>
                  <a:gd name="connsiteY100" fmla="*/ 697706 h 1092994"/>
                  <a:gd name="connsiteX101" fmla="*/ 1526381 w 2114550"/>
                  <a:gd name="connsiteY101" fmla="*/ 678656 h 1092994"/>
                  <a:gd name="connsiteX102" fmla="*/ 1552575 w 2114550"/>
                  <a:gd name="connsiteY102" fmla="*/ 664369 h 1092994"/>
                  <a:gd name="connsiteX103" fmla="*/ 1588293 w 2114550"/>
                  <a:gd name="connsiteY103" fmla="*/ 635794 h 1092994"/>
                  <a:gd name="connsiteX104" fmla="*/ 1600200 w 2114550"/>
                  <a:gd name="connsiteY104" fmla="*/ 592931 h 1092994"/>
                  <a:gd name="connsiteX105" fmla="*/ 1571625 w 2114550"/>
                  <a:gd name="connsiteY105" fmla="*/ 547688 h 1092994"/>
                  <a:gd name="connsiteX106" fmla="*/ 1552575 w 2114550"/>
                  <a:gd name="connsiteY106" fmla="*/ 533400 h 1092994"/>
                  <a:gd name="connsiteX107" fmla="*/ 1581150 w 2114550"/>
                  <a:gd name="connsiteY107" fmla="*/ 492919 h 1092994"/>
                  <a:gd name="connsiteX108" fmla="*/ 1569243 w 2114550"/>
                  <a:gd name="connsiteY108" fmla="*/ 466725 h 1092994"/>
                  <a:gd name="connsiteX109" fmla="*/ 1559718 w 2114550"/>
                  <a:gd name="connsiteY109" fmla="*/ 397669 h 1092994"/>
                  <a:gd name="connsiteX110" fmla="*/ 1578768 w 2114550"/>
                  <a:gd name="connsiteY110" fmla="*/ 392906 h 1092994"/>
                  <a:gd name="connsiteX111" fmla="*/ 1645443 w 2114550"/>
                  <a:gd name="connsiteY111" fmla="*/ 407194 h 1092994"/>
                  <a:gd name="connsiteX112" fmla="*/ 1674018 w 2114550"/>
                  <a:gd name="connsiteY112" fmla="*/ 400050 h 1092994"/>
                  <a:gd name="connsiteX113" fmla="*/ 1719262 w 2114550"/>
                  <a:gd name="connsiteY113" fmla="*/ 426244 h 1092994"/>
                  <a:gd name="connsiteX114" fmla="*/ 1726406 w 2114550"/>
                  <a:gd name="connsiteY114" fmla="*/ 450056 h 1092994"/>
                  <a:gd name="connsiteX115" fmla="*/ 1766887 w 2114550"/>
                  <a:gd name="connsiteY115" fmla="*/ 454819 h 1092994"/>
                  <a:gd name="connsiteX116" fmla="*/ 1776412 w 2114550"/>
                  <a:gd name="connsiteY116" fmla="*/ 535781 h 1092994"/>
                  <a:gd name="connsiteX117" fmla="*/ 1797843 w 2114550"/>
                  <a:gd name="connsiteY117" fmla="*/ 533400 h 1092994"/>
                  <a:gd name="connsiteX118" fmla="*/ 1819275 w 2114550"/>
                  <a:gd name="connsiteY118" fmla="*/ 552450 h 1092994"/>
                  <a:gd name="connsiteX119" fmla="*/ 1862137 w 2114550"/>
                  <a:gd name="connsiteY119" fmla="*/ 535781 h 1092994"/>
                  <a:gd name="connsiteX120" fmla="*/ 1893093 w 2114550"/>
                  <a:gd name="connsiteY120" fmla="*/ 476250 h 1092994"/>
                  <a:gd name="connsiteX121" fmla="*/ 1974056 w 2114550"/>
                  <a:gd name="connsiteY121" fmla="*/ 595313 h 1092994"/>
                  <a:gd name="connsiteX122" fmla="*/ 1962150 w 2114550"/>
                  <a:gd name="connsiteY122" fmla="*/ 619125 h 1092994"/>
                  <a:gd name="connsiteX123" fmla="*/ 2019300 w 2114550"/>
                  <a:gd name="connsiteY123" fmla="*/ 657225 h 1092994"/>
                  <a:gd name="connsiteX124" fmla="*/ 2074068 w 2114550"/>
                  <a:gd name="connsiteY124" fmla="*/ 669131 h 1092994"/>
                  <a:gd name="connsiteX125" fmla="*/ 2083593 w 2114550"/>
                  <a:gd name="connsiteY125" fmla="*/ 707231 h 1092994"/>
                  <a:gd name="connsiteX126" fmla="*/ 2102643 w 2114550"/>
                  <a:gd name="connsiteY126" fmla="*/ 711994 h 1092994"/>
                  <a:gd name="connsiteX127" fmla="*/ 2114550 w 2114550"/>
                  <a:gd name="connsiteY127" fmla="*/ 733425 h 1092994"/>
                  <a:gd name="connsiteX128" fmla="*/ 2112168 w 2114550"/>
                  <a:gd name="connsiteY128" fmla="*/ 762000 h 1092994"/>
                  <a:gd name="connsiteX129" fmla="*/ 2083593 w 2114550"/>
                  <a:gd name="connsiteY129" fmla="*/ 783431 h 1092994"/>
                  <a:gd name="connsiteX130" fmla="*/ 2035968 w 2114550"/>
                  <a:gd name="connsiteY130" fmla="*/ 797719 h 1092994"/>
                  <a:gd name="connsiteX131" fmla="*/ 2009775 w 2114550"/>
                  <a:gd name="connsiteY131" fmla="*/ 826294 h 1092994"/>
                  <a:gd name="connsiteX132" fmla="*/ 1969293 w 2114550"/>
                  <a:gd name="connsiteY132" fmla="*/ 831056 h 1092994"/>
                  <a:gd name="connsiteX133" fmla="*/ 1897856 w 2114550"/>
                  <a:gd name="connsiteY133" fmla="*/ 821531 h 1092994"/>
                  <a:gd name="connsiteX134" fmla="*/ 1859756 w 2114550"/>
                  <a:gd name="connsiteY134" fmla="*/ 823913 h 1092994"/>
                  <a:gd name="connsiteX135" fmla="*/ 1843087 w 2114550"/>
                  <a:gd name="connsiteY135" fmla="*/ 831056 h 1092994"/>
                  <a:gd name="connsiteX136" fmla="*/ 1831181 w 2114550"/>
                  <a:gd name="connsiteY136" fmla="*/ 847725 h 1092994"/>
                  <a:gd name="connsiteX137" fmla="*/ 1797843 w 2114550"/>
                  <a:gd name="connsiteY137" fmla="*/ 866775 h 1092994"/>
                  <a:gd name="connsiteX138" fmla="*/ 1759743 w 2114550"/>
                  <a:gd name="connsiteY138" fmla="*/ 904875 h 1092994"/>
                  <a:gd name="connsiteX139" fmla="*/ 1735931 w 2114550"/>
                  <a:gd name="connsiteY139" fmla="*/ 938213 h 1092994"/>
                  <a:gd name="connsiteX140" fmla="*/ 1783556 w 2114550"/>
                  <a:gd name="connsiteY140" fmla="*/ 916781 h 1092994"/>
                  <a:gd name="connsiteX141" fmla="*/ 1831181 w 2114550"/>
                  <a:gd name="connsiteY141" fmla="*/ 876300 h 1092994"/>
                  <a:gd name="connsiteX142" fmla="*/ 1854993 w 2114550"/>
                  <a:gd name="connsiteY142" fmla="*/ 862013 h 1092994"/>
                  <a:gd name="connsiteX143" fmla="*/ 1883568 w 2114550"/>
                  <a:gd name="connsiteY143" fmla="*/ 864394 h 1092994"/>
                  <a:gd name="connsiteX144" fmla="*/ 1905000 w 2114550"/>
                  <a:gd name="connsiteY144" fmla="*/ 873919 h 1092994"/>
                  <a:gd name="connsiteX145" fmla="*/ 1883568 w 2114550"/>
                  <a:gd name="connsiteY145" fmla="*/ 902494 h 1092994"/>
                  <a:gd name="connsiteX146" fmla="*/ 1888331 w 2114550"/>
                  <a:gd name="connsiteY146" fmla="*/ 940594 h 1092994"/>
                  <a:gd name="connsiteX147" fmla="*/ 1909762 w 2114550"/>
                  <a:gd name="connsiteY147" fmla="*/ 957263 h 1092994"/>
                  <a:gd name="connsiteX148" fmla="*/ 1926431 w 2114550"/>
                  <a:gd name="connsiteY148" fmla="*/ 966788 h 1092994"/>
                  <a:gd name="connsiteX149" fmla="*/ 1974056 w 2114550"/>
                  <a:gd name="connsiteY149" fmla="*/ 964406 h 1092994"/>
                  <a:gd name="connsiteX150" fmla="*/ 1997868 w 2114550"/>
                  <a:gd name="connsiteY150" fmla="*/ 940594 h 1092994"/>
                  <a:gd name="connsiteX151" fmla="*/ 2009775 w 2114550"/>
                  <a:gd name="connsiteY151" fmla="*/ 959644 h 1092994"/>
                  <a:gd name="connsiteX152" fmla="*/ 1983581 w 2114550"/>
                  <a:gd name="connsiteY152" fmla="*/ 981075 h 1092994"/>
                  <a:gd name="connsiteX153" fmla="*/ 1924050 w 2114550"/>
                  <a:gd name="connsiteY153" fmla="*/ 997744 h 1092994"/>
                  <a:gd name="connsiteX154" fmla="*/ 1890712 w 2114550"/>
                  <a:gd name="connsiteY154" fmla="*/ 1016794 h 1092994"/>
                  <a:gd name="connsiteX155" fmla="*/ 1876425 w 2114550"/>
                  <a:gd name="connsiteY155" fmla="*/ 1033463 h 1092994"/>
                  <a:gd name="connsiteX156" fmla="*/ 1854993 w 2114550"/>
                  <a:gd name="connsiteY156" fmla="*/ 1026319 h 1092994"/>
                  <a:gd name="connsiteX157" fmla="*/ 1852612 w 2114550"/>
                  <a:gd name="connsiteY157" fmla="*/ 1012031 h 1092994"/>
                  <a:gd name="connsiteX158" fmla="*/ 1897856 w 2114550"/>
                  <a:gd name="connsiteY158" fmla="*/ 985838 h 1092994"/>
                  <a:gd name="connsiteX159" fmla="*/ 1838325 w 2114550"/>
                  <a:gd name="connsiteY159" fmla="*/ 981075 h 1092994"/>
                  <a:gd name="connsiteX160" fmla="*/ 1816893 w 2114550"/>
                  <a:gd name="connsiteY160" fmla="*/ 971550 h 1092994"/>
                  <a:gd name="connsiteX161" fmla="*/ 1816893 w 2114550"/>
                  <a:gd name="connsiteY161" fmla="*/ 923925 h 1092994"/>
                  <a:gd name="connsiteX162" fmla="*/ 1804987 w 2114550"/>
                  <a:gd name="connsiteY162" fmla="*/ 914400 h 1092994"/>
                  <a:gd name="connsiteX163" fmla="*/ 1781175 w 2114550"/>
                  <a:gd name="connsiteY163" fmla="*/ 919163 h 1092994"/>
                  <a:gd name="connsiteX164" fmla="*/ 1757362 w 2114550"/>
                  <a:gd name="connsiteY164" fmla="*/ 945356 h 1092994"/>
                  <a:gd name="connsiteX165" fmla="*/ 1726406 w 2114550"/>
                  <a:gd name="connsiteY165" fmla="*/ 988219 h 1092994"/>
                  <a:gd name="connsiteX166" fmla="*/ 1676400 w 2114550"/>
                  <a:gd name="connsiteY166" fmla="*/ 988219 h 1092994"/>
                  <a:gd name="connsiteX167" fmla="*/ 1633537 w 2114550"/>
                  <a:gd name="connsiteY167" fmla="*/ 990600 h 1092994"/>
                  <a:gd name="connsiteX168" fmla="*/ 1593056 w 2114550"/>
                  <a:gd name="connsiteY168" fmla="*/ 1033463 h 1092994"/>
                  <a:gd name="connsiteX169" fmla="*/ 1535906 w 2114550"/>
                  <a:gd name="connsiteY169" fmla="*/ 1033463 h 1092994"/>
                  <a:gd name="connsiteX170" fmla="*/ 1538287 w 2114550"/>
                  <a:gd name="connsiteY170" fmla="*/ 1057275 h 1092994"/>
                  <a:gd name="connsiteX171" fmla="*/ 1507331 w 2114550"/>
                  <a:gd name="connsiteY171" fmla="*/ 1066800 h 1092994"/>
                  <a:gd name="connsiteX172" fmla="*/ 1473993 w 2114550"/>
                  <a:gd name="connsiteY172" fmla="*/ 1073944 h 1092994"/>
                  <a:gd name="connsiteX173" fmla="*/ 1452562 w 2114550"/>
                  <a:gd name="connsiteY173" fmla="*/ 1092994 h 1092994"/>
                  <a:gd name="connsiteX174" fmla="*/ 1431131 w 2114550"/>
                  <a:gd name="connsiteY174" fmla="*/ 1078706 h 1092994"/>
                  <a:gd name="connsiteX175" fmla="*/ 1454943 w 2114550"/>
                  <a:gd name="connsiteY175" fmla="*/ 1038225 h 1092994"/>
                  <a:gd name="connsiteX176" fmla="*/ 1435893 w 2114550"/>
                  <a:gd name="connsiteY176" fmla="*/ 966788 h 1092994"/>
                  <a:gd name="connsiteX177" fmla="*/ 1414462 w 2114550"/>
                  <a:gd name="connsiteY177" fmla="*/ 945356 h 1092994"/>
                  <a:gd name="connsiteX178" fmla="*/ 1383506 w 2114550"/>
                  <a:gd name="connsiteY178" fmla="*/ 933450 h 1092994"/>
                  <a:gd name="connsiteX179" fmla="*/ 1383506 w 2114550"/>
                  <a:gd name="connsiteY179" fmla="*/ 919163 h 1092994"/>
                  <a:gd name="connsiteX180" fmla="*/ 1309687 w 2114550"/>
                  <a:gd name="connsiteY180" fmla="*/ 883444 h 1092994"/>
                  <a:gd name="connsiteX181" fmla="*/ 1283493 w 2114550"/>
                  <a:gd name="connsiteY181" fmla="*/ 902494 h 1092994"/>
                  <a:gd name="connsiteX182" fmla="*/ 1233487 w 2114550"/>
                  <a:gd name="connsiteY182" fmla="*/ 881063 h 1092994"/>
                  <a:gd name="connsiteX183" fmla="*/ 1223962 w 2114550"/>
                  <a:gd name="connsiteY183" fmla="*/ 888206 h 1092994"/>
                  <a:gd name="connsiteX184" fmla="*/ 1150143 w 2114550"/>
                  <a:gd name="connsiteY184" fmla="*/ 871538 h 1092994"/>
                  <a:gd name="connsiteX185" fmla="*/ 1133475 w 2114550"/>
                  <a:gd name="connsiteY185" fmla="*/ 847725 h 1092994"/>
                  <a:gd name="connsiteX186" fmla="*/ 1126331 w 2114550"/>
                  <a:gd name="connsiteY186" fmla="*/ 852488 h 1092994"/>
                  <a:gd name="connsiteX187" fmla="*/ 1119187 w 2114550"/>
                  <a:gd name="connsiteY187" fmla="*/ 864394 h 1092994"/>
                  <a:gd name="connsiteX188" fmla="*/ 733425 w 2114550"/>
                  <a:gd name="connsiteY188" fmla="*/ 864394 h 1092994"/>
                  <a:gd name="connsiteX189" fmla="*/ 442912 w 2114550"/>
                  <a:gd name="connsiteY189" fmla="*/ 859631 h 1092994"/>
                  <a:gd name="connsiteX190" fmla="*/ 385762 w 2114550"/>
                  <a:gd name="connsiteY190" fmla="*/ 819150 h 1092994"/>
                  <a:gd name="connsiteX191" fmla="*/ 330993 w 2114550"/>
                  <a:gd name="connsiteY191" fmla="*/ 804863 h 1092994"/>
                  <a:gd name="connsiteX192" fmla="*/ 319087 w 2114550"/>
                  <a:gd name="connsiteY192" fmla="*/ 778669 h 1092994"/>
                  <a:gd name="connsiteX193" fmla="*/ 330993 w 2114550"/>
                  <a:gd name="connsiteY193" fmla="*/ 752475 h 1092994"/>
                  <a:gd name="connsiteX194" fmla="*/ 297656 w 2114550"/>
                  <a:gd name="connsiteY194" fmla="*/ 742950 h 1092994"/>
                  <a:gd name="connsiteX195" fmla="*/ 292893 w 2114550"/>
                  <a:gd name="connsiteY195" fmla="*/ 716756 h 1092994"/>
                  <a:gd name="connsiteX196" fmla="*/ 261937 w 2114550"/>
                  <a:gd name="connsiteY196" fmla="*/ 690563 h 1092994"/>
                  <a:gd name="connsiteX197" fmla="*/ 257175 w 2114550"/>
                  <a:gd name="connsiteY197" fmla="*/ 671513 h 1092994"/>
                  <a:gd name="connsiteX198" fmla="*/ 278606 w 2114550"/>
                  <a:gd name="connsiteY198" fmla="*/ 657225 h 1092994"/>
                  <a:gd name="connsiteX199" fmla="*/ 278606 w 2114550"/>
                  <a:gd name="connsiteY199" fmla="*/ 631031 h 1092994"/>
                  <a:gd name="connsiteX200" fmla="*/ 233362 w 2114550"/>
                  <a:gd name="connsiteY200" fmla="*/ 609600 h 1092994"/>
                  <a:gd name="connsiteX201" fmla="*/ 192881 w 2114550"/>
                  <a:gd name="connsiteY201" fmla="*/ 545306 h 1092994"/>
                  <a:gd name="connsiteX202" fmla="*/ 150018 w 2114550"/>
                  <a:gd name="connsiteY202" fmla="*/ 519113 h 1092994"/>
                  <a:gd name="connsiteX203" fmla="*/ 140493 w 2114550"/>
                  <a:gd name="connsiteY203" fmla="*/ 495300 h 1092994"/>
                  <a:gd name="connsiteX204" fmla="*/ 107156 w 2114550"/>
                  <a:gd name="connsiteY204" fmla="*/ 507206 h 1092994"/>
                  <a:gd name="connsiteX205" fmla="*/ 88106 w 2114550"/>
                  <a:gd name="connsiteY205" fmla="*/ 523875 h 1092994"/>
                  <a:gd name="connsiteX206" fmla="*/ 57150 w 2114550"/>
                  <a:gd name="connsiteY206" fmla="*/ 502444 h 1092994"/>
                  <a:gd name="connsiteX207" fmla="*/ 0 w 2114550"/>
                  <a:gd name="connsiteY207" fmla="*/ 471488 h 1092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114550" h="1092994">
                    <a:moveTo>
                      <a:pt x="0" y="471488"/>
                    </a:moveTo>
                    <a:lnTo>
                      <a:pt x="0" y="97631"/>
                    </a:lnTo>
                    <a:lnTo>
                      <a:pt x="42862" y="107156"/>
                    </a:lnTo>
                    <a:lnTo>
                      <a:pt x="80962" y="128588"/>
                    </a:lnTo>
                    <a:lnTo>
                      <a:pt x="104775" y="133350"/>
                    </a:lnTo>
                    <a:lnTo>
                      <a:pt x="126206" y="116681"/>
                    </a:lnTo>
                    <a:lnTo>
                      <a:pt x="159543" y="97631"/>
                    </a:lnTo>
                    <a:lnTo>
                      <a:pt x="195262" y="107156"/>
                    </a:lnTo>
                    <a:lnTo>
                      <a:pt x="230981" y="90488"/>
                    </a:lnTo>
                    <a:lnTo>
                      <a:pt x="271462" y="78581"/>
                    </a:lnTo>
                    <a:lnTo>
                      <a:pt x="290512" y="95250"/>
                    </a:lnTo>
                    <a:lnTo>
                      <a:pt x="311943" y="85725"/>
                    </a:lnTo>
                    <a:lnTo>
                      <a:pt x="314325" y="59531"/>
                    </a:lnTo>
                    <a:lnTo>
                      <a:pt x="373856" y="109538"/>
                    </a:lnTo>
                    <a:lnTo>
                      <a:pt x="409575" y="83344"/>
                    </a:lnTo>
                    <a:lnTo>
                      <a:pt x="414337" y="114300"/>
                    </a:lnTo>
                    <a:lnTo>
                      <a:pt x="438150" y="109538"/>
                    </a:lnTo>
                    <a:lnTo>
                      <a:pt x="450056" y="90488"/>
                    </a:lnTo>
                    <a:lnTo>
                      <a:pt x="490537" y="100013"/>
                    </a:lnTo>
                    <a:lnTo>
                      <a:pt x="531018" y="119063"/>
                    </a:lnTo>
                    <a:lnTo>
                      <a:pt x="611981" y="138113"/>
                    </a:lnTo>
                    <a:lnTo>
                      <a:pt x="642937" y="130969"/>
                    </a:lnTo>
                    <a:lnTo>
                      <a:pt x="669131" y="154781"/>
                    </a:lnTo>
                    <a:lnTo>
                      <a:pt x="640556" y="178594"/>
                    </a:lnTo>
                    <a:lnTo>
                      <a:pt x="688181" y="188119"/>
                    </a:lnTo>
                    <a:lnTo>
                      <a:pt x="747712" y="185738"/>
                    </a:lnTo>
                    <a:lnTo>
                      <a:pt x="766762" y="171450"/>
                    </a:lnTo>
                    <a:lnTo>
                      <a:pt x="785812" y="197644"/>
                    </a:lnTo>
                    <a:lnTo>
                      <a:pt x="816768" y="176213"/>
                    </a:lnTo>
                    <a:lnTo>
                      <a:pt x="804862" y="157163"/>
                    </a:lnTo>
                    <a:lnTo>
                      <a:pt x="814387" y="147638"/>
                    </a:lnTo>
                    <a:lnTo>
                      <a:pt x="838200" y="147638"/>
                    </a:lnTo>
                    <a:lnTo>
                      <a:pt x="869156" y="140494"/>
                    </a:lnTo>
                    <a:lnTo>
                      <a:pt x="902493" y="169069"/>
                    </a:lnTo>
                    <a:lnTo>
                      <a:pt x="931068" y="171450"/>
                    </a:lnTo>
                    <a:lnTo>
                      <a:pt x="978693" y="190500"/>
                    </a:lnTo>
                    <a:lnTo>
                      <a:pt x="1019175" y="178594"/>
                    </a:lnTo>
                    <a:lnTo>
                      <a:pt x="1054893" y="185738"/>
                    </a:lnTo>
                    <a:lnTo>
                      <a:pt x="1052512" y="166688"/>
                    </a:lnTo>
                    <a:lnTo>
                      <a:pt x="1073943" y="154781"/>
                    </a:lnTo>
                    <a:lnTo>
                      <a:pt x="1104900" y="161925"/>
                    </a:lnTo>
                    <a:lnTo>
                      <a:pt x="1107281" y="202406"/>
                    </a:lnTo>
                    <a:lnTo>
                      <a:pt x="1131093" y="171450"/>
                    </a:lnTo>
                    <a:lnTo>
                      <a:pt x="1152525" y="171450"/>
                    </a:lnTo>
                    <a:lnTo>
                      <a:pt x="1162050" y="123825"/>
                    </a:lnTo>
                    <a:lnTo>
                      <a:pt x="1143000" y="100013"/>
                    </a:lnTo>
                    <a:lnTo>
                      <a:pt x="1116806" y="83344"/>
                    </a:lnTo>
                    <a:lnTo>
                      <a:pt x="1100137" y="76200"/>
                    </a:lnTo>
                    <a:lnTo>
                      <a:pt x="1107281" y="40481"/>
                    </a:lnTo>
                    <a:lnTo>
                      <a:pt x="1138237" y="0"/>
                    </a:lnTo>
                    <a:lnTo>
                      <a:pt x="1181100" y="7144"/>
                    </a:lnTo>
                    <a:lnTo>
                      <a:pt x="1197768" y="30956"/>
                    </a:lnTo>
                    <a:lnTo>
                      <a:pt x="1221581" y="73819"/>
                    </a:lnTo>
                    <a:lnTo>
                      <a:pt x="1200150" y="95250"/>
                    </a:lnTo>
                    <a:lnTo>
                      <a:pt x="1245393" y="104775"/>
                    </a:lnTo>
                    <a:lnTo>
                      <a:pt x="1252537" y="152400"/>
                    </a:lnTo>
                    <a:lnTo>
                      <a:pt x="1283493" y="126206"/>
                    </a:lnTo>
                    <a:lnTo>
                      <a:pt x="1307306" y="142875"/>
                    </a:lnTo>
                    <a:lnTo>
                      <a:pt x="1307306" y="178594"/>
                    </a:lnTo>
                    <a:lnTo>
                      <a:pt x="1331118" y="207169"/>
                    </a:lnTo>
                    <a:lnTo>
                      <a:pt x="1357312" y="173831"/>
                    </a:lnTo>
                    <a:lnTo>
                      <a:pt x="1373981" y="140494"/>
                    </a:lnTo>
                    <a:lnTo>
                      <a:pt x="1378743" y="85725"/>
                    </a:lnTo>
                    <a:lnTo>
                      <a:pt x="1450181" y="102394"/>
                    </a:lnTo>
                    <a:lnTo>
                      <a:pt x="1481137" y="126206"/>
                    </a:lnTo>
                    <a:lnTo>
                      <a:pt x="1481137" y="140494"/>
                    </a:lnTo>
                    <a:lnTo>
                      <a:pt x="1464468" y="159544"/>
                    </a:lnTo>
                    <a:lnTo>
                      <a:pt x="1478756" y="188119"/>
                    </a:lnTo>
                    <a:lnTo>
                      <a:pt x="1476375" y="207169"/>
                    </a:lnTo>
                    <a:lnTo>
                      <a:pt x="1445418" y="223838"/>
                    </a:lnTo>
                    <a:lnTo>
                      <a:pt x="1416843" y="238125"/>
                    </a:lnTo>
                    <a:lnTo>
                      <a:pt x="1393031" y="240506"/>
                    </a:lnTo>
                    <a:lnTo>
                      <a:pt x="1364456" y="226219"/>
                    </a:lnTo>
                    <a:lnTo>
                      <a:pt x="1359693" y="245269"/>
                    </a:lnTo>
                    <a:lnTo>
                      <a:pt x="1350168" y="269081"/>
                    </a:lnTo>
                    <a:lnTo>
                      <a:pt x="1333500" y="295275"/>
                    </a:lnTo>
                    <a:lnTo>
                      <a:pt x="1331118" y="307181"/>
                    </a:lnTo>
                    <a:lnTo>
                      <a:pt x="1300162" y="330994"/>
                    </a:lnTo>
                    <a:lnTo>
                      <a:pt x="1269206" y="330994"/>
                    </a:lnTo>
                    <a:lnTo>
                      <a:pt x="1243012" y="352425"/>
                    </a:lnTo>
                    <a:lnTo>
                      <a:pt x="1250156" y="376238"/>
                    </a:lnTo>
                    <a:lnTo>
                      <a:pt x="1221581" y="378619"/>
                    </a:lnTo>
                    <a:lnTo>
                      <a:pt x="1173956" y="438150"/>
                    </a:lnTo>
                    <a:lnTo>
                      <a:pt x="1152525" y="481013"/>
                    </a:lnTo>
                    <a:lnTo>
                      <a:pt x="1147762" y="531019"/>
                    </a:lnTo>
                    <a:lnTo>
                      <a:pt x="1183481" y="545306"/>
                    </a:lnTo>
                    <a:lnTo>
                      <a:pt x="1207293" y="602456"/>
                    </a:lnTo>
                    <a:lnTo>
                      <a:pt x="1240631" y="588169"/>
                    </a:lnTo>
                    <a:lnTo>
                      <a:pt x="1266825" y="597694"/>
                    </a:lnTo>
                    <a:lnTo>
                      <a:pt x="1304925" y="614363"/>
                    </a:lnTo>
                    <a:lnTo>
                      <a:pt x="1326356" y="628650"/>
                    </a:lnTo>
                    <a:lnTo>
                      <a:pt x="1331118" y="638175"/>
                    </a:lnTo>
                    <a:lnTo>
                      <a:pt x="1357312" y="638175"/>
                    </a:lnTo>
                    <a:lnTo>
                      <a:pt x="1388268" y="657225"/>
                    </a:lnTo>
                    <a:lnTo>
                      <a:pt x="1452562" y="661988"/>
                    </a:lnTo>
                    <a:lnTo>
                      <a:pt x="1454943" y="695325"/>
                    </a:lnTo>
                    <a:lnTo>
                      <a:pt x="1471612" y="750094"/>
                    </a:lnTo>
                    <a:lnTo>
                      <a:pt x="1516856" y="792956"/>
                    </a:lnTo>
                    <a:lnTo>
                      <a:pt x="1538287" y="783431"/>
                    </a:lnTo>
                    <a:lnTo>
                      <a:pt x="1552575" y="745331"/>
                    </a:lnTo>
                    <a:lnTo>
                      <a:pt x="1535906" y="697706"/>
                    </a:lnTo>
                    <a:lnTo>
                      <a:pt x="1526381" y="678656"/>
                    </a:lnTo>
                    <a:lnTo>
                      <a:pt x="1552575" y="664369"/>
                    </a:lnTo>
                    <a:lnTo>
                      <a:pt x="1588293" y="635794"/>
                    </a:lnTo>
                    <a:lnTo>
                      <a:pt x="1600200" y="592931"/>
                    </a:lnTo>
                    <a:lnTo>
                      <a:pt x="1571625" y="547688"/>
                    </a:lnTo>
                    <a:lnTo>
                      <a:pt x="1552575" y="533400"/>
                    </a:lnTo>
                    <a:lnTo>
                      <a:pt x="1581150" y="492919"/>
                    </a:lnTo>
                    <a:lnTo>
                      <a:pt x="1569243" y="466725"/>
                    </a:lnTo>
                    <a:lnTo>
                      <a:pt x="1559718" y="397669"/>
                    </a:lnTo>
                    <a:lnTo>
                      <a:pt x="1578768" y="392906"/>
                    </a:lnTo>
                    <a:lnTo>
                      <a:pt x="1645443" y="407194"/>
                    </a:lnTo>
                    <a:lnTo>
                      <a:pt x="1674018" y="400050"/>
                    </a:lnTo>
                    <a:lnTo>
                      <a:pt x="1719262" y="426244"/>
                    </a:lnTo>
                    <a:lnTo>
                      <a:pt x="1726406" y="450056"/>
                    </a:lnTo>
                    <a:lnTo>
                      <a:pt x="1766887" y="454819"/>
                    </a:lnTo>
                    <a:lnTo>
                      <a:pt x="1776412" y="535781"/>
                    </a:lnTo>
                    <a:lnTo>
                      <a:pt x="1797843" y="533400"/>
                    </a:lnTo>
                    <a:lnTo>
                      <a:pt x="1819275" y="552450"/>
                    </a:lnTo>
                    <a:lnTo>
                      <a:pt x="1862137" y="535781"/>
                    </a:lnTo>
                    <a:lnTo>
                      <a:pt x="1893093" y="476250"/>
                    </a:lnTo>
                    <a:lnTo>
                      <a:pt x="1974056" y="595313"/>
                    </a:lnTo>
                    <a:lnTo>
                      <a:pt x="1962150" y="619125"/>
                    </a:lnTo>
                    <a:lnTo>
                      <a:pt x="2019300" y="657225"/>
                    </a:lnTo>
                    <a:lnTo>
                      <a:pt x="2074068" y="669131"/>
                    </a:lnTo>
                    <a:lnTo>
                      <a:pt x="2083593" y="707231"/>
                    </a:lnTo>
                    <a:lnTo>
                      <a:pt x="2102643" y="711994"/>
                    </a:lnTo>
                    <a:lnTo>
                      <a:pt x="2114550" y="733425"/>
                    </a:lnTo>
                    <a:lnTo>
                      <a:pt x="2112168" y="762000"/>
                    </a:lnTo>
                    <a:lnTo>
                      <a:pt x="2083593" y="783431"/>
                    </a:lnTo>
                    <a:lnTo>
                      <a:pt x="2035968" y="797719"/>
                    </a:lnTo>
                    <a:lnTo>
                      <a:pt x="2009775" y="826294"/>
                    </a:lnTo>
                    <a:lnTo>
                      <a:pt x="1969293" y="831056"/>
                    </a:lnTo>
                    <a:lnTo>
                      <a:pt x="1897856" y="821531"/>
                    </a:lnTo>
                    <a:lnTo>
                      <a:pt x="1859756" y="823913"/>
                    </a:lnTo>
                    <a:lnTo>
                      <a:pt x="1843087" y="831056"/>
                    </a:lnTo>
                    <a:lnTo>
                      <a:pt x="1831181" y="847725"/>
                    </a:lnTo>
                    <a:lnTo>
                      <a:pt x="1797843" y="866775"/>
                    </a:lnTo>
                    <a:lnTo>
                      <a:pt x="1759743" y="904875"/>
                    </a:lnTo>
                    <a:lnTo>
                      <a:pt x="1735931" y="938213"/>
                    </a:lnTo>
                    <a:lnTo>
                      <a:pt x="1783556" y="916781"/>
                    </a:lnTo>
                    <a:lnTo>
                      <a:pt x="1831181" y="876300"/>
                    </a:lnTo>
                    <a:lnTo>
                      <a:pt x="1854993" y="862013"/>
                    </a:lnTo>
                    <a:lnTo>
                      <a:pt x="1883568" y="864394"/>
                    </a:lnTo>
                    <a:lnTo>
                      <a:pt x="1905000" y="873919"/>
                    </a:lnTo>
                    <a:lnTo>
                      <a:pt x="1883568" y="902494"/>
                    </a:lnTo>
                    <a:lnTo>
                      <a:pt x="1888331" y="940594"/>
                    </a:lnTo>
                    <a:lnTo>
                      <a:pt x="1909762" y="957263"/>
                    </a:lnTo>
                    <a:lnTo>
                      <a:pt x="1926431" y="966788"/>
                    </a:lnTo>
                    <a:lnTo>
                      <a:pt x="1974056" y="964406"/>
                    </a:lnTo>
                    <a:lnTo>
                      <a:pt x="1997868" y="940594"/>
                    </a:lnTo>
                    <a:lnTo>
                      <a:pt x="2009775" y="959644"/>
                    </a:lnTo>
                    <a:lnTo>
                      <a:pt x="1983581" y="981075"/>
                    </a:lnTo>
                    <a:lnTo>
                      <a:pt x="1924050" y="997744"/>
                    </a:lnTo>
                    <a:lnTo>
                      <a:pt x="1890712" y="1016794"/>
                    </a:lnTo>
                    <a:lnTo>
                      <a:pt x="1876425" y="1033463"/>
                    </a:lnTo>
                    <a:lnTo>
                      <a:pt x="1854993" y="1026319"/>
                    </a:lnTo>
                    <a:lnTo>
                      <a:pt x="1852612" y="1012031"/>
                    </a:lnTo>
                    <a:lnTo>
                      <a:pt x="1897856" y="985838"/>
                    </a:lnTo>
                    <a:lnTo>
                      <a:pt x="1838325" y="981075"/>
                    </a:lnTo>
                    <a:lnTo>
                      <a:pt x="1816893" y="971550"/>
                    </a:lnTo>
                    <a:lnTo>
                      <a:pt x="1816893" y="923925"/>
                    </a:lnTo>
                    <a:lnTo>
                      <a:pt x="1804987" y="914400"/>
                    </a:lnTo>
                    <a:lnTo>
                      <a:pt x="1781175" y="919163"/>
                    </a:lnTo>
                    <a:lnTo>
                      <a:pt x="1757362" y="945356"/>
                    </a:lnTo>
                    <a:lnTo>
                      <a:pt x="1726406" y="988219"/>
                    </a:lnTo>
                    <a:lnTo>
                      <a:pt x="1676400" y="988219"/>
                    </a:lnTo>
                    <a:lnTo>
                      <a:pt x="1633537" y="990600"/>
                    </a:lnTo>
                    <a:lnTo>
                      <a:pt x="1593056" y="1033463"/>
                    </a:lnTo>
                    <a:lnTo>
                      <a:pt x="1535906" y="1033463"/>
                    </a:lnTo>
                    <a:lnTo>
                      <a:pt x="1538287" y="1057275"/>
                    </a:lnTo>
                    <a:lnTo>
                      <a:pt x="1507331" y="1066800"/>
                    </a:lnTo>
                    <a:lnTo>
                      <a:pt x="1473993" y="1073944"/>
                    </a:lnTo>
                    <a:lnTo>
                      <a:pt x="1452562" y="1092994"/>
                    </a:lnTo>
                    <a:lnTo>
                      <a:pt x="1431131" y="1078706"/>
                    </a:lnTo>
                    <a:lnTo>
                      <a:pt x="1454943" y="1038225"/>
                    </a:lnTo>
                    <a:lnTo>
                      <a:pt x="1435893" y="966788"/>
                    </a:lnTo>
                    <a:lnTo>
                      <a:pt x="1414462" y="945356"/>
                    </a:lnTo>
                    <a:lnTo>
                      <a:pt x="1383506" y="933450"/>
                    </a:lnTo>
                    <a:lnTo>
                      <a:pt x="1383506" y="919163"/>
                    </a:lnTo>
                    <a:lnTo>
                      <a:pt x="1309687" y="883444"/>
                    </a:lnTo>
                    <a:lnTo>
                      <a:pt x="1283493" y="902494"/>
                    </a:lnTo>
                    <a:lnTo>
                      <a:pt x="1233487" y="881063"/>
                    </a:lnTo>
                    <a:lnTo>
                      <a:pt x="1223962" y="888206"/>
                    </a:lnTo>
                    <a:lnTo>
                      <a:pt x="1150143" y="871538"/>
                    </a:lnTo>
                    <a:lnTo>
                      <a:pt x="1133475" y="847725"/>
                    </a:lnTo>
                    <a:lnTo>
                      <a:pt x="1126331" y="852488"/>
                    </a:lnTo>
                    <a:lnTo>
                      <a:pt x="1119187" y="864394"/>
                    </a:lnTo>
                    <a:lnTo>
                      <a:pt x="733425" y="864394"/>
                    </a:lnTo>
                    <a:lnTo>
                      <a:pt x="442912" y="859631"/>
                    </a:lnTo>
                    <a:lnTo>
                      <a:pt x="385762" y="819150"/>
                    </a:lnTo>
                    <a:lnTo>
                      <a:pt x="330993" y="804863"/>
                    </a:lnTo>
                    <a:lnTo>
                      <a:pt x="319087" y="778669"/>
                    </a:lnTo>
                    <a:lnTo>
                      <a:pt x="330993" y="752475"/>
                    </a:lnTo>
                    <a:lnTo>
                      <a:pt x="297656" y="742950"/>
                    </a:lnTo>
                    <a:lnTo>
                      <a:pt x="292893" y="716756"/>
                    </a:lnTo>
                    <a:lnTo>
                      <a:pt x="261937" y="690563"/>
                    </a:lnTo>
                    <a:lnTo>
                      <a:pt x="257175" y="671513"/>
                    </a:lnTo>
                    <a:lnTo>
                      <a:pt x="278606" y="657225"/>
                    </a:lnTo>
                    <a:lnTo>
                      <a:pt x="278606" y="631031"/>
                    </a:lnTo>
                    <a:lnTo>
                      <a:pt x="233362" y="609600"/>
                    </a:lnTo>
                    <a:lnTo>
                      <a:pt x="192881" y="545306"/>
                    </a:lnTo>
                    <a:lnTo>
                      <a:pt x="150018" y="519113"/>
                    </a:lnTo>
                    <a:lnTo>
                      <a:pt x="140493" y="495300"/>
                    </a:lnTo>
                    <a:lnTo>
                      <a:pt x="107156" y="507206"/>
                    </a:lnTo>
                    <a:lnTo>
                      <a:pt x="88106" y="523875"/>
                    </a:lnTo>
                    <a:lnTo>
                      <a:pt x="57150" y="502444"/>
                    </a:lnTo>
                    <a:lnTo>
                      <a:pt x="0" y="471488"/>
                    </a:lnTo>
                    <a:close/>
                  </a:path>
                </a:pathLst>
              </a:custGeom>
              <a:solidFill>
                <a:srgbClr val="7A162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9" name="Freeform 32">
                <a:extLst>
                  <a:ext uri="{FF2B5EF4-FFF2-40B4-BE49-F238E27FC236}">
                    <a16:creationId xmlns:a16="http://schemas.microsoft.com/office/drawing/2014/main" id="{328FBBB8-88EE-4E70-BBD7-C468FA7068CB}"/>
                  </a:ext>
                </a:extLst>
              </p:cNvPr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>
              <a:xfrm>
                <a:off x="6728188" y="2938781"/>
                <a:ext cx="139020" cy="167087"/>
              </a:xfrm>
              <a:custGeom>
                <a:avLst/>
                <a:gdLst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05422 w 213600"/>
                  <a:gd name="connsiteY7" fmla="*/ 0 h 276243"/>
                  <a:gd name="connsiteX8" fmla="*/ 80751 w 213600"/>
                  <a:gd name="connsiteY8" fmla="*/ 36267 h 276243"/>
                  <a:gd name="connsiteX9" fmla="*/ 104268 w 213600"/>
                  <a:gd name="connsiteY9" fmla="*/ 31707 h 276243"/>
                  <a:gd name="connsiteX10" fmla="*/ 129560 w 213600"/>
                  <a:gd name="connsiteY10" fmla="*/ 31881 h 276243"/>
                  <a:gd name="connsiteX11" fmla="*/ 123542 w 213600"/>
                  <a:gd name="connsiteY11" fmla="*/ 58869 h 276243"/>
                  <a:gd name="connsiteX12" fmla="*/ 102791 w 213600"/>
                  <a:gd name="connsiteY12" fmla="*/ 88196 h 276243"/>
                  <a:gd name="connsiteX13" fmla="*/ 126658 w 213600"/>
                  <a:gd name="connsiteY13" fmla="*/ 90270 h 276243"/>
                  <a:gd name="connsiteX14" fmla="*/ 128489 w 213600"/>
                  <a:gd name="connsiteY14" fmla="*/ 93682 h 276243"/>
                  <a:gd name="connsiteX15" fmla="*/ 149048 w 213600"/>
                  <a:gd name="connsiteY15" fmla="*/ 131655 h 276243"/>
                  <a:gd name="connsiteX16" fmla="*/ 164849 w 213600"/>
                  <a:gd name="connsiteY16" fmla="*/ 136778 h 276243"/>
                  <a:gd name="connsiteX17" fmla="*/ 179055 w 213600"/>
                  <a:gd name="connsiteY17" fmla="*/ 172807 h 276243"/>
                  <a:gd name="connsiteX18" fmla="*/ 185634 w 213600"/>
                  <a:gd name="connsiteY18" fmla="*/ 185174 h 276243"/>
                  <a:gd name="connsiteX19" fmla="*/ 213600 w 213600"/>
                  <a:gd name="connsiteY19" fmla="*/ 191116 h 276243"/>
                  <a:gd name="connsiteX20" fmla="*/ 210794 w 213600"/>
                  <a:gd name="connsiteY20" fmla="*/ 210960 h 276243"/>
                  <a:gd name="connsiteX21" fmla="*/ 199035 w 213600"/>
                  <a:gd name="connsiteY21" fmla="*/ 220006 h 276243"/>
                  <a:gd name="connsiteX22" fmla="*/ 208252 w 213600"/>
                  <a:gd name="connsiteY22" fmla="*/ 235886 h 276243"/>
                  <a:gd name="connsiteX23" fmla="*/ 187489 w 213600"/>
                  <a:gd name="connsiteY23" fmla="*/ 251860 h 276243"/>
                  <a:gd name="connsiteX24" fmla="*/ 156608 w 213600"/>
                  <a:gd name="connsiteY24" fmla="*/ 251579 h 276243"/>
                  <a:gd name="connsiteX25" fmla="*/ 117310 w 213600"/>
                  <a:gd name="connsiteY25" fmla="*/ 259927 h 276243"/>
                  <a:gd name="connsiteX26" fmla="*/ 106547 w 213600"/>
                  <a:gd name="connsiteY26" fmla="*/ 253953 h 276243"/>
                  <a:gd name="connsiteX27" fmla="*/ 91285 w 213600"/>
                  <a:gd name="connsiteY27" fmla="*/ 268149 h 276243"/>
                  <a:gd name="connsiteX28" fmla="*/ 69932 w 213600"/>
                  <a:gd name="connsiteY28" fmla="*/ 264717 h 276243"/>
                  <a:gd name="connsiteX29" fmla="*/ 53716 w 213600"/>
                  <a:gd name="connsiteY29" fmla="*/ 276243 h 276243"/>
                  <a:gd name="connsiteX30" fmla="*/ 41447 w 213600"/>
                  <a:gd name="connsiteY30" fmla="*/ 270223 h 276243"/>
                  <a:gd name="connsiteX31" fmla="*/ 75299 w 213600"/>
                  <a:gd name="connsiteY31" fmla="*/ 238316 h 276243"/>
                  <a:gd name="connsiteX32" fmla="*/ 95962 w 213600"/>
                  <a:gd name="connsiteY32" fmla="*/ 231704 h 276243"/>
                  <a:gd name="connsiteX33" fmla="*/ 95780 w 213600"/>
                  <a:gd name="connsiteY33" fmla="*/ 231678 h 276243"/>
                  <a:gd name="connsiteX34" fmla="*/ 59733 w 213600"/>
                  <a:gd name="connsiteY34" fmla="*/ 226566 h 276243"/>
                  <a:gd name="connsiteX35" fmla="*/ 53202 w 213600"/>
                  <a:gd name="connsiteY35" fmla="*/ 214314 h 276243"/>
                  <a:gd name="connsiteX36" fmla="*/ 77322 w 213600"/>
                  <a:gd name="connsiteY36" fmla="*/ 204729 h 276243"/>
                  <a:gd name="connsiteX37" fmla="*/ 64681 w 213600"/>
                  <a:gd name="connsiteY37" fmla="*/ 187983 h 276243"/>
                  <a:gd name="connsiteX38" fmla="*/ 69067 w 213600"/>
                  <a:gd name="connsiteY38" fmla="*/ 167465 h 276243"/>
                  <a:gd name="connsiteX39" fmla="*/ 103372 w 213600"/>
                  <a:gd name="connsiteY39" fmla="*/ 170309 h 276243"/>
                  <a:gd name="connsiteX40" fmla="*/ 103412 w 213600"/>
                  <a:gd name="connsiteY40" fmla="*/ 170312 h 276243"/>
                  <a:gd name="connsiteX41" fmla="*/ 106807 w 213600"/>
                  <a:gd name="connsiteY41" fmla="*/ 152002 h 276243"/>
                  <a:gd name="connsiteX42" fmla="*/ 91348 w 213600"/>
                  <a:gd name="connsiteY42" fmla="*/ 132423 h 276243"/>
                  <a:gd name="connsiteX43" fmla="*/ 90995 w 213600"/>
                  <a:gd name="connsiteY43" fmla="*/ 131974 h 276243"/>
                  <a:gd name="connsiteX44" fmla="*/ 62969 w 213600"/>
                  <a:gd name="connsiteY44" fmla="*/ 126350 h 276243"/>
                  <a:gd name="connsiteX45" fmla="*/ 57467 w 213600"/>
                  <a:gd name="connsiteY45" fmla="*/ 117674 h 276243"/>
                  <a:gd name="connsiteX46" fmla="*/ 65856 w 213600"/>
                  <a:gd name="connsiteY46" fmla="*/ 103279 h 276243"/>
                  <a:gd name="connsiteX47" fmla="*/ 58265 w 213600"/>
                  <a:gd name="connsiteY47" fmla="*/ 94360 h 276243"/>
                  <a:gd name="connsiteX48" fmla="*/ 45836 w 213600"/>
                  <a:gd name="connsiteY48" fmla="*/ 109646 h 276243"/>
                  <a:gd name="connsiteX49" fmla="*/ 44484 w 213600"/>
                  <a:gd name="connsiteY49" fmla="*/ 78380 h 276243"/>
                  <a:gd name="connsiteX50" fmla="*/ 32828 w 213600"/>
                  <a:gd name="connsiteY50" fmla="*/ 61666 h 276243"/>
                  <a:gd name="connsiteX51" fmla="*/ 41210 w 213600"/>
                  <a:gd name="connsiteY51" fmla="*/ 27410 h 276243"/>
                  <a:gd name="connsiteX52" fmla="*/ 59141 w 213600"/>
                  <a:gd name="connsiteY52" fmla="*/ 169 h 276243"/>
                  <a:gd name="connsiteX53" fmla="*/ 77573 w 213600"/>
                  <a:gd name="connsiteY53" fmla="*/ 2842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117310 w 213600"/>
                  <a:gd name="connsiteY26" fmla="*/ 259927 h 276243"/>
                  <a:gd name="connsiteX27" fmla="*/ 106547 w 213600"/>
                  <a:gd name="connsiteY27" fmla="*/ 253953 h 276243"/>
                  <a:gd name="connsiteX28" fmla="*/ 91285 w 213600"/>
                  <a:gd name="connsiteY28" fmla="*/ 268149 h 276243"/>
                  <a:gd name="connsiteX29" fmla="*/ 53716 w 213600"/>
                  <a:gd name="connsiteY29" fmla="*/ 276243 h 276243"/>
                  <a:gd name="connsiteX30" fmla="*/ 41447 w 213600"/>
                  <a:gd name="connsiteY30" fmla="*/ 270223 h 276243"/>
                  <a:gd name="connsiteX31" fmla="*/ 75299 w 213600"/>
                  <a:gd name="connsiteY31" fmla="*/ 238316 h 276243"/>
                  <a:gd name="connsiteX32" fmla="*/ 95962 w 213600"/>
                  <a:gd name="connsiteY32" fmla="*/ 231704 h 276243"/>
                  <a:gd name="connsiteX33" fmla="*/ 95780 w 213600"/>
                  <a:gd name="connsiteY33" fmla="*/ 231678 h 276243"/>
                  <a:gd name="connsiteX34" fmla="*/ 59733 w 213600"/>
                  <a:gd name="connsiteY34" fmla="*/ 226566 h 276243"/>
                  <a:gd name="connsiteX35" fmla="*/ 53202 w 213600"/>
                  <a:gd name="connsiteY35" fmla="*/ 214314 h 276243"/>
                  <a:gd name="connsiteX36" fmla="*/ 77322 w 213600"/>
                  <a:gd name="connsiteY36" fmla="*/ 204729 h 276243"/>
                  <a:gd name="connsiteX37" fmla="*/ 64681 w 213600"/>
                  <a:gd name="connsiteY37" fmla="*/ 187983 h 276243"/>
                  <a:gd name="connsiteX38" fmla="*/ 69067 w 213600"/>
                  <a:gd name="connsiteY38" fmla="*/ 167465 h 276243"/>
                  <a:gd name="connsiteX39" fmla="*/ 103372 w 213600"/>
                  <a:gd name="connsiteY39" fmla="*/ 170309 h 276243"/>
                  <a:gd name="connsiteX40" fmla="*/ 103412 w 213600"/>
                  <a:gd name="connsiteY40" fmla="*/ 170312 h 276243"/>
                  <a:gd name="connsiteX41" fmla="*/ 106807 w 213600"/>
                  <a:gd name="connsiteY41" fmla="*/ 152002 h 276243"/>
                  <a:gd name="connsiteX42" fmla="*/ 91348 w 213600"/>
                  <a:gd name="connsiteY42" fmla="*/ 132423 h 276243"/>
                  <a:gd name="connsiteX43" fmla="*/ 90995 w 213600"/>
                  <a:gd name="connsiteY43" fmla="*/ 131974 h 276243"/>
                  <a:gd name="connsiteX44" fmla="*/ 62969 w 213600"/>
                  <a:gd name="connsiteY44" fmla="*/ 126350 h 276243"/>
                  <a:gd name="connsiteX45" fmla="*/ 57467 w 213600"/>
                  <a:gd name="connsiteY45" fmla="*/ 117674 h 276243"/>
                  <a:gd name="connsiteX46" fmla="*/ 65856 w 213600"/>
                  <a:gd name="connsiteY46" fmla="*/ 103279 h 276243"/>
                  <a:gd name="connsiteX47" fmla="*/ 58265 w 213600"/>
                  <a:gd name="connsiteY47" fmla="*/ 94360 h 276243"/>
                  <a:gd name="connsiteX48" fmla="*/ 45836 w 213600"/>
                  <a:gd name="connsiteY48" fmla="*/ 109646 h 276243"/>
                  <a:gd name="connsiteX49" fmla="*/ 44484 w 213600"/>
                  <a:gd name="connsiteY49" fmla="*/ 78380 h 276243"/>
                  <a:gd name="connsiteX50" fmla="*/ 32828 w 213600"/>
                  <a:gd name="connsiteY50" fmla="*/ 61666 h 276243"/>
                  <a:gd name="connsiteX51" fmla="*/ 41210 w 213600"/>
                  <a:gd name="connsiteY51" fmla="*/ 27410 h 276243"/>
                  <a:gd name="connsiteX52" fmla="*/ 59141 w 213600"/>
                  <a:gd name="connsiteY52" fmla="*/ 169 h 276243"/>
                  <a:gd name="connsiteX53" fmla="*/ 77573 w 213600"/>
                  <a:gd name="connsiteY53" fmla="*/ 2842 h 276243"/>
                  <a:gd name="connsiteX54" fmla="*/ 105422 w 213600"/>
                  <a:gd name="connsiteY54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106547 w 213600"/>
                  <a:gd name="connsiteY26" fmla="*/ 253953 h 276243"/>
                  <a:gd name="connsiteX27" fmla="*/ 91285 w 213600"/>
                  <a:gd name="connsiteY27" fmla="*/ 268149 h 276243"/>
                  <a:gd name="connsiteX28" fmla="*/ 53716 w 213600"/>
                  <a:gd name="connsiteY28" fmla="*/ 276243 h 276243"/>
                  <a:gd name="connsiteX29" fmla="*/ 41447 w 213600"/>
                  <a:gd name="connsiteY29" fmla="*/ 270223 h 276243"/>
                  <a:gd name="connsiteX30" fmla="*/ 75299 w 213600"/>
                  <a:gd name="connsiteY30" fmla="*/ 238316 h 276243"/>
                  <a:gd name="connsiteX31" fmla="*/ 95962 w 213600"/>
                  <a:gd name="connsiteY31" fmla="*/ 231704 h 276243"/>
                  <a:gd name="connsiteX32" fmla="*/ 95780 w 213600"/>
                  <a:gd name="connsiteY32" fmla="*/ 231678 h 276243"/>
                  <a:gd name="connsiteX33" fmla="*/ 59733 w 213600"/>
                  <a:gd name="connsiteY33" fmla="*/ 226566 h 276243"/>
                  <a:gd name="connsiteX34" fmla="*/ 53202 w 213600"/>
                  <a:gd name="connsiteY34" fmla="*/ 214314 h 276243"/>
                  <a:gd name="connsiteX35" fmla="*/ 77322 w 213600"/>
                  <a:gd name="connsiteY35" fmla="*/ 204729 h 276243"/>
                  <a:gd name="connsiteX36" fmla="*/ 64681 w 213600"/>
                  <a:gd name="connsiteY36" fmla="*/ 187983 h 276243"/>
                  <a:gd name="connsiteX37" fmla="*/ 69067 w 213600"/>
                  <a:gd name="connsiteY37" fmla="*/ 167465 h 276243"/>
                  <a:gd name="connsiteX38" fmla="*/ 103372 w 213600"/>
                  <a:gd name="connsiteY38" fmla="*/ 170309 h 276243"/>
                  <a:gd name="connsiteX39" fmla="*/ 103412 w 213600"/>
                  <a:gd name="connsiteY39" fmla="*/ 170312 h 276243"/>
                  <a:gd name="connsiteX40" fmla="*/ 106807 w 213600"/>
                  <a:gd name="connsiteY40" fmla="*/ 152002 h 276243"/>
                  <a:gd name="connsiteX41" fmla="*/ 91348 w 213600"/>
                  <a:gd name="connsiteY41" fmla="*/ 132423 h 276243"/>
                  <a:gd name="connsiteX42" fmla="*/ 90995 w 213600"/>
                  <a:gd name="connsiteY42" fmla="*/ 131974 h 276243"/>
                  <a:gd name="connsiteX43" fmla="*/ 62969 w 213600"/>
                  <a:gd name="connsiteY43" fmla="*/ 126350 h 276243"/>
                  <a:gd name="connsiteX44" fmla="*/ 57467 w 213600"/>
                  <a:gd name="connsiteY44" fmla="*/ 117674 h 276243"/>
                  <a:gd name="connsiteX45" fmla="*/ 65856 w 213600"/>
                  <a:gd name="connsiteY45" fmla="*/ 103279 h 276243"/>
                  <a:gd name="connsiteX46" fmla="*/ 58265 w 213600"/>
                  <a:gd name="connsiteY46" fmla="*/ 94360 h 276243"/>
                  <a:gd name="connsiteX47" fmla="*/ 45836 w 213600"/>
                  <a:gd name="connsiteY47" fmla="*/ 109646 h 276243"/>
                  <a:gd name="connsiteX48" fmla="*/ 44484 w 213600"/>
                  <a:gd name="connsiteY48" fmla="*/ 78380 h 276243"/>
                  <a:gd name="connsiteX49" fmla="*/ 32828 w 213600"/>
                  <a:gd name="connsiteY49" fmla="*/ 61666 h 276243"/>
                  <a:gd name="connsiteX50" fmla="*/ 41210 w 213600"/>
                  <a:gd name="connsiteY50" fmla="*/ 27410 h 276243"/>
                  <a:gd name="connsiteX51" fmla="*/ 59141 w 213600"/>
                  <a:gd name="connsiteY51" fmla="*/ 169 h 276243"/>
                  <a:gd name="connsiteX52" fmla="*/ 77573 w 213600"/>
                  <a:gd name="connsiteY52" fmla="*/ 2842 h 276243"/>
                  <a:gd name="connsiteX53" fmla="*/ 105422 w 213600"/>
                  <a:gd name="connsiteY53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106547 w 213600"/>
                  <a:gd name="connsiteY26" fmla="*/ 253953 h 276243"/>
                  <a:gd name="connsiteX27" fmla="*/ 91285 w 213600"/>
                  <a:gd name="connsiteY27" fmla="*/ 268149 h 276243"/>
                  <a:gd name="connsiteX28" fmla="*/ 53716 w 213600"/>
                  <a:gd name="connsiteY28" fmla="*/ 276243 h 276243"/>
                  <a:gd name="connsiteX29" fmla="*/ 41447 w 213600"/>
                  <a:gd name="connsiteY29" fmla="*/ 270223 h 276243"/>
                  <a:gd name="connsiteX30" fmla="*/ 75299 w 213600"/>
                  <a:gd name="connsiteY30" fmla="*/ 238316 h 276243"/>
                  <a:gd name="connsiteX31" fmla="*/ 95962 w 213600"/>
                  <a:gd name="connsiteY31" fmla="*/ 231704 h 276243"/>
                  <a:gd name="connsiteX32" fmla="*/ 59733 w 213600"/>
                  <a:gd name="connsiteY32" fmla="*/ 226566 h 276243"/>
                  <a:gd name="connsiteX33" fmla="*/ 53202 w 213600"/>
                  <a:gd name="connsiteY33" fmla="*/ 214314 h 276243"/>
                  <a:gd name="connsiteX34" fmla="*/ 77322 w 213600"/>
                  <a:gd name="connsiteY34" fmla="*/ 204729 h 276243"/>
                  <a:gd name="connsiteX35" fmla="*/ 64681 w 213600"/>
                  <a:gd name="connsiteY35" fmla="*/ 187983 h 276243"/>
                  <a:gd name="connsiteX36" fmla="*/ 69067 w 213600"/>
                  <a:gd name="connsiteY36" fmla="*/ 167465 h 276243"/>
                  <a:gd name="connsiteX37" fmla="*/ 103372 w 213600"/>
                  <a:gd name="connsiteY37" fmla="*/ 170309 h 276243"/>
                  <a:gd name="connsiteX38" fmla="*/ 103412 w 213600"/>
                  <a:gd name="connsiteY38" fmla="*/ 170312 h 276243"/>
                  <a:gd name="connsiteX39" fmla="*/ 106807 w 213600"/>
                  <a:gd name="connsiteY39" fmla="*/ 152002 h 276243"/>
                  <a:gd name="connsiteX40" fmla="*/ 91348 w 213600"/>
                  <a:gd name="connsiteY40" fmla="*/ 132423 h 276243"/>
                  <a:gd name="connsiteX41" fmla="*/ 90995 w 213600"/>
                  <a:gd name="connsiteY41" fmla="*/ 131974 h 276243"/>
                  <a:gd name="connsiteX42" fmla="*/ 62969 w 213600"/>
                  <a:gd name="connsiteY42" fmla="*/ 126350 h 276243"/>
                  <a:gd name="connsiteX43" fmla="*/ 57467 w 213600"/>
                  <a:gd name="connsiteY43" fmla="*/ 117674 h 276243"/>
                  <a:gd name="connsiteX44" fmla="*/ 65856 w 213600"/>
                  <a:gd name="connsiteY44" fmla="*/ 103279 h 276243"/>
                  <a:gd name="connsiteX45" fmla="*/ 58265 w 213600"/>
                  <a:gd name="connsiteY45" fmla="*/ 94360 h 276243"/>
                  <a:gd name="connsiteX46" fmla="*/ 45836 w 213600"/>
                  <a:gd name="connsiteY46" fmla="*/ 109646 h 276243"/>
                  <a:gd name="connsiteX47" fmla="*/ 44484 w 213600"/>
                  <a:gd name="connsiteY47" fmla="*/ 78380 h 276243"/>
                  <a:gd name="connsiteX48" fmla="*/ 32828 w 213600"/>
                  <a:gd name="connsiteY48" fmla="*/ 61666 h 276243"/>
                  <a:gd name="connsiteX49" fmla="*/ 41210 w 213600"/>
                  <a:gd name="connsiteY49" fmla="*/ 27410 h 276243"/>
                  <a:gd name="connsiteX50" fmla="*/ 59141 w 213600"/>
                  <a:gd name="connsiteY50" fmla="*/ 169 h 276243"/>
                  <a:gd name="connsiteX51" fmla="*/ 77573 w 213600"/>
                  <a:gd name="connsiteY51" fmla="*/ 2842 h 276243"/>
                  <a:gd name="connsiteX52" fmla="*/ 105422 w 213600"/>
                  <a:gd name="connsiteY52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106547 w 213600"/>
                  <a:gd name="connsiteY26" fmla="*/ 253953 h 276243"/>
                  <a:gd name="connsiteX27" fmla="*/ 53716 w 213600"/>
                  <a:gd name="connsiteY27" fmla="*/ 276243 h 276243"/>
                  <a:gd name="connsiteX28" fmla="*/ 41447 w 213600"/>
                  <a:gd name="connsiteY28" fmla="*/ 270223 h 276243"/>
                  <a:gd name="connsiteX29" fmla="*/ 75299 w 213600"/>
                  <a:gd name="connsiteY29" fmla="*/ 238316 h 276243"/>
                  <a:gd name="connsiteX30" fmla="*/ 95962 w 213600"/>
                  <a:gd name="connsiteY30" fmla="*/ 231704 h 276243"/>
                  <a:gd name="connsiteX31" fmla="*/ 59733 w 213600"/>
                  <a:gd name="connsiteY31" fmla="*/ 226566 h 276243"/>
                  <a:gd name="connsiteX32" fmla="*/ 53202 w 213600"/>
                  <a:gd name="connsiteY32" fmla="*/ 214314 h 276243"/>
                  <a:gd name="connsiteX33" fmla="*/ 77322 w 213600"/>
                  <a:gd name="connsiteY33" fmla="*/ 204729 h 276243"/>
                  <a:gd name="connsiteX34" fmla="*/ 64681 w 213600"/>
                  <a:gd name="connsiteY34" fmla="*/ 187983 h 276243"/>
                  <a:gd name="connsiteX35" fmla="*/ 69067 w 213600"/>
                  <a:gd name="connsiteY35" fmla="*/ 167465 h 276243"/>
                  <a:gd name="connsiteX36" fmla="*/ 103372 w 213600"/>
                  <a:gd name="connsiteY36" fmla="*/ 170309 h 276243"/>
                  <a:gd name="connsiteX37" fmla="*/ 103412 w 213600"/>
                  <a:gd name="connsiteY37" fmla="*/ 170312 h 276243"/>
                  <a:gd name="connsiteX38" fmla="*/ 106807 w 213600"/>
                  <a:gd name="connsiteY38" fmla="*/ 152002 h 276243"/>
                  <a:gd name="connsiteX39" fmla="*/ 91348 w 213600"/>
                  <a:gd name="connsiteY39" fmla="*/ 132423 h 276243"/>
                  <a:gd name="connsiteX40" fmla="*/ 90995 w 213600"/>
                  <a:gd name="connsiteY40" fmla="*/ 131974 h 276243"/>
                  <a:gd name="connsiteX41" fmla="*/ 62969 w 213600"/>
                  <a:gd name="connsiteY41" fmla="*/ 126350 h 276243"/>
                  <a:gd name="connsiteX42" fmla="*/ 57467 w 213600"/>
                  <a:gd name="connsiteY42" fmla="*/ 117674 h 276243"/>
                  <a:gd name="connsiteX43" fmla="*/ 65856 w 213600"/>
                  <a:gd name="connsiteY43" fmla="*/ 103279 h 276243"/>
                  <a:gd name="connsiteX44" fmla="*/ 58265 w 213600"/>
                  <a:gd name="connsiteY44" fmla="*/ 94360 h 276243"/>
                  <a:gd name="connsiteX45" fmla="*/ 45836 w 213600"/>
                  <a:gd name="connsiteY45" fmla="*/ 109646 h 276243"/>
                  <a:gd name="connsiteX46" fmla="*/ 44484 w 213600"/>
                  <a:gd name="connsiteY46" fmla="*/ 78380 h 276243"/>
                  <a:gd name="connsiteX47" fmla="*/ 32828 w 213600"/>
                  <a:gd name="connsiteY47" fmla="*/ 61666 h 276243"/>
                  <a:gd name="connsiteX48" fmla="*/ 41210 w 213600"/>
                  <a:gd name="connsiteY48" fmla="*/ 27410 h 276243"/>
                  <a:gd name="connsiteX49" fmla="*/ 59141 w 213600"/>
                  <a:gd name="connsiteY49" fmla="*/ 169 h 276243"/>
                  <a:gd name="connsiteX50" fmla="*/ 77573 w 213600"/>
                  <a:gd name="connsiteY50" fmla="*/ 2842 h 276243"/>
                  <a:gd name="connsiteX51" fmla="*/ 105422 w 213600"/>
                  <a:gd name="connsiteY51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53716 w 213600"/>
                  <a:gd name="connsiteY26" fmla="*/ 276243 h 276243"/>
                  <a:gd name="connsiteX27" fmla="*/ 41447 w 213600"/>
                  <a:gd name="connsiteY27" fmla="*/ 270223 h 276243"/>
                  <a:gd name="connsiteX28" fmla="*/ 75299 w 213600"/>
                  <a:gd name="connsiteY28" fmla="*/ 238316 h 276243"/>
                  <a:gd name="connsiteX29" fmla="*/ 95962 w 213600"/>
                  <a:gd name="connsiteY29" fmla="*/ 231704 h 276243"/>
                  <a:gd name="connsiteX30" fmla="*/ 59733 w 213600"/>
                  <a:gd name="connsiteY30" fmla="*/ 226566 h 276243"/>
                  <a:gd name="connsiteX31" fmla="*/ 53202 w 213600"/>
                  <a:gd name="connsiteY31" fmla="*/ 214314 h 276243"/>
                  <a:gd name="connsiteX32" fmla="*/ 77322 w 213600"/>
                  <a:gd name="connsiteY32" fmla="*/ 204729 h 276243"/>
                  <a:gd name="connsiteX33" fmla="*/ 64681 w 213600"/>
                  <a:gd name="connsiteY33" fmla="*/ 187983 h 276243"/>
                  <a:gd name="connsiteX34" fmla="*/ 69067 w 213600"/>
                  <a:gd name="connsiteY34" fmla="*/ 167465 h 276243"/>
                  <a:gd name="connsiteX35" fmla="*/ 103372 w 213600"/>
                  <a:gd name="connsiteY35" fmla="*/ 170309 h 276243"/>
                  <a:gd name="connsiteX36" fmla="*/ 103412 w 213600"/>
                  <a:gd name="connsiteY36" fmla="*/ 170312 h 276243"/>
                  <a:gd name="connsiteX37" fmla="*/ 106807 w 213600"/>
                  <a:gd name="connsiteY37" fmla="*/ 152002 h 276243"/>
                  <a:gd name="connsiteX38" fmla="*/ 91348 w 213600"/>
                  <a:gd name="connsiteY38" fmla="*/ 132423 h 276243"/>
                  <a:gd name="connsiteX39" fmla="*/ 90995 w 213600"/>
                  <a:gd name="connsiteY39" fmla="*/ 131974 h 276243"/>
                  <a:gd name="connsiteX40" fmla="*/ 62969 w 213600"/>
                  <a:gd name="connsiteY40" fmla="*/ 126350 h 276243"/>
                  <a:gd name="connsiteX41" fmla="*/ 57467 w 213600"/>
                  <a:gd name="connsiteY41" fmla="*/ 117674 h 276243"/>
                  <a:gd name="connsiteX42" fmla="*/ 65856 w 213600"/>
                  <a:gd name="connsiteY42" fmla="*/ 103279 h 276243"/>
                  <a:gd name="connsiteX43" fmla="*/ 58265 w 213600"/>
                  <a:gd name="connsiteY43" fmla="*/ 94360 h 276243"/>
                  <a:gd name="connsiteX44" fmla="*/ 45836 w 213600"/>
                  <a:gd name="connsiteY44" fmla="*/ 109646 h 276243"/>
                  <a:gd name="connsiteX45" fmla="*/ 44484 w 213600"/>
                  <a:gd name="connsiteY45" fmla="*/ 78380 h 276243"/>
                  <a:gd name="connsiteX46" fmla="*/ 32828 w 213600"/>
                  <a:gd name="connsiteY46" fmla="*/ 61666 h 276243"/>
                  <a:gd name="connsiteX47" fmla="*/ 41210 w 213600"/>
                  <a:gd name="connsiteY47" fmla="*/ 27410 h 276243"/>
                  <a:gd name="connsiteX48" fmla="*/ 59141 w 213600"/>
                  <a:gd name="connsiteY48" fmla="*/ 169 h 276243"/>
                  <a:gd name="connsiteX49" fmla="*/ 77573 w 213600"/>
                  <a:gd name="connsiteY49" fmla="*/ 2842 h 276243"/>
                  <a:gd name="connsiteX50" fmla="*/ 105422 w 213600"/>
                  <a:gd name="connsiteY50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53716 w 213600"/>
                  <a:gd name="connsiteY26" fmla="*/ 276243 h 276243"/>
                  <a:gd name="connsiteX27" fmla="*/ 41447 w 213600"/>
                  <a:gd name="connsiteY27" fmla="*/ 270223 h 276243"/>
                  <a:gd name="connsiteX28" fmla="*/ 75299 w 213600"/>
                  <a:gd name="connsiteY28" fmla="*/ 238316 h 276243"/>
                  <a:gd name="connsiteX29" fmla="*/ 59733 w 213600"/>
                  <a:gd name="connsiteY29" fmla="*/ 226566 h 276243"/>
                  <a:gd name="connsiteX30" fmla="*/ 53202 w 213600"/>
                  <a:gd name="connsiteY30" fmla="*/ 214314 h 276243"/>
                  <a:gd name="connsiteX31" fmla="*/ 77322 w 213600"/>
                  <a:gd name="connsiteY31" fmla="*/ 204729 h 276243"/>
                  <a:gd name="connsiteX32" fmla="*/ 64681 w 213600"/>
                  <a:gd name="connsiteY32" fmla="*/ 187983 h 276243"/>
                  <a:gd name="connsiteX33" fmla="*/ 69067 w 213600"/>
                  <a:gd name="connsiteY33" fmla="*/ 167465 h 276243"/>
                  <a:gd name="connsiteX34" fmla="*/ 103372 w 213600"/>
                  <a:gd name="connsiteY34" fmla="*/ 170309 h 276243"/>
                  <a:gd name="connsiteX35" fmla="*/ 103412 w 213600"/>
                  <a:gd name="connsiteY35" fmla="*/ 170312 h 276243"/>
                  <a:gd name="connsiteX36" fmla="*/ 106807 w 213600"/>
                  <a:gd name="connsiteY36" fmla="*/ 152002 h 276243"/>
                  <a:gd name="connsiteX37" fmla="*/ 91348 w 213600"/>
                  <a:gd name="connsiteY37" fmla="*/ 132423 h 276243"/>
                  <a:gd name="connsiteX38" fmla="*/ 90995 w 213600"/>
                  <a:gd name="connsiteY38" fmla="*/ 131974 h 276243"/>
                  <a:gd name="connsiteX39" fmla="*/ 62969 w 213600"/>
                  <a:gd name="connsiteY39" fmla="*/ 126350 h 276243"/>
                  <a:gd name="connsiteX40" fmla="*/ 57467 w 213600"/>
                  <a:gd name="connsiteY40" fmla="*/ 117674 h 276243"/>
                  <a:gd name="connsiteX41" fmla="*/ 65856 w 213600"/>
                  <a:gd name="connsiteY41" fmla="*/ 103279 h 276243"/>
                  <a:gd name="connsiteX42" fmla="*/ 58265 w 213600"/>
                  <a:gd name="connsiteY42" fmla="*/ 94360 h 276243"/>
                  <a:gd name="connsiteX43" fmla="*/ 45836 w 213600"/>
                  <a:gd name="connsiteY43" fmla="*/ 109646 h 276243"/>
                  <a:gd name="connsiteX44" fmla="*/ 44484 w 213600"/>
                  <a:gd name="connsiteY44" fmla="*/ 78380 h 276243"/>
                  <a:gd name="connsiteX45" fmla="*/ 32828 w 213600"/>
                  <a:gd name="connsiteY45" fmla="*/ 61666 h 276243"/>
                  <a:gd name="connsiteX46" fmla="*/ 41210 w 213600"/>
                  <a:gd name="connsiteY46" fmla="*/ 27410 h 276243"/>
                  <a:gd name="connsiteX47" fmla="*/ 59141 w 213600"/>
                  <a:gd name="connsiteY47" fmla="*/ 169 h 276243"/>
                  <a:gd name="connsiteX48" fmla="*/ 77573 w 213600"/>
                  <a:gd name="connsiteY48" fmla="*/ 2842 h 276243"/>
                  <a:gd name="connsiteX49" fmla="*/ 105422 w 213600"/>
                  <a:gd name="connsiteY49" fmla="*/ 0 h 276243"/>
                  <a:gd name="connsiteX0" fmla="*/ 19350 w 213600"/>
                  <a:gd name="connsiteY0" fmla="*/ 114098 h 276243"/>
                  <a:gd name="connsiteX1" fmla="*/ 44092 w 213600"/>
                  <a:gd name="connsiteY1" fmla="*/ 133901 h 276243"/>
                  <a:gd name="connsiteX2" fmla="*/ 31722 w 213600"/>
                  <a:gd name="connsiteY2" fmla="*/ 155717 h 276243"/>
                  <a:gd name="connsiteX3" fmla="*/ 14275 w 213600"/>
                  <a:gd name="connsiteY3" fmla="*/ 149192 h 276243"/>
                  <a:gd name="connsiteX4" fmla="*/ 0 w 213600"/>
                  <a:gd name="connsiteY4" fmla="*/ 149628 h 276243"/>
                  <a:gd name="connsiteX5" fmla="*/ 4758 w 213600"/>
                  <a:gd name="connsiteY5" fmla="*/ 132586 h 276243"/>
                  <a:gd name="connsiteX6" fmla="*/ 0 w 213600"/>
                  <a:gd name="connsiteY6" fmla="*/ 115424 h 276243"/>
                  <a:gd name="connsiteX7" fmla="*/ 19350 w 213600"/>
                  <a:gd name="connsiteY7" fmla="*/ 114098 h 276243"/>
                  <a:gd name="connsiteX8" fmla="*/ 105422 w 213600"/>
                  <a:gd name="connsiteY8" fmla="*/ 0 h 276243"/>
                  <a:gd name="connsiteX9" fmla="*/ 80751 w 213600"/>
                  <a:gd name="connsiteY9" fmla="*/ 36267 h 276243"/>
                  <a:gd name="connsiteX10" fmla="*/ 104268 w 213600"/>
                  <a:gd name="connsiteY10" fmla="*/ 31707 h 276243"/>
                  <a:gd name="connsiteX11" fmla="*/ 129560 w 213600"/>
                  <a:gd name="connsiteY11" fmla="*/ 31881 h 276243"/>
                  <a:gd name="connsiteX12" fmla="*/ 123542 w 213600"/>
                  <a:gd name="connsiteY12" fmla="*/ 58869 h 276243"/>
                  <a:gd name="connsiteX13" fmla="*/ 102791 w 213600"/>
                  <a:gd name="connsiteY13" fmla="*/ 88196 h 276243"/>
                  <a:gd name="connsiteX14" fmla="*/ 126658 w 213600"/>
                  <a:gd name="connsiteY14" fmla="*/ 90270 h 276243"/>
                  <a:gd name="connsiteX15" fmla="*/ 128489 w 213600"/>
                  <a:gd name="connsiteY15" fmla="*/ 93682 h 276243"/>
                  <a:gd name="connsiteX16" fmla="*/ 149048 w 213600"/>
                  <a:gd name="connsiteY16" fmla="*/ 131655 h 276243"/>
                  <a:gd name="connsiteX17" fmla="*/ 164849 w 213600"/>
                  <a:gd name="connsiteY17" fmla="*/ 136778 h 276243"/>
                  <a:gd name="connsiteX18" fmla="*/ 179055 w 213600"/>
                  <a:gd name="connsiteY18" fmla="*/ 172807 h 276243"/>
                  <a:gd name="connsiteX19" fmla="*/ 185634 w 213600"/>
                  <a:gd name="connsiteY19" fmla="*/ 185174 h 276243"/>
                  <a:gd name="connsiteX20" fmla="*/ 213600 w 213600"/>
                  <a:gd name="connsiteY20" fmla="*/ 191116 h 276243"/>
                  <a:gd name="connsiteX21" fmla="*/ 210794 w 213600"/>
                  <a:gd name="connsiteY21" fmla="*/ 210960 h 276243"/>
                  <a:gd name="connsiteX22" fmla="*/ 199035 w 213600"/>
                  <a:gd name="connsiteY22" fmla="*/ 220006 h 276243"/>
                  <a:gd name="connsiteX23" fmla="*/ 208252 w 213600"/>
                  <a:gd name="connsiteY23" fmla="*/ 235886 h 276243"/>
                  <a:gd name="connsiteX24" fmla="*/ 187489 w 213600"/>
                  <a:gd name="connsiteY24" fmla="*/ 251860 h 276243"/>
                  <a:gd name="connsiteX25" fmla="*/ 156608 w 213600"/>
                  <a:gd name="connsiteY25" fmla="*/ 251579 h 276243"/>
                  <a:gd name="connsiteX26" fmla="*/ 53716 w 213600"/>
                  <a:gd name="connsiteY26" fmla="*/ 276243 h 276243"/>
                  <a:gd name="connsiteX27" fmla="*/ 75299 w 213600"/>
                  <a:gd name="connsiteY27" fmla="*/ 238316 h 276243"/>
                  <a:gd name="connsiteX28" fmla="*/ 59733 w 213600"/>
                  <a:gd name="connsiteY28" fmla="*/ 226566 h 276243"/>
                  <a:gd name="connsiteX29" fmla="*/ 53202 w 213600"/>
                  <a:gd name="connsiteY29" fmla="*/ 214314 h 276243"/>
                  <a:gd name="connsiteX30" fmla="*/ 77322 w 213600"/>
                  <a:gd name="connsiteY30" fmla="*/ 204729 h 276243"/>
                  <a:gd name="connsiteX31" fmla="*/ 64681 w 213600"/>
                  <a:gd name="connsiteY31" fmla="*/ 187983 h 276243"/>
                  <a:gd name="connsiteX32" fmla="*/ 69067 w 213600"/>
                  <a:gd name="connsiteY32" fmla="*/ 167465 h 276243"/>
                  <a:gd name="connsiteX33" fmla="*/ 103372 w 213600"/>
                  <a:gd name="connsiteY33" fmla="*/ 170309 h 276243"/>
                  <a:gd name="connsiteX34" fmla="*/ 103412 w 213600"/>
                  <a:gd name="connsiteY34" fmla="*/ 170312 h 276243"/>
                  <a:gd name="connsiteX35" fmla="*/ 106807 w 213600"/>
                  <a:gd name="connsiteY35" fmla="*/ 152002 h 276243"/>
                  <a:gd name="connsiteX36" fmla="*/ 91348 w 213600"/>
                  <a:gd name="connsiteY36" fmla="*/ 132423 h 276243"/>
                  <a:gd name="connsiteX37" fmla="*/ 90995 w 213600"/>
                  <a:gd name="connsiteY37" fmla="*/ 131974 h 276243"/>
                  <a:gd name="connsiteX38" fmla="*/ 62969 w 213600"/>
                  <a:gd name="connsiteY38" fmla="*/ 126350 h 276243"/>
                  <a:gd name="connsiteX39" fmla="*/ 57467 w 213600"/>
                  <a:gd name="connsiteY39" fmla="*/ 117674 h 276243"/>
                  <a:gd name="connsiteX40" fmla="*/ 65856 w 213600"/>
                  <a:gd name="connsiteY40" fmla="*/ 103279 h 276243"/>
                  <a:gd name="connsiteX41" fmla="*/ 58265 w 213600"/>
                  <a:gd name="connsiteY41" fmla="*/ 94360 h 276243"/>
                  <a:gd name="connsiteX42" fmla="*/ 45836 w 213600"/>
                  <a:gd name="connsiteY42" fmla="*/ 109646 h 276243"/>
                  <a:gd name="connsiteX43" fmla="*/ 44484 w 213600"/>
                  <a:gd name="connsiteY43" fmla="*/ 78380 h 276243"/>
                  <a:gd name="connsiteX44" fmla="*/ 32828 w 213600"/>
                  <a:gd name="connsiteY44" fmla="*/ 61666 h 276243"/>
                  <a:gd name="connsiteX45" fmla="*/ 41210 w 213600"/>
                  <a:gd name="connsiteY45" fmla="*/ 27410 h 276243"/>
                  <a:gd name="connsiteX46" fmla="*/ 59141 w 213600"/>
                  <a:gd name="connsiteY46" fmla="*/ 169 h 276243"/>
                  <a:gd name="connsiteX47" fmla="*/ 77573 w 213600"/>
                  <a:gd name="connsiteY47" fmla="*/ 2842 h 276243"/>
                  <a:gd name="connsiteX48" fmla="*/ 105422 w 213600"/>
                  <a:gd name="connsiteY48" fmla="*/ 0 h 276243"/>
                  <a:gd name="connsiteX0" fmla="*/ 19350 w 213600"/>
                  <a:gd name="connsiteY0" fmla="*/ 114098 h 251860"/>
                  <a:gd name="connsiteX1" fmla="*/ 44092 w 213600"/>
                  <a:gd name="connsiteY1" fmla="*/ 133901 h 251860"/>
                  <a:gd name="connsiteX2" fmla="*/ 31722 w 213600"/>
                  <a:gd name="connsiteY2" fmla="*/ 155717 h 251860"/>
                  <a:gd name="connsiteX3" fmla="*/ 14275 w 213600"/>
                  <a:gd name="connsiteY3" fmla="*/ 149192 h 251860"/>
                  <a:gd name="connsiteX4" fmla="*/ 0 w 213600"/>
                  <a:gd name="connsiteY4" fmla="*/ 149628 h 251860"/>
                  <a:gd name="connsiteX5" fmla="*/ 4758 w 213600"/>
                  <a:gd name="connsiteY5" fmla="*/ 132586 h 251860"/>
                  <a:gd name="connsiteX6" fmla="*/ 0 w 213600"/>
                  <a:gd name="connsiteY6" fmla="*/ 115424 h 251860"/>
                  <a:gd name="connsiteX7" fmla="*/ 19350 w 213600"/>
                  <a:gd name="connsiteY7" fmla="*/ 114098 h 251860"/>
                  <a:gd name="connsiteX8" fmla="*/ 105422 w 213600"/>
                  <a:gd name="connsiteY8" fmla="*/ 0 h 251860"/>
                  <a:gd name="connsiteX9" fmla="*/ 80751 w 213600"/>
                  <a:gd name="connsiteY9" fmla="*/ 36267 h 251860"/>
                  <a:gd name="connsiteX10" fmla="*/ 104268 w 213600"/>
                  <a:gd name="connsiteY10" fmla="*/ 31707 h 251860"/>
                  <a:gd name="connsiteX11" fmla="*/ 129560 w 213600"/>
                  <a:gd name="connsiteY11" fmla="*/ 31881 h 251860"/>
                  <a:gd name="connsiteX12" fmla="*/ 123542 w 213600"/>
                  <a:gd name="connsiteY12" fmla="*/ 58869 h 251860"/>
                  <a:gd name="connsiteX13" fmla="*/ 102791 w 213600"/>
                  <a:gd name="connsiteY13" fmla="*/ 88196 h 251860"/>
                  <a:gd name="connsiteX14" fmla="*/ 126658 w 213600"/>
                  <a:gd name="connsiteY14" fmla="*/ 90270 h 251860"/>
                  <a:gd name="connsiteX15" fmla="*/ 128489 w 213600"/>
                  <a:gd name="connsiteY15" fmla="*/ 93682 h 251860"/>
                  <a:gd name="connsiteX16" fmla="*/ 149048 w 213600"/>
                  <a:gd name="connsiteY16" fmla="*/ 131655 h 251860"/>
                  <a:gd name="connsiteX17" fmla="*/ 164849 w 213600"/>
                  <a:gd name="connsiteY17" fmla="*/ 136778 h 251860"/>
                  <a:gd name="connsiteX18" fmla="*/ 179055 w 213600"/>
                  <a:gd name="connsiteY18" fmla="*/ 172807 h 251860"/>
                  <a:gd name="connsiteX19" fmla="*/ 185634 w 213600"/>
                  <a:gd name="connsiteY19" fmla="*/ 185174 h 251860"/>
                  <a:gd name="connsiteX20" fmla="*/ 213600 w 213600"/>
                  <a:gd name="connsiteY20" fmla="*/ 191116 h 251860"/>
                  <a:gd name="connsiteX21" fmla="*/ 210794 w 213600"/>
                  <a:gd name="connsiteY21" fmla="*/ 210960 h 251860"/>
                  <a:gd name="connsiteX22" fmla="*/ 199035 w 213600"/>
                  <a:gd name="connsiteY22" fmla="*/ 220006 h 251860"/>
                  <a:gd name="connsiteX23" fmla="*/ 208252 w 213600"/>
                  <a:gd name="connsiteY23" fmla="*/ 235886 h 251860"/>
                  <a:gd name="connsiteX24" fmla="*/ 187489 w 213600"/>
                  <a:gd name="connsiteY24" fmla="*/ 251860 h 251860"/>
                  <a:gd name="connsiteX25" fmla="*/ 156608 w 213600"/>
                  <a:gd name="connsiteY25" fmla="*/ 251579 h 251860"/>
                  <a:gd name="connsiteX26" fmla="*/ 75299 w 213600"/>
                  <a:gd name="connsiteY26" fmla="*/ 238316 h 251860"/>
                  <a:gd name="connsiteX27" fmla="*/ 59733 w 213600"/>
                  <a:gd name="connsiteY27" fmla="*/ 226566 h 251860"/>
                  <a:gd name="connsiteX28" fmla="*/ 53202 w 213600"/>
                  <a:gd name="connsiteY28" fmla="*/ 214314 h 251860"/>
                  <a:gd name="connsiteX29" fmla="*/ 77322 w 213600"/>
                  <a:gd name="connsiteY29" fmla="*/ 204729 h 251860"/>
                  <a:gd name="connsiteX30" fmla="*/ 64681 w 213600"/>
                  <a:gd name="connsiteY30" fmla="*/ 187983 h 251860"/>
                  <a:gd name="connsiteX31" fmla="*/ 69067 w 213600"/>
                  <a:gd name="connsiteY31" fmla="*/ 167465 h 251860"/>
                  <a:gd name="connsiteX32" fmla="*/ 103372 w 213600"/>
                  <a:gd name="connsiteY32" fmla="*/ 170309 h 251860"/>
                  <a:gd name="connsiteX33" fmla="*/ 103412 w 213600"/>
                  <a:gd name="connsiteY33" fmla="*/ 170312 h 251860"/>
                  <a:gd name="connsiteX34" fmla="*/ 106807 w 213600"/>
                  <a:gd name="connsiteY34" fmla="*/ 152002 h 251860"/>
                  <a:gd name="connsiteX35" fmla="*/ 91348 w 213600"/>
                  <a:gd name="connsiteY35" fmla="*/ 132423 h 251860"/>
                  <a:gd name="connsiteX36" fmla="*/ 90995 w 213600"/>
                  <a:gd name="connsiteY36" fmla="*/ 131974 h 251860"/>
                  <a:gd name="connsiteX37" fmla="*/ 62969 w 213600"/>
                  <a:gd name="connsiteY37" fmla="*/ 126350 h 251860"/>
                  <a:gd name="connsiteX38" fmla="*/ 57467 w 213600"/>
                  <a:gd name="connsiteY38" fmla="*/ 117674 h 251860"/>
                  <a:gd name="connsiteX39" fmla="*/ 65856 w 213600"/>
                  <a:gd name="connsiteY39" fmla="*/ 103279 h 251860"/>
                  <a:gd name="connsiteX40" fmla="*/ 58265 w 213600"/>
                  <a:gd name="connsiteY40" fmla="*/ 94360 h 251860"/>
                  <a:gd name="connsiteX41" fmla="*/ 45836 w 213600"/>
                  <a:gd name="connsiteY41" fmla="*/ 109646 h 251860"/>
                  <a:gd name="connsiteX42" fmla="*/ 44484 w 213600"/>
                  <a:gd name="connsiteY42" fmla="*/ 78380 h 251860"/>
                  <a:gd name="connsiteX43" fmla="*/ 32828 w 213600"/>
                  <a:gd name="connsiteY43" fmla="*/ 61666 h 251860"/>
                  <a:gd name="connsiteX44" fmla="*/ 41210 w 213600"/>
                  <a:gd name="connsiteY44" fmla="*/ 27410 h 251860"/>
                  <a:gd name="connsiteX45" fmla="*/ 59141 w 213600"/>
                  <a:gd name="connsiteY45" fmla="*/ 169 h 251860"/>
                  <a:gd name="connsiteX46" fmla="*/ 77573 w 213600"/>
                  <a:gd name="connsiteY46" fmla="*/ 2842 h 251860"/>
                  <a:gd name="connsiteX47" fmla="*/ 105422 w 213600"/>
                  <a:gd name="connsiteY47" fmla="*/ 0 h 251860"/>
                  <a:gd name="connsiteX0" fmla="*/ 19350 w 213600"/>
                  <a:gd name="connsiteY0" fmla="*/ 114098 h 251860"/>
                  <a:gd name="connsiteX1" fmla="*/ 44092 w 213600"/>
                  <a:gd name="connsiteY1" fmla="*/ 133901 h 251860"/>
                  <a:gd name="connsiteX2" fmla="*/ 31722 w 213600"/>
                  <a:gd name="connsiteY2" fmla="*/ 155717 h 251860"/>
                  <a:gd name="connsiteX3" fmla="*/ 14275 w 213600"/>
                  <a:gd name="connsiteY3" fmla="*/ 149192 h 251860"/>
                  <a:gd name="connsiteX4" fmla="*/ 0 w 213600"/>
                  <a:gd name="connsiteY4" fmla="*/ 149628 h 251860"/>
                  <a:gd name="connsiteX5" fmla="*/ 4758 w 213600"/>
                  <a:gd name="connsiteY5" fmla="*/ 132586 h 251860"/>
                  <a:gd name="connsiteX6" fmla="*/ 0 w 213600"/>
                  <a:gd name="connsiteY6" fmla="*/ 115424 h 251860"/>
                  <a:gd name="connsiteX7" fmla="*/ 19350 w 213600"/>
                  <a:gd name="connsiteY7" fmla="*/ 114098 h 251860"/>
                  <a:gd name="connsiteX8" fmla="*/ 105422 w 213600"/>
                  <a:gd name="connsiteY8" fmla="*/ 0 h 251860"/>
                  <a:gd name="connsiteX9" fmla="*/ 80751 w 213600"/>
                  <a:gd name="connsiteY9" fmla="*/ 36267 h 251860"/>
                  <a:gd name="connsiteX10" fmla="*/ 104268 w 213600"/>
                  <a:gd name="connsiteY10" fmla="*/ 31707 h 251860"/>
                  <a:gd name="connsiteX11" fmla="*/ 129560 w 213600"/>
                  <a:gd name="connsiteY11" fmla="*/ 31881 h 251860"/>
                  <a:gd name="connsiteX12" fmla="*/ 123542 w 213600"/>
                  <a:gd name="connsiteY12" fmla="*/ 58869 h 251860"/>
                  <a:gd name="connsiteX13" fmla="*/ 102791 w 213600"/>
                  <a:gd name="connsiteY13" fmla="*/ 88196 h 251860"/>
                  <a:gd name="connsiteX14" fmla="*/ 126658 w 213600"/>
                  <a:gd name="connsiteY14" fmla="*/ 90270 h 251860"/>
                  <a:gd name="connsiteX15" fmla="*/ 128489 w 213600"/>
                  <a:gd name="connsiteY15" fmla="*/ 93682 h 251860"/>
                  <a:gd name="connsiteX16" fmla="*/ 149048 w 213600"/>
                  <a:gd name="connsiteY16" fmla="*/ 131655 h 251860"/>
                  <a:gd name="connsiteX17" fmla="*/ 164849 w 213600"/>
                  <a:gd name="connsiteY17" fmla="*/ 136778 h 251860"/>
                  <a:gd name="connsiteX18" fmla="*/ 179055 w 213600"/>
                  <a:gd name="connsiteY18" fmla="*/ 172807 h 251860"/>
                  <a:gd name="connsiteX19" fmla="*/ 185634 w 213600"/>
                  <a:gd name="connsiteY19" fmla="*/ 185174 h 251860"/>
                  <a:gd name="connsiteX20" fmla="*/ 213600 w 213600"/>
                  <a:gd name="connsiteY20" fmla="*/ 191116 h 251860"/>
                  <a:gd name="connsiteX21" fmla="*/ 210794 w 213600"/>
                  <a:gd name="connsiteY21" fmla="*/ 210960 h 251860"/>
                  <a:gd name="connsiteX22" fmla="*/ 199035 w 213600"/>
                  <a:gd name="connsiteY22" fmla="*/ 220006 h 251860"/>
                  <a:gd name="connsiteX23" fmla="*/ 208252 w 213600"/>
                  <a:gd name="connsiteY23" fmla="*/ 235886 h 251860"/>
                  <a:gd name="connsiteX24" fmla="*/ 187489 w 213600"/>
                  <a:gd name="connsiteY24" fmla="*/ 251860 h 251860"/>
                  <a:gd name="connsiteX25" fmla="*/ 75299 w 213600"/>
                  <a:gd name="connsiteY25" fmla="*/ 238316 h 251860"/>
                  <a:gd name="connsiteX26" fmla="*/ 59733 w 213600"/>
                  <a:gd name="connsiteY26" fmla="*/ 226566 h 251860"/>
                  <a:gd name="connsiteX27" fmla="*/ 53202 w 213600"/>
                  <a:gd name="connsiteY27" fmla="*/ 214314 h 251860"/>
                  <a:gd name="connsiteX28" fmla="*/ 77322 w 213600"/>
                  <a:gd name="connsiteY28" fmla="*/ 204729 h 251860"/>
                  <a:gd name="connsiteX29" fmla="*/ 64681 w 213600"/>
                  <a:gd name="connsiteY29" fmla="*/ 187983 h 251860"/>
                  <a:gd name="connsiteX30" fmla="*/ 69067 w 213600"/>
                  <a:gd name="connsiteY30" fmla="*/ 167465 h 251860"/>
                  <a:gd name="connsiteX31" fmla="*/ 103372 w 213600"/>
                  <a:gd name="connsiteY31" fmla="*/ 170309 h 251860"/>
                  <a:gd name="connsiteX32" fmla="*/ 103412 w 213600"/>
                  <a:gd name="connsiteY32" fmla="*/ 170312 h 251860"/>
                  <a:gd name="connsiteX33" fmla="*/ 106807 w 213600"/>
                  <a:gd name="connsiteY33" fmla="*/ 152002 h 251860"/>
                  <a:gd name="connsiteX34" fmla="*/ 91348 w 213600"/>
                  <a:gd name="connsiteY34" fmla="*/ 132423 h 251860"/>
                  <a:gd name="connsiteX35" fmla="*/ 90995 w 213600"/>
                  <a:gd name="connsiteY35" fmla="*/ 131974 h 251860"/>
                  <a:gd name="connsiteX36" fmla="*/ 62969 w 213600"/>
                  <a:gd name="connsiteY36" fmla="*/ 126350 h 251860"/>
                  <a:gd name="connsiteX37" fmla="*/ 57467 w 213600"/>
                  <a:gd name="connsiteY37" fmla="*/ 117674 h 251860"/>
                  <a:gd name="connsiteX38" fmla="*/ 65856 w 213600"/>
                  <a:gd name="connsiteY38" fmla="*/ 103279 h 251860"/>
                  <a:gd name="connsiteX39" fmla="*/ 58265 w 213600"/>
                  <a:gd name="connsiteY39" fmla="*/ 94360 h 251860"/>
                  <a:gd name="connsiteX40" fmla="*/ 45836 w 213600"/>
                  <a:gd name="connsiteY40" fmla="*/ 109646 h 251860"/>
                  <a:gd name="connsiteX41" fmla="*/ 44484 w 213600"/>
                  <a:gd name="connsiteY41" fmla="*/ 78380 h 251860"/>
                  <a:gd name="connsiteX42" fmla="*/ 32828 w 213600"/>
                  <a:gd name="connsiteY42" fmla="*/ 61666 h 251860"/>
                  <a:gd name="connsiteX43" fmla="*/ 41210 w 213600"/>
                  <a:gd name="connsiteY43" fmla="*/ 27410 h 251860"/>
                  <a:gd name="connsiteX44" fmla="*/ 59141 w 213600"/>
                  <a:gd name="connsiteY44" fmla="*/ 169 h 251860"/>
                  <a:gd name="connsiteX45" fmla="*/ 77573 w 213600"/>
                  <a:gd name="connsiteY45" fmla="*/ 2842 h 251860"/>
                  <a:gd name="connsiteX46" fmla="*/ 105422 w 213600"/>
                  <a:gd name="connsiteY46" fmla="*/ 0 h 251860"/>
                  <a:gd name="connsiteX0" fmla="*/ 19350 w 213600"/>
                  <a:gd name="connsiteY0" fmla="*/ 114098 h 238316"/>
                  <a:gd name="connsiteX1" fmla="*/ 44092 w 213600"/>
                  <a:gd name="connsiteY1" fmla="*/ 133901 h 238316"/>
                  <a:gd name="connsiteX2" fmla="*/ 31722 w 213600"/>
                  <a:gd name="connsiteY2" fmla="*/ 155717 h 238316"/>
                  <a:gd name="connsiteX3" fmla="*/ 14275 w 213600"/>
                  <a:gd name="connsiteY3" fmla="*/ 149192 h 238316"/>
                  <a:gd name="connsiteX4" fmla="*/ 0 w 213600"/>
                  <a:gd name="connsiteY4" fmla="*/ 149628 h 238316"/>
                  <a:gd name="connsiteX5" fmla="*/ 4758 w 213600"/>
                  <a:gd name="connsiteY5" fmla="*/ 132586 h 238316"/>
                  <a:gd name="connsiteX6" fmla="*/ 0 w 213600"/>
                  <a:gd name="connsiteY6" fmla="*/ 115424 h 238316"/>
                  <a:gd name="connsiteX7" fmla="*/ 19350 w 213600"/>
                  <a:gd name="connsiteY7" fmla="*/ 114098 h 238316"/>
                  <a:gd name="connsiteX8" fmla="*/ 105422 w 213600"/>
                  <a:gd name="connsiteY8" fmla="*/ 0 h 238316"/>
                  <a:gd name="connsiteX9" fmla="*/ 80751 w 213600"/>
                  <a:gd name="connsiteY9" fmla="*/ 36267 h 238316"/>
                  <a:gd name="connsiteX10" fmla="*/ 104268 w 213600"/>
                  <a:gd name="connsiteY10" fmla="*/ 31707 h 238316"/>
                  <a:gd name="connsiteX11" fmla="*/ 129560 w 213600"/>
                  <a:gd name="connsiteY11" fmla="*/ 31881 h 238316"/>
                  <a:gd name="connsiteX12" fmla="*/ 123542 w 213600"/>
                  <a:gd name="connsiteY12" fmla="*/ 58869 h 238316"/>
                  <a:gd name="connsiteX13" fmla="*/ 102791 w 213600"/>
                  <a:gd name="connsiteY13" fmla="*/ 88196 h 238316"/>
                  <a:gd name="connsiteX14" fmla="*/ 126658 w 213600"/>
                  <a:gd name="connsiteY14" fmla="*/ 90270 h 238316"/>
                  <a:gd name="connsiteX15" fmla="*/ 128489 w 213600"/>
                  <a:gd name="connsiteY15" fmla="*/ 93682 h 238316"/>
                  <a:gd name="connsiteX16" fmla="*/ 149048 w 213600"/>
                  <a:gd name="connsiteY16" fmla="*/ 131655 h 238316"/>
                  <a:gd name="connsiteX17" fmla="*/ 164849 w 213600"/>
                  <a:gd name="connsiteY17" fmla="*/ 136778 h 238316"/>
                  <a:gd name="connsiteX18" fmla="*/ 179055 w 213600"/>
                  <a:gd name="connsiteY18" fmla="*/ 172807 h 238316"/>
                  <a:gd name="connsiteX19" fmla="*/ 185634 w 213600"/>
                  <a:gd name="connsiteY19" fmla="*/ 185174 h 238316"/>
                  <a:gd name="connsiteX20" fmla="*/ 213600 w 213600"/>
                  <a:gd name="connsiteY20" fmla="*/ 191116 h 238316"/>
                  <a:gd name="connsiteX21" fmla="*/ 210794 w 213600"/>
                  <a:gd name="connsiteY21" fmla="*/ 210960 h 238316"/>
                  <a:gd name="connsiteX22" fmla="*/ 199035 w 213600"/>
                  <a:gd name="connsiteY22" fmla="*/ 220006 h 238316"/>
                  <a:gd name="connsiteX23" fmla="*/ 208252 w 213600"/>
                  <a:gd name="connsiteY23" fmla="*/ 235886 h 238316"/>
                  <a:gd name="connsiteX24" fmla="*/ 75299 w 213600"/>
                  <a:gd name="connsiteY24" fmla="*/ 238316 h 238316"/>
                  <a:gd name="connsiteX25" fmla="*/ 59733 w 213600"/>
                  <a:gd name="connsiteY25" fmla="*/ 226566 h 238316"/>
                  <a:gd name="connsiteX26" fmla="*/ 53202 w 213600"/>
                  <a:gd name="connsiteY26" fmla="*/ 214314 h 238316"/>
                  <a:gd name="connsiteX27" fmla="*/ 77322 w 213600"/>
                  <a:gd name="connsiteY27" fmla="*/ 204729 h 238316"/>
                  <a:gd name="connsiteX28" fmla="*/ 64681 w 213600"/>
                  <a:gd name="connsiteY28" fmla="*/ 187983 h 238316"/>
                  <a:gd name="connsiteX29" fmla="*/ 69067 w 213600"/>
                  <a:gd name="connsiteY29" fmla="*/ 167465 h 238316"/>
                  <a:gd name="connsiteX30" fmla="*/ 103372 w 213600"/>
                  <a:gd name="connsiteY30" fmla="*/ 170309 h 238316"/>
                  <a:gd name="connsiteX31" fmla="*/ 103412 w 213600"/>
                  <a:gd name="connsiteY31" fmla="*/ 170312 h 238316"/>
                  <a:gd name="connsiteX32" fmla="*/ 106807 w 213600"/>
                  <a:gd name="connsiteY32" fmla="*/ 152002 h 238316"/>
                  <a:gd name="connsiteX33" fmla="*/ 91348 w 213600"/>
                  <a:gd name="connsiteY33" fmla="*/ 132423 h 238316"/>
                  <a:gd name="connsiteX34" fmla="*/ 90995 w 213600"/>
                  <a:gd name="connsiteY34" fmla="*/ 131974 h 238316"/>
                  <a:gd name="connsiteX35" fmla="*/ 62969 w 213600"/>
                  <a:gd name="connsiteY35" fmla="*/ 126350 h 238316"/>
                  <a:gd name="connsiteX36" fmla="*/ 57467 w 213600"/>
                  <a:gd name="connsiteY36" fmla="*/ 117674 h 238316"/>
                  <a:gd name="connsiteX37" fmla="*/ 65856 w 213600"/>
                  <a:gd name="connsiteY37" fmla="*/ 103279 h 238316"/>
                  <a:gd name="connsiteX38" fmla="*/ 58265 w 213600"/>
                  <a:gd name="connsiteY38" fmla="*/ 94360 h 238316"/>
                  <a:gd name="connsiteX39" fmla="*/ 45836 w 213600"/>
                  <a:gd name="connsiteY39" fmla="*/ 109646 h 238316"/>
                  <a:gd name="connsiteX40" fmla="*/ 44484 w 213600"/>
                  <a:gd name="connsiteY40" fmla="*/ 78380 h 238316"/>
                  <a:gd name="connsiteX41" fmla="*/ 32828 w 213600"/>
                  <a:gd name="connsiteY41" fmla="*/ 61666 h 238316"/>
                  <a:gd name="connsiteX42" fmla="*/ 41210 w 213600"/>
                  <a:gd name="connsiteY42" fmla="*/ 27410 h 238316"/>
                  <a:gd name="connsiteX43" fmla="*/ 59141 w 213600"/>
                  <a:gd name="connsiteY43" fmla="*/ 169 h 238316"/>
                  <a:gd name="connsiteX44" fmla="*/ 77573 w 213600"/>
                  <a:gd name="connsiteY44" fmla="*/ 2842 h 238316"/>
                  <a:gd name="connsiteX45" fmla="*/ 105422 w 213600"/>
                  <a:gd name="connsiteY45" fmla="*/ 0 h 238316"/>
                  <a:gd name="connsiteX0" fmla="*/ 19350 w 213600"/>
                  <a:gd name="connsiteY0" fmla="*/ 114098 h 238316"/>
                  <a:gd name="connsiteX1" fmla="*/ 44092 w 213600"/>
                  <a:gd name="connsiteY1" fmla="*/ 133901 h 238316"/>
                  <a:gd name="connsiteX2" fmla="*/ 31722 w 213600"/>
                  <a:gd name="connsiteY2" fmla="*/ 155717 h 238316"/>
                  <a:gd name="connsiteX3" fmla="*/ 14275 w 213600"/>
                  <a:gd name="connsiteY3" fmla="*/ 149192 h 238316"/>
                  <a:gd name="connsiteX4" fmla="*/ 0 w 213600"/>
                  <a:gd name="connsiteY4" fmla="*/ 149628 h 238316"/>
                  <a:gd name="connsiteX5" fmla="*/ 4758 w 213600"/>
                  <a:gd name="connsiteY5" fmla="*/ 132586 h 238316"/>
                  <a:gd name="connsiteX6" fmla="*/ 0 w 213600"/>
                  <a:gd name="connsiteY6" fmla="*/ 115424 h 238316"/>
                  <a:gd name="connsiteX7" fmla="*/ 19350 w 213600"/>
                  <a:gd name="connsiteY7" fmla="*/ 114098 h 238316"/>
                  <a:gd name="connsiteX8" fmla="*/ 105422 w 213600"/>
                  <a:gd name="connsiteY8" fmla="*/ 0 h 238316"/>
                  <a:gd name="connsiteX9" fmla="*/ 80751 w 213600"/>
                  <a:gd name="connsiteY9" fmla="*/ 36267 h 238316"/>
                  <a:gd name="connsiteX10" fmla="*/ 104268 w 213600"/>
                  <a:gd name="connsiteY10" fmla="*/ 31707 h 238316"/>
                  <a:gd name="connsiteX11" fmla="*/ 129560 w 213600"/>
                  <a:gd name="connsiteY11" fmla="*/ 31881 h 238316"/>
                  <a:gd name="connsiteX12" fmla="*/ 123542 w 213600"/>
                  <a:gd name="connsiteY12" fmla="*/ 58869 h 238316"/>
                  <a:gd name="connsiteX13" fmla="*/ 102791 w 213600"/>
                  <a:gd name="connsiteY13" fmla="*/ 88196 h 238316"/>
                  <a:gd name="connsiteX14" fmla="*/ 126658 w 213600"/>
                  <a:gd name="connsiteY14" fmla="*/ 90270 h 238316"/>
                  <a:gd name="connsiteX15" fmla="*/ 128489 w 213600"/>
                  <a:gd name="connsiteY15" fmla="*/ 93682 h 238316"/>
                  <a:gd name="connsiteX16" fmla="*/ 149048 w 213600"/>
                  <a:gd name="connsiteY16" fmla="*/ 131655 h 238316"/>
                  <a:gd name="connsiteX17" fmla="*/ 164849 w 213600"/>
                  <a:gd name="connsiteY17" fmla="*/ 136778 h 238316"/>
                  <a:gd name="connsiteX18" fmla="*/ 179055 w 213600"/>
                  <a:gd name="connsiteY18" fmla="*/ 172807 h 238316"/>
                  <a:gd name="connsiteX19" fmla="*/ 185634 w 213600"/>
                  <a:gd name="connsiteY19" fmla="*/ 185174 h 238316"/>
                  <a:gd name="connsiteX20" fmla="*/ 213600 w 213600"/>
                  <a:gd name="connsiteY20" fmla="*/ 191116 h 238316"/>
                  <a:gd name="connsiteX21" fmla="*/ 210794 w 213600"/>
                  <a:gd name="connsiteY21" fmla="*/ 210960 h 238316"/>
                  <a:gd name="connsiteX22" fmla="*/ 199035 w 213600"/>
                  <a:gd name="connsiteY22" fmla="*/ 220006 h 238316"/>
                  <a:gd name="connsiteX23" fmla="*/ 75299 w 213600"/>
                  <a:gd name="connsiteY23" fmla="*/ 238316 h 238316"/>
                  <a:gd name="connsiteX24" fmla="*/ 59733 w 213600"/>
                  <a:gd name="connsiteY24" fmla="*/ 226566 h 238316"/>
                  <a:gd name="connsiteX25" fmla="*/ 53202 w 213600"/>
                  <a:gd name="connsiteY25" fmla="*/ 214314 h 238316"/>
                  <a:gd name="connsiteX26" fmla="*/ 77322 w 213600"/>
                  <a:gd name="connsiteY26" fmla="*/ 204729 h 238316"/>
                  <a:gd name="connsiteX27" fmla="*/ 64681 w 213600"/>
                  <a:gd name="connsiteY27" fmla="*/ 187983 h 238316"/>
                  <a:gd name="connsiteX28" fmla="*/ 69067 w 213600"/>
                  <a:gd name="connsiteY28" fmla="*/ 167465 h 238316"/>
                  <a:gd name="connsiteX29" fmla="*/ 103372 w 213600"/>
                  <a:gd name="connsiteY29" fmla="*/ 170309 h 238316"/>
                  <a:gd name="connsiteX30" fmla="*/ 103412 w 213600"/>
                  <a:gd name="connsiteY30" fmla="*/ 170312 h 238316"/>
                  <a:gd name="connsiteX31" fmla="*/ 106807 w 213600"/>
                  <a:gd name="connsiteY31" fmla="*/ 152002 h 238316"/>
                  <a:gd name="connsiteX32" fmla="*/ 91348 w 213600"/>
                  <a:gd name="connsiteY32" fmla="*/ 132423 h 238316"/>
                  <a:gd name="connsiteX33" fmla="*/ 90995 w 213600"/>
                  <a:gd name="connsiteY33" fmla="*/ 131974 h 238316"/>
                  <a:gd name="connsiteX34" fmla="*/ 62969 w 213600"/>
                  <a:gd name="connsiteY34" fmla="*/ 126350 h 238316"/>
                  <a:gd name="connsiteX35" fmla="*/ 57467 w 213600"/>
                  <a:gd name="connsiteY35" fmla="*/ 117674 h 238316"/>
                  <a:gd name="connsiteX36" fmla="*/ 65856 w 213600"/>
                  <a:gd name="connsiteY36" fmla="*/ 103279 h 238316"/>
                  <a:gd name="connsiteX37" fmla="*/ 58265 w 213600"/>
                  <a:gd name="connsiteY37" fmla="*/ 94360 h 238316"/>
                  <a:gd name="connsiteX38" fmla="*/ 45836 w 213600"/>
                  <a:gd name="connsiteY38" fmla="*/ 109646 h 238316"/>
                  <a:gd name="connsiteX39" fmla="*/ 44484 w 213600"/>
                  <a:gd name="connsiteY39" fmla="*/ 78380 h 238316"/>
                  <a:gd name="connsiteX40" fmla="*/ 32828 w 213600"/>
                  <a:gd name="connsiteY40" fmla="*/ 61666 h 238316"/>
                  <a:gd name="connsiteX41" fmla="*/ 41210 w 213600"/>
                  <a:gd name="connsiteY41" fmla="*/ 27410 h 238316"/>
                  <a:gd name="connsiteX42" fmla="*/ 59141 w 213600"/>
                  <a:gd name="connsiteY42" fmla="*/ 169 h 238316"/>
                  <a:gd name="connsiteX43" fmla="*/ 77573 w 213600"/>
                  <a:gd name="connsiteY43" fmla="*/ 2842 h 238316"/>
                  <a:gd name="connsiteX44" fmla="*/ 105422 w 213600"/>
                  <a:gd name="connsiteY44" fmla="*/ 0 h 238316"/>
                  <a:gd name="connsiteX0" fmla="*/ 19350 w 213600"/>
                  <a:gd name="connsiteY0" fmla="*/ 114098 h 238316"/>
                  <a:gd name="connsiteX1" fmla="*/ 44092 w 213600"/>
                  <a:gd name="connsiteY1" fmla="*/ 133901 h 238316"/>
                  <a:gd name="connsiteX2" fmla="*/ 31722 w 213600"/>
                  <a:gd name="connsiteY2" fmla="*/ 155717 h 238316"/>
                  <a:gd name="connsiteX3" fmla="*/ 14275 w 213600"/>
                  <a:gd name="connsiteY3" fmla="*/ 149192 h 238316"/>
                  <a:gd name="connsiteX4" fmla="*/ 0 w 213600"/>
                  <a:gd name="connsiteY4" fmla="*/ 149628 h 238316"/>
                  <a:gd name="connsiteX5" fmla="*/ 4758 w 213600"/>
                  <a:gd name="connsiteY5" fmla="*/ 132586 h 238316"/>
                  <a:gd name="connsiteX6" fmla="*/ 0 w 213600"/>
                  <a:gd name="connsiteY6" fmla="*/ 115424 h 238316"/>
                  <a:gd name="connsiteX7" fmla="*/ 19350 w 213600"/>
                  <a:gd name="connsiteY7" fmla="*/ 114098 h 238316"/>
                  <a:gd name="connsiteX8" fmla="*/ 105422 w 213600"/>
                  <a:gd name="connsiteY8" fmla="*/ 0 h 238316"/>
                  <a:gd name="connsiteX9" fmla="*/ 80751 w 213600"/>
                  <a:gd name="connsiteY9" fmla="*/ 36267 h 238316"/>
                  <a:gd name="connsiteX10" fmla="*/ 104268 w 213600"/>
                  <a:gd name="connsiteY10" fmla="*/ 31707 h 238316"/>
                  <a:gd name="connsiteX11" fmla="*/ 129560 w 213600"/>
                  <a:gd name="connsiteY11" fmla="*/ 31881 h 238316"/>
                  <a:gd name="connsiteX12" fmla="*/ 123542 w 213600"/>
                  <a:gd name="connsiteY12" fmla="*/ 58869 h 238316"/>
                  <a:gd name="connsiteX13" fmla="*/ 102791 w 213600"/>
                  <a:gd name="connsiteY13" fmla="*/ 88196 h 238316"/>
                  <a:gd name="connsiteX14" fmla="*/ 126658 w 213600"/>
                  <a:gd name="connsiteY14" fmla="*/ 90270 h 238316"/>
                  <a:gd name="connsiteX15" fmla="*/ 128489 w 213600"/>
                  <a:gd name="connsiteY15" fmla="*/ 93682 h 238316"/>
                  <a:gd name="connsiteX16" fmla="*/ 149048 w 213600"/>
                  <a:gd name="connsiteY16" fmla="*/ 131655 h 238316"/>
                  <a:gd name="connsiteX17" fmla="*/ 164849 w 213600"/>
                  <a:gd name="connsiteY17" fmla="*/ 136778 h 238316"/>
                  <a:gd name="connsiteX18" fmla="*/ 179055 w 213600"/>
                  <a:gd name="connsiteY18" fmla="*/ 172807 h 238316"/>
                  <a:gd name="connsiteX19" fmla="*/ 185634 w 213600"/>
                  <a:gd name="connsiteY19" fmla="*/ 185174 h 238316"/>
                  <a:gd name="connsiteX20" fmla="*/ 213600 w 213600"/>
                  <a:gd name="connsiteY20" fmla="*/ 191116 h 238316"/>
                  <a:gd name="connsiteX21" fmla="*/ 210794 w 213600"/>
                  <a:gd name="connsiteY21" fmla="*/ 210960 h 238316"/>
                  <a:gd name="connsiteX22" fmla="*/ 75299 w 213600"/>
                  <a:gd name="connsiteY22" fmla="*/ 238316 h 238316"/>
                  <a:gd name="connsiteX23" fmla="*/ 59733 w 213600"/>
                  <a:gd name="connsiteY23" fmla="*/ 226566 h 238316"/>
                  <a:gd name="connsiteX24" fmla="*/ 53202 w 213600"/>
                  <a:gd name="connsiteY24" fmla="*/ 214314 h 238316"/>
                  <a:gd name="connsiteX25" fmla="*/ 77322 w 213600"/>
                  <a:gd name="connsiteY25" fmla="*/ 204729 h 238316"/>
                  <a:gd name="connsiteX26" fmla="*/ 64681 w 213600"/>
                  <a:gd name="connsiteY26" fmla="*/ 187983 h 238316"/>
                  <a:gd name="connsiteX27" fmla="*/ 69067 w 213600"/>
                  <a:gd name="connsiteY27" fmla="*/ 167465 h 238316"/>
                  <a:gd name="connsiteX28" fmla="*/ 103372 w 213600"/>
                  <a:gd name="connsiteY28" fmla="*/ 170309 h 238316"/>
                  <a:gd name="connsiteX29" fmla="*/ 103412 w 213600"/>
                  <a:gd name="connsiteY29" fmla="*/ 170312 h 238316"/>
                  <a:gd name="connsiteX30" fmla="*/ 106807 w 213600"/>
                  <a:gd name="connsiteY30" fmla="*/ 152002 h 238316"/>
                  <a:gd name="connsiteX31" fmla="*/ 91348 w 213600"/>
                  <a:gd name="connsiteY31" fmla="*/ 132423 h 238316"/>
                  <a:gd name="connsiteX32" fmla="*/ 90995 w 213600"/>
                  <a:gd name="connsiteY32" fmla="*/ 131974 h 238316"/>
                  <a:gd name="connsiteX33" fmla="*/ 62969 w 213600"/>
                  <a:gd name="connsiteY33" fmla="*/ 126350 h 238316"/>
                  <a:gd name="connsiteX34" fmla="*/ 57467 w 213600"/>
                  <a:gd name="connsiteY34" fmla="*/ 117674 h 238316"/>
                  <a:gd name="connsiteX35" fmla="*/ 65856 w 213600"/>
                  <a:gd name="connsiteY35" fmla="*/ 103279 h 238316"/>
                  <a:gd name="connsiteX36" fmla="*/ 58265 w 213600"/>
                  <a:gd name="connsiteY36" fmla="*/ 94360 h 238316"/>
                  <a:gd name="connsiteX37" fmla="*/ 45836 w 213600"/>
                  <a:gd name="connsiteY37" fmla="*/ 109646 h 238316"/>
                  <a:gd name="connsiteX38" fmla="*/ 44484 w 213600"/>
                  <a:gd name="connsiteY38" fmla="*/ 78380 h 238316"/>
                  <a:gd name="connsiteX39" fmla="*/ 32828 w 213600"/>
                  <a:gd name="connsiteY39" fmla="*/ 61666 h 238316"/>
                  <a:gd name="connsiteX40" fmla="*/ 41210 w 213600"/>
                  <a:gd name="connsiteY40" fmla="*/ 27410 h 238316"/>
                  <a:gd name="connsiteX41" fmla="*/ 59141 w 213600"/>
                  <a:gd name="connsiteY41" fmla="*/ 169 h 238316"/>
                  <a:gd name="connsiteX42" fmla="*/ 77573 w 213600"/>
                  <a:gd name="connsiteY42" fmla="*/ 2842 h 238316"/>
                  <a:gd name="connsiteX43" fmla="*/ 105422 w 213600"/>
                  <a:gd name="connsiteY43" fmla="*/ 0 h 238316"/>
                  <a:gd name="connsiteX0" fmla="*/ 19350 w 213600"/>
                  <a:gd name="connsiteY0" fmla="*/ 114098 h 238316"/>
                  <a:gd name="connsiteX1" fmla="*/ 44092 w 213600"/>
                  <a:gd name="connsiteY1" fmla="*/ 133901 h 238316"/>
                  <a:gd name="connsiteX2" fmla="*/ 31722 w 213600"/>
                  <a:gd name="connsiteY2" fmla="*/ 155717 h 238316"/>
                  <a:gd name="connsiteX3" fmla="*/ 14275 w 213600"/>
                  <a:gd name="connsiteY3" fmla="*/ 149192 h 238316"/>
                  <a:gd name="connsiteX4" fmla="*/ 0 w 213600"/>
                  <a:gd name="connsiteY4" fmla="*/ 149628 h 238316"/>
                  <a:gd name="connsiteX5" fmla="*/ 4758 w 213600"/>
                  <a:gd name="connsiteY5" fmla="*/ 132586 h 238316"/>
                  <a:gd name="connsiteX6" fmla="*/ 0 w 213600"/>
                  <a:gd name="connsiteY6" fmla="*/ 115424 h 238316"/>
                  <a:gd name="connsiteX7" fmla="*/ 19350 w 213600"/>
                  <a:gd name="connsiteY7" fmla="*/ 114098 h 238316"/>
                  <a:gd name="connsiteX8" fmla="*/ 105422 w 213600"/>
                  <a:gd name="connsiteY8" fmla="*/ 0 h 238316"/>
                  <a:gd name="connsiteX9" fmla="*/ 80751 w 213600"/>
                  <a:gd name="connsiteY9" fmla="*/ 36267 h 238316"/>
                  <a:gd name="connsiteX10" fmla="*/ 104268 w 213600"/>
                  <a:gd name="connsiteY10" fmla="*/ 31707 h 238316"/>
                  <a:gd name="connsiteX11" fmla="*/ 129560 w 213600"/>
                  <a:gd name="connsiteY11" fmla="*/ 31881 h 238316"/>
                  <a:gd name="connsiteX12" fmla="*/ 123542 w 213600"/>
                  <a:gd name="connsiteY12" fmla="*/ 58869 h 238316"/>
                  <a:gd name="connsiteX13" fmla="*/ 102791 w 213600"/>
                  <a:gd name="connsiteY13" fmla="*/ 88196 h 238316"/>
                  <a:gd name="connsiteX14" fmla="*/ 126658 w 213600"/>
                  <a:gd name="connsiteY14" fmla="*/ 90270 h 238316"/>
                  <a:gd name="connsiteX15" fmla="*/ 128489 w 213600"/>
                  <a:gd name="connsiteY15" fmla="*/ 93682 h 238316"/>
                  <a:gd name="connsiteX16" fmla="*/ 149048 w 213600"/>
                  <a:gd name="connsiteY16" fmla="*/ 131655 h 238316"/>
                  <a:gd name="connsiteX17" fmla="*/ 164849 w 213600"/>
                  <a:gd name="connsiteY17" fmla="*/ 136778 h 238316"/>
                  <a:gd name="connsiteX18" fmla="*/ 179055 w 213600"/>
                  <a:gd name="connsiteY18" fmla="*/ 172807 h 238316"/>
                  <a:gd name="connsiteX19" fmla="*/ 185634 w 213600"/>
                  <a:gd name="connsiteY19" fmla="*/ 185174 h 238316"/>
                  <a:gd name="connsiteX20" fmla="*/ 213600 w 213600"/>
                  <a:gd name="connsiteY20" fmla="*/ 191116 h 238316"/>
                  <a:gd name="connsiteX21" fmla="*/ 75299 w 213600"/>
                  <a:gd name="connsiteY21" fmla="*/ 238316 h 238316"/>
                  <a:gd name="connsiteX22" fmla="*/ 59733 w 213600"/>
                  <a:gd name="connsiteY22" fmla="*/ 226566 h 238316"/>
                  <a:gd name="connsiteX23" fmla="*/ 53202 w 213600"/>
                  <a:gd name="connsiteY23" fmla="*/ 214314 h 238316"/>
                  <a:gd name="connsiteX24" fmla="*/ 77322 w 213600"/>
                  <a:gd name="connsiteY24" fmla="*/ 204729 h 238316"/>
                  <a:gd name="connsiteX25" fmla="*/ 64681 w 213600"/>
                  <a:gd name="connsiteY25" fmla="*/ 187983 h 238316"/>
                  <a:gd name="connsiteX26" fmla="*/ 69067 w 213600"/>
                  <a:gd name="connsiteY26" fmla="*/ 167465 h 238316"/>
                  <a:gd name="connsiteX27" fmla="*/ 103372 w 213600"/>
                  <a:gd name="connsiteY27" fmla="*/ 170309 h 238316"/>
                  <a:gd name="connsiteX28" fmla="*/ 103412 w 213600"/>
                  <a:gd name="connsiteY28" fmla="*/ 170312 h 238316"/>
                  <a:gd name="connsiteX29" fmla="*/ 106807 w 213600"/>
                  <a:gd name="connsiteY29" fmla="*/ 152002 h 238316"/>
                  <a:gd name="connsiteX30" fmla="*/ 91348 w 213600"/>
                  <a:gd name="connsiteY30" fmla="*/ 132423 h 238316"/>
                  <a:gd name="connsiteX31" fmla="*/ 90995 w 213600"/>
                  <a:gd name="connsiteY31" fmla="*/ 131974 h 238316"/>
                  <a:gd name="connsiteX32" fmla="*/ 62969 w 213600"/>
                  <a:gd name="connsiteY32" fmla="*/ 126350 h 238316"/>
                  <a:gd name="connsiteX33" fmla="*/ 57467 w 213600"/>
                  <a:gd name="connsiteY33" fmla="*/ 117674 h 238316"/>
                  <a:gd name="connsiteX34" fmla="*/ 65856 w 213600"/>
                  <a:gd name="connsiteY34" fmla="*/ 103279 h 238316"/>
                  <a:gd name="connsiteX35" fmla="*/ 58265 w 213600"/>
                  <a:gd name="connsiteY35" fmla="*/ 94360 h 238316"/>
                  <a:gd name="connsiteX36" fmla="*/ 45836 w 213600"/>
                  <a:gd name="connsiteY36" fmla="*/ 109646 h 238316"/>
                  <a:gd name="connsiteX37" fmla="*/ 44484 w 213600"/>
                  <a:gd name="connsiteY37" fmla="*/ 78380 h 238316"/>
                  <a:gd name="connsiteX38" fmla="*/ 32828 w 213600"/>
                  <a:gd name="connsiteY38" fmla="*/ 61666 h 238316"/>
                  <a:gd name="connsiteX39" fmla="*/ 41210 w 213600"/>
                  <a:gd name="connsiteY39" fmla="*/ 27410 h 238316"/>
                  <a:gd name="connsiteX40" fmla="*/ 59141 w 213600"/>
                  <a:gd name="connsiteY40" fmla="*/ 169 h 238316"/>
                  <a:gd name="connsiteX41" fmla="*/ 77573 w 213600"/>
                  <a:gd name="connsiteY41" fmla="*/ 2842 h 238316"/>
                  <a:gd name="connsiteX42" fmla="*/ 105422 w 213600"/>
                  <a:gd name="connsiteY42" fmla="*/ 0 h 238316"/>
                  <a:gd name="connsiteX0" fmla="*/ 19350 w 185634"/>
                  <a:gd name="connsiteY0" fmla="*/ 114098 h 238316"/>
                  <a:gd name="connsiteX1" fmla="*/ 44092 w 185634"/>
                  <a:gd name="connsiteY1" fmla="*/ 133901 h 238316"/>
                  <a:gd name="connsiteX2" fmla="*/ 31722 w 185634"/>
                  <a:gd name="connsiteY2" fmla="*/ 155717 h 238316"/>
                  <a:gd name="connsiteX3" fmla="*/ 14275 w 185634"/>
                  <a:gd name="connsiteY3" fmla="*/ 149192 h 238316"/>
                  <a:gd name="connsiteX4" fmla="*/ 0 w 185634"/>
                  <a:gd name="connsiteY4" fmla="*/ 149628 h 238316"/>
                  <a:gd name="connsiteX5" fmla="*/ 4758 w 185634"/>
                  <a:gd name="connsiteY5" fmla="*/ 132586 h 238316"/>
                  <a:gd name="connsiteX6" fmla="*/ 0 w 185634"/>
                  <a:gd name="connsiteY6" fmla="*/ 115424 h 238316"/>
                  <a:gd name="connsiteX7" fmla="*/ 19350 w 185634"/>
                  <a:gd name="connsiteY7" fmla="*/ 114098 h 238316"/>
                  <a:gd name="connsiteX8" fmla="*/ 105422 w 185634"/>
                  <a:gd name="connsiteY8" fmla="*/ 0 h 238316"/>
                  <a:gd name="connsiteX9" fmla="*/ 80751 w 185634"/>
                  <a:gd name="connsiteY9" fmla="*/ 36267 h 238316"/>
                  <a:gd name="connsiteX10" fmla="*/ 104268 w 185634"/>
                  <a:gd name="connsiteY10" fmla="*/ 31707 h 238316"/>
                  <a:gd name="connsiteX11" fmla="*/ 129560 w 185634"/>
                  <a:gd name="connsiteY11" fmla="*/ 31881 h 238316"/>
                  <a:gd name="connsiteX12" fmla="*/ 123542 w 185634"/>
                  <a:gd name="connsiteY12" fmla="*/ 58869 h 238316"/>
                  <a:gd name="connsiteX13" fmla="*/ 102791 w 185634"/>
                  <a:gd name="connsiteY13" fmla="*/ 88196 h 238316"/>
                  <a:gd name="connsiteX14" fmla="*/ 126658 w 185634"/>
                  <a:gd name="connsiteY14" fmla="*/ 90270 h 238316"/>
                  <a:gd name="connsiteX15" fmla="*/ 128489 w 185634"/>
                  <a:gd name="connsiteY15" fmla="*/ 93682 h 238316"/>
                  <a:gd name="connsiteX16" fmla="*/ 149048 w 185634"/>
                  <a:gd name="connsiteY16" fmla="*/ 131655 h 238316"/>
                  <a:gd name="connsiteX17" fmla="*/ 164849 w 185634"/>
                  <a:gd name="connsiteY17" fmla="*/ 136778 h 238316"/>
                  <a:gd name="connsiteX18" fmla="*/ 179055 w 185634"/>
                  <a:gd name="connsiteY18" fmla="*/ 172807 h 238316"/>
                  <a:gd name="connsiteX19" fmla="*/ 185634 w 185634"/>
                  <a:gd name="connsiteY19" fmla="*/ 185174 h 238316"/>
                  <a:gd name="connsiteX20" fmla="*/ 75299 w 185634"/>
                  <a:gd name="connsiteY20" fmla="*/ 238316 h 238316"/>
                  <a:gd name="connsiteX21" fmla="*/ 59733 w 185634"/>
                  <a:gd name="connsiteY21" fmla="*/ 226566 h 238316"/>
                  <a:gd name="connsiteX22" fmla="*/ 53202 w 185634"/>
                  <a:gd name="connsiteY22" fmla="*/ 214314 h 238316"/>
                  <a:gd name="connsiteX23" fmla="*/ 77322 w 185634"/>
                  <a:gd name="connsiteY23" fmla="*/ 204729 h 238316"/>
                  <a:gd name="connsiteX24" fmla="*/ 64681 w 185634"/>
                  <a:gd name="connsiteY24" fmla="*/ 187983 h 238316"/>
                  <a:gd name="connsiteX25" fmla="*/ 69067 w 185634"/>
                  <a:gd name="connsiteY25" fmla="*/ 167465 h 238316"/>
                  <a:gd name="connsiteX26" fmla="*/ 103372 w 185634"/>
                  <a:gd name="connsiteY26" fmla="*/ 170309 h 238316"/>
                  <a:gd name="connsiteX27" fmla="*/ 103412 w 185634"/>
                  <a:gd name="connsiteY27" fmla="*/ 170312 h 238316"/>
                  <a:gd name="connsiteX28" fmla="*/ 106807 w 185634"/>
                  <a:gd name="connsiteY28" fmla="*/ 152002 h 238316"/>
                  <a:gd name="connsiteX29" fmla="*/ 91348 w 185634"/>
                  <a:gd name="connsiteY29" fmla="*/ 132423 h 238316"/>
                  <a:gd name="connsiteX30" fmla="*/ 90995 w 185634"/>
                  <a:gd name="connsiteY30" fmla="*/ 131974 h 238316"/>
                  <a:gd name="connsiteX31" fmla="*/ 62969 w 185634"/>
                  <a:gd name="connsiteY31" fmla="*/ 126350 h 238316"/>
                  <a:gd name="connsiteX32" fmla="*/ 57467 w 185634"/>
                  <a:gd name="connsiteY32" fmla="*/ 117674 h 238316"/>
                  <a:gd name="connsiteX33" fmla="*/ 65856 w 185634"/>
                  <a:gd name="connsiteY33" fmla="*/ 103279 h 238316"/>
                  <a:gd name="connsiteX34" fmla="*/ 58265 w 185634"/>
                  <a:gd name="connsiteY34" fmla="*/ 94360 h 238316"/>
                  <a:gd name="connsiteX35" fmla="*/ 45836 w 185634"/>
                  <a:gd name="connsiteY35" fmla="*/ 109646 h 238316"/>
                  <a:gd name="connsiteX36" fmla="*/ 44484 w 185634"/>
                  <a:gd name="connsiteY36" fmla="*/ 78380 h 238316"/>
                  <a:gd name="connsiteX37" fmla="*/ 32828 w 185634"/>
                  <a:gd name="connsiteY37" fmla="*/ 61666 h 238316"/>
                  <a:gd name="connsiteX38" fmla="*/ 41210 w 185634"/>
                  <a:gd name="connsiteY38" fmla="*/ 27410 h 238316"/>
                  <a:gd name="connsiteX39" fmla="*/ 59141 w 185634"/>
                  <a:gd name="connsiteY39" fmla="*/ 169 h 238316"/>
                  <a:gd name="connsiteX40" fmla="*/ 77573 w 185634"/>
                  <a:gd name="connsiteY40" fmla="*/ 2842 h 238316"/>
                  <a:gd name="connsiteX41" fmla="*/ 105422 w 185634"/>
                  <a:gd name="connsiteY41" fmla="*/ 0 h 238316"/>
                  <a:gd name="connsiteX0" fmla="*/ 19350 w 179055"/>
                  <a:gd name="connsiteY0" fmla="*/ 114098 h 238316"/>
                  <a:gd name="connsiteX1" fmla="*/ 44092 w 179055"/>
                  <a:gd name="connsiteY1" fmla="*/ 133901 h 238316"/>
                  <a:gd name="connsiteX2" fmla="*/ 31722 w 179055"/>
                  <a:gd name="connsiteY2" fmla="*/ 155717 h 238316"/>
                  <a:gd name="connsiteX3" fmla="*/ 14275 w 179055"/>
                  <a:gd name="connsiteY3" fmla="*/ 149192 h 238316"/>
                  <a:gd name="connsiteX4" fmla="*/ 0 w 179055"/>
                  <a:gd name="connsiteY4" fmla="*/ 149628 h 238316"/>
                  <a:gd name="connsiteX5" fmla="*/ 4758 w 179055"/>
                  <a:gd name="connsiteY5" fmla="*/ 132586 h 238316"/>
                  <a:gd name="connsiteX6" fmla="*/ 0 w 179055"/>
                  <a:gd name="connsiteY6" fmla="*/ 115424 h 238316"/>
                  <a:gd name="connsiteX7" fmla="*/ 19350 w 179055"/>
                  <a:gd name="connsiteY7" fmla="*/ 114098 h 238316"/>
                  <a:gd name="connsiteX8" fmla="*/ 105422 w 179055"/>
                  <a:gd name="connsiteY8" fmla="*/ 0 h 238316"/>
                  <a:gd name="connsiteX9" fmla="*/ 80751 w 179055"/>
                  <a:gd name="connsiteY9" fmla="*/ 36267 h 238316"/>
                  <a:gd name="connsiteX10" fmla="*/ 104268 w 179055"/>
                  <a:gd name="connsiteY10" fmla="*/ 31707 h 238316"/>
                  <a:gd name="connsiteX11" fmla="*/ 129560 w 179055"/>
                  <a:gd name="connsiteY11" fmla="*/ 31881 h 238316"/>
                  <a:gd name="connsiteX12" fmla="*/ 123542 w 179055"/>
                  <a:gd name="connsiteY12" fmla="*/ 58869 h 238316"/>
                  <a:gd name="connsiteX13" fmla="*/ 102791 w 179055"/>
                  <a:gd name="connsiteY13" fmla="*/ 88196 h 238316"/>
                  <a:gd name="connsiteX14" fmla="*/ 126658 w 179055"/>
                  <a:gd name="connsiteY14" fmla="*/ 90270 h 238316"/>
                  <a:gd name="connsiteX15" fmla="*/ 128489 w 179055"/>
                  <a:gd name="connsiteY15" fmla="*/ 93682 h 238316"/>
                  <a:gd name="connsiteX16" fmla="*/ 149048 w 179055"/>
                  <a:gd name="connsiteY16" fmla="*/ 131655 h 238316"/>
                  <a:gd name="connsiteX17" fmla="*/ 164849 w 179055"/>
                  <a:gd name="connsiteY17" fmla="*/ 136778 h 238316"/>
                  <a:gd name="connsiteX18" fmla="*/ 179055 w 179055"/>
                  <a:gd name="connsiteY18" fmla="*/ 172807 h 238316"/>
                  <a:gd name="connsiteX19" fmla="*/ 75299 w 179055"/>
                  <a:gd name="connsiteY19" fmla="*/ 238316 h 238316"/>
                  <a:gd name="connsiteX20" fmla="*/ 59733 w 179055"/>
                  <a:gd name="connsiteY20" fmla="*/ 226566 h 238316"/>
                  <a:gd name="connsiteX21" fmla="*/ 53202 w 179055"/>
                  <a:gd name="connsiteY21" fmla="*/ 214314 h 238316"/>
                  <a:gd name="connsiteX22" fmla="*/ 77322 w 179055"/>
                  <a:gd name="connsiteY22" fmla="*/ 204729 h 238316"/>
                  <a:gd name="connsiteX23" fmla="*/ 64681 w 179055"/>
                  <a:gd name="connsiteY23" fmla="*/ 187983 h 238316"/>
                  <a:gd name="connsiteX24" fmla="*/ 69067 w 179055"/>
                  <a:gd name="connsiteY24" fmla="*/ 167465 h 238316"/>
                  <a:gd name="connsiteX25" fmla="*/ 103372 w 179055"/>
                  <a:gd name="connsiteY25" fmla="*/ 170309 h 238316"/>
                  <a:gd name="connsiteX26" fmla="*/ 103412 w 179055"/>
                  <a:gd name="connsiteY26" fmla="*/ 170312 h 238316"/>
                  <a:gd name="connsiteX27" fmla="*/ 106807 w 179055"/>
                  <a:gd name="connsiteY27" fmla="*/ 152002 h 238316"/>
                  <a:gd name="connsiteX28" fmla="*/ 91348 w 179055"/>
                  <a:gd name="connsiteY28" fmla="*/ 132423 h 238316"/>
                  <a:gd name="connsiteX29" fmla="*/ 90995 w 179055"/>
                  <a:gd name="connsiteY29" fmla="*/ 131974 h 238316"/>
                  <a:gd name="connsiteX30" fmla="*/ 62969 w 179055"/>
                  <a:gd name="connsiteY30" fmla="*/ 126350 h 238316"/>
                  <a:gd name="connsiteX31" fmla="*/ 57467 w 179055"/>
                  <a:gd name="connsiteY31" fmla="*/ 117674 h 238316"/>
                  <a:gd name="connsiteX32" fmla="*/ 65856 w 179055"/>
                  <a:gd name="connsiteY32" fmla="*/ 103279 h 238316"/>
                  <a:gd name="connsiteX33" fmla="*/ 58265 w 179055"/>
                  <a:gd name="connsiteY33" fmla="*/ 94360 h 238316"/>
                  <a:gd name="connsiteX34" fmla="*/ 45836 w 179055"/>
                  <a:gd name="connsiteY34" fmla="*/ 109646 h 238316"/>
                  <a:gd name="connsiteX35" fmla="*/ 44484 w 179055"/>
                  <a:gd name="connsiteY35" fmla="*/ 78380 h 238316"/>
                  <a:gd name="connsiteX36" fmla="*/ 32828 w 179055"/>
                  <a:gd name="connsiteY36" fmla="*/ 61666 h 238316"/>
                  <a:gd name="connsiteX37" fmla="*/ 41210 w 179055"/>
                  <a:gd name="connsiteY37" fmla="*/ 27410 h 238316"/>
                  <a:gd name="connsiteX38" fmla="*/ 59141 w 179055"/>
                  <a:gd name="connsiteY38" fmla="*/ 169 h 238316"/>
                  <a:gd name="connsiteX39" fmla="*/ 77573 w 179055"/>
                  <a:gd name="connsiteY39" fmla="*/ 2842 h 238316"/>
                  <a:gd name="connsiteX40" fmla="*/ 105422 w 179055"/>
                  <a:gd name="connsiteY40" fmla="*/ 0 h 238316"/>
                  <a:gd name="connsiteX0" fmla="*/ 19350 w 164849"/>
                  <a:gd name="connsiteY0" fmla="*/ 114098 h 238316"/>
                  <a:gd name="connsiteX1" fmla="*/ 44092 w 164849"/>
                  <a:gd name="connsiteY1" fmla="*/ 133901 h 238316"/>
                  <a:gd name="connsiteX2" fmla="*/ 31722 w 164849"/>
                  <a:gd name="connsiteY2" fmla="*/ 155717 h 238316"/>
                  <a:gd name="connsiteX3" fmla="*/ 14275 w 164849"/>
                  <a:gd name="connsiteY3" fmla="*/ 149192 h 238316"/>
                  <a:gd name="connsiteX4" fmla="*/ 0 w 164849"/>
                  <a:gd name="connsiteY4" fmla="*/ 149628 h 238316"/>
                  <a:gd name="connsiteX5" fmla="*/ 4758 w 164849"/>
                  <a:gd name="connsiteY5" fmla="*/ 132586 h 238316"/>
                  <a:gd name="connsiteX6" fmla="*/ 0 w 164849"/>
                  <a:gd name="connsiteY6" fmla="*/ 115424 h 238316"/>
                  <a:gd name="connsiteX7" fmla="*/ 19350 w 164849"/>
                  <a:gd name="connsiteY7" fmla="*/ 114098 h 238316"/>
                  <a:gd name="connsiteX8" fmla="*/ 105422 w 164849"/>
                  <a:gd name="connsiteY8" fmla="*/ 0 h 238316"/>
                  <a:gd name="connsiteX9" fmla="*/ 80751 w 164849"/>
                  <a:gd name="connsiteY9" fmla="*/ 36267 h 238316"/>
                  <a:gd name="connsiteX10" fmla="*/ 104268 w 164849"/>
                  <a:gd name="connsiteY10" fmla="*/ 31707 h 238316"/>
                  <a:gd name="connsiteX11" fmla="*/ 129560 w 164849"/>
                  <a:gd name="connsiteY11" fmla="*/ 31881 h 238316"/>
                  <a:gd name="connsiteX12" fmla="*/ 123542 w 164849"/>
                  <a:gd name="connsiteY12" fmla="*/ 58869 h 238316"/>
                  <a:gd name="connsiteX13" fmla="*/ 102791 w 164849"/>
                  <a:gd name="connsiteY13" fmla="*/ 88196 h 238316"/>
                  <a:gd name="connsiteX14" fmla="*/ 126658 w 164849"/>
                  <a:gd name="connsiteY14" fmla="*/ 90270 h 238316"/>
                  <a:gd name="connsiteX15" fmla="*/ 128489 w 164849"/>
                  <a:gd name="connsiteY15" fmla="*/ 93682 h 238316"/>
                  <a:gd name="connsiteX16" fmla="*/ 149048 w 164849"/>
                  <a:gd name="connsiteY16" fmla="*/ 131655 h 238316"/>
                  <a:gd name="connsiteX17" fmla="*/ 164849 w 164849"/>
                  <a:gd name="connsiteY17" fmla="*/ 136778 h 238316"/>
                  <a:gd name="connsiteX18" fmla="*/ 75299 w 164849"/>
                  <a:gd name="connsiteY18" fmla="*/ 238316 h 238316"/>
                  <a:gd name="connsiteX19" fmla="*/ 59733 w 164849"/>
                  <a:gd name="connsiteY19" fmla="*/ 226566 h 238316"/>
                  <a:gd name="connsiteX20" fmla="*/ 53202 w 164849"/>
                  <a:gd name="connsiteY20" fmla="*/ 214314 h 238316"/>
                  <a:gd name="connsiteX21" fmla="*/ 77322 w 164849"/>
                  <a:gd name="connsiteY21" fmla="*/ 204729 h 238316"/>
                  <a:gd name="connsiteX22" fmla="*/ 64681 w 164849"/>
                  <a:gd name="connsiteY22" fmla="*/ 187983 h 238316"/>
                  <a:gd name="connsiteX23" fmla="*/ 69067 w 164849"/>
                  <a:gd name="connsiteY23" fmla="*/ 167465 h 238316"/>
                  <a:gd name="connsiteX24" fmla="*/ 103372 w 164849"/>
                  <a:gd name="connsiteY24" fmla="*/ 170309 h 238316"/>
                  <a:gd name="connsiteX25" fmla="*/ 103412 w 164849"/>
                  <a:gd name="connsiteY25" fmla="*/ 170312 h 238316"/>
                  <a:gd name="connsiteX26" fmla="*/ 106807 w 164849"/>
                  <a:gd name="connsiteY26" fmla="*/ 152002 h 238316"/>
                  <a:gd name="connsiteX27" fmla="*/ 91348 w 164849"/>
                  <a:gd name="connsiteY27" fmla="*/ 132423 h 238316"/>
                  <a:gd name="connsiteX28" fmla="*/ 90995 w 164849"/>
                  <a:gd name="connsiteY28" fmla="*/ 131974 h 238316"/>
                  <a:gd name="connsiteX29" fmla="*/ 62969 w 164849"/>
                  <a:gd name="connsiteY29" fmla="*/ 126350 h 238316"/>
                  <a:gd name="connsiteX30" fmla="*/ 57467 w 164849"/>
                  <a:gd name="connsiteY30" fmla="*/ 117674 h 238316"/>
                  <a:gd name="connsiteX31" fmla="*/ 65856 w 164849"/>
                  <a:gd name="connsiteY31" fmla="*/ 103279 h 238316"/>
                  <a:gd name="connsiteX32" fmla="*/ 58265 w 164849"/>
                  <a:gd name="connsiteY32" fmla="*/ 94360 h 238316"/>
                  <a:gd name="connsiteX33" fmla="*/ 45836 w 164849"/>
                  <a:gd name="connsiteY33" fmla="*/ 109646 h 238316"/>
                  <a:gd name="connsiteX34" fmla="*/ 44484 w 164849"/>
                  <a:gd name="connsiteY34" fmla="*/ 78380 h 238316"/>
                  <a:gd name="connsiteX35" fmla="*/ 32828 w 164849"/>
                  <a:gd name="connsiteY35" fmla="*/ 61666 h 238316"/>
                  <a:gd name="connsiteX36" fmla="*/ 41210 w 164849"/>
                  <a:gd name="connsiteY36" fmla="*/ 27410 h 238316"/>
                  <a:gd name="connsiteX37" fmla="*/ 59141 w 164849"/>
                  <a:gd name="connsiteY37" fmla="*/ 169 h 238316"/>
                  <a:gd name="connsiteX38" fmla="*/ 77573 w 164849"/>
                  <a:gd name="connsiteY38" fmla="*/ 2842 h 238316"/>
                  <a:gd name="connsiteX39" fmla="*/ 105422 w 164849"/>
                  <a:gd name="connsiteY39" fmla="*/ 0 h 238316"/>
                  <a:gd name="connsiteX0" fmla="*/ 19350 w 149048"/>
                  <a:gd name="connsiteY0" fmla="*/ 114098 h 238316"/>
                  <a:gd name="connsiteX1" fmla="*/ 44092 w 149048"/>
                  <a:gd name="connsiteY1" fmla="*/ 133901 h 238316"/>
                  <a:gd name="connsiteX2" fmla="*/ 31722 w 149048"/>
                  <a:gd name="connsiteY2" fmla="*/ 155717 h 238316"/>
                  <a:gd name="connsiteX3" fmla="*/ 14275 w 149048"/>
                  <a:gd name="connsiteY3" fmla="*/ 149192 h 238316"/>
                  <a:gd name="connsiteX4" fmla="*/ 0 w 149048"/>
                  <a:gd name="connsiteY4" fmla="*/ 149628 h 238316"/>
                  <a:gd name="connsiteX5" fmla="*/ 4758 w 149048"/>
                  <a:gd name="connsiteY5" fmla="*/ 132586 h 238316"/>
                  <a:gd name="connsiteX6" fmla="*/ 0 w 149048"/>
                  <a:gd name="connsiteY6" fmla="*/ 115424 h 238316"/>
                  <a:gd name="connsiteX7" fmla="*/ 19350 w 149048"/>
                  <a:gd name="connsiteY7" fmla="*/ 114098 h 238316"/>
                  <a:gd name="connsiteX8" fmla="*/ 105422 w 149048"/>
                  <a:gd name="connsiteY8" fmla="*/ 0 h 238316"/>
                  <a:gd name="connsiteX9" fmla="*/ 80751 w 149048"/>
                  <a:gd name="connsiteY9" fmla="*/ 36267 h 238316"/>
                  <a:gd name="connsiteX10" fmla="*/ 104268 w 149048"/>
                  <a:gd name="connsiteY10" fmla="*/ 31707 h 238316"/>
                  <a:gd name="connsiteX11" fmla="*/ 129560 w 149048"/>
                  <a:gd name="connsiteY11" fmla="*/ 31881 h 238316"/>
                  <a:gd name="connsiteX12" fmla="*/ 123542 w 149048"/>
                  <a:gd name="connsiteY12" fmla="*/ 58869 h 238316"/>
                  <a:gd name="connsiteX13" fmla="*/ 102791 w 149048"/>
                  <a:gd name="connsiteY13" fmla="*/ 88196 h 238316"/>
                  <a:gd name="connsiteX14" fmla="*/ 126658 w 149048"/>
                  <a:gd name="connsiteY14" fmla="*/ 90270 h 238316"/>
                  <a:gd name="connsiteX15" fmla="*/ 128489 w 149048"/>
                  <a:gd name="connsiteY15" fmla="*/ 93682 h 238316"/>
                  <a:gd name="connsiteX16" fmla="*/ 149048 w 149048"/>
                  <a:gd name="connsiteY16" fmla="*/ 131655 h 238316"/>
                  <a:gd name="connsiteX17" fmla="*/ 75299 w 149048"/>
                  <a:gd name="connsiteY17" fmla="*/ 238316 h 238316"/>
                  <a:gd name="connsiteX18" fmla="*/ 59733 w 149048"/>
                  <a:gd name="connsiteY18" fmla="*/ 226566 h 238316"/>
                  <a:gd name="connsiteX19" fmla="*/ 53202 w 149048"/>
                  <a:gd name="connsiteY19" fmla="*/ 214314 h 238316"/>
                  <a:gd name="connsiteX20" fmla="*/ 77322 w 149048"/>
                  <a:gd name="connsiteY20" fmla="*/ 204729 h 238316"/>
                  <a:gd name="connsiteX21" fmla="*/ 64681 w 149048"/>
                  <a:gd name="connsiteY21" fmla="*/ 187983 h 238316"/>
                  <a:gd name="connsiteX22" fmla="*/ 69067 w 149048"/>
                  <a:gd name="connsiteY22" fmla="*/ 167465 h 238316"/>
                  <a:gd name="connsiteX23" fmla="*/ 103372 w 149048"/>
                  <a:gd name="connsiteY23" fmla="*/ 170309 h 238316"/>
                  <a:gd name="connsiteX24" fmla="*/ 103412 w 149048"/>
                  <a:gd name="connsiteY24" fmla="*/ 170312 h 238316"/>
                  <a:gd name="connsiteX25" fmla="*/ 106807 w 149048"/>
                  <a:gd name="connsiteY25" fmla="*/ 152002 h 238316"/>
                  <a:gd name="connsiteX26" fmla="*/ 91348 w 149048"/>
                  <a:gd name="connsiteY26" fmla="*/ 132423 h 238316"/>
                  <a:gd name="connsiteX27" fmla="*/ 90995 w 149048"/>
                  <a:gd name="connsiteY27" fmla="*/ 131974 h 238316"/>
                  <a:gd name="connsiteX28" fmla="*/ 62969 w 149048"/>
                  <a:gd name="connsiteY28" fmla="*/ 126350 h 238316"/>
                  <a:gd name="connsiteX29" fmla="*/ 57467 w 149048"/>
                  <a:gd name="connsiteY29" fmla="*/ 117674 h 238316"/>
                  <a:gd name="connsiteX30" fmla="*/ 65856 w 149048"/>
                  <a:gd name="connsiteY30" fmla="*/ 103279 h 238316"/>
                  <a:gd name="connsiteX31" fmla="*/ 58265 w 149048"/>
                  <a:gd name="connsiteY31" fmla="*/ 94360 h 238316"/>
                  <a:gd name="connsiteX32" fmla="*/ 45836 w 149048"/>
                  <a:gd name="connsiteY32" fmla="*/ 109646 h 238316"/>
                  <a:gd name="connsiteX33" fmla="*/ 44484 w 149048"/>
                  <a:gd name="connsiteY33" fmla="*/ 78380 h 238316"/>
                  <a:gd name="connsiteX34" fmla="*/ 32828 w 149048"/>
                  <a:gd name="connsiteY34" fmla="*/ 61666 h 238316"/>
                  <a:gd name="connsiteX35" fmla="*/ 41210 w 149048"/>
                  <a:gd name="connsiteY35" fmla="*/ 27410 h 238316"/>
                  <a:gd name="connsiteX36" fmla="*/ 59141 w 149048"/>
                  <a:gd name="connsiteY36" fmla="*/ 169 h 238316"/>
                  <a:gd name="connsiteX37" fmla="*/ 77573 w 149048"/>
                  <a:gd name="connsiteY37" fmla="*/ 2842 h 238316"/>
                  <a:gd name="connsiteX38" fmla="*/ 105422 w 149048"/>
                  <a:gd name="connsiteY38" fmla="*/ 0 h 238316"/>
                  <a:gd name="connsiteX0" fmla="*/ 19350 w 149048"/>
                  <a:gd name="connsiteY0" fmla="*/ 114098 h 238316"/>
                  <a:gd name="connsiteX1" fmla="*/ 44092 w 149048"/>
                  <a:gd name="connsiteY1" fmla="*/ 133901 h 238316"/>
                  <a:gd name="connsiteX2" fmla="*/ 31722 w 149048"/>
                  <a:gd name="connsiteY2" fmla="*/ 155717 h 238316"/>
                  <a:gd name="connsiteX3" fmla="*/ 14275 w 149048"/>
                  <a:gd name="connsiteY3" fmla="*/ 149192 h 238316"/>
                  <a:gd name="connsiteX4" fmla="*/ 0 w 149048"/>
                  <a:gd name="connsiteY4" fmla="*/ 149628 h 238316"/>
                  <a:gd name="connsiteX5" fmla="*/ 4758 w 149048"/>
                  <a:gd name="connsiteY5" fmla="*/ 132586 h 238316"/>
                  <a:gd name="connsiteX6" fmla="*/ 0 w 149048"/>
                  <a:gd name="connsiteY6" fmla="*/ 115424 h 238316"/>
                  <a:gd name="connsiteX7" fmla="*/ 19350 w 149048"/>
                  <a:gd name="connsiteY7" fmla="*/ 114098 h 238316"/>
                  <a:gd name="connsiteX8" fmla="*/ 105422 w 149048"/>
                  <a:gd name="connsiteY8" fmla="*/ 0 h 238316"/>
                  <a:gd name="connsiteX9" fmla="*/ 80751 w 149048"/>
                  <a:gd name="connsiteY9" fmla="*/ 36267 h 238316"/>
                  <a:gd name="connsiteX10" fmla="*/ 104268 w 149048"/>
                  <a:gd name="connsiteY10" fmla="*/ 31707 h 238316"/>
                  <a:gd name="connsiteX11" fmla="*/ 129560 w 149048"/>
                  <a:gd name="connsiteY11" fmla="*/ 31881 h 238316"/>
                  <a:gd name="connsiteX12" fmla="*/ 123542 w 149048"/>
                  <a:gd name="connsiteY12" fmla="*/ 58869 h 238316"/>
                  <a:gd name="connsiteX13" fmla="*/ 102791 w 149048"/>
                  <a:gd name="connsiteY13" fmla="*/ 88196 h 238316"/>
                  <a:gd name="connsiteX14" fmla="*/ 126658 w 149048"/>
                  <a:gd name="connsiteY14" fmla="*/ 90270 h 238316"/>
                  <a:gd name="connsiteX15" fmla="*/ 128489 w 149048"/>
                  <a:gd name="connsiteY15" fmla="*/ 93682 h 238316"/>
                  <a:gd name="connsiteX16" fmla="*/ 149048 w 149048"/>
                  <a:gd name="connsiteY16" fmla="*/ 131655 h 238316"/>
                  <a:gd name="connsiteX17" fmla="*/ 75299 w 149048"/>
                  <a:gd name="connsiteY17" fmla="*/ 238316 h 238316"/>
                  <a:gd name="connsiteX18" fmla="*/ 59733 w 149048"/>
                  <a:gd name="connsiteY18" fmla="*/ 226566 h 238316"/>
                  <a:gd name="connsiteX19" fmla="*/ 53202 w 149048"/>
                  <a:gd name="connsiteY19" fmla="*/ 214314 h 238316"/>
                  <a:gd name="connsiteX20" fmla="*/ 77322 w 149048"/>
                  <a:gd name="connsiteY20" fmla="*/ 204729 h 238316"/>
                  <a:gd name="connsiteX21" fmla="*/ 64681 w 149048"/>
                  <a:gd name="connsiteY21" fmla="*/ 187983 h 238316"/>
                  <a:gd name="connsiteX22" fmla="*/ 69067 w 149048"/>
                  <a:gd name="connsiteY22" fmla="*/ 167465 h 238316"/>
                  <a:gd name="connsiteX23" fmla="*/ 103372 w 149048"/>
                  <a:gd name="connsiteY23" fmla="*/ 170309 h 238316"/>
                  <a:gd name="connsiteX24" fmla="*/ 106807 w 149048"/>
                  <a:gd name="connsiteY24" fmla="*/ 152002 h 238316"/>
                  <a:gd name="connsiteX25" fmla="*/ 91348 w 149048"/>
                  <a:gd name="connsiteY25" fmla="*/ 132423 h 238316"/>
                  <a:gd name="connsiteX26" fmla="*/ 90995 w 149048"/>
                  <a:gd name="connsiteY26" fmla="*/ 131974 h 238316"/>
                  <a:gd name="connsiteX27" fmla="*/ 62969 w 149048"/>
                  <a:gd name="connsiteY27" fmla="*/ 126350 h 238316"/>
                  <a:gd name="connsiteX28" fmla="*/ 57467 w 149048"/>
                  <a:gd name="connsiteY28" fmla="*/ 117674 h 238316"/>
                  <a:gd name="connsiteX29" fmla="*/ 65856 w 149048"/>
                  <a:gd name="connsiteY29" fmla="*/ 103279 h 238316"/>
                  <a:gd name="connsiteX30" fmla="*/ 58265 w 149048"/>
                  <a:gd name="connsiteY30" fmla="*/ 94360 h 238316"/>
                  <a:gd name="connsiteX31" fmla="*/ 45836 w 149048"/>
                  <a:gd name="connsiteY31" fmla="*/ 109646 h 238316"/>
                  <a:gd name="connsiteX32" fmla="*/ 44484 w 149048"/>
                  <a:gd name="connsiteY32" fmla="*/ 78380 h 238316"/>
                  <a:gd name="connsiteX33" fmla="*/ 32828 w 149048"/>
                  <a:gd name="connsiteY33" fmla="*/ 61666 h 238316"/>
                  <a:gd name="connsiteX34" fmla="*/ 41210 w 149048"/>
                  <a:gd name="connsiteY34" fmla="*/ 27410 h 238316"/>
                  <a:gd name="connsiteX35" fmla="*/ 59141 w 149048"/>
                  <a:gd name="connsiteY35" fmla="*/ 169 h 238316"/>
                  <a:gd name="connsiteX36" fmla="*/ 77573 w 149048"/>
                  <a:gd name="connsiteY36" fmla="*/ 2842 h 238316"/>
                  <a:gd name="connsiteX37" fmla="*/ 105422 w 149048"/>
                  <a:gd name="connsiteY37" fmla="*/ 0 h 238316"/>
                  <a:gd name="connsiteX0" fmla="*/ 19350 w 149048"/>
                  <a:gd name="connsiteY0" fmla="*/ 114098 h 238316"/>
                  <a:gd name="connsiteX1" fmla="*/ 44092 w 149048"/>
                  <a:gd name="connsiteY1" fmla="*/ 133901 h 238316"/>
                  <a:gd name="connsiteX2" fmla="*/ 31722 w 149048"/>
                  <a:gd name="connsiteY2" fmla="*/ 155717 h 238316"/>
                  <a:gd name="connsiteX3" fmla="*/ 14275 w 149048"/>
                  <a:gd name="connsiteY3" fmla="*/ 149192 h 238316"/>
                  <a:gd name="connsiteX4" fmla="*/ 0 w 149048"/>
                  <a:gd name="connsiteY4" fmla="*/ 149628 h 238316"/>
                  <a:gd name="connsiteX5" fmla="*/ 4758 w 149048"/>
                  <a:gd name="connsiteY5" fmla="*/ 132586 h 238316"/>
                  <a:gd name="connsiteX6" fmla="*/ 0 w 149048"/>
                  <a:gd name="connsiteY6" fmla="*/ 115424 h 238316"/>
                  <a:gd name="connsiteX7" fmla="*/ 19350 w 149048"/>
                  <a:gd name="connsiteY7" fmla="*/ 114098 h 238316"/>
                  <a:gd name="connsiteX8" fmla="*/ 105422 w 149048"/>
                  <a:gd name="connsiteY8" fmla="*/ 0 h 238316"/>
                  <a:gd name="connsiteX9" fmla="*/ 80751 w 149048"/>
                  <a:gd name="connsiteY9" fmla="*/ 36267 h 238316"/>
                  <a:gd name="connsiteX10" fmla="*/ 104268 w 149048"/>
                  <a:gd name="connsiteY10" fmla="*/ 31707 h 238316"/>
                  <a:gd name="connsiteX11" fmla="*/ 129560 w 149048"/>
                  <a:gd name="connsiteY11" fmla="*/ 31881 h 238316"/>
                  <a:gd name="connsiteX12" fmla="*/ 123542 w 149048"/>
                  <a:gd name="connsiteY12" fmla="*/ 58869 h 238316"/>
                  <a:gd name="connsiteX13" fmla="*/ 102791 w 149048"/>
                  <a:gd name="connsiteY13" fmla="*/ 88196 h 238316"/>
                  <a:gd name="connsiteX14" fmla="*/ 126658 w 149048"/>
                  <a:gd name="connsiteY14" fmla="*/ 90270 h 238316"/>
                  <a:gd name="connsiteX15" fmla="*/ 128489 w 149048"/>
                  <a:gd name="connsiteY15" fmla="*/ 93682 h 238316"/>
                  <a:gd name="connsiteX16" fmla="*/ 149048 w 149048"/>
                  <a:gd name="connsiteY16" fmla="*/ 131655 h 238316"/>
                  <a:gd name="connsiteX17" fmla="*/ 75299 w 149048"/>
                  <a:gd name="connsiteY17" fmla="*/ 238316 h 238316"/>
                  <a:gd name="connsiteX18" fmla="*/ 59733 w 149048"/>
                  <a:gd name="connsiteY18" fmla="*/ 226566 h 238316"/>
                  <a:gd name="connsiteX19" fmla="*/ 53202 w 149048"/>
                  <a:gd name="connsiteY19" fmla="*/ 214314 h 238316"/>
                  <a:gd name="connsiteX20" fmla="*/ 64681 w 149048"/>
                  <a:gd name="connsiteY20" fmla="*/ 187983 h 238316"/>
                  <a:gd name="connsiteX21" fmla="*/ 69067 w 149048"/>
                  <a:gd name="connsiteY21" fmla="*/ 167465 h 238316"/>
                  <a:gd name="connsiteX22" fmla="*/ 103372 w 149048"/>
                  <a:gd name="connsiteY22" fmla="*/ 170309 h 238316"/>
                  <a:gd name="connsiteX23" fmla="*/ 106807 w 149048"/>
                  <a:gd name="connsiteY23" fmla="*/ 152002 h 238316"/>
                  <a:gd name="connsiteX24" fmla="*/ 91348 w 149048"/>
                  <a:gd name="connsiteY24" fmla="*/ 132423 h 238316"/>
                  <a:gd name="connsiteX25" fmla="*/ 90995 w 149048"/>
                  <a:gd name="connsiteY25" fmla="*/ 131974 h 238316"/>
                  <a:gd name="connsiteX26" fmla="*/ 62969 w 149048"/>
                  <a:gd name="connsiteY26" fmla="*/ 126350 h 238316"/>
                  <a:gd name="connsiteX27" fmla="*/ 57467 w 149048"/>
                  <a:gd name="connsiteY27" fmla="*/ 117674 h 238316"/>
                  <a:gd name="connsiteX28" fmla="*/ 65856 w 149048"/>
                  <a:gd name="connsiteY28" fmla="*/ 103279 h 238316"/>
                  <a:gd name="connsiteX29" fmla="*/ 58265 w 149048"/>
                  <a:gd name="connsiteY29" fmla="*/ 94360 h 238316"/>
                  <a:gd name="connsiteX30" fmla="*/ 45836 w 149048"/>
                  <a:gd name="connsiteY30" fmla="*/ 109646 h 238316"/>
                  <a:gd name="connsiteX31" fmla="*/ 44484 w 149048"/>
                  <a:gd name="connsiteY31" fmla="*/ 78380 h 238316"/>
                  <a:gd name="connsiteX32" fmla="*/ 32828 w 149048"/>
                  <a:gd name="connsiteY32" fmla="*/ 61666 h 238316"/>
                  <a:gd name="connsiteX33" fmla="*/ 41210 w 149048"/>
                  <a:gd name="connsiteY33" fmla="*/ 27410 h 238316"/>
                  <a:gd name="connsiteX34" fmla="*/ 59141 w 149048"/>
                  <a:gd name="connsiteY34" fmla="*/ 169 h 238316"/>
                  <a:gd name="connsiteX35" fmla="*/ 77573 w 149048"/>
                  <a:gd name="connsiteY35" fmla="*/ 2842 h 238316"/>
                  <a:gd name="connsiteX36" fmla="*/ 105422 w 149048"/>
                  <a:gd name="connsiteY36" fmla="*/ 0 h 238316"/>
                  <a:gd name="connsiteX0" fmla="*/ 19350 w 149048"/>
                  <a:gd name="connsiteY0" fmla="*/ 114098 h 238316"/>
                  <a:gd name="connsiteX1" fmla="*/ 44092 w 149048"/>
                  <a:gd name="connsiteY1" fmla="*/ 133901 h 238316"/>
                  <a:gd name="connsiteX2" fmla="*/ 31722 w 149048"/>
                  <a:gd name="connsiteY2" fmla="*/ 155717 h 238316"/>
                  <a:gd name="connsiteX3" fmla="*/ 14275 w 149048"/>
                  <a:gd name="connsiteY3" fmla="*/ 149192 h 238316"/>
                  <a:gd name="connsiteX4" fmla="*/ 0 w 149048"/>
                  <a:gd name="connsiteY4" fmla="*/ 149628 h 238316"/>
                  <a:gd name="connsiteX5" fmla="*/ 4758 w 149048"/>
                  <a:gd name="connsiteY5" fmla="*/ 132586 h 238316"/>
                  <a:gd name="connsiteX6" fmla="*/ 0 w 149048"/>
                  <a:gd name="connsiteY6" fmla="*/ 115424 h 238316"/>
                  <a:gd name="connsiteX7" fmla="*/ 19350 w 149048"/>
                  <a:gd name="connsiteY7" fmla="*/ 114098 h 238316"/>
                  <a:gd name="connsiteX8" fmla="*/ 105422 w 149048"/>
                  <a:gd name="connsiteY8" fmla="*/ 0 h 238316"/>
                  <a:gd name="connsiteX9" fmla="*/ 80751 w 149048"/>
                  <a:gd name="connsiteY9" fmla="*/ 36267 h 238316"/>
                  <a:gd name="connsiteX10" fmla="*/ 104268 w 149048"/>
                  <a:gd name="connsiteY10" fmla="*/ 31707 h 238316"/>
                  <a:gd name="connsiteX11" fmla="*/ 129560 w 149048"/>
                  <a:gd name="connsiteY11" fmla="*/ 31881 h 238316"/>
                  <a:gd name="connsiteX12" fmla="*/ 123542 w 149048"/>
                  <a:gd name="connsiteY12" fmla="*/ 58869 h 238316"/>
                  <a:gd name="connsiteX13" fmla="*/ 102791 w 149048"/>
                  <a:gd name="connsiteY13" fmla="*/ 88196 h 238316"/>
                  <a:gd name="connsiteX14" fmla="*/ 126658 w 149048"/>
                  <a:gd name="connsiteY14" fmla="*/ 90270 h 238316"/>
                  <a:gd name="connsiteX15" fmla="*/ 128489 w 149048"/>
                  <a:gd name="connsiteY15" fmla="*/ 93682 h 238316"/>
                  <a:gd name="connsiteX16" fmla="*/ 149048 w 149048"/>
                  <a:gd name="connsiteY16" fmla="*/ 131655 h 238316"/>
                  <a:gd name="connsiteX17" fmla="*/ 75299 w 149048"/>
                  <a:gd name="connsiteY17" fmla="*/ 238316 h 238316"/>
                  <a:gd name="connsiteX18" fmla="*/ 53202 w 149048"/>
                  <a:gd name="connsiteY18" fmla="*/ 214314 h 238316"/>
                  <a:gd name="connsiteX19" fmla="*/ 64681 w 149048"/>
                  <a:gd name="connsiteY19" fmla="*/ 187983 h 238316"/>
                  <a:gd name="connsiteX20" fmla="*/ 69067 w 149048"/>
                  <a:gd name="connsiteY20" fmla="*/ 167465 h 238316"/>
                  <a:gd name="connsiteX21" fmla="*/ 103372 w 149048"/>
                  <a:gd name="connsiteY21" fmla="*/ 170309 h 238316"/>
                  <a:gd name="connsiteX22" fmla="*/ 106807 w 149048"/>
                  <a:gd name="connsiteY22" fmla="*/ 152002 h 238316"/>
                  <a:gd name="connsiteX23" fmla="*/ 91348 w 149048"/>
                  <a:gd name="connsiteY23" fmla="*/ 132423 h 238316"/>
                  <a:gd name="connsiteX24" fmla="*/ 90995 w 149048"/>
                  <a:gd name="connsiteY24" fmla="*/ 131974 h 238316"/>
                  <a:gd name="connsiteX25" fmla="*/ 62969 w 149048"/>
                  <a:gd name="connsiteY25" fmla="*/ 126350 h 238316"/>
                  <a:gd name="connsiteX26" fmla="*/ 57467 w 149048"/>
                  <a:gd name="connsiteY26" fmla="*/ 117674 h 238316"/>
                  <a:gd name="connsiteX27" fmla="*/ 65856 w 149048"/>
                  <a:gd name="connsiteY27" fmla="*/ 103279 h 238316"/>
                  <a:gd name="connsiteX28" fmla="*/ 58265 w 149048"/>
                  <a:gd name="connsiteY28" fmla="*/ 94360 h 238316"/>
                  <a:gd name="connsiteX29" fmla="*/ 45836 w 149048"/>
                  <a:gd name="connsiteY29" fmla="*/ 109646 h 238316"/>
                  <a:gd name="connsiteX30" fmla="*/ 44484 w 149048"/>
                  <a:gd name="connsiteY30" fmla="*/ 78380 h 238316"/>
                  <a:gd name="connsiteX31" fmla="*/ 32828 w 149048"/>
                  <a:gd name="connsiteY31" fmla="*/ 61666 h 238316"/>
                  <a:gd name="connsiteX32" fmla="*/ 41210 w 149048"/>
                  <a:gd name="connsiteY32" fmla="*/ 27410 h 238316"/>
                  <a:gd name="connsiteX33" fmla="*/ 59141 w 149048"/>
                  <a:gd name="connsiteY33" fmla="*/ 169 h 238316"/>
                  <a:gd name="connsiteX34" fmla="*/ 77573 w 149048"/>
                  <a:gd name="connsiteY34" fmla="*/ 2842 h 238316"/>
                  <a:gd name="connsiteX35" fmla="*/ 105422 w 149048"/>
                  <a:gd name="connsiteY35" fmla="*/ 0 h 238316"/>
                  <a:gd name="connsiteX0" fmla="*/ 19350 w 149048"/>
                  <a:gd name="connsiteY0" fmla="*/ 114098 h 214314"/>
                  <a:gd name="connsiteX1" fmla="*/ 44092 w 149048"/>
                  <a:gd name="connsiteY1" fmla="*/ 133901 h 214314"/>
                  <a:gd name="connsiteX2" fmla="*/ 31722 w 149048"/>
                  <a:gd name="connsiteY2" fmla="*/ 155717 h 214314"/>
                  <a:gd name="connsiteX3" fmla="*/ 14275 w 149048"/>
                  <a:gd name="connsiteY3" fmla="*/ 149192 h 214314"/>
                  <a:gd name="connsiteX4" fmla="*/ 0 w 149048"/>
                  <a:gd name="connsiteY4" fmla="*/ 149628 h 214314"/>
                  <a:gd name="connsiteX5" fmla="*/ 4758 w 149048"/>
                  <a:gd name="connsiteY5" fmla="*/ 132586 h 214314"/>
                  <a:gd name="connsiteX6" fmla="*/ 0 w 149048"/>
                  <a:gd name="connsiteY6" fmla="*/ 115424 h 214314"/>
                  <a:gd name="connsiteX7" fmla="*/ 19350 w 149048"/>
                  <a:gd name="connsiteY7" fmla="*/ 114098 h 214314"/>
                  <a:gd name="connsiteX8" fmla="*/ 105422 w 149048"/>
                  <a:gd name="connsiteY8" fmla="*/ 0 h 214314"/>
                  <a:gd name="connsiteX9" fmla="*/ 80751 w 149048"/>
                  <a:gd name="connsiteY9" fmla="*/ 36267 h 214314"/>
                  <a:gd name="connsiteX10" fmla="*/ 104268 w 149048"/>
                  <a:gd name="connsiteY10" fmla="*/ 31707 h 214314"/>
                  <a:gd name="connsiteX11" fmla="*/ 129560 w 149048"/>
                  <a:gd name="connsiteY11" fmla="*/ 31881 h 214314"/>
                  <a:gd name="connsiteX12" fmla="*/ 123542 w 149048"/>
                  <a:gd name="connsiteY12" fmla="*/ 58869 h 214314"/>
                  <a:gd name="connsiteX13" fmla="*/ 102791 w 149048"/>
                  <a:gd name="connsiteY13" fmla="*/ 88196 h 214314"/>
                  <a:gd name="connsiteX14" fmla="*/ 126658 w 149048"/>
                  <a:gd name="connsiteY14" fmla="*/ 90270 h 214314"/>
                  <a:gd name="connsiteX15" fmla="*/ 128489 w 149048"/>
                  <a:gd name="connsiteY15" fmla="*/ 93682 h 214314"/>
                  <a:gd name="connsiteX16" fmla="*/ 149048 w 149048"/>
                  <a:gd name="connsiteY16" fmla="*/ 131655 h 214314"/>
                  <a:gd name="connsiteX17" fmla="*/ 53202 w 149048"/>
                  <a:gd name="connsiteY17" fmla="*/ 214314 h 214314"/>
                  <a:gd name="connsiteX18" fmla="*/ 64681 w 149048"/>
                  <a:gd name="connsiteY18" fmla="*/ 187983 h 214314"/>
                  <a:gd name="connsiteX19" fmla="*/ 69067 w 149048"/>
                  <a:gd name="connsiteY19" fmla="*/ 167465 h 214314"/>
                  <a:gd name="connsiteX20" fmla="*/ 103372 w 149048"/>
                  <a:gd name="connsiteY20" fmla="*/ 170309 h 214314"/>
                  <a:gd name="connsiteX21" fmla="*/ 106807 w 149048"/>
                  <a:gd name="connsiteY21" fmla="*/ 152002 h 214314"/>
                  <a:gd name="connsiteX22" fmla="*/ 91348 w 149048"/>
                  <a:gd name="connsiteY22" fmla="*/ 132423 h 214314"/>
                  <a:gd name="connsiteX23" fmla="*/ 90995 w 149048"/>
                  <a:gd name="connsiteY23" fmla="*/ 131974 h 214314"/>
                  <a:gd name="connsiteX24" fmla="*/ 62969 w 149048"/>
                  <a:gd name="connsiteY24" fmla="*/ 126350 h 214314"/>
                  <a:gd name="connsiteX25" fmla="*/ 57467 w 149048"/>
                  <a:gd name="connsiteY25" fmla="*/ 117674 h 214314"/>
                  <a:gd name="connsiteX26" fmla="*/ 65856 w 149048"/>
                  <a:gd name="connsiteY26" fmla="*/ 103279 h 214314"/>
                  <a:gd name="connsiteX27" fmla="*/ 58265 w 149048"/>
                  <a:gd name="connsiteY27" fmla="*/ 94360 h 214314"/>
                  <a:gd name="connsiteX28" fmla="*/ 45836 w 149048"/>
                  <a:gd name="connsiteY28" fmla="*/ 109646 h 214314"/>
                  <a:gd name="connsiteX29" fmla="*/ 44484 w 149048"/>
                  <a:gd name="connsiteY29" fmla="*/ 78380 h 214314"/>
                  <a:gd name="connsiteX30" fmla="*/ 32828 w 149048"/>
                  <a:gd name="connsiteY30" fmla="*/ 61666 h 214314"/>
                  <a:gd name="connsiteX31" fmla="*/ 41210 w 149048"/>
                  <a:gd name="connsiteY31" fmla="*/ 27410 h 214314"/>
                  <a:gd name="connsiteX32" fmla="*/ 59141 w 149048"/>
                  <a:gd name="connsiteY32" fmla="*/ 169 h 214314"/>
                  <a:gd name="connsiteX33" fmla="*/ 77573 w 149048"/>
                  <a:gd name="connsiteY33" fmla="*/ 2842 h 214314"/>
                  <a:gd name="connsiteX34" fmla="*/ 105422 w 149048"/>
                  <a:gd name="connsiteY34" fmla="*/ 0 h 214314"/>
                  <a:gd name="connsiteX0" fmla="*/ 19350 w 149048"/>
                  <a:gd name="connsiteY0" fmla="*/ 114098 h 187983"/>
                  <a:gd name="connsiteX1" fmla="*/ 44092 w 149048"/>
                  <a:gd name="connsiteY1" fmla="*/ 133901 h 187983"/>
                  <a:gd name="connsiteX2" fmla="*/ 31722 w 149048"/>
                  <a:gd name="connsiteY2" fmla="*/ 155717 h 187983"/>
                  <a:gd name="connsiteX3" fmla="*/ 14275 w 149048"/>
                  <a:gd name="connsiteY3" fmla="*/ 149192 h 187983"/>
                  <a:gd name="connsiteX4" fmla="*/ 0 w 149048"/>
                  <a:gd name="connsiteY4" fmla="*/ 149628 h 187983"/>
                  <a:gd name="connsiteX5" fmla="*/ 4758 w 149048"/>
                  <a:gd name="connsiteY5" fmla="*/ 132586 h 187983"/>
                  <a:gd name="connsiteX6" fmla="*/ 0 w 149048"/>
                  <a:gd name="connsiteY6" fmla="*/ 115424 h 187983"/>
                  <a:gd name="connsiteX7" fmla="*/ 19350 w 149048"/>
                  <a:gd name="connsiteY7" fmla="*/ 114098 h 187983"/>
                  <a:gd name="connsiteX8" fmla="*/ 105422 w 149048"/>
                  <a:gd name="connsiteY8" fmla="*/ 0 h 187983"/>
                  <a:gd name="connsiteX9" fmla="*/ 80751 w 149048"/>
                  <a:gd name="connsiteY9" fmla="*/ 36267 h 187983"/>
                  <a:gd name="connsiteX10" fmla="*/ 104268 w 149048"/>
                  <a:gd name="connsiteY10" fmla="*/ 31707 h 187983"/>
                  <a:gd name="connsiteX11" fmla="*/ 129560 w 149048"/>
                  <a:gd name="connsiteY11" fmla="*/ 31881 h 187983"/>
                  <a:gd name="connsiteX12" fmla="*/ 123542 w 149048"/>
                  <a:gd name="connsiteY12" fmla="*/ 58869 h 187983"/>
                  <a:gd name="connsiteX13" fmla="*/ 102791 w 149048"/>
                  <a:gd name="connsiteY13" fmla="*/ 88196 h 187983"/>
                  <a:gd name="connsiteX14" fmla="*/ 126658 w 149048"/>
                  <a:gd name="connsiteY14" fmla="*/ 90270 h 187983"/>
                  <a:gd name="connsiteX15" fmla="*/ 128489 w 149048"/>
                  <a:gd name="connsiteY15" fmla="*/ 93682 h 187983"/>
                  <a:gd name="connsiteX16" fmla="*/ 149048 w 149048"/>
                  <a:gd name="connsiteY16" fmla="*/ 131655 h 187983"/>
                  <a:gd name="connsiteX17" fmla="*/ 64681 w 149048"/>
                  <a:gd name="connsiteY17" fmla="*/ 187983 h 187983"/>
                  <a:gd name="connsiteX18" fmla="*/ 69067 w 149048"/>
                  <a:gd name="connsiteY18" fmla="*/ 167465 h 187983"/>
                  <a:gd name="connsiteX19" fmla="*/ 103372 w 149048"/>
                  <a:gd name="connsiteY19" fmla="*/ 170309 h 187983"/>
                  <a:gd name="connsiteX20" fmla="*/ 106807 w 149048"/>
                  <a:gd name="connsiteY20" fmla="*/ 152002 h 187983"/>
                  <a:gd name="connsiteX21" fmla="*/ 91348 w 149048"/>
                  <a:gd name="connsiteY21" fmla="*/ 132423 h 187983"/>
                  <a:gd name="connsiteX22" fmla="*/ 90995 w 149048"/>
                  <a:gd name="connsiteY22" fmla="*/ 131974 h 187983"/>
                  <a:gd name="connsiteX23" fmla="*/ 62969 w 149048"/>
                  <a:gd name="connsiteY23" fmla="*/ 126350 h 187983"/>
                  <a:gd name="connsiteX24" fmla="*/ 57467 w 149048"/>
                  <a:gd name="connsiteY24" fmla="*/ 117674 h 187983"/>
                  <a:gd name="connsiteX25" fmla="*/ 65856 w 149048"/>
                  <a:gd name="connsiteY25" fmla="*/ 103279 h 187983"/>
                  <a:gd name="connsiteX26" fmla="*/ 58265 w 149048"/>
                  <a:gd name="connsiteY26" fmla="*/ 94360 h 187983"/>
                  <a:gd name="connsiteX27" fmla="*/ 45836 w 149048"/>
                  <a:gd name="connsiteY27" fmla="*/ 109646 h 187983"/>
                  <a:gd name="connsiteX28" fmla="*/ 44484 w 149048"/>
                  <a:gd name="connsiteY28" fmla="*/ 78380 h 187983"/>
                  <a:gd name="connsiteX29" fmla="*/ 32828 w 149048"/>
                  <a:gd name="connsiteY29" fmla="*/ 61666 h 187983"/>
                  <a:gd name="connsiteX30" fmla="*/ 41210 w 149048"/>
                  <a:gd name="connsiteY30" fmla="*/ 27410 h 187983"/>
                  <a:gd name="connsiteX31" fmla="*/ 59141 w 149048"/>
                  <a:gd name="connsiteY31" fmla="*/ 169 h 187983"/>
                  <a:gd name="connsiteX32" fmla="*/ 77573 w 149048"/>
                  <a:gd name="connsiteY32" fmla="*/ 2842 h 187983"/>
                  <a:gd name="connsiteX33" fmla="*/ 105422 w 149048"/>
                  <a:gd name="connsiteY33" fmla="*/ 0 h 187983"/>
                  <a:gd name="connsiteX0" fmla="*/ 19350 w 149048"/>
                  <a:gd name="connsiteY0" fmla="*/ 114098 h 187983"/>
                  <a:gd name="connsiteX1" fmla="*/ 44092 w 149048"/>
                  <a:gd name="connsiteY1" fmla="*/ 133901 h 187983"/>
                  <a:gd name="connsiteX2" fmla="*/ 31722 w 149048"/>
                  <a:gd name="connsiteY2" fmla="*/ 155717 h 187983"/>
                  <a:gd name="connsiteX3" fmla="*/ 14275 w 149048"/>
                  <a:gd name="connsiteY3" fmla="*/ 149192 h 187983"/>
                  <a:gd name="connsiteX4" fmla="*/ 0 w 149048"/>
                  <a:gd name="connsiteY4" fmla="*/ 149628 h 187983"/>
                  <a:gd name="connsiteX5" fmla="*/ 4758 w 149048"/>
                  <a:gd name="connsiteY5" fmla="*/ 132586 h 187983"/>
                  <a:gd name="connsiteX6" fmla="*/ 0 w 149048"/>
                  <a:gd name="connsiteY6" fmla="*/ 115424 h 187983"/>
                  <a:gd name="connsiteX7" fmla="*/ 19350 w 149048"/>
                  <a:gd name="connsiteY7" fmla="*/ 114098 h 187983"/>
                  <a:gd name="connsiteX8" fmla="*/ 105422 w 149048"/>
                  <a:gd name="connsiteY8" fmla="*/ 0 h 187983"/>
                  <a:gd name="connsiteX9" fmla="*/ 80751 w 149048"/>
                  <a:gd name="connsiteY9" fmla="*/ 36267 h 187983"/>
                  <a:gd name="connsiteX10" fmla="*/ 104268 w 149048"/>
                  <a:gd name="connsiteY10" fmla="*/ 31707 h 187983"/>
                  <a:gd name="connsiteX11" fmla="*/ 129560 w 149048"/>
                  <a:gd name="connsiteY11" fmla="*/ 31881 h 187983"/>
                  <a:gd name="connsiteX12" fmla="*/ 123542 w 149048"/>
                  <a:gd name="connsiteY12" fmla="*/ 58869 h 187983"/>
                  <a:gd name="connsiteX13" fmla="*/ 102791 w 149048"/>
                  <a:gd name="connsiteY13" fmla="*/ 88196 h 187983"/>
                  <a:gd name="connsiteX14" fmla="*/ 126658 w 149048"/>
                  <a:gd name="connsiteY14" fmla="*/ 90270 h 187983"/>
                  <a:gd name="connsiteX15" fmla="*/ 128489 w 149048"/>
                  <a:gd name="connsiteY15" fmla="*/ 93682 h 187983"/>
                  <a:gd name="connsiteX16" fmla="*/ 149048 w 149048"/>
                  <a:gd name="connsiteY16" fmla="*/ 131655 h 187983"/>
                  <a:gd name="connsiteX17" fmla="*/ 64681 w 149048"/>
                  <a:gd name="connsiteY17" fmla="*/ 187983 h 187983"/>
                  <a:gd name="connsiteX18" fmla="*/ 103372 w 149048"/>
                  <a:gd name="connsiteY18" fmla="*/ 170309 h 187983"/>
                  <a:gd name="connsiteX19" fmla="*/ 106807 w 149048"/>
                  <a:gd name="connsiteY19" fmla="*/ 152002 h 187983"/>
                  <a:gd name="connsiteX20" fmla="*/ 91348 w 149048"/>
                  <a:gd name="connsiteY20" fmla="*/ 132423 h 187983"/>
                  <a:gd name="connsiteX21" fmla="*/ 90995 w 149048"/>
                  <a:gd name="connsiteY21" fmla="*/ 131974 h 187983"/>
                  <a:gd name="connsiteX22" fmla="*/ 62969 w 149048"/>
                  <a:gd name="connsiteY22" fmla="*/ 126350 h 187983"/>
                  <a:gd name="connsiteX23" fmla="*/ 57467 w 149048"/>
                  <a:gd name="connsiteY23" fmla="*/ 117674 h 187983"/>
                  <a:gd name="connsiteX24" fmla="*/ 65856 w 149048"/>
                  <a:gd name="connsiteY24" fmla="*/ 103279 h 187983"/>
                  <a:gd name="connsiteX25" fmla="*/ 58265 w 149048"/>
                  <a:gd name="connsiteY25" fmla="*/ 94360 h 187983"/>
                  <a:gd name="connsiteX26" fmla="*/ 45836 w 149048"/>
                  <a:gd name="connsiteY26" fmla="*/ 109646 h 187983"/>
                  <a:gd name="connsiteX27" fmla="*/ 44484 w 149048"/>
                  <a:gd name="connsiteY27" fmla="*/ 78380 h 187983"/>
                  <a:gd name="connsiteX28" fmla="*/ 32828 w 149048"/>
                  <a:gd name="connsiteY28" fmla="*/ 61666 h 187983"/>
                  <a:gd name="connsiteX29" fmla="*/ 41210 w 149048"/>
                  <a:gd name="connsiteY29" fmla="*/ 27410 h 187983"/>
                  <a:gd name="connsiteX30" fmla="*/ 59141 w 149048"/>
                  <a:gd name="connsiteY30" fmla="*/ 169 h 187983"/>
                  <a:gd name="connsiteX31" fmla="*/ 77573 w 149048"/>
                  <a:gd name="connsiteY31" fmla="*/ 2842 h 187983"/>
                  <a:gd name="connsiteX32" fmla="*/ 105422 w 149048"/>
                  <a:gd name="connsiteY32" fmla="*/ 0 h 187983"/>
                  <a:gd name="connsiteX0" fmla="*/ 19350 w 149048"/>
                  <a:gd name="connsiteY0" fmla="*/ 114098 h 170309"/>
                  <a:gd name="connsiteX1" fmla="*/ 44092 w 149048"/>
                  <a:gd name="connsiteY1" fmla="*/ 133901 h 170309"/>
                  <a:gd name="connsiteX2" fmla="*/ 31722 w 149048"/>
                  <a:gd name="connsiteY2" fmla="*/ 155717 h 170309"/>
                  <a:gd name="connsiteX3" fmla="*/ 14275 w 149048"/>
                  <a:gd name="connsiteY3" fmla="*/ 149192 h 170309"/>
                  <a:gd name="connsiteX4" fmla="*/ 0 w 149048"/>
                  <a:gd name="connsiteY4" fmla="*/ 149628 h 170309"/>
                  <a:gd name="connsiteX5" fmla="*/ 4758 w 149048"/>
                  <a:gd name="connsiteY5" fmla="*/ 132586 h 170309"/>
                  <a:gd name="connsiteX6" fmla="*/ 0 w 149048"/>
                  <a:gd name="connsiteY6" fmla="*/ 115424 h 170309"/>
                  <a:gd name="connsiteX7" fmla="*/ 19350 w 149048"/>
                  <a:gd name="connsiteY7" fmla="*/ 114098 h 170309"/>
                  <a:gd name="connsiteX8" fmla="*/ 105422 w 149048"/>
                  <a:gd name="connsiteY8" fmla="*/ 0 h 170309"/>
                  <a:gd name="connsiteX9" fmla="*/ 80751 w 149048"/>
                  <a:gd name="connsiteY9" fmla="*/ 36267 h 170309"/>
                  <a:gd name="connsiteX10" fmla="*/ 104268 w 149048"/>
                  <a:gd name="connsiteY10" fmla="*/ 31707 h 170309"/>
                  <a:gd name="connsiteX11" fmla="*/ 129560 w 149048"/>
                  <a:gd name="connsiteY11" fmla="*/ 31881 h 170309"/>
                  <a:gd name="connsiteX12" fmla="*/ 123542 w 149048"/>
                  <a:gd name="connsiteY12" fmla="*/ 58869 h 170309"/>
                  <a:gd name="connsiteX13" fmla="*/ 102791 w 149048"/>
                  <a:gd name="connsiteY13" fmla="*/ 88196 h 170309"/>
                  <a:gd name="connsiteX14" fmla="*/ 126658 w 149048"/>
                  <a:gd name="connsiteY14" fmla="*/ 90270 h 170309"/>
                  <a:gd name="connsiteX15" fmla="*/ 128489 w 149048"/>
                  <a:gd name="connsiteY15" fmla="*/ 93682 h 170309"/>
                  <a:gd name="connsiteX16" fmla="*/ 149048 w 149048"/>
                  <a:gd name="connsiteY16" fmla="*/ 131655 h 170309"/>
                  <a:gd name="connsiteX17" fmla="*/ 103372 w 149048"/>
                  <a:gd name="connsiteY17" fmla="*/ 170309 h 170309"/>
                  <a:gd name="connsiteX18" fmla="*/ 106807 w 149048"/>
                  <a:gd name="connsiteY18" fmla="*/ 152002 h 170309"/>
                  <a:gd name="connsiteX19" fmla="*/ 91348 w 149048"/>
                  <a:gd name="connsiteY19" fmla="*/ 132423 h 170309"/>
                  <a:gd name="connsiteX20" fmla="*/ 90995 w 149048"/>
                  <a:gd name="connsiteY20" fmla="*/ 131974 h 170309"/>
                  <a:gd name="connsiteX21" fmla="*/ 62969 w 149048"/>
                  <a:gd name="connsiteY21" fmla="*/ 126350 h 170309"/>
                  <a:gd name="connsiteX22" fmla="*/ 57467 w 149048"/>
                  <a:gd name="connsiteY22" fmla="*/ 117674 h 170309"/>
                  <a:gd name="connsiteX23" fmla="*/ 65856 w 149048"/>
                  <a:gd name="connsiteY23" fmla="*/ 103279 h 170309"/>
                  <a:gd name="connsiteX24" fmla="*/ 58265 w 149048"/>
                  <a:gd name="connsiteY24" fmla="*/ 94360 h 170309"/>
                  <a:gd name="connsiteX25" fmla="*/ 45836 w 149048"/>
                  <a:gd name="connsiteY25" fmla="*/ 109646 h 170309"/>
                  <a:gd name="connsiteX26" fmla="*/ 44484 w 149048"/>
                  <a:gd name="connsiteY26" fmla="*/ 78380 h 170309"/>
                  <a:gd name="connsiteX27" fmla="*/ 32828 w 149048"/>
                  <a:gd name="connsiteY27" fmla="*/ 61666 h 170309"/>
                  <a:gd name="connsiteX28" fmla="*/ 41210 w 149048"/>
                  <a:gd name="connsiteY28" fmla="*/ 27410 h 170309"/>
                  <a:gd name="connsiteX29" fmla="*/ 59141 w 149048"/>
                  <a:gd name="connsiteY29" fmla="*/ 169 h 170309"/>
                  <a:gd name="connsiteX30" fmla="*/ 77573 w 149048"/>
                  <a:gd name="connsiteY30" fmla="*/ 2842 h 170309"/>
                  <a:gd name="connsiteX31" fmla="*/ 105422 w 149048"/>
                  <a:gd name="connsiteY31" fmla="*/ 0 h 170309"/>
                  <a:gd name="connsiteX0" fmla="*/ 19350 w 149048"/>
                  <a:gd name="connsiteY0" fmla="*/ 114098 h 170309"/>
                  <a:gd name="connsiteX1" fmla="*/ 44092 w 149048"/>
                  <a:gd name="connsiteY1" fmla="*/ 133901 h 170309"/>
                  <a:gd name="connsiteX2" fmla="*/ 31722 w 149048"/>
                  <a:gd name="connsiteY2" fmla="*/ 155717 h 170309"/>
                  <a:gd name="connsiteX3" fmla="*/ 14275 w 149048"/>
                  <a:gd name="connsiteY3" fmla="*/ 149192 h 170309"/>
                  <a:gd name="connsiteX4" fmla="*/ 0 w 149048"/>
                  <a:gd name="connsiteY4" fmla="*/ 149628 h 170309"/>
                  <a:gd name="connsiteX5" fmla="*/ 4758 w 149048"/>
                  <a:gd name="connsiteY5" fmla="*/ 132586 h 170309"/>
                  <a:gd name="connsiteX6" fmla="*/ 0 w 149048"/>
                  <a:gd name="connsiteY6" fmla="*/ 115424 h 170309"/>
                  <a:gd name="connsiteX7" fmla="*/ 19350 w 149048"/>
                  <a:gd name="connsiteY7" fmla="*/ 114098 h 170309"/>
                  <a:gd name="connsiteX8" fmla="*/ 105422 w 149048"/>
                  <a:gd name="connsiteY8" fmla="*/ 0 h 170309"/>
                  <a:gd name="connsiteX9" fmla="*/ 80751 w 149048"/>
                  <a:gd name="connsiteY9" fmla="*/ 36267 h 170309"/>
                  <a:gd name="connsiteX10" fmla="*/ 104268 w 149048"/>
                  <a:gd name="connsiteY10" fmla="*/ 31707 h 170309"/>
                  <a:gd name="connsiteX11" fmla="*/ 129560 w 149048"/>
                  <a:gd name="connsiteY11" fmla="*/ 31881 h 170309"/>
                  <a:gd name="connsiteX12" fmla="*/ 123542 w 149048"/>
                  <a:gd name="connsiteY12" fmla="*/ 58869 h 170309"/>
                  <a:gd name="connsiteX13" fmla="*/ 102791 w 149048"/>
                  <a:gd name="connsiteY13" fmla="*/ 88196 h 170309"/>
                  <a:gd name="connsiteX14" fmla="*/ 126658 w 149048"/>
                  <a:gd name="connsiteY14" fmla="*/ 90270 h 170309"/>
                  <a:gd name="connsiteX15" fmla="*/ 128489 w 149048"/>
                  <a:gd name="connsiteY15" fmla="*/ 93682 h 170309"/>
                  <a:gd name="connsiteX16" fmla="*/ 149048 w 149048"/>
                  <a:gd name="connsiteY16" fmla="*/ 131655 h 170309"/>
                  <a:gd name="connsiteX17" fmla="*/ 103372 w 149048"/>
                  <a:gd name="connsiteY17" fmla="*/ 170309 h 170309"/>
                  <a:gd name="connsiteX18" fmla="*/ 91348 w 149048"/>
                  <a:gd name="connsiteY18" fmla="*/ 132423 h 170309"/>
                  <a:gd name="connsiteX19" fmla="*/ 90995 w 149048"/>
                  <a:gd name="connsiteY19" fmla="*/ 131974 h 170309"/>
                  <a:gd name="connsiteX20" fmla="*/ 62969 w 149048"/>
                  <a:gd name="connsiteY20" fmla="*/ 126350 h 170309"/>
                  <a:gd name="connsiteX21" fmla="*/ 57467 w 149048"/>
                  <a:gd name="connsiteY21" fmla="*/ 117674 h 170309"/>
                  <a:gd name="connsiteX22" fmla="*/ 65856 w 149048"/>
                  <a:gd name="connsiteY22" fmla="*/ 103279 h 170309"/>
                  <a:gd name="connsiteX23" fmla="*/ 58265 w 149048"/>
                  <a:gd name="connsiteY23" fmla="*/ 94360 h 170309"/>
                  <a:gd name="connsiteX24" fmla="*/ 45836 w 149048"/>
                  <a:gd name="connsiteY24" fmla="*/ 109646 h 170309"/>
                  <a:gd name="connsiteX25" fmla="*/ 44484 w 149048"/>
                  <a:gd name="connsiteY25" fmla="*/ 78380 h 170309"/>
                  <a:gd name="connsiteX26" fmla="*/ 32828 w 149048"/>
                  <a:gd name="connsiteY26" fmla="*/ 61666 h 170309"/>
                  <a:gd name="connsiteX27" fmla="*/ 41210 w 149048"/>
                  <a:gd name="connsiteY27" fmla="*/ 27410 h 170309"/>
                  <a:gd name="connsiteX28" fmla="*/ 59141 w 149048"/>
                  <a:gd name="connsiteY28" fmla="*/ 169 h 170309"/>
                  <a:gd name="connsiteX29" fmla="*/ 77573 w 149048"/>
                  <a:gd name="connsiteY29" fmla="*/ 2842 h 170309"/>
                  <a:gd name="connsiteX30" fmla="*/ 105422 w 149048"/>
                  <a:gd name="connsiteY30" fmla="*/ 0 h 170309"/>
                  <a:gd name="connsiteX0" fmla="*/ 19350 w 149048"/>
                  <a:gd name="connsiteY0" fmla="*/ 114098 h 155717"/>
                  <a:gd name="connsiteX1" fmla="*/ 44092 w 149048"/>
                  <a:gd name="connsiteY1" fmla="*/ 133901 h 155717"/>
                  <a:gd name="connsiteX2" fmla="*/ 31722 w 149048"/>
                  <a:gd name="connsiteY2" fmla="*/ 155717 h 155717"/>
                  <a:gd name="connsiteX3" fmla="*/ 14275 w 149048"/>
                  <a:gd name="connsiteY3" fmla="*/ 149192 h 155717"/>
                  <a:gd name="connsiteX4" fmla="*/ 0 w 149048"/>
                  <a:gd name="connsiteY4" fmla="*/ 149628 h 155717"/>
                  <a:gd name="connsiteX5" fmla="*/ 4758 w 149048"/>
                  <a:gd name="connsiteY5" fmla="*/ 132586 h 155717"/>
                  <a:gd name="connsiteX6" fmla="*/ 0 w 149048"/>
                  <a:gd name="connsiteY6" fmla="*/ 115424 h 155717"/>
                  <a:gd name="connsiteX7" fmla="*/ 19350 w 149048"/>
                  <a:gd name="connsiteY7" fmla="*/ 114098 h 155717"/>
                  <a:gd name="connsiteX8" fmla="*/ 105422 w 149048"/>
                  <a:gd name="connsiteY8" fmla="*/ 0 h 155717"/>
                  <a:gd name="connsiteX9" fmla="*/ 80751 w 149048"/>
                  <a:gd name="connsiteY9" fmla="*/ 36267 h 155717"/>
                  <a:gd name="connsiteX10" fmla="*/ 104268 w 149048"/>
                  <a:gd name="connsiteY10" fmla="*/ 31707 h 155717"/>
                  <a:gd name="connsiteX11" fmla="*/ 129560 w 149048"/>
                  <a:gd name="connsiteY11" fmla="*/ 31881 h 155717"/>
                  <a:gd name="connsiteX12" fmla="*/ 123542 w 149048"/>
                  <a:gd name="connsiteY12" fmla="*/ 58869 h 155717"/>
                  <a:gd name="connsiteX13" fmla="*/ 102791 w 149048"/>
                  <a:gd name="connsiteY13" fmla="*/ 88196 h 155717"/>
                  <a:gd name="connsiteX14" fmla="*/ 126658 w 149048"/>
                  <a:gd name="connsiteY14" fmla="*/ 90270 h 155717"/>
                  <a:gd name="connsiteX15" fmla="*/ 128489 w 149048"/>
                  <a:gd name="connsiteY15" fmla="*/ 93682 h 155717"/>
                  <a:gd name="connsiteX16" fmla="*/ 149048 w 149048"/>
                  <a:gd name="connsiteY16" fmla="*/ 131655 h 155717"/>
                  <a:gd name="connsiteX17" fmla="*/ 91348 w 149048"/>
                  <a:gd name="connsiteY17" fmla="*/ 132423 h 155717"/>
                  <a:gd name="connsiteX18" fmla="*/ 90995 w 149048"/>
                  <a:gd name="connsiteY18" fmla="*/ 131974 h 155717"/>
                  <a:gd name="connsiteX19" fmla="*/ 62969 w 149048"/>
                  <a:gd name="connsiteY19" fmla="*/ 126350 h 155717"/>
                  <a:gd name="connsiteX20" fmla="*/ 57467 w 149048"/>
                  <a:gd name="connsiteY20" fmla="*/ 117674 h 155717"/>
                  <a:gd name="connsiteX21" fmla="*/ 65856 w 149048"/>
                  <a:gd name="connsiteY21" fmla="*/ 103279 h 155717"/>
                  <a:gd name="connsiteX22" fmla="*/ 58265 w 149048"/>
                  <a:gd name="connsiteY22" fmla="*/ 94360 h 155717"/>
                  <a:gd name="connsiteX23" fmla="*/ 45836 w 149048"/>
                  <a:gd name="connsiteY23" fmla="*/ 109646 h 155717"/>
                  <a:gd name="connsiteX24" fmla="*/ 44484 w 149048"/>
                  <a:gd name="connsiteY24" fmla="*/ 78380 h 155717"/>
                  <a:gd name="connsiteX25" fmla="*/ 32828 w 149048"/>
                  <a:gd name="connsiteY25" fmla="*/ 61666 h 155717"/>
                  <a:gd name="connsiteX26" fmla="*/ 41210 w 149048"/>
                  <a:gd name="connsiteY26" fmla="*/ 27410 h 155717"/>
                  <a:gd name="connsiteX27" fmla="*/ 59141 w 149048"/>
                  <a:gd name="connsiteY27" fmla="*/ 169 h 155717"/>
                  <a:gd name="connsiteX28" fmla="*/ 77573 w 149048"/>
                  <a:gd name="connsiteY28" fmla="*/ 2842 h 155717"/>
                  <a:gd name="connsiteX29" fmla="*/ 105422 w 149048"/>
                  <a:gd name="connsiteY29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126658 w 129560"/>
                  <a:gd name="connsiteY14" fmla="*/ 90270 h 155717"/>
                  <a:gd name="connsiteX15" fmla="*/ 128489 w 129560"/>
                  <a:gd name="connsiteY15" fmla="*/ 93682 h 155717"/>
                  <a:gd name="connsiteX16" fmla="*/ 91348 w 129560"/>
                  <a:gd name="connsiteY16" fmla="*/ 132423 h 155717"/>
                  <a:gd name="connsiteX17" fmla="*/ 90995 w 129560"/>
                  <a:gd name="connsiteY17" fmla="*/ 131974 h 155717"/>
                  <a:gd name="connsiteX18" fmla="*/ 62969 w 129560"/>
                  <a:gd name="connsiteY18" fmla="*/ 126350 h 155717"/>
                  <a:gd name="connsiteX19" fmla="*/ 57467 w 129560"/>
                  <a:gd name="connsiteY19" fmla="*/ 117674 h 155717"/>
                  <a:gd name="connsiteX20" fmla="*/ 65856 w 129560"/>
                  <a:gd name="connsiteY20" fmla="*/ 103279 h 155717"/>
                  <a:gd name="connsiteX21" fmla="*/ 58265 w 129560"/>
                  <a:gd name="connsiteY21" fmla="*/ 94360 h 155717"/>
                  <a:gd name="connsiteX22" fmla="*/ 45836 w 129560"/>
                  <a:gd name="connsiteY22" fmla="*/ 109646 h 155717"/>
                  <a:gd name="connsiteX23" fmla="*/ 44484 w 129560"/>
                  <a:gd name="connsiteY23" fmla="*/ 78380 h 155717"/>
                  <a:gd name="connsiteX24" fmla="*/ 32828 w 129560"/>
                  <a:gd name="connsiteY24" fmla="*/ 61666 h 155717"/>
                  <a:gd name="connsiteX25" fmla="*/ 41210 w 129560"/>
                  <a:gd name="connsiteY25" fmla="*/ 27410 h 155717"/>
                  <a:gd name="connsiteX26" fmla="*/ 59141 w 129560"/>
                  <a:gd name="connsiteY26" fmla="*/ 169 h 155717"/>
                  <a:gd name="connsiteX27" fmla="*/ 77573 w 129560"/>
                  <a:gd name="connsiteY27" fmla="*/ 2842 h 155717"/>
                  <a:gd name="connsiteX28" fmla="*/ 105422 w 129560"/>
                  <a:gd name="connsiteY28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126658 w 129560"/>
                  <a:gd name="connsiteY14" fmla="*/ 90270 h 155717"/>
                  <a:gd name="connsiteX15" fmla="*/ 128489 w 129560"/>
                  <a:gd name="connsiteY15" fmla="*/ 93682 h 155717"/>
                  <a:gd name="connsiteX16" fmla="*/ 91348 w 129560"/>
                  <a:gd name="connsiteY16" fmla="*/ 132423 h 155717"/>
                  <a:gd name="connsiteX17" fmla="*/ 62969 w 129560"/>
                  <a:gd name="connsiteY17" fmla="*/ 126350 h 155717"/>
                  <a:gd name="connsiteX18" fmla="*/ 57467 w 129560"/>
                  <a:gd name="connsiteY18" fmla="*/ 117674 h 155717"/>
                  <a:gd name="connsiteX19" fmla="*/ 65856 w 129560"/>
                  <a:gd name="connsiteY19" fmla="*/ 103279 h 155717"/>
                  <a:gd name="connsiteX20" fmla="*/ 58265 w 129560"/>
                  <a:gd name="connsiteY20" fmla="*/ 94360 h 155717"/>
                  <a:gd name="connsiteX21" fmla="*/ 45836 w 129560"/>
                  <a:gd name="connsiteY21" fmla="*/ 109646 h 155717"/>
                  <a:gd name="connsiteX22" fmla="*/ 44484 w 129560"/>
                  <a:gd name="connsiteY22" fmla="*/ 78380 h 155717"/>
                  <a:gd name="connsiteX23" fmla="*/ 32828 w 129560"/>
                  <a:gd name="connsiteY23" fmla="*/ 61666 h 155717"/>
                  <a:gd name="connsiteX24" fmla="*/ 41210 w 129560"/>
                  <a:gd name="connsiteY24" fmla="*/ 27410 h 155717"/>
                  <a:gd name="connsiteX25" fmla="*/ 59141 w 129560"/>
                  <a:gd name="connsiteY25" fmla="*/ 169 h 155717"/>
                  <a:gd name="connsiteX26" fmla="*/ 77573 w 129560"/>
                  <a:gd name="connsiteY26" fmla="*/ 2842 h 155717"/>
                  <a:gd name="connsiteX27" fmla="*/ 105422 w 129560"/>
                  <a:gd name="connsiteY27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126658 w 129560"/>
                  <a:gd name="connsiteY14" fmla="*/ 90270 h 155717"/>
                  <a:gd name="connsiteX15" fmla="*/ 128489 w 129560"/>
                  <a:gd name="connsiteY15" fmla="*/ 93682 h 155717"/>
                  <a:gd name="connsiteX16" fmla="*/ 62969 w 129560"/>
                  <a:gd name="connsiteY16" fmla="*/ 126350 h 155717"/>
                  <a:gd name="connsiteX17" fmla="*/ 57467 w 129560"/>
                  <a:gd name="connsiteY17" fmla="*/ 117674 h 155717"/>
                  <a:gd name="connsiteX18" fmla="*/ 65856 w 129560"/>
                  <a:gd name="connsiteY18" fmla="*/ 103279 h 155717"/>
                  <a:gd name="connsiteX19" fmla="*/ 58265 w 129560"/>
                  <a:gd name="connsiteY19" fmla="*/ 94360 h 155717"/>
                  <a:gd name="connsiteX20" fmla="*/ 45836 w 129560"/>
                  <a:gd name="connsiteY20" fmla="*/ 109646 h 155717"/>
                  <a:gd name="connsiteX21" fmla="*/ 44484 w 129560"/>
                  <a:gd name="connsiteY21" fmla="*/ 78380 h 155717"/>
                  <a:gd name="connsiteX22" fmla="*/ 32828 w 129560"/>
                  <a:gd name="connsiteY22" fmla="*/ 61666 h 155717"/>
                  <a:gd name="connsiteX23" fmla="*/ 41210 w 129560"/>
                  <a:gd name="connsiteY23" fmla="*/ 27410 h 155717"/>
                  <a:gd name="connsiteX24" fmla="*/ 59141 w 129560"/>
                  <a:gd name="connsiteY24" fmla="*/ 169 h 155717"/>
                  <a:gd name="connsiteX25" fmla="*/ 77573 w 129560"/>
                  <a:gd name="connsiteY25" fmla="*/ 2842 h 155717"/>
                  <a:gd name="connsiteX26" fmla="*/ 105422 w 129560"/>
                  <a:gd name="connsiteY26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126658 w 129560"/>
                  <a:gd name="connsiteY14" fmla="*/ 90270 h 155717"/>
                  <a:gd name="connsiteX15" fmla="*/ 62969 w 129560"/>
                  <a:gd name="connsiteY15" fmla="*/ 126350 h 155717"/>
                  <a:gd name="connsiteX16" fmla="*/ 57467 w 129560"/>
                  <a:gd name="connsiteY16" fmla="*/ 117674 h 155717"/>
                  <a:gd name="connsiteX17" fmla="*/ 65856 w 129560"/>
                  <a:gd name="connsiteY17" fmla="*/ 103279 h 155717"/>
                  <a:gd name="connsiteX18" fmla="*/ 58265 w 129560"/>
                  <a:gd name="connsiteY18" fmla="*/ 94360 h 155717"/>
                  <a:gd name="connsiteX19" fmla="*/ 45836 w 129560"/>
                  <a:gd name="connsiteY19" fmla="*/ 109646 h 155717"/>
                  <a:gd name="connsiteX20" fmla="*/ 44484 w 129560"/>
                  <a:gd name="connsiteY20" fmla="*/ 78380 h 155717"/>
                  <a:gd name="connsiteX21" fmla="*/ 32828 w 129560"/>
                  <a:gd name="connsiteY21" fmla="*/ 61666 h 155717"/>
                  <a:gd name="connsiteX22" fmla="*/ 41210 w 129560"/>
                  <a:gd name="connsiteY22" fmla="*/ 27410 h 155717"/>
                  <a:gd name="connsiteX23" fmla="*/ 59141 w 129560"/>
                  <a:gd name="connsiteY23" fmla="*/ 169 h 155717"/>
                  <a:gd name="connsiteX24" fmla="*/ 77573 w 129560"/>
                  <a:gd name="connsiteY24" fmla="*/ 2842 h 155717"/>
                  <a:gd name="connsiteX25" fmla="*/ 105422 w 129560"/>
                  <a:gd name="connsiteY25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62969 w 129560"/>
                  <a:gd name="connsiteY14" fmla="*/ 126350 h 155717"/>
                  <a:gd name="connsiteX15" fmla="*/ 57467 w 129560"/>
                  <a:gd name="connsiteY15" fmla="*/ 117674 h 155717"/>
                  <a:gd name="connsiteX16" fmla="*/ 65856 w 129560"/>
                  <a:gd name="connsiteY16" fmla="*/ 103279 h 155717"/>
                  <a:gd name="connsiteX17" fmla="*/ 58265 w 129560"/>
                  <a:gd name="connsiteY17" fmla="*/ 94360 h 155717"/>
                  <a:gd name="connsiteX18" fmla="*/ 45836 w 129560"/>
                  <a:gd name="connsiteY18" fmla="*/ 109646 h 155717"/>
                  <a:gd name="connsiteX19" fmla="*/ 44484 w 129560"/>
                  <a:gd name="connsiteY19" fmla="*/ 78380 h 155717"/>
                  <a:gd name="connsiteX20" fmla="*/ 32828 w 129560"/>
                  <a:gd name="connsiteY20" fmla="*/ 61666 h 155717"/>
                  <a:gd name="connsiteX21" fmla="*/ 41210 w 129560"/>
                  <a:gd name="connsiteY21" fmla="*/ 27410 h 155717"/>
                  <a:gd name="connsiteX22" fmla="*/ 59141 w 129560"/>
                  <a:gd name="connsiteY22" fmla="*/ 169 h 155717"/>
                  <a:gd name="connsiteX23" fmla="*/ 77573 w 129560"/>
                  <a:gd name="connsiteY23" fmla="*/ 2842 h 155717"/>
                  <a:gd name="connsiteX24" fmla="*/ 105422 w 129560"/>
                  <a:gd name="connsiteY24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62969 w 129560"/>
                  <a:gd name="connsiteY14" fmla="*/ 126350 h 155717"/>
                  <a:gd name="connsiteX15" fmla="*/ 65856 w 129560"/>
                  <a:gd name="connsiteY15" fmla="*/ 103279 h 155717"/>
                  <a:gd name="connsiteX16" fmla="*/ 58265 w 129560"/>
                  <a:gd name="connsiteY16" fmla="*/ 94360 h 155717"/>
                  <a:gd name="connsiteX17" fmla="*/ 45836 w 129560"/>
                  <a:gd name="connsiteY17" fmla="*/ 109646 h 155717"/>
                  <a:gd name="connsiteX18" fmla="*/ 44484 w 129560"/>
                  <a:gd name="connsiteY18" fmla="*/ 78380 h 155717"/>
                  <a:gd name="connsiteX19" fmla="*/ 32828 w 129560"/>
                  <a:gd name="connsiteY19" fmla="*/ 61666 h 155717"/>
                  <a:gd name="connsiteX20" fmla="*/ 41210 w 129560"/>
                  <a:gd name="connsiteY20" fmla="*/ 27410 h 155717"/>
                  <a:gd name="connsiteX21" fmla="*/ 59141 w 129560"/>
                  <a:gd name="connsiteY21" fmla="*/ 169 h 155717"/>
                  <a:gd name="connsiteX22" fmla="*/ 77573 w 129560"/>
                  <a:gd name="connsiteY22" fmla="*/ 2842 h 155717"/>
                  <a:gd name="connsiteX23" fmla="*/ 105422 w 129560"/>
                  <a:gd name="connsiteY23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65856 w 129560"/>
                  <a:gd name="connsiteY14" fmla="*/ 103279 h 155717"/>
                  <a:gd name="connsiteX15" fmla="*/ 58265 w 129560"/>
                  <a:gd name="connsiteY15" fmla="*/ 94360 h 155717"/>
                  <a:gd name="connsiteX16" fmla="*/ 45836 w 129560"/>
                  <a:gd name="connsiteY16" fmla="*/ 109646 h 155717"/>
                  <a:gd name="connsiteX17" fmla="*/ 44484 w 129560"/>
                  <a:gd name="connsiteY17" fmla="*/ 78380 h 155717"/>
                  <a:gd name="connsiteX18" fmla="*/ 32828 w 129560"/>
                  <a:gd name="connsiteY18" fmla="*/ 61666 h 155717"/>
                  <a:gd name="connsiteX19" fmla="*/ 41210 w 129560"/>
                  <a:gd name="connsiteY19" fmla="*/ 27410 h 155717"/>
                  <a:gd name="connsiteX20" fmla="*/ 59141 w 129560"/>
                  <a:gd name="connsiteY20" fmla="*/ 169 h 155717"/>
                  <a:gd name="connsiteX21" fmla="*/ 77573 w 129560"/>
                  <a:gd name="connsiteY21" fmla="*/ 2842 h 155717"/>
                  <a:gd name="connsiteX22" fmla="*/ 105422 w 129560"/>
                  <a:gd name="connsiteY22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65856 w 129560"/>
                  <a:gd name="connsiteY14" fmla="*/ 103279 h 155717"/>
                  <a:gd name="connsiteX15" fmla="*/ 45836 w 129560"/>
                  <a:gd name="connsiteY15" fmla="*/ 109646 h 155717"/>
                  <a:gd name="connsiteX16" fmla="*/ 44484 w 129560"/>
                  <a:gd name="connsiteY16" fmla="*/ 78380 h 155717"/>
                  <a:gd name="connsiteX17" fmla="*/ 32828 w 129560"/>
                  <a:gd name="connsiteY17" fmla="*/ 61666 h 155717"/>
                  <a:gd name="connsiteX18" fmla="*/ 41210 w 129560"/>
                  <a:gd name="connsiteY18" fmla="*/ 27410 h 155717"/>
                  <a:gd name="connsiteX19" fmla="*/ 59141 w 129560"/>
                  <a:gd name="connsiteY19" fmla="*/ 169 h 155717"/>
                  <a:gd name="connsiteX20" fmla="*/ 77573 w 129560"/>
                  <a:gd name="connsiteY20" fmla="*/ 2842 h 155717"/>
                  <a:gd name="connsiteX21" fmla="*/ 105422 w 129560"/>
                  <a:gd name="connsiteY21" fmla="*/ 0 h 155717"/>
                  <a:gd name="connsiteX0" fmla="*/ 19350 w 129560"/>
                  <a:gd name="connsiteY0" fmla="*/ 114098 h 155717"/>
                  <a:gd name="connsiteX1" fmla="*/ 44092 w 129560"/>
                  <a:gd name="connsiteY1" fmla="*/ 133901 h 155717"/>
                  <a:gd name="connsiteX2" fmla="*/ 31722 w 129560"/>
                  <a:gd name="connsiteY2" fmla="*/ 155717 h 155717"/>
                  <a:gd name="connsiteX3" fmla="*/ 14275 w 129560"/>
                  <a:gd name="connsiteY3" fmla="*/ 149192 h 155717"/>
                  <a:gd name="connsiteX4" fmla="*/ 0 w 129560"/>
                  <a:gd name="connsiteY4" fmla="*/ 149628 h 155717"/>
                  <a:gd name="connsiteX5" fmla="*/ 4758 w 129560"/>
                  <a:gd name="connsiteY5" fmla="*/ 132586 h 155717"/>
                  <a:gd name="connsiteX6" fmla="*/ 0 w 129560"/>
                  <a:gd name="connsiteY6" fmla="*/ 115424 h 155717"/>
                  <a:gd name="connsiteX7" fmla="*/ 19350 w 129560"/>
                  <a:gd name="connsiteY7" fmla="*/ 114098 h 155717"/>
                  <a:gd name="connsiteX8" fmla="*/ 105422 w 129560"/>
                  <a:gd name="connsiteY8" fmla="*/ 0 h 155717"/>
                  <a:gd name="connsiteX9" fmla="*/ 80751 w 129560"/>
                  <a:gd name="connsiteY9" fmla="*/ 36267 h 155717"/>
                  <a:gd name="connsiteX10" fmla="*/ 104268 w 129560"/>
                  <a:gd name="connsiteY10" fmla="*/ 31707 h 155717"/>
                  <a:gd name="connsiteX11" fmla="*/ 129560 w 129560"/>
                  <a:gd name="connsiteY11" fmla="*/ 31881 h 155717"/>
                  <a:gd name="connsiteX12" fmla="*/ 123542 w 129560"/>
                  <a:gd name="connsiteY12" fmla="*/ 58869 h 155717"/>
                  <a:gd name="connsiteX13" fmla="*/ 102791 w 129560"/>
                  <a:gd name="connsiteY13" fmla="*/ 88196 h 155717"/>
                  <a:gd name="connsiteX14" fmla="*/ 45836 w 129560"/>
                  <a:gd name="connsiteY14" fmla="*/ 109646 h 155717"/>
                  <a:gd name="connsiteX15" fmla="*/ 44484 w 129560"/>
                  <a:gd name="connsiteY15" fmla="*/ 78380 h 155717"/>
                  <a:gd name="connsiteX16" fmla="*/ 32828 w 129560"/>
                  <a:gd name="connsiteY16" fmla="*/ 61666 h 155717"/>
                  <a:gd name="connsiteX17" fmla="*/ 41210 w 129560"/>
                  <a:gd name="connsiteY17" fmla="*/ 27410 h 155717"/>
                  <a:gd name="connsiteX18" fmla="*/ 59141 w 129560"/>
                  <a:gd name="connsiteY18" fmla="*/ 169 h 155717"/>
                  <a:gd name="connsiteX19" fmla="*/ 77573 w 129560"/>
                  <a:gd name="connsiteY19" fmla="*/ 2842 h 155717"/>
                  <a:gd name="connsiteX20" fmla="*/ 105422 w 129560"/>
                  <a:gd name="connsiteY20" fmla="*/ 0 h 15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9560" h="155717">
                    <a:moveTo>
                      <a:pt x="19350" y="114098"/>
                    </a:moveTo>
                    <a:lnTo>
                      <a:pt x="44092" y="133901"/>
                    </a:lnTo>
                    <a:lnTo>
                      <a:pt x="31722" y="155717"/>
                    </a:lnTo>
                    <a:lnTo>
                      <a:pt x="14275" y="149192"/>
                    </a:lnTo>
                    <a:lnTo>
                      <a:pt x="0" y="149628"/>
                    </a:lnTo>
                    <a:lnTo>
                      <a:pt x="4758" y="132586"/>
                    </a:lnTo>
                    <a:lnTo>
                      <a:pt x="0" y="115424"/>
                    </a:lnTo>
                    <a:lnTo>
                      <a:pt x="19350" y="114098"/>
                    </a:lnTo>
                    <a:close/>
                    <a:moveTo>
                      <a:pt x="105422" y="0"/>
                    </a:moveTo>
                    <a:lnTo>
                      <a:pt x="80751" y="36267"/>
                    </a:lnTo>
                    <a:lnTo>
                      <a:pt x="104268" y="31707"/>
                    </a:lnTo>
                    <a:lnTo>
                      <a:pt x="129560" y="31881"/>
                    </a:lnTo>
                    <a:lnTo>
                      <a:pt x="123542" y="58869"/>
                    </a:lnTo>
                    <a:lnTo>
                      <a:pt x="102791" y="88196"/>
                    </a:lnTo>
                    <a:lnTo>
                      <a:pt x="45836" y="109646"/>
                    </a:lnTo>
                    <a:cubicBezTo>
                      <a:pt x="45385" y="99224"/>
                      <a:pt x="44935" y="88802"/>
                      <a:pt x="44484" y="78380"/>
                    </a:cubicBezTo>
                    <a:lnTo>
                      <a:pt x="32828" y="61666"/>
                    </a:lnTo>
                    <a:lnTo>
                      <a:pt x="41210" y="27410"/>
                    </a:lnTo>
                    <a:lnTo>
                      <a:pt x="59141" y="169"/>
                    </a:lnTo>
                    <a:lnTo>
                      <a:pt x="77573" y="2842"/>
                    </a:lnTo>
                    <a:lnTo>
                      <a:pt x="105422" y="0"/>
                    </a:lnTo>
                    <a:close/>
                  </a:path>
                </a:pathLst>
              </a:custGeom>
              <a:solidFill>
                <a:srgbClr val="E7001D"/>
              </a:solidFill>
              <a:ln w="3175" cap="rnd"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BBD29A23-3094-40CF-B5AD-74B2554F135C}"/>
                </a:ext>
              </a:extLst>
            </p:cNvPr>
            <p:cNvSpPr txBox="1"/>
            <p:nvPr/>
          </p:nvSpPr>
          <p:spPr>
            <a:xfrm>
              <a:off x="4325606" y="1482188"/>
              <a:ext cx="471679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verall worldwide prevalence = 24%</a:t>
              </a:r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2538683-FE10-4F26-BD70-2A82BCC0374D}"/>
              </a:ext>
            </a:extLst>
          </p:cNvPr>
          <p:cNvGrpSpPr/>
          <p:nvPr/>
        </p:nvGrpSpPr>
        <p:grpSpPr>
          <a:xfrm>
            <a:off x="2158999" y="2032001"/>
            <a:ext cx="8622030" cy="4025899"/>
            <a:chOff x="2400299" y="2273301"/>
            <a:chExt cx="8622030" cy="4025899"/>
          </a:xfrm>
        </p:grpSpPr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2DF4673C-AB3D-4DF1-9F13-F2353BC9C73F}"/>
                </a:ext>
              </a:extLst>
            </p:cNvPr>
            <p:cNvGrpSpPr/>
            <p:nvPr/>
          </p:nvGrpSpPr>
          <p:grpSpPr>
            <a:xfrm>
              <a:off x="2400299" y="2273301"/>
              <a:ext cx="8622030" cy="4025899"/>
              <a:chOff x="10159999" y="2133601"/>
              <a:chExt cx="8622030" cy="4025899"/>
            </a:xfrm>
          </p:grpSpPr>
          <p:grpSp>
            <p:nvGrpSpPr>
              <p:cNvPr id="195" name="Group 194">
                <a:extLst>
                  <a:ext uri="{FF2B5EF4-FFF2-40B4-BE49-F238E27FC236}">
                    <a16:creationId xmlns:a16="http://schemas.microsoft.com/office/drawing/2014/main" id="{9E672193-4DBA-431D-8D3D-50A41F1190A6}"/>
                  </a:ext>
                </a:extLst>
              </p:cNvPr>
              <p:cNvGrpSpPr/>
              <p:nvPr/>
            </p:nvGrpSpPr>
            <p:grpSpPr>
              <a:xfrm>
                <a:off x="12444862" y="2133601"/>
                <a:ext cx="6337167" cy="3414008"/>
                <a:chOff x="416991" y="3146622"/>
                <a:chExt cx="5604364" cy="3019227"/>
              </a:xfrm>
              <a:solidFill>
                <a:srgbClr val="E7001D"/>
              </a:solidFill>
            </p:grpSpPr>
            <p:sp>
              <p:nvSpPr>
                <p:cNvPr id="201" name="Freeform 2">
                  <a:extLst>
                    <a:ext uri="{FF2B5EF4-FFF2-40B4-BE49-F238E27FC236}">
                      <a16:creationId xmlns:a16="http://schemas.microsoft.com/office/drawing/2014/main" id="{54EF6B93-6C19-4C7D-8DCB-1DDBB3F4EA2E}"/>
                    </a:ext>
                  </a:extLst>
                </p:cNvPr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5490568" y="3881181"/>
                  <a:ext cx="368266" cy="193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4690" h="285896">
                      <a:moveTo>
                        <a:pt x="422170" y="283277"/>
                      </a:moveTo>
                      <a:lnTo>
                        <a:pt x="423039" y="283858"/>
                      </a:lnTo>
                      <a:lnTo>
                        <a:pt x="424216" y="284245"/>
                      </a:lnTo>
                      <a:lnTo>
                        <a:pt x="424614" y="285776"/>
                      </a:lnTo>
                      <a:lnTo>
                        <a:pt x="423299" y="285896"/>
                      </a:lnTo>
                      <a:lnTo>
                        <a:pt x="421420" y="285573"/>
                      </a:lnTo>
                      <a:lnTo>
                        <a:pt x="419832" y="284646"/>
                      </a:lnTo>
                      <a:lnTo>
                        <a:pt x="419928" y="283977"/>
                      </a:lnTo>
                      <a:lnTo>
                        <a:pt x="421155" y="283865"/>
                      </a:lnTo>
                      <a:close/>
                      <a:moveTo>
                        <a:pt x="407298" y="251313"/>
                      </a:moveTo>
                      <a:lnTo>
                        <a:pt x="407958" y="252178"/>
                      </a:lnTo>
                      <a:lnTo>
                        <a:pt x="409487" y="253624"/>
                      </a:lnTo>
                      <a:lnTo>
                        <a:pt x="408879" y="254605"/>
                      </a:lnTo>
                      <a:lnTo>
                        <a:pt x="406087" y="256052"/>
                      </a:lnTo>
                      <a:lnTo>
                        <a:pt x="403695" y="256272"/>
                      </a:lnTo>
                      <a:lnTo>
                        <a:pt x="401724" y="256454"/>
                      </a:lnTo>
                      <a:lnTo>
                        <a:pt x="398798" y="257384"/>
                      </a:lnTo>
                      <a:lnTo>
                        <a:pt x="397586" y="258820"/>
                      </a:lnTo>
                      <a:lnTo>
                        <a:pt x="396042" y="258433"/>
                      </a:lnTo>
                      <a:lnTo>
                        <a:pt x="396868" y="257166"/>
                      </a:lnTo>
                      <a:lnTo>
                        <a:pt x="398606" y="255551"/>
                      </a:lnTo>
                      <a:lnTo>
                        <a:pt x="400682" y="255228"/>
                      </a:lnTo>
                      <a:lnTo>
                        <a:pt x="402350" y="253884"/>
                      </a:lnTo>
                      <a:lnTo>
                        <a:pt x="406048" y="253146"/>
                      </a:lnTo>
                      <a:close/>
                      <a:moveTo>
                        <a:pt x="525488" y="250048"/>
                      </a:moveTo>
                      <a:lnTo>
                        <a:pt x="527405" y="250271"/>
                      </a:lnTo>
                      <a:lnTo>
                        <a:pt x="529348" y="251578"/>
                      </a:lnTo>
                      <a:lnTo>
                        <a:pt x="531480" y="254267"/>
                      </a:lnTo>
                      <a:lnTo>
                        <a:pt x="534752" y="258905"/>
                      </a:lnTo>
                      <a:lnTo>
                        <a:pt x="540987" y="265640"/>
                      </a:lnTo>
                      <a:lnTo>
                        <a:pt x="544690" y="270069"/>
                      </a:lnTo>
                      <a:lnTo>
                        <a:pt x="544564" y="274820"/>
                      </a:lnTo>
                      <a:lnTo>
                        <a:pt x="540157" y="277058"/>
                      </a:lnTo>
                      <a:lnTo>
                        <a:pt x="533947" y="276886"/>
                      </a:lnTo>
                      <a:lnTo>
                        <a:pt x="526178" y="277861"/>
                      </a:lnTo>
                      <a:lnTo>
                        <a:pt x="520162" y="277445"/>
                      </a:lnTo>
                      <a:lnTo>
                        <a:pt x="504767" y="272239"/>
                      </a:lnTo>
                      <a:lnTo>
                        <a:pt x="501019" y="270954"/>
                      </a:lnTo>
                      <a:lnTo>
                        <a:pt x="497196" y="268572"/>
                      </a:lnTo>
                      <a:lnTo>
                        <a:pt x="497864" y="267892"/>
                      </a:lnTo>
                      <a:lnTo>
                        <a:pt x="500274" y="268070"/>
                      </a:lnTo>
                      <a:lnTo>
                        <a:pt x="502875" y="269317"/>
                      </a:lnTo>
                      <a:lnTo>
                        <a:pt x="506416" y="269629"/>
                      </a:lnTo>
                      <a:lnTo>
                        <a:pt x="514699" y="269686"/>
                      </a:lnTo>
                      <a:lnTo>
                        <a:pt x="519844" y="268698"/>
                      </a:lnTo>
                      <a:lnTo>
                        <a:pt x="522385" y="268582"/>
                      </a:lnTo>
                      <a:lnTo>
                        <a:pt x="523903" y="269310"/>
                      </a:lnTo>
                      <a:lnTo>
                        <a:pt x="525081" y="269284"/>
                      </a:lnTo>
                      <a:lnTo>
                        <a:pt x="526079" y="268732"/>
                      </a:lnTo>
                      <a:lnTo>
                        <a:pt x="527173" y="267005"/>
                      </a:lnTo>
                      <a:lnTo>
                        <a:pt x="530541" y="265622"/>
                      </a:lnTo>
                      <a:lnTo>
                        <a:pt x="532175" y="263678"/>
                      </a:lnTo>
                      <a:lnTo>
                        <a:pt x="533182" y="261197"/>
                      </a:lnTo>
                      <a:lnTo>
                        <a:pt x="533407" y="258683"/>
                      </a:lnTo>
                      <a:lnTo>
                        <a:pt x="531019" y="259824"/>
                      </a:lnTo>
                      <a:lnTo>
                        <a:pt x="528070" y="264212"/>
                      </a:lnTo>
                      <a:lnTo>
                        <a:pt x="526060" y="265391"/>
                      </a:lnTo>
                      <a:lnTo>
                        <a:pt x="528769" y="257961"/>
                      </a:lnTo>
                      <a:lnTo>
                        <a:pt x="528766" y="254018"/>
                      </a:lnTo>
                      <a:lnTo>
                        <a:pt x="525419" y="250753"/>
                      </a:lnTo>
                      <a:close/>
                      <a:moveTo>
                        <a:pt x="466108" y="249450"/>
                      </a:moveTo>
                      <a:lnTo>
                        <a:pt x="468236" y="252159"/>
                      </a:lnTo>
                      <a:lnTo>
                        <a:pt x="469836" y="257682"/>
                      </a:lnTo>
                      <a:lnTo>
                        <a:pt x="470255" y="260274"/>
                      </a:lnTo>
                      <a:lnTo>
                        <a:pt x="469757" y="261855"/>
                      </a:lnTo>
                      <a:lnTo>
                        <a:pt x="467882" y="261773"/>
                      </a:lnTo>
                      <a:lnTo>
                        <a:pt x="465189" y="260337"/>
                      </a:lnTo>
                      <a:lnTo>
                        <a:pt x="462667" y="258271"/>
                      </a:lnTo>
                      <a:lnTo>
                        <a:pt x="461313" y="256356"/>
                      </a:lnTo>
                      <a:lnTo>
                        <a:pt x="462864" y="254593"/>
                      </a:lnTo>
                      <a:lnTo>
                        <a:pt x="464386" y="251280"/>
                      </a:lnTo>
                      <a:close/>
                      <a:moveTo>
                        <a:pt x="447623" y="243130"/>
                      </a:moveTo>
                      <a:lnTo>
                        <a:pt x="449945" y="243860"/>
                      </a:lnTo>
                      <a:lnTo>
                        <a:pt x="452076" y="246333"/>
                      </a:lnTo>
                      <a:lnTo>
                        <a:pt x="452446" y="248035"/>
                      </a:lnTo>
                      <a:lnTo>
                        <a:pt x="451324" y="249533"/>
                      </a:lnTo>
                      <a:lnTo>
                        <a:pt x="448871" y="251316"/>
                      </a:lnTo>
                      <a:lnTo>
                        <a:pt x="451161" y="252752"/>
                      </a:lnTo>
                      <a:lnTo>
                        <a:pt x="453366" y="253303"/>
                      </a:lnTo>
                      <a:lnTo>
                        <a:pt x="457993" y="253073"/>
                      </a:lnTo>
                      <a:lnTo>
                        <a:pt x="461748" y="261895"/>
                      </a:lnTo>
                      <a:lnTo>
                        <a:pt x="459385" y="262742"/>
                      </a:lnTo>
                      <a:lnTo>
                        <a:pt x="439221" y="264904"/>
                      </a:lnTo>
                      <a:lnTo>
                        <a:pt x="435119" y="266254"/>
                      </a:lnTo>
                      <a:lnTo>
                        <a:pt x="431539" y="268150"/>
                      </a:lnTo>
                      <a:lnTo>
                        <a:pt x="428658" y="270511"/>
                      </a:lnTo>
                      <a:lnTo>
                        <a:pt x="425798" y="275547"/>
                      </a:lnTo>
                      <a:lnTo>
                        <a:pt x="424298" y="275723"/>
                      </a:lnTo>
                      <a:lnTo>
                        <a:pt x="421290" y="274473"/>
                      </a:lnTo>
                      <a:lnTo>
                        <a:pt x="419443" y="273172"/>
                      </a:lnTo>
                      <a:lnTo>
                        <a:pt x="415834" y="270036"/>
                      </a:lnTo>
                      <a:lnTo>
                        <a:pt x="413780" y="269003"/>
                      </a:lnTo>
                      <a:lnTo>
                        <a:pt x="413446" y="267700"/>
                      </a:lnTo>
                      <a:lnTo>
                        <a:pt x="422676" y="266861"/>
                      </a:lnTo>
                      <a:lnTo>
                        <a:pt x="425799" y="263301"/>
                      </a:lnTo>
                      <a:lnTo>
                        <a:pt x="427013" y="260978"/>
                      </a:lnTo>
                      <a:lnTo>
                        <a:pt x="429262" y="254394"/>
                      </a:lnTo>
                      <a:lnTo>
                        <a:pt x="430748" y="252923"/>
                      </a:lnTo>
                      <a:lnTo>
                        <a:pt x="432378" y="251829"/>
                      </a:lnTo>
                      <a:lnTo>
                        <a:pt x="435578" y="247332"/>
                      </a:lnTo>
                      <a:lnTo>
                        <a:pt x="442640" y="243559"/>
                      </a:lnTo>
                      <a:lnTo>
                        <a:pt x="444487" y="243819"/>
                      </a:lnTo>
                      <a:lnTo>
                        <a:pt x="444027" y="248075"/>
                      </a:lnTo>
                      <a:lnTo>
                        <a:pt x="445893" y="246840"/>
                      </a:lnTo>
                      <a:lnTo>
                        <a:pt x="446689" y="244662"/>
                      </a:lnTo>
                      <a:close/>
                      <a:moveTo>
                        <a:pt x="425447" y="236962"/>
                      </a:moveTo>
                      <a:lnTo>
                        <a:pt x="427801" y="237145"/>
                      </a:lnTo>
                      <a:lnTo>
                        <a:pt x="430357" y="238102"/>
                      </a:lnTo>
                      <a:lnTo>
                        <a:pt x="427772" y="239791"/>
                      </a:lnTo>
                      <a:lnTo>
                        <a:pt x="425570" y="241843"/>
                      </a:lnTo>
                      <a:lnTo>
                        <a:pt x="422524" y="243971"/>
                      </a:lnTo>
                      <a:lnTo>
                        <a:pt x="420543" y="245208"/>
                      </a:lnTo>
                      <a:lnTo>
                        <a:pt x="421022" y="246487"/>
                      </a:lnTo>
                      <a:lnTo>
                        <a:pt x="419879" y="248178"/>
                      </a:lnTo>
                      <a:lnTo>
                        <a:pt x="417115" y="250281"/>
                      </a:lnTo>
                      <a:lnTo>
                        <a:pt x="414684" y="250901"/>
                      </a:lnTo>
                      <a:lnTo>
                        <a:pt x="411367" y="251997"/>
                      </a:lnTo>
                      <a:lnTo>
                        <a:pt x="410012" y="250667"/>
                      </a:lnTo>
                      <a:lnTo>
                        <a:pt x="411397" y="249351"/>
                      </a:lnTo>
                      <a:lnTo>
                        <a:pt x="413608" y="249545"/>
                      </a:lnTo>
                      <a:lnTo>
                        <a:pt x="414786" y="247982"/>
                      </a:lnTo>
                      <a:lnTo>
                        <a:pt x="417031" y="245001"/>
                      </a:lnTo>
                      <a:lnTo>
                        <a:pt x="421647" y="240614"/>
                      </a:lnTo>
                      <a:lnTo>
                        <a:pt x="423848" y="238562"/>
                      </a:lnTo>
                      <a:close/>
                      <a:moveTo>
                        <a:pt x="524833" y="203800"/>
                      </a:moveTo>
                      <a:lnTo>
                        <a:pt x="526077" y="204110"/>
                      </a:lnTo>
                      <a:lnTo>
                        <a:pt x="526824" y="204833"/>
                      </a:lnTo>
                      <a:lnTo>
                        <a:pt x="527310" y="205916"/>
                      </a:lnTo>
                      <a:lnTo>
                        <a:pt x="527770" y="207324"/>
                      </a:lnTo>
                      <a:lnTo>
                        <a:pt x="526317" y="211121"/>
                      </a:lnTo>
                      <a:lnTo>
                        <a:pt x="525357" y="221746"/>
                      </a:lnTo>
                      <a:lnTo>
                        <a:pt x="522728" y="222535"/>
                      </a:lnTo>
                      <a:lnTo>
                        <a:pt x="524910" y="208481"/>
                      </a:lnTo>
                      <a:close/>
                      <a:moveTo>
                        <a:pt x="333202" y="0"/>
                      </a:moveTo>
                      <a:lnTo>
                        <a:pt x="334948" y="90"/>
                      </a:lnTo>
                      <a:lnTo>
                        <a:pt x="340184" y="1531"/>
                      </a:lnTo>
                      <a:lnTo>
                        <a:pt x="343326" y="1965"/>
                      </a:lnTo>
                      <a:lnTo>
                        <a:pt x="348047" y="347"/>
                      </a:lnTo>
                      <a:lnTo>
                        <a:pt x="348226" y="1589"/>
                      </a:lnTo>
                      <a:lnTo>
                        <a:pt x="351022" y="7656"/>
                      </a:lnTo>
                      <a:lnTo>
                        <a:pt x="351160" y="9201"/>
                      </a:lnTo>
                      <a:lnTo>
                        <a:pt x="349982" y="9724"/>
                      </a:lnTo>
                      <a:lnTo>
                        <a:pt x="343455" y="9904"/>
                      </a:lnTo>
                      <a:lnTo>
                        <a:pt x="345318" y="11395"/>
                      </a:lnTo>
                      <a:lnTo>
                        <a:pt x="346888" y="12141"/>
                      </a:lnTo>
                      <a:lnTo>
                        <a:pt x="350261" y="13188"/>
                      </a:lnTo>
                      <a:lnTo>
                        <a:pt x="350621" y="13170"/>
                      </a:lnTo>
                      <a:lnTo>
                        <a:pt x="351647" y="12916"/>
                      </a:lnTo>
                      <a:lnTo>
                        <a:pt x="352180" y="13013"/>
                      </a:lnTo>
                      <a:lnTo>
                        <a:pt x="352804" y="13525"/>
                      </a:lnTo>
                      <a:lnTo>
                        <a:pt x="353917" y="14982"/>
                      </a:lnTo>
                      <a:lnTo>
                        <a:pt x="353980" y="17155"/>
                      </a:lnTo>
                      <a:lnTo>
                        <a:pt x="361104" y="27973"/>
                      </a:lnTo>
                      <a:lnTo>
                        <a:pt x="360386" y="29365"/>
                      </a:lnTo>
                      <a:lnTo>
                        <a:pt x="354629" y="23943"/>
                      </a:lnTo>
                      <a:lnTo>
                        <a:pt x="352688" y="22737"/>
                      </a:lnTo>
                      <a:lnTo>
                        <a:pt x="354703" y="28127"/>
                      </a:lnTo>
                      <a:lnTo>
                        <a:pt x="358478" y="30800"/>
                      </a:lnTo>
                      <a:lnTo>
                        <a:pt x="367456" y="33611"/>
                      </a:lnTo>
                      <a:lnTo>
                        <a:pt x="365552" y="34885"/>
                      </a:lnTo>
                      <a:lnTo>
                        <a:pt x="364452" y="35197"/>
                      </a:lnTo>
                      <a:lnTo>
                        <a:pt x="363043" y="35238"/>
                      </a:lnTo>
                      <a:lnTo>
                        <a:pt x="366406" y="38080"/>
                      </a:lnTo>
                      <a:lnTo>
                        <a:pt x="374473" y="38045"/>
                      </a:lnTo>
                      <a:lnTo>
                        <a:pt x="375245" y="40248"/>
                      </a:lnTo>
                      <a:lnTo>
                        <a:pt x="378152" y="41492"/>
                      </a:lnTo>
                      <a:lnTo>
                        <a:pt x="378374" y="39832"/>
                      </a:lnTo>
                      <a:lnTo>
                        <a:pt x="376863" y="35201"/>
                      </a:lnTo>
                      <a:lnTo>
                        <a:pt x="377584" y="33495"/>
                      </a:lnTo>
                      <a:lnTo>
                        <a:pt x="379006" y="32075"/>
                      </a:lnTo>
                      <a:lnTo>
                        <a:pt x="382368" y="29922"/>
                      </a:lnTo>
                      <a:lnTo>
                        <a:pt x="382782" y="32495"/>
                      </a:lnTo>
                      <a:lnTo>
                        <a:pt x="383685" y="33840"/>
                      </a:lnTo>
                      <a:lnTo>
                        <a:pt x="385068" y="34319"/>
                      </a:lnTo>
                      <a:lnTo>
                        <a:pt x="386994" y="34274"/>
                      </a:lnTo>
                      <a:lnTo>
                        <a:pt x="388518" y="34666"/>
                      </a:lnTo>
                      <a:lnTo>
                        <a:pt x="388670" y="35958"/>
                      </a:lnTo>
                      <a:lnTo>
                        <a:pt x="388698" y="37574"/>
                      </a:lnTo>
                      <a:lnTo>
                        <a:pt x="389807" y="38917"/>
                      </a:lnTo>
                      <a:lnTo>
                        <a:pt x="390094" y="39991"/>
                      </a:lnTo>
                      <a:lnTo>
                        <a:pt x="388052" y="40171"/>
                      </a:lnTo>
                      <a:lnTo>
                        <a:pt x="387333" y="41250"/>
                      </a:lnTo>
                      <a:lnTo>
                        <a:pt x="387019" y="42781"/>
                      </a:lnTo>
                      <a:lnTo>
                        <a:pt x="386208" y="44241"/>
                      </a:lnTo>
                      <a:lnTo>
                        <a:pt x="384973" y="45441"/>
                      </a:lnTo>
                      <a:lnTo>
                        <a:pt x="384389" y="45881"/>
                      </a:lnTo>
                      <a:lnTo>
                        <a:pt x="381674" y="45779"/>
                      </a:lnTo>
                      <a:lnTo>
                        <a:pt x="381430" y="45436"/>
                      </a:lnTo>
                      <a:lnTo>
                        <a:pt x="380976" y="44909"/>
                      </a:lnTo>
                      <a:lnTo>
                        <a:pt x="380148" y="44875"/>
                      </a:lnTo>
                      <a:lnTo>
                        <a:pt x="378774" y="46043"/>
                      </a:lnTo>
                      <a:lnTo>
                        <a:pt x="377886" y="47751"/>
                      </a:lnTo>
                      <a:lnTo>
                        <a:pt x="377499" y="49367"/>
                      </a:lnTo>
                      <a:lnTo>
                        <a:pt x="376743" y="50647"/>
                      </a:lnTo>
                      <a:lnTo>
                        <a:pt x="363279" y="55275"/>
                      </a:lnTo>
                      <a:lnTo>
                        <a:pt x="356780" y="58706"/>
                      </a:lnTo>
                      <a:lnTo>
                        <a:pt x="354865" y="60563"/>
                      </a:lnTo>
                      <a:lnTo>
                        <a:pt x="356230" y="61664"/>
                      </a:lnTo>
                      <a:lnTo>
                        <a:pt x="355274" y="62603"/>
                      </a:lnTo>
                      <a:lnTo>
                        <a:pt x="354669" y="63729"/>
                      </a:lnTo>
                      <a:lnTo>
                        <a:pt x="354431" y="65128"/>
                      </a:lnTo>
                      <a:lnTo>
                        <a:pt x="354538" y="66825"/>
                      </a:lnTo>
                      <a:lnTo>
                        <a:pt x="356266" y="65750"/>
                      </a:lnTo>
                      <a:lnTo>
                        <a:pt x="357692" y="63756"/>
                      </a:lnTo>
                      <a:lnTo>
                        <a:pt x="358890" y="62685"/>
                      </a:lnTo>
                      <a:lnTo>
                        <a:pt x="359925" y="64385"/>
                      </a:lnTo>
                      <a:lnTo>
                        <a:pt x="361715" y="65798"/>
                      </a:lnTo>
                      <a:lnTo>
                        <a:pt x="362280" y="66767"/>
                      </a:lnTo>
                      <a:lnTo>
                        <a:pt x="361190" y="67333"/>
                      </a:lnTo>
                      <a:lnTo>
                        <a:pt x="360048" y="67705"/>
                      </a:lnTo>
                      <a:lnTo>
                        <a:pt x="359447" y="68423"/>
                      </a:lnTo>
                      <a:lnTo>
                        <a:pt x="359019" y="69263"/>
                      </a:lnTo>
                      <a:lnTo>
                        <a:pt x="356848" y="71974"/>
                      </a:lnTo>
                      <a:lnTo>
                        <a:pt x="356084" y="72676"/>
                      </a:lnTo>
                      <a:lnTo>
                        <a:pt x="355041" y="72975"/>
                      </a:lnTo>
                      <a:lnTo>
                        <a:pt x="352697" y="72960"/>
                      </a:lnTo>
                      <a:lnTo>
                        <a:pt x="351942" y="73721"/>
                      </a:lnTo>
                      <a:lnTo>
                        <a:pt x="352045" y="75927"/>
                      </a:lnTo>
                      <a:lnTo>
                        <a:pt x="353640" y="77650"/>
                      </a:lnTo>
                      <a:lnTo>
                        <a:pt x="355907" y="78947"/>
                      </a:lnTo>
                      <a:lnTo>
                        <a:pt x="357978" y="79855"/>
                      </a:lnTo>
                      <a:lnTo>
                        <a:pt x="354745" y="81196"/>
                      </a:lnTo>
                      <a:lnTo>
                        <a:pt x="349742" y="77249"/>
                      </a:lnTo>
                      <a:lnTo>
                        <a:pt x="347393" y="79013"/>
                      </a:lnTo>
                      <a:lnTo>
                        <a:pt x="346534" y="81452"/>
                      </a:lnTo>
                      <a:lnTo>
                        <a:pt x="346794" y="82981"/>
                      </a:lnTo>
                      <a:lnTo>
                        <a:pt x="348694" y="85690"/>
                      </a:lnTo>
                      <a:lnTo>
                        <a:pt x="350151" y="89503"/>
                      </a:lnTo>
                      <a:lnTo>
                        <a:pt x="350966" y="91100"/>
                      </a:lnTo>
                      <a:lnTo>
                        <a:pt x="352517" y="92681"/>
                      </a:lnTo>
                      <a:lnTo>
                        <a:pt x="350360" y="92641"/>
                      </a:lnTo>
                      <a:lnTo>
                        <a:pt x="347309" y="90071"/>
                      </a:lnTo>
                      <a:lnTo>
                        <a:pt x="345203" y="89552"/>
                      </a:lnTo>
                      <a:lnTo>
                        <a:pt x="343913" y="90200"/>
                      </a:lnTo>
                      <a:lnTo>
                        <a:pt x="344421" y="91371"/>
                      </a:lnTo>
                      <a:lnTo>
                        <a:pt x="345909" y="92515"/>
                      </a:lnTo>
                      <a:lnTo>
                        <a:pt x="347588" y="93122"/>
                      </a:lnTo>
                      <a:lnTo>
                        <a:pt x="345025" y="93767"/>
                      </a:lnTo>
                      <a:lnTo>
                        <a:pt x="342219" y="92312"/>
                      </a:lnTo>
                      <a:lnTo>
                        <a:pt x="339942" y="91473"/>
                      </a:lnTo>
                      <a:lnTo>
                        <a:pt x="338856" y="93902"/>
                      </a:lnTo>
                      <a:lnTo>
                        <a:pt x="340570" y="94187"/>
                      </a:lnTo>
                      <a:lnTo>
                        <a:pt x="342107" y="94661"/>
                      </a:lnTo>
                      <a:lnTo>
                        <a:pt x="343457" y="95547"/>
                      </a:lnTo>
                      <a:lnTo>
                        <a:pt x="344645" y="97059"/>
                      </a:lnTo>
                      <a:lnTo>
                        <a:pt x="342523" y="97446"/>
                      </a:lnTo>
                      <a:lnTo>
                        <a:pt x="341031" y="98665"/>
                      </a:lnTo>
                      <a:lnTo>
                        <a:pt x="340865" y="100517"/>
                      </a:lnTo>
                      <a:lnTo>
                        <a:pt x="342671" y="102790"/>
                      </a:lnTo>
                      <a:lnTo>
                        <a:pt x="344608" y="103952"/>
                      </a:lnTo>
                      <a:lnTo>
                        <a:pt x="345958" y="103883"/>
                      </a:lnTo>
                      <a:lnTo>
                        <a:pt x="348922" y="101686"/>
                      </a:lnTo>
                      <a:lnTo>
                        <a:pt x="349399" y="106522"/>
                      </a:lnTo>
                      <a:lnTo>
                        <a:pt x="351776" y="107053"/>
                      </a:lnTo>
                      <a:lnTo>
                        <a:pt x="354680" y="106684"/>
                      </a:lnTo>
                      <a:lnTo>
                        <a:pt x="356751" y="108825"/>
                      </a:lnTo>
                      <a:lnTo>
                        <a:pt x="356602" y="109816"/>
                      </a:lnTo>
                      <a:lnTo>
                        <a:pt x="355422" y="111351"/>
                      </a:lnTo>
                      <a:lnTo>
                        <a:pt x="355616" y="112092"/>
                      </a:lnTo>
                      <a:lnTo>
                        <a:pt x="356394" y="112621"/>
                      </a:lnTo>
                      <a:lnTo>
                        <a:pt x="357448" y="113052"/>
                      </a:lnTo>
                      <a:lnTo>
                        <a:pt x="358293" y="113064"/>
                      </a:lnTo>
                      <a:lnTo>
                        <a:pt x="358501" y="112389"/>
                      </a:lnTo>
                      <a:lnTo>
                        <a:pt x="359432" y="112392"/>
                      </a:lnTo>
                      <a:lnTo>
                        <a:pt x="361324" y="111436"/>
                      </a:lnTo>
                      <a:lnTo>
                        <a:pt x="363318" y="110032"/>
                      </a:lnTo>
                      <a:lnTo>
                        <a:pt x="364582" y="108730"/>
                      </a:lnTo>
                      <a:lnTo>
                        <a:pt x="366801" y="110916"/>
                      </a:lnTo>
                      <a:lnTo>
                        <a:pt x="368300" y="110082"/>
                      </a:lnTo>
                      <a:lnTo>
                        <a:pt x="368967" y="108161"/>
                      </a:lnTo>
                      <a:lnTo>
                        <a:pt x="368734" y="107140"/>
                      </a:lnTo>
                      <a:lnTo>
                        <a:pt x="366606" y="106251"/>
                      </a:lnTo>
                      <a:lnTo>
                        <a:pt x="364284" y="103943"/>
                      </a:lnTo>
                      <a:lnTo>
                        <a:pt x="362536" y="101255"/>
                      </a:lnTo>
                      <a:lnTo>
                        <a:pt x="362072" y="99174"/>
                      </a:lnTo>
                      <a:lnTo>
                        <a:pt x="369731" y="104672"/>
                      </a:lnTo>
                      <a:lnTo>
                        <a:pt x="373850" y="106855"/>
                      </a:lnTo>
                      <a:lnTo>
                        <a:pt x="381077" y="108000"/>
                      </a:lnTo>
                      <a:lnTo>
                        <a:pt x="384717" y="109547"/>
                      </a:lnTo>
                      <a:lnTo>
                        <a:pt x="388153" y="111668"/>
                      </a:lnTo>
                      <a:lnTo>
                        <a:pt x="392881" y="115511"/>
                      </a:lnTo>
                      <a:lnTo>
                        <a:pt x="393556" y="116654"/>
                      </a:lnTo>
                      <a:lnTo>
                        <a:pt x="394968" y="121870"/>
                      </a:lnTo>
                      <a:lnTo>
                        <a:pt x="395154" y="122379"/>
                      </a:lnTo>
                      <a:lnTo>
                        <a:pt x="395843" y="122360"/>
                      </a:lnTo>
                      <a:lnTo>
                        <a:pt x="398005" y="123655"/>
                      </a:lnTo>
                      <a:lnTo>
                        <a:pt x="401430" y="126894"/>
                      </a:lnTo>
                      <a:lnTo>
                        <a:pt x="406642" y="132718"/>
                      </a:lnTo>
                      <a:lnTo>
                        <a:pt x="410540" y="135331"/>
                      </a:lnTo>
                      <a:lnTo>
                        <a:pt x="410595" y="138394"/>
                      </a:lnTo>
                      <a:lnTo>
                        <a:pt x="412541" y="141139"/>
                      </a:lnTo>
                      <a:lnTo>
                        <a:pt x="418508" y="147073"/>
                      </a:lnTo>
                      <a:lnTo>
                        <a:pt x="419413" y="147531"/>
                      </a:lnTo>
                      <a:lnTo>
                        <a:pt x="419737" y="147999"/>
                      </a:lnTo>
                      <a:lnTo>
                        <a:pt x="419193" y="149246"/>
                      </a:lnTo>
                      <a:lnTo>
                        <a:pt x="418054" y="150437"/>
                      </a:lnTo>
                      <a:lnTo>
                        <a:pt x="416614" y="150808"/>
                      </a:lnTo>
                      <a:lnTo>
                        <a:pt x="414993" y="150538"/>
                      </a:lnTo>
                      <a:lnTo>
                        <a:pt x="413349" y="149773"/>
                      </a:lnTo>
                      <a:lnTo>
                        <a:pt x="413984" y="149453"/>
                      </a:lnTo>
                      <a:lnTo>
                        <a:pt x="415123" y="148641"/>
                      </a:lnTo>
                      <a:lnTo>
                        <a:pt x="415987" y="148432"/>
                      </a:lnTo>
                      <a:lnTo>
                        <a:pt x="413005" y="143756"/>
                      </a:lnTo>
                      <a:lnTo>
                        <a:pt x="410964" y="141325"/>
                      </a:lnTo>
                      <a:lnTo>
                        <a:pt x="409327" y="140333"/>
                      </a:lnTo>
                      <a:lnTo>
                        <a:pt x="408606" y="141698"/>
                      </a:lnTo>
                      <a:lnTo>
                        <a:pt x="409459" y="150123"/>
                      </a:lnTo>
                      <a:lnTo>
                        <a:pt x="407855" y="149536"/>
                      </a:lnTo>
                      <a:lnTo>
                        <a:pt x="406680" y="149401"/>
                      </a:lnTo>
                      <a:lnTo>
                        <a:pt x="405676" y="149732"/>
                      </a:lnTo>
                      <a:lnTo>
                        <a:pt x="402738" y="152159"/>
                      </a:lnTo>
                      <a:lnTo>
                        <a:pt x="413376" y="159383"/>
                      </a:lnTo>
                      <a:lnTo>
                        <a:pt x="417927" y="159340"/>
                      </a:lnTo>
                      <a:lnTo>
                        <a:pt x="420712" y="159542"/>
                      </a:lnTo>
                      <a:lnTo>
                        <a:pt x="426162" y="158539"/>
                      </a:lnTo>
                      <a:lnTo>
                        <a:pt x="429816" y="160862"/>
                      </a:lnTo>
                      <a:lnTo>
                        <a:pt x="433582" y="166654"/>
                      </a:lnTo>
                      <a:lnTo>
                        <a:pt x="436161" y="173263"/>
                      </a:lnTo>
                      <a:lnTo>
                        <a:pt x="436286" y="178032"/>
                      </a:lnTo>
                      <a:lnTo>
                        <a:pt x="437256" y="182536"/>
                      </a:lnTo>
                      <a:lnTo>
                        <a:pt x="442586" y="186764"/>
                      </a:lnTo>
                      <a:lnTo>
                        <a:pt x="453449" y="191884"/>
                      </a:lnTo>
                      <a:lnTo>
                        <a:pt x="459438" y="193333"/>
                      </a:lnTo>
                      <a:lnTo>
                        <a:pt x="477867" y="193235"/>
                      </a:lnTo>
                      <a:lnTo>
                        <a:pt x="475920" y="194246"/>
                      </a:lnTo>
                      <a:lnTo>
                        <a:pt x="470699" y="194764"/>
                      </a:lnTo>
                      <a:lnTo>
                        <a:pt x="469100" y="195926"/>
                      </a:lnTo>
                      <a:lnTo>
                        <a:pt x="470018" y="197014"/>
                      </a:lnTo>
                      <a:lnTo>
                        <a:pt x="473039" y="197398"/>
                      </a:lnTo>
                      <a:lnTo>
                        <a:pt x="478849" y="196944"/>
                      </a:lnTo>
                      <a:lnTo>
                        <a:pt x="482863" y="194969"/>
                      </a:lnTo>
                      <a:lnTo>
                        <a:pt x="489279" y="190258"/>
                      </a:lnTo>
                      <a:lnTo>
                        <a:pt x="501315" y="185760"/>
                      </a:lnTo>
                      <a:lnTo>
                        <a:pt x="505327" y="184039"/>
                      </a:lnTo>
                      <a:lnTo>
                        <a:pt x="509568" y="181422"/>
                      </a:lnTo>
                      <a:lnTo>
                        <a:pt x="511464" y="180332"/>
                      </a:lnTo>
                      <a:lnTo>
                        <a:pt x="513316" y="175593"/>
                      </a:lnTo>
                      <a:lnTo>
                        <a:pt x="511371" y="170377"/>
                      </a:lnTo>
                      <a:lnTo>
                        <a:pt x="509981" y="164098"/>
                      </a:lnTo>
                      <a:lnTo>
                        <a:pt x="506000" y="159964"/>
                      </a:lnTo>
                      <a:lnTo>
                        <a:pt x="507410" y="159841"/>
                      </a:lnTo>
                      <a:lnTo>
                        <a:pt x="508530" y="159430"/>
                      </a:lnTo>
                      <a:lnTo>
                        <a:pt x="510633" y="158306"/>
                      </a:lnTo>
                      <a:lnTo>
                        <a:pt x="510281" y="156999"/>
                      </a:lnTo>
                      <a:lnTo>
                        <a:pt x="507452" y="156968"/>
                      </a:lnTo>
                      <a:lnTo>
                        <a:pt x="505307" y="155863"/>
                      </a:lnTo>
                      <a:lnTo>
                        <a:pt x="503586" y="154602"/>
                      </a:lnTo>
                      <a:lnTo>
                        <a:pt x="502022" y="154087"/>
                      </a:lnTo>
                      <a:lnTo>
                        <a:pt x="500342" y="155392"/>
                      </a:lnTo>
                      <a:lnTo>
                        <a:pt x="501015" y="160907"/>
                      </a:lnTo>
                      <a:lnTo>
                        <a:pt x="499919" y="162977"/>
                      </a:lnTo>
                      <a:lnTo>
                        <a:pt x="497849" y="156983"/>
                      </a:lnTo>
                      <a:lnTo>
                        <a:pt x="496531" y="153517"/>
                      </a:lnTo>
                      <a:lnTo>
                        <a:pt x="493544" y="145272"/>
                      </a:lnTo>
                      <a:lnTo>
                        <a:pt x="492152" y="142263"/>
                      </a:lnTo>
                      <a:lnTo>
                        <a:pt x="488690" y="138099"/>
                      </a:lnTo>
                      <a:lnTo>
                        <a:pt x="482309" y="135100"/>
                      </a:lnTo>
                      <a:lnTo>
                        <a:pt x="478090" y="134323"/>
                      </a:lnTo>
                      <a:lnTo>
                        <a:pt x="475331" y="137175"/>
                      </a:lnTo>
                      <a:lnTo>
                        <a:pt x="475539" y="139217"/>
                      </a:lnTo>
                      <a:lnTo>
                        <a:pt x="477758" y="139086"/>
                      </a:lnTo>
                      <a:lnTo>
                        <a:pt x="478456" y="138949"/>
                      </a:lnTo>
                      <a:lnTo>
                        <a:pt x="479044" y="140698"/>
                      </a:lnTo>
                      <a:lnTo>
                        <a:pt x="476887" y="142697"/>
                      </a:lnTo>
                      <a:lnTo>
                        <a:pt x="474606" y="141407"/>
                      </a:lnTo>
                      <a:lnTo>
                        <a:pt x="470331" y="137455"/>
                      </a:lnTo>
                      <a:lnTo>
                        <a:pt x="469051" y="136339"/>
                      </a:lnTo>
                      <a:lnTo>
                        <a:pt x="467714" y="136105"/>
                      </a:lnTo>
                      <a:lnTo>
                        <a:pt x="466652" y="135800"/>
                      </a:lnTo>
                      <a:lnTo>
                        <a:pt x="466669" y="134495"/>
                      </a:lnTo>
                      <a:lnTo>
                        <a:pt x="467431" y="133143"/>
                      </a:lnTo>
                      <a:lnTo>
                        <a:pt x="468234" y="132213"/>
                      </a:lnTo>
                      <a:lnTo>
                        <a:pt x="469979" y="131330"/>
                      </a:lnTo>
                      <a:lnTo>
                        <a:pt x="473261" y="130772"/>
                      </a:lnTo>
                      <a:lnTo>
                        <a:pt x="476898" y="130992"/>
                      </a:lnTo>
                      <a:lnTo>
                        <a:pt x="480004" y="131059"/>
                      </a:lnTo>
                      <a:lnTo>
                        <a:pt x="484410" y="131947"/>
                      </a:lnTo>
                      <a:lnTo>
                        <a:pt x="490353" y="134177"/>
                      </a:lnTo>
                      <a:lnTo>
                        <a:pt x="495508" y="137045"/>
                      </a:lnTo>
                      <a:lnTo>
                        <a:pt x="502716" y="143717"/>
                      </a:lnTo>
                      <a:lnTo>
                        <a:pt x="509391" y="151251"/>
                      </a:lnTo>
                      <a:lnTo>
                        <a:pt x="519472" y="167590"/>
                      </a:lnTo>
                      <a:lnTo>
                        <a:pt x="523044" y="170776"/>
                      </a:lnTo>
                      <a:lnTo>
                        <a:pt x="522761" y="171381"/>
                      </a:lnTo>
                      <a:lnTo>
                        <a:pt x="522382" y="171760"/>
                      </a:lnTo>
                      <a:lnTo>
                        <a:pt x="521899" y="171959"/>
                      </a:lnTo>
                      <a:lnTo>
                        <a:pt x="521314" y="172057"/>
                      </a:lnTo>
                      <a:lnTo>
                        <a:pt x="518822" y="170661"/>
                      </a:lnTo>
                      <a:lnTo>
                        <a:pt x="517187" y="170337"/>
                      </a:lnTo>
                      <a:lnTo>
                        <a:pt x="516241" y="171208"/>
                      </a:lnTo>
                      <a:lnTo>
                        <a:pt x="517065" y="176287"/>
                      </a:lnTo>
                      <a:lnTo>
                        <a:pt x="517113" y="178706"/>
                      </a:lnTo>
                      <a:lnTo>
                        <a:pt x="519914" y="176514"/>
                      </a:lnTo>
                      <a:lnTo>
                        <a:pt x="522066" y="176557"/>
                      </a:lnTo>
                      <a:lnTo>
                        <a:pt x="523813" y="178828"/>
                      </a:lnTo>
                      <a:lnTo>
                        <a:pt x="526505" y="187925"/>
                      </a:lnTo>
                      <a:lnTo>
                        <a:pt x="528746" y="199747"/>
                      </a:lnTo>
                      <a:lnTo>
                        <a:pt x="522778" y="198926"/>
                      </a:lnTo>
                      <a:lnTo>
                        <a:pt x="501095" y="204743"/>
                      </a:lnTo>
                      <a:lnTo>
                        <a:pt x="494172" y="205374"/>
                      </a:lnTo>
                      <a:lnTo>
                        <a:pt x="490161" y="207949"/>
                      </a:lnTo>
                      <a:lnTo>
                        <a:pt x="488498" y="208467"/>
                      </a:lnTo>
                      <a:lnTo>
                        <a:pt x="487169" y="209121"/>
                      </a:lnTo>
                      <a:lnTo>
                        <a:pt x="486287" y="210563"/>
                      </a:lnTo>
                      <a:lnTo>
                        <a:pt x="484958" y="214197"/>
                      </a:lnTo>
                      <a:lnTo>
                        <a:pt x="483983" y="215289"/>
                      </a:lnTo>
                      <a:lnTo>
                        <a:pt x="483719" y="213431"/>
                      </a:lnTo>
                      <a:lnTo>
                        <a:pt x="484006" y="208875"/>
                      </a:lnTo>
                      <a:lnTo>
                        <a:pt x="481962" y="209418"/>
                      </a:lnTo>
                      <a:lnTo>
                        <a:pt x="478532" y="211435"/>
                      </a:lnTo>
                      <a:lnTo>
                        <a:pt x="476335" y="212014"/>
                      </a:lnTo>
                      <a:lnTo>
                        <a:pt x="471513" y="211988"/>
                      </a:lnTo>
                      <a:lnTo>
                        <a:pt x="469633" y="212590"/>
                      </a:lnTo>
                      <a:lnTo>
                        <a:pt x="467942" y="214506"/>
                      </a:lnTo>
                      <a:lnTo>
                        <a:pt x="466580" y="215309"/>
                      </a:lnTo>
                      <a:lnTo>
                        <a:pt x="463691" y="212277"/>
                      </a:lnTo>
                      <a:lnTo>
                        <a:pt x="461828" y="211991"/>
                      </a:lnTo>
                      <a:lnTo>
                        <a:pt x="460730" y="213554"/>
                      </a:lnTo>
                      <a:lnTo>
                        <a:pt x="458187" y="221025"/>
                      </a:lnTo>
                      <a:lnTo>
                        <a:pt x="456031" y="224409"/>
                      </a:lnTo>
                      <a:lnTo>
                        <a:pt x="453000" y="226510"/>
                      </a:lnTo>
                      <a:lnTo>
                        <a:pt x="449133" y="227675"/>
                      </a:lnTo>
                      <a:lnTo>
                        <a:pt x="444432" y="228271"/>
                      </a:lnTo>
                      <a:lnTo>
                        <a:pt x="440334" y="229558"/>
                      </a:lnTo>
                      <a:lnTo>
                        <a:pt x="432802" y="235926"/>
                      </a:lnTo>
                      <a:lnTo>
                        <a:pt x="428508" y="234603"/>
                      </a:lnTo>
                      <a:lnTo>
                        <a:pt x="431037" y="230846"/>
                      </a:lnTo>
                      <a:lnTo>
                        <a:pt x="431104" y="225889"/>
                      </a:lnTo>
                      <a:lnTo>
                        <a:pt x="427694" y="212498"/>
                      </a:lnTo>
                      <a:lnTo>
                        <a:pt x="426218" y="209698"/>
                      </a:lnTo>
                      <a:lnTo>
                        <a:pt x="425414" y="207269"/>
                      </a:lnTo>
                      <a:lnTo>
                        <a:pt x="425878" y="205531"/>
                      </a:lnTo>
                      <a:lnTo>
                        <a:pt x="427218" y="203906"/>
                      </a:lnTo>
                      <a:lnTo>
                        <a:pt x="427966" y="202252"/>
                      </a:lnTo>
                      <a:lnTo>
                        <a:pt x="426624" y="200420"/>
                      </a:lnTo>
                      <a:lnTo>
                        <a:pt x="427724" y="199225"/>
                      </a:lnTo>
                      <a:lnTo>
                        <a:pt x="428314" y="198931"/>
                      </a:lnTo>
                      <a:lnTo>
                        <a:pt x="426822" y="197142"/>
                      </a:lnTo>
                      <a:lnTo>
                        <a:pt x="425441" y="197120"/>
                      </a:lnTo>
                      <a:lnTo>
                        <a:pt x="424581" y="198410"/>
                      </a:lnTo>
                      <a:lnTo>
                        <a:pt x="424675" y="200595"/>
                      </a:lnTo>
                      <a:lnTo>
                        <a:pt x="423697" y="200682"/>
                      </a:lnTo>
                      <a:lnTo>
                        <a:pt x="418376" y="197977"/>
                      </a:lnTo>
                      <a:lnTo>
                        <a:pt x="415044" y="196777"/>
                      </a:lnTo>
                      <a:lnTo>
                        <a:pt x="413802" y="197223"/>
                      </a:lnTo>
                      <a:lnTo>
                        <a:pt x="414770" y="202955"/>
                      </a:lnTo>
                      <a:lnTo>
                        <a:pt x="415523" y="205072"/>
                      </a:lnTo>
                      <a:lnTo>
                        <a:pt x="417445" y="207380"/>
                      </a:lnTo>
                      <a:lnTo>
                        <a:pt x="413555" y="207309"/>
                      </a:lnTo>
                      <a:lnTo>
                        <a:pt x="412629" y="209255"/>
                      </a:lnTo>
                      <a:lnTo>
                        <a:pt x="412389" y="212280"/>
                      </a:lnTo>
                      <a:lnTo>
                        <a:pt x="410543" y="215463"/>
                      </a:lnTo>
                      <a:lnTo>
                        <a:pt x="408217" y="213111"/>
                      </a:lnTo>
                      <a:lnTo>
                        <a:pt x="406599" y="213539"/>
                      </a:lnTo>
                      <a:lnTo>
                        <a:pt x="405826" y="215018"/>
                      </a:lnTo>
                      <a:lnTo>
                        <a:pt x="406045" y="215861"/>
                      </a:lnTo>
                      <a:lnTo>
                        <a:pt x="406315" y="216495"/>
                      </a:lnTo>
                      <a:lnTo>
                        <a:pt x="404351" y="218028"/>
                      </a:lnTo>
                      <a:lnTo>
                        <a:pt x="401840" y="219347"/>
                      </a:lnTo>
                      <a:lnTo>
                        <a:pt x="400446" y="219352"/>
                      </a:lnTo>
                      <a:lnTo>
                        <a:pt x="402480" y="223769"/>
                      </a:lnTo>
                      <a:lnTo>
                        <a:pt x="402825" y="225799"/>
                      </a:lnTo>
                      <a:lnTo>
                        <a:pt x="401184" y="226098"/>
                      </a:lnTo>
                      <a:lnTo>
                        <a:pt x="400073" y="225187"/>
                      </a:lnTo>
                      <a:lnTo>
                        <a:pt x="398214" y="222005"/>
                      </a:lnTo>
                      <a:lnTo>
                        <a:pt x="397279" y="220808"/>
                      </a:lnTo>
                      <a:lnTo>
                        <a:pt x="396089" y="220029"/>
                      </a:lnTo>
                      <a:lnTo>
                        <a:pt x="392047" y="218208"/>
                      </a:lnTo>
                      <a:lnTo>
                        <a:pt x="392902" y="222640"/>
                      </a:lnTo>
                      <a:lnTo>
                        <a:pt x="391699" y="225728"/>
                      </a:lnTo>
                      <a:lnTo>
                        <a:pt x="390985" y="229034"/>
                      </a:lnTo>
                      <a:lnTo>
                        <a:pt x="393246" y="234141"/>
                      </a:lnTo>
                      <a:lnTo>
                        <a:pt x="390666" y="236933"/>
                      </a:lnTo>
                      <a:lnTo>
                        <a:pt x="389169" y="238007"/>
                      </a:lnTo>
                      <a:lnTo>
                        <a:pt x="387188" y="238245"/>
                      </a:lnTo>
                      <a:lnTo>
                        <a:pt x="387195" y="237478"/>
                      </a:lnTo>
                      <a:lnTo>
                        <a:pt x="387266" y="237011"/>
                      </a:lnTo>
                      <a:lnTo>
                        <a:pt x="382018" y="242030"/>
                      </a:lnTo>
                      <a:lnTo>
                        <a:pt x="378700" y="243240"/>
                      </a:lnTo>
                      <a:lnTo>
                        <a:pt x="373992" y="241854"/>
                      </a:lnTo>
                      <a:lnTo>
                        <a:pt x="376619" y="240441"/>
                      </a:lnTo>
                      <a:lnTo>
                        <a:pt x="376837" y="238070"/>
                      </a:lnTo>
                      <a:lnTo>
                        <a:pt x="375377" y="235487"/>
                      </a:lnTo>
                      <a:lnTo>
                        <a:pt x="372946" y="233471"/>
                      </a:lnTo>
                      <a:lnTo>
                        <a:pt x="373900" y="237069"/>
                      </a:lnTo>
                      <a:lnTo>
                        <a:pt x="372466" y="238115"/>
                      </a:lnTo>
                      <a:lnTo>
                        <a:pt x="366921" y="237678"/>
                      </a:lnTo>
                      <a:lnTo>
                        <a:pt x="368937" y="240293"/>
                      </a:lnTo>
                      <a:lnTo>
                        <a:pt x="369788" y="241102"/>
                      </a:lnTo>
                      <a:lnTo>
                        <a:pt x="366700" y="243234"/>
                      </a:lnTo>
                      <a:lnTo>
                        <a:pt x="366692" y="243243"/>
                      </a:lnTo>
                      <a:lnTo>
                        <a:pt x="366692" y="243242"/>
                      </a:lnTo>
                      <a:lnTo>
                        <a:pt x="366174" y="241757"/>
                      </a:lnTo>
                      <a:lnTo>
                        <a:pt x="364679" y="237465"/>
                      </a:lnTo>
                      <a:lnTo>
                        <a:pt x="363185" y="233174"/>
                      </a:lnTo>
                      <a:lnTo>
                        <a:pt x="361689" y="228879"/>
                      </a:lnTo>
                      <a:lnTo>
                        <a:pt x="361174" y="228433"/>
                      </a:lnTo>
                      <a:lnTo>
                        <a:pt x="360659" y="227987"/>
                      </a:lnTo>
                      <a:lnTo>
                        <a:pt x="360143" y="227541"/>
                      </a:lnTo>
                      <a:lnTo>
                        <a:pt x="359629" y="227091"/>
                      </a:lnTo>
                      <a:lnTo>
                        <a:pt x="359407" y="224652"/>
                      </a:lnTo>
                      <a:lnTo>
                        <a:pt x="359188" y="222218"/>
                      </a:lnTo>
                      <a:lnTo>
                        <a:pt x="358965" y="219779"/>
                      </a:lnTo>
                      <a:lnTo>
                        <a:pt x="358744" y="217342"/>
                      </a:lnTo>
                      <a:lnTo>
                        <a:pt x="356200" y="216828"/>
                      </a:lnTo>
                      <a:lnTo>
                        <a:pt x="353664" y="216312"/>
                      </a:lnTo>
                      <a:lnTo>
                        <a:pt x="351122" y="215798"/>
                      </a:lnTo>
                      <a:lnTo>
                        <a:pt x="349032" y="215367"/>
                      </a:lnTo>
                      <a:lnTo>
                        <a:pt x="349030" y="215367"/>
                      </a:lnTo>
                      <a:lnTo>
                        <a:pt x="349030" y="215366"/>
                      </a:lnTo>
                      <a:lnTo>
                        <a:pt x="349170" y="213784"/>
                      </a:lnTo>
                      <a:lnTo>
                        <a:pt x="353869" y="200834"/>
                      </a:lnTo>
                      <a:lnTo>
                        <a:pt x="355551" y="193234"/>
                      </a:lnTo>
                      <a:lnTo>
                        <a:pt x="353572" y="194239"/>
                      </a:lnTo>
                      <a:lnTo>
                        <a:pt x="352409" y="196582"/>
                      </a:lnTo>
                      <a:lnTo>
                        <a:pt x="350000" y="205157"/>
                      </a:lnTo>
                      <a:lnTo>
                        <a:pt x="349337" y="206412"/>
                      </a:lnTo>
                      <a:lnTo>
                        <a:pt x="348164" y="207347"/>
                      </a:lnTo>
                      <a:lnTo>
                        <a:pt x="344678" y="206366"/>
                      </a:lnTo>
                      <a:lnTo>
                        <a:pt x="342707" y="206136"/>
                      </a:lnTo>
                      <a:lnTo>
                        <a:pt x="342127" y="207201"/>
                      </a:lnTo>
                      <a:lnTo>
                        <a:pt x="342038" y="208070"/>
                      </a:lnTo>
                      <a:lnTo>
                        <a:pt x="341421" y="210160"/>
                      </a:lnTo>
                      <a:lnTo>
                        <a:pt x="341420" y="210163"/>
                      </a:lnTo>
                      <a:lnTo>
                        <a:pt x="335181" y="203488"/>
                      </a:lnTo>
                      <a:lnTo>
                        <a:pt x="332042" y="201742"/>
                      </a:lnTo>
                      <a:lnTo>
                        <a:pt x="330532" y="201427"/>
                      </a:lnTo>
                      <a:lnTo>
                        <a:pt x="328680" y="200725"/>
                      </a:lnTo>
                      <a:lnTo>
                        <a:pt x="325917" y="199275"/>
                      </a:lnTo>
                      <a:lnTo>
                        <a:pt x="323768" y="197400"/>
                      </a:lnTo>
                      <a:lnTo>
                        <a:pt x="322645" y="196133"/>
                      </a:lnTo>
                      <a:lnTo>
                        <a:pt x="322104" y="195046"/>
                      </a:lnTo>
                      <a:lnTo>
                        <a:pt x="321825" y="194116"/>
                      </a:lnTo>
                      <a:lnTo>
                        <a:pt x="320998" y="188118"/>
                      </a:lnTo>
                      <a:lnTo>
                        <a:pt x="320330" y="186369"/>
                      </a:lnTo>
                      <a:lnTo>
                        <a:pt x="320096" y="185536"/>
                      </a:lnTo>
                      <a:lnTo>
                        <a:pt x="320069" y="183998"/>
                      </a:lnTo>
                      <a:lnTo>
                        <a:pt x="319957" y="182927"/>
                      </a:lnTo>
                      <a:lnTo>
                        <a:pt x="319706" y="181653"/>
                      </a:lnTo>
                      <a:lnTo>
                        <a:pt x="318914" y="179697"/>
                      </a:lnTo>
                      <a:lnTo>
                        <a:pt x="318237" y="179082"/>
                      </a:lnTo>
                      <a:lnTo>
                        <a:pt x="317038" y="178971"/>
                      </a:lnTo>
                      <a:lnTo>
                        <a:pt x="314376" y="179364"/>
                      </a:lnTo>
                      <a:lnTo>
                        <a:pt x="313171" y="179176"/>
                      </a:lnTo>
                      <a:lnTo>
                        <a:pt x="312496" y="178290"/>
                      </a:lnTo>
                      <a:lnTo>
                        <a:pt x="311985" y="177157"/>
                      </a:lnTo>
                      <a:lnTo>
                        <a:pt x="308662" y="166165"/>
                      </a:lnTo>
                      <a:lnTo>
                        <a:pt x="306998" y="160681"/>
                      </a:lnTo>
                      <a:lnTo>
                        <a:pt x="306227" y="158329"/>
                      </a:lnTo>
                      <a:lnTo>
                        <a:pt x="298794" y="158870"/>
                      </a:lnTo>
                      <a:lnTo>
                        <a:pt x="285930" y="160225"/>
                      </a:lnTo>
                      <a:lnTo>
                        <a:pt x="273064" y="161585"/>
                      </a:lnTo>
                      <a:lnTo>
                        <a:pt x="260199" y="162944"/>
                      </a:lnTo>
                      <a:lnTo>
                        <a:pt x="247328" y="164285"/>
                      </a:lnTo>
                      <a:lnTo>
                        <a:pt x="246742" y="162409"/>
                      </a:lnTo>
                      <a:lnTo>
                        <a:pt x="230386" y="163693"/>
                      </a:lnTo>
                      <a:lnTo>
                        <a:pt x="209155" y="165093"/>
                      </a:lnTo>
                      <a:lnTo>
                        <a:pt x="187927" y="166489"/>
                      </a:lnTo>
                      <a:lnTo>
                        <a:pt x="166692" y="167874"/>
                      </a:lnTo>
                      <a:lnTo>
                        <a:pt x="145435" y="169249"/>
                      </a:lnTo>
                      <a:lnTo>
                        <a:pt x="138153" y="169723"/>
                      </a:lnTo>
                      <a:lnTo>
                        <a:pt x="135835" y="171160"/>
                      </a:lnTo>
                      <a:lnTo>
                        <a:pt x="134625" y="171321"/>
                      </a:lnTo>
                      <a:lnTo>
                        <a:pt x="132715" y="171182"/>
                      </a:lnTo>
                      <a:lnTo>
                        <a:pt x="129147" y="170508"/>
                      </a:lnTo>
                      <a:lnTo>
                        <a:pt x="109417" y="171850"/>
                      </a:lnTo>
                      <a:lnTo>
                        <a:pt x="109563" y="175911"/>
                      </a:lnTo>
                      <a:lnTo>
                        <a:pt x="103517" y="176979"/>
                      </a:lnTo>
                      <a:lnTo>
                        <a:pt x="102244" y="172435"/>
                      </a:lnTo>
                      <a:lnTo>
                        <a:pt x="94332" y="172412"/>
                      </a:lnTo>
                      <a:lnTo>
                        <a:pt x="85060" y="172819"/>
                      </a:lnTo>
                      <a:lnTo>
                        <a:pt x="75307" y="173273"/>
                      </a:lnTo>
                      <a:lnTo>
                        <a:pt x="57700" y="174072"/>
                      </a:lnTo>
                      <a:lnTo>
                        <a:pt x="40079" y="174856"/>
                      </a:lnTo>
                      <a:lnTo>
                        <a:pt x="22456" y="175640"/>
                      </a:lnTo>
                      <a:lnTo>
                        <a:pt x="4835" y="176407"/>
                      </a:lnTo>
                      <a:lnTo>
                        <a:pt x="0" y="172436"/>
                      </a:lnTo>
                      <a:lnTo>
                        <a:pt x="155" y="169193"/>
                      </a:lnTo>
                      <a:lnTo>
                        <a:pt x="558" y="162606"/>
                      </a:lnTo>
                      <a:lnTo>
                        <a:pt x="1336" y="149690"/>
                      </a:lnTo>
                      <a:lnTo>
                        <a:pt x="2106" y="136773"/>
                      </a:lnTo>
                      <a:lnTo>
                        <a:pt x="2858" y="123855"/>
                      </a:lnTo>
                      <a:lnTo>
                        <a:pt x="3605" y="110946"/>
                      </a:lnTo>
                      <a:lnTo>
                        <a:pt x="4339" y="98041"/>
                      </a:lnTo>
                      <a:lnTo>
                        <a:pt x="5058" y="85130"/>
                      </a:lnTo>
                      <a:lnTo>
                        <a:pt x="5763" y="72221"/>
                      </a:lnTo>
                      <a:lnTo>
                        <a:pt x="6456" y="59324"/>
                      </a:lnTo>
                      <a:lnTo>
                        <a:pt x="6677" y="55117"/>
                      </a:lnTo>
                      <a:lnTo>
                        <a:pt x="6865" y="53253"/>
                      </a:lnTo>
                      <a:lnTo>
                        <a:pt x="15441" y="52602"/>
                      </a:lnTo>
                      <a:lnTo>
                        <a:pt x="23726" y="52134"/>
                      </a:lnTo>
                      <a:lnTo>
                        <a:pt x="30784" y="51557"/>
                      </a:lnTo>
                      <a:lnTo>
                        <a:pt x="37647" y="51342"/>
                      </a:lnTo>
                      <a:lnTo>
                        <a:pt x="44746" y="50932"/>
                      </a:lnTo>
                      <a:lnTo>
                        <a:pt x="51663" y="50363"/>
                      </a:lnTo>
                      <a:lnTo>
                        <a:pt x="57678" y="49810"/>
                      </a:lnTo>
                      <a:lnTo>
                        <a:pt x="64713" y="49468"/>
                      </a:lnTo>
                      <a:lnTo>
                        <a:pt x="71756" y="49132"/>
                      </a:lnTo>
                      <a:lnTo>
                        <a:pt x="78789" y="48787"/>
                      </a:lnTo>
                      <a:lnTo>
                        <a:pt x="85828" y="48444"/>
                      </a:lnTo>
                      <a:lnTo>
                        <a:pt x="92871" y="48109"/>
                      </a:lnTo>
                      <a:lnTo>
                        <a:pt x="99904" y="47765"/>
                      </a:lnTo>
                      <a:lnTo>
                        <a:pt x="106940" y="47415"/>
                      </a:lnTo>
                      <a:lnTo>
                        <a:pt x="113976" y="47072"/>
                      </a:lnTo>
                      <a:lnTo>
                        <a:pt x="121009" y="46719"/>
                      </a:lnTo>
                      <a:lnTo>
                        <a:pt x="121024" y="46726"/>
                      </a:lnTo>
                      <a:lnTo>
                        <a:pt x="121046" y="46724"/>
                      </a:lnTo>
                      <a:lnTo>
                        <a:pt x="121063" y="46723"/>
                      </a:lnTo>
                      <a:lnTo>
                        <a:pt x="121073" y="46721"/>
                      </a:lnTo>
                      <a:lnTo>
                        <a:pt x="121094" y="46720"/>
                      </a:lnTo>
                      <a:lnTo>
                        <a:pt x="121108" y="46719"/>
                      </a:lnTo>
                      <a:lnTo>
                        <a:pt x="121128" y="46717"/>
                      </a:lnTo>
                      <a:lnTo>
                        <a:pt x="121142" y="46716"/>
                      </a:lnTo>
                      <a:lnTo>
                        <a:pt x="121156" y="46715"/>
                      </a:lnTo>
                      <a:lnTo>
                        <a:pt x="121177" y="46713"/>
                      </a:lnTo>
                      <a:lnTo>
                        <a:pt x="121194" y="46711"/>
                      </a:lnTo>
                      <a:lnTo>
                        <a:pt x="121212" y="46710"/>
                      </a:lnTo>
                      <a:lnTo>
                        <a:pt x="121225" y="46709"/>
                      </a:lnTo>
                      <a:lnTo>
                        <a:pt x="121243" y="46708"/>
                      </a:lnTo>
                      <a:lnTo>
                        <a:pt x="121260" y="46706"/>
                      </a:lnTo>
                      <a:lnTo>
                        <a:pt x="121281" y="46704"/>
                      </a:lnTo>
                      <a:lnTo>
                        <a:pt x="131423" y="46161"/>
                      </a:lnTo>
                      <a:lnTo>
                        <a:pt x="141572" y="45615"/>
                      </a:lnTo>
                      <a:lnTo>
                        <a:pt x="151710" y="45058"/>
                      </a:lnTo>
                      <a:lnTo>
                        <a:pt x="161848" y="44502"/>
                      </a:lnTo>
                      <a:lnTo>
                        <a:pt x="171985" y="43945"/>
                      </a:lnTo>
                      <a:lnTo>
                        <a:pt x="182117" y="43374"/>
                      </a:lnTo>
                      <a:lnTo>
                        <a:pt x="192254" y="42816"/>
                      </a:lnTo>
                      <a:lnTo>
                        <a:pt x="202386" y="42254"/>
                      </a:lnTo>
                      <a:lnTo>
                        <a:pt x="212514" y="41689"/>
                      </a:lnTo>
                      <a:lnTo>
                        <a:pt x="222650" y="41117"/>
                      </a:lnTo>
                      <a:lnTo>
                        <a:pt x="232784" y="40538"/>
                      </a:lnTo>
                      <a:lnTo>
                        <a:pt x="242909" y="39961"/>
                      </a:lnTo>
                      <a:lnTo>
                        <a:pt x="253034" y="39386"/>
                      </a:lnTo>
                      <a:lnTo>
                        <a:pt x="263162" y="38799"/>
                      </a:lnTo>
                      <a:lnTo>
                        <a:pt x="273284" y="38218"/>
                      </a:lnTo>
                      <a:lnTo>
                        <a:pt x="283402" y="37631"/>
                      </a:lnTo>
                      <a:lnTo>
                        <a:pt x="286718" y="37441"/>
                      </a:lnTo>
                      <a:lnTo>
                        <a:pt x="288080" y="37106"/>
                      </a:lnTo>
                      <a:lnTo>
                        <a:pt x="289070" y="36511"/>
                      </a:lnTo>
                      <a:lnTo>
                        <a:pt x="290775" y="34870"/>
                      </a:lnTo>
                      <a:lnTo>
                        <a:pt x="292347" y="32819"/>
                      </a:lnTo>
                      <a:lnTo>
                        <a:pt x="293685" y="30415"/>
                      </a:lnTo>
                      <a:lnTo>
                        <a:pt x="294588" y="29658"/>
                      </a:lnTo>
                      <a:lnTo>
                        <a:pt x="295894" y="28951"/>
                      </a:lnTo>
                      <a:lnTo>
                        <a:pt x="298456" y="27946"/>
                      </a:lnTo>
                      <a:lnTo>
                        <a:pt x="299939" y="27088"/>
                      </a:lnTo>
                      <a:lnTo>
                        <a:pt x="301008" y="25455"/>
                      </a:lnTo>
                      <a:lnTo>
                        <a:pt x="301269" y="24222"/>
                      </a:lnTo>
                      <a:lnTo>
                        <a:pt x="301690" y="20831"/>
                      </a:lnTo>
                      <a:lnTo>
                        <a:pt x="302311" y="18876"/>
                      </a:lnTo>
                      <a:lnTo>
                        <a:pt x="302685" y="18030"/>
                      </a:lnTo>
                      <a:lnTo>
                        <a:pt x="303589" y="16464"/>
                      </a:lnTo>
                      <a:lnTo>
                        <a:pt x="304180" y="15792"/>
                      </a:lnTo>
                      <a:lnTo>
                        <a:pt x="304805" y="15242"/>
                      </a:lnTo>
                      <a:lnTo>
                        <a:pt x="305837" y="14743"/>
                      </a:lnTo>
                      <a:lnTo>
                        <a:pt x="307182" y="14412"/>
                      </a:lnTo>
                      <a:lnTo>
                        <a:pt x="309619" y="14311"/>
                      </a:lnTo>
                      <a:lnTo>
                        <a:pt x="311314" y="14446"/>
                      </a:lnTo>
                      <a:lnTo>
                        <a:pt x="312894" y="14313"/>
                      </a:lnTo>
                      <a:lnTo>
                        <a:pt x="314132" y="13786"/>
                      </a:lnTo>
                      <a:lnTo>
                        <a:pt x="315647" y="12392"/>
                      </a:lnTo>
                      <a:lnTo>
                        <a:pt x="316434" y="11325"/>
                      </a:lnTo>
                      <a:lnTo>
                        <a:pt x="317892" y="8805"/>
                      </a:lnTo>
                      <a:lnTo>
                        <a:pt x="318458" y="8116"/>
                      </a:lnTo>
                      <a:lnTo>
                        <a:pt x="319733" y="6957"/>
                      </a:lnTo>
                      <a:lnTo>
                        <a:pt x="331929" y="16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2" name="Freeform 10">
                  <a:extLst>
                    <a:ext uri="{FF2B5EF4-FFF2-40B4-BE49-F238E27FC236}">
                      <a16:creationId xmlns:a16="http://schemas.microsoft.com/office/drawing/2014/main" id="{CC0FB36E-215C-4838-A85A-4A25D2AA838E}"/>
                    </a:ext>
                  </a:extLst>
                </p:cNvPr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3157441" y="3239351"/>
                  <a:ext cx="707918" cy="67669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47058" h="1000874">
                      <a:moveTo>
                        <a:pt x="284010" y="2601"/>
                      </a:moveTo>
                      <a:lnTo>
                        <a:pt x="300007" y="2177"/>
                      </a:lnTo>
                      <a:lnTo>
                        <a:pt x="307533" y="3937"/>
                      </a:lnTo>
                      <a:lnTo>
                        <a:pt x="316888" y="8504"/>
                      </a:lnTo>
                      <a:lnTo>
                        <a:pt x="319177" y="10081"/>
                      </a:lnTo>
                      <a:lnTo>
                        <a:pt x="320793" y="12777"/>
                      </a:lnTo>
                      <a:lnTo>
                        <a:pt x="321861" y="19659"/>
                      </a:lnTo>
                      <a:lnTo>
                        <a:pt x="323181" y="23437"/>
                      </a:lnTo>
                      <a:lnTo>
                        <a:pt x="323786" y="26590"/>
                      </a:lnTo>
                      <a:lnTo>
                        <a:pt x="323206" y="34074"/>
                      </a:lnTo>
                      <a:lnTo>
                        <a:pt x="324244" y="37470"/>
                      </a:lnTo>
                      <a:lnTo>
                        <a:pt x="325849" y="40830"/>
                      </a:lnTo>
                      <a:lnTo>
                        <a:pt x="331187" y="57740"/>
                      </a:lnTo>
                      <a:lnTo>
                        <a:pt x="337142" y="76557"/>
                      </a:lnTo>
                      <a:lnTo>
                        <a:pt x="337196" y="85312"/>
                      </a:lnTo>
                      <a:lnTo>
                        <a:pt x="337188" y="88743"/>
                      </a:lnTo>
                      <a:lnTo>
                        <a:pt x="337079" y="91888"/>
                      </a:lnTo>
                      <a:lnTo>
                        <a:pt x="337437" y="94645"/>
                      </a:lnTo>
                      <a:lnTo>
                        <a:pt x="338703" y="97583"/>
                      </a:lnTo>
                      <a:lnTo>
                        <a:pt x="340460" y="99479"/>
                      </a:lnTo>
                      <a:lnTo>
                        <a:pt x="353490" y="108275"/>
                      </a:lnTo>
                      <a:lnTo>
                        <a:pt x="363451" y="111939"/>
                      </a:lnTo>
                      <a:lnTo>
                        <a:pt x="368793" y="112549"/>
                      </a:lnTo>
                      <a:lnTo>
                        <a:pt x="391320" y="110186"/>
                      </a:lnTo>
                      <a:lnTo>
                        <a:pt x="393878" y="110512"/>
                      </a:lnTo>
                      <a:lnTo>
                        <a:pt x="395037" y="110985"/>
                      </a:lnTo>
                      <a:lnTo>
                        <a:pt x="396335" y="111816"/>
                      </a:lnTo>
                      <a:lnTo>
                        <a:pt x="397568" y="112883"/>
                      </a:lnTo>
                      <a:lnTo>
                        <a:pt x="398535" y="114048"/>
                      </a:lnTo>
                      <a:lnTo>
                        <a:pt x="398920" y="115278"/>
                      </a:lnTo>
                      <a:lnTo>
                        <a:pt x="399436" y="118848"/>
                      </a:lnTo>
                      <a:lnTo>
                        <a:pt x="399644" y="119712"/>
                      </a:lnTo>
                      <a:lnTo>
                        <a:pt x="402203" y="120587"/>
                      </a:lnTo>
                      <a:lnTo>
                        <a:pt x="428772" y="121884"/>
                      </a:lnTo>
                      <a:lnTo>
                        <a:pt x="450320" y="122928"/>
                      </a:lnTo>
                      <a:lnTo>
                        <a:pt x="455666" y="126112"/>
                      </a:lnTo>
                      <a:lnTo>
                        <a:pt x="459527" y="138525"/>
                      </a:lnTo>
                      <a:lnTo>
                        <a:pt x="463771" y="142570"/>
                      </a:lnTo>
                      <a:lnTo>
                        <a:pt x="466733" y="143041"/>
                      </a:lnTo>
                      <a:lnTo>
                        <a:pt x="485598" y="140387"/>
                      </a:lnTo>
                      <a:lnTo>
                        <a:pt x="487832" y="141207"/>
                      </a:lnTo>
                      <a:lnTo>
                        <a:pt x="492263" y="139148"/>
                      </a:lnTo>
                      <a:lnTo>
                        <a:pt x="502325" y="138375"/>
                      </a:lnTo>
                      <a:lnTo>
                        <a:pt x="506537" y="135784"/>
                      </a:lnTo>
                      <a:lnTo>
                        <a:pt x="507493" y="133182"/>
                      </a:lnTo>
                      <a:lnTo>
                        <a:pt x="507216" y="130776"/>
                      </a:lnTo>
                      <a:lnTo>
                        <a:pt x="507473" y="129003"/>
                      </a:lnTo>
                      <a:lnTo>
                        <a:pt x="512036" y="127828"/>
                      </a:lnTo>
                      <a:lnTo>
                        <a:pt x="516233" y="125970"/>
                      </a:lnTo>
                      <a:lnTo>
                        <a:pt x="533369" y="123188"/>
                      </a:lnTo>
                      <a:lnTo>
                        <a:pt x="550356" y="123974"/>
                      </a:lnTo>
                      <a:lnTo>
                        <a:pt x="570842" y="124927"/>
                      </a:lnTo>
                      <a:lnTo>
                        <a:pt x="574122" y="125813"/>
                      </a:lnTo>
                      <a:lnTo>
                        <a:pt x="583930" y="131174"/>
                      </a:lnTo>
                      <a:lnTo>
                        <a:pt x="605490" y="136197"/>
                      </a:lnTo>
                      <a:lnTo>
                        <a:pt x="615935" y="138171"/>
                      </a:lnTo>
                      <a:lnTo>
                        <a:pt x="618531" y="140982"/>
                      </a:lnTo>
                      <a:lnTo>
                        <a:pt x="619010" y="143802"/>
                      </a:lnTo>
                      <a:lnTo>
                        <a:pt x="616448" y="144739"/>
                      </a:lnTo>
                      <a:lnTo>
                        <a:pt x="610484" y="146094"/>
                      </a:lnTo>
                      <a:lnTo>
                        <a:pt x="607933" y="147306"/>
                      </a:lnTo>
                      <a:lnTo>
                        <a:pt x="606970" y="151229"/>
                      </a:lnTo>
                      <a:lnTo>
                        <a:pt x="609070" y="153679"/>
                      </a:lnTo>
                      <a:lnTo>
                        <a:pt x="612724" y="154212"/>
                      </a:lnTo>
                      <a:lnTo>
                        <a:pt x="615457" y="154773"/>
                      </a:lnTo>
                      <a:lnTo>
                        <a:pt x="627071" y="153201"/>
                      </a:lnTo>
                      <a:lnTo>
                        <a:pt x="632957" y="153300"/>
                      </a:lnTo>
                      <a:lnTo>
                        <a:pt x="637942" y="155354"/>
                      </a:lnTo>
                      <a:lnTo>
                        <a:pt x="640274" y="159156"/>
                      </a:lnTo>
                      <a:lnTo>
                        <a:pt x="641327" y="161885"/>
                      </a:lnTo>
                      <a:lnTo>
                        <a:pt x="641689" y="168835"/>
                      </a:lnTo>
                      <a:lnTo>
                        <a:pt x="642481" y="172878"/>
                      </a:lnTo>
                      <a:lnTo>
                        <a:pt x="644097" y="175671"/>
                      </a:lnTo>
                      <a:lnTo>
                        <a:pt x="648798" y="180802"/>
                      </a:lnTo>
                      <a:lnTo>
                        <a:pt x="653700" y="189147"/>
                      </a:lnTo>
                      <a:lnTo>
                        <a:pt x="655503" y="190787"/>
                      </a:lnTo>
                      <a:lnTo>
                        <a:pt x="657942" y="190702"/>
                      </a:lnTo>
                      <a:lnTo>
                        <a:pt x="661404" y="189546"/>
                      </a:lnTo>
                      <a:lnTo>
                        <a:pt x="664607" y="187834"/>
                      </a:lnTo>
                      <a:lnTo>
                        <a:pt x="666240" y="186069"/>
                      </a:lnTo>
                      <a:lnTo>
                        <a:pt x="665945" y="182552"/>
                      </a:lnTo>
                      <a:lnTo>
                        <a:pt x="664529" y="179131"/>
                      </a:lnTo>
                      <a:lnTo>
                        <a:pt x="664151" y="175699"/>
                      </a:lnTo>
                      <a:lnTo>
                        <a:pt x="666900" y="172128"/>
                      </a:lnTo>
                      <a:lnTo>
                        <a:pt x="669878" y="170756"/>
                      </a:lnTo>
                      <a:lnTo>
                        <a:pt x="683897" y="168781"/>
                      </a:lnTo>
                      <a:lnTo>
                        <a:pt x="695300" y="169193"/>
                      </a:lnTo>
                      <a:lnTo>
                        <a:pt x="699055" y="171191"/>
                      </a:lnTo>
                      <a:lnTo>
                        <a:pt x="701024" y="174791"/>
                      </a:lnTo>
                      <a:lnTo>
                        <a:pt x="702415" y="179132"/>
                      </a:lnTo>
                      <a:lnTo>
                        <a:pt x="704422" y="183332"/>
                      </a:lnTo>
                      <a:lnTo>
                        <a:pt x="706682" y="185768"/>
                      </a:lnTo>
                      <a:lnTo>
                        <a:pt x="709028" y="187656"/>
                      </a:lnTo>
                      <a:lnTo>
                        <a:pt x="711556" y="189015"/>
                      </a:lnTo>
                      <a:lnTo>
                        <a:pt x="726042" y="194277"/>
                      </a:lnTo>
                      <a:lnTo>
                        <a:pt x="737927" y="195555"/>
                      </a:lnTo>
                      <a:lnTo>
                        <a:pt x="740816" y="196823"/>
                      </a:lnTo>
                      <a:lnTo>
                        <a:pt x="743156" y="198696"/>
                      </a:lnTo>
                      <a:lnTo>
                        <a:pt x="747766" y="203837"/>
                      </a:lnTo>
                      <a:lnTo>
                        <a:pt x="745152" y="208208"/>
                      </a:lnTo>
                      <a:lnTo>
                        <a:pt x="748518" y="210561"/>
                      </a:lnTo>
                      <a:lnTo>
                        <a:pt x="758609" y="211803"/>
                      </a:lnTo>
                      <a:lnTo>
                        <a:pt x="761467" y="211616"/>
                      </a:lnTo>
                      <a:lnTo>
                        <a:pt x="762543" y="211949"/>
                      </a:lnTo>
                      <a:lnTo>
                        <a:pt x="763772" y="213182"/>
                      </a:lnTo>
                      <a:lnTo>
                        <a:pt x="764037" y="214870"/>
                      </a:lnTo>
                      <a:lnTo>
                        <a:pt x="763405" y="216599"/>
                      </a:lnTo>
                      <a:lnTo>
                        <a:pt x="763226" y="218005"/>
                      </a:lnTo>
                      <a:lnTo>
                        <a:pt x="764913" y="218717"/>
                      </a:lnTo>
                      <a:lnTo>
                        <a:pt x="776768" y="217626"/>
                      </a:lnTo>
                      <a:lnTo>
                        <a:pt x="779845" y="218341"/>
                      </a:lnTo>
                      <a:lnTo>
                        <a:pt x="782423" y="219691"/>
                      </a:lnTo>
                      <a:lnTo>
                        <a:pt x="784952" y="220376"/>
                      </a:lnTo>
                      <a:lnTo>
                        <a:pt x="793234" y="216603"/>
                      </a:lnTo>
                      <a:lnTo>
                        <a:pt x="805243" y="215218"/>
                      </a:lnTo>
                      <a:lnTo>
                        <a:pt x="810263" y="212095"/>
                      </a:lnTo>
                      <a:lnTo>
                        <a:pt x="814643" y="207773"/>
                      </a:lnTo>
                      <a:lnTo>
                        <a:pt x="832012" y="196734"/>
                      </a:lnTo>
                      <a:lnTo>
                        <a:pt x="837684" y="194257"/>
                      </a:lnTo>
                      <a:lnTo>
                        <a:pt x="840300" y="192591"/>
                      </a:lnTo>
                      <a:lnTo>
                        <a:pt x="851456" y="186827"/>
                      </a:lnTo>
                      <a:lnTo>
                        <a:pt x="858055" y="185472"/>
                      </a:lnTo>
                      <a:lnTo>
                        <a:pt x="862684" y="187797"/>
                      </a:lnTo>
                      <a:lnTo>
                        <a:pt x="863155" y="189410"/>
                      </a:lnTo>
                      <a:lnTo>
                        <a:pt x="861804" y="191444"/>
                      </a:lnTo>
                      <a:lnTo>
                        <a:pt x="861781" y="192995"/>
                      </a:lnTo>
                      <a:lnTo>
                        <a:pt x="862822" y="195109"/>
                      </a:lnTo>
                      <a:lnTo>
                        <a:pt x="864059" y="195966"/>
                      </a:lnTo>
                      <a:lnTo>
                        <a:pt x="865501" y="196526"/>
                      </a:lnTo>
                      <a:lnTo>
                        <a:pt x="867145" y="197739"/>
                      </a:lnTo>
                      <a:lnTo>
                        <a:pt x="868545" y="200057"/>
                      </a:lnTo>
                      <a:lnTo>
                        <a:pt x="869724" y="205141"/>
                      </a:lnTo>
                      <a:lnTo>
                        <a:pt x="871286" y="207931"/>
                      </a:lnTo>
                      <a:lnTo>
                        <a:pt x="876355" y="210624"/>
                      </a:lnTo>
                      <a:lnTo>
                        <a:pt x="882995" y="210395"/>
                      </a:lnTo>
                      <a:lnTo>
                        <a:pt x="895015" y="206939"/>
                      </a:lnTo>
                      <a:lnTo>
                        <a:pt x="898283" y="206649"/>
                      </a:lnTo>
                      <a:lnTo>
                        <a:pt x="900116" y="207786"/>
                      </a:lnTo>
                      <a:lnTo>
                        <a:pt x="901799" y="209287"/>
                      </a:lnTo>
                      <a:lnTo>
                        <a:pt x="904590" y="210098"/>
                      </a:lnTo>
                      <a:lnTo>
                        <a:pt x="905992" y="209929"/>
                      </a:lnTo>
                      <a:lnTo>
                        <a:pt x="909910" y="208199"/>
                      </a:lnTo>
                      <a:lnTo>
                        <a:pt x="911431" y="207834"/>
                      </a:lnTo>
                      <a:lnTo>
                        <a:pt x="912403" y="208112"/>
                      </a:lnTo>
                      <a:lnTo>
                        <a:pt x="913196" y="208595"/>
                      </a:lnTo>
                      <a:lnTo>
                        <a:pt x="914195" y="208855"/>
                      </a:lnTo>
                      <a:lnTo>
                        <a:pt x="953436" y="203505"/>
                      </a:lnTo>
                      <a:lnTo>
                        <a:pt x="961335" y="203514"/>
                      </a:lnTo>
                      <a:lnTo>
                        <a:pt x="967887" y="205772"/>
                      </a:lnTo>
                      <a:lnTo>
                        <a:pt x="969666" y="207461"/>
                      </a:lnTo>
                      <a:lnTo>
                        <a:pt x="977569" y="217689"/>
                      </a:lnTo>
                      <a:lnTo>
                        <a:pt x="979454" y="219539"/>
                      </a:lnTo>
                      <a:lnTo>
                        <a:pt x="981594" y="220934"/>
                      </a:lnTo>
                      <a:lnTo>
                        <a:pt x="989993" y="224586"/>
                      </a:lnTo>
                      <a:lnTo>
                        <a:pt x="992455" y="224794"/>
                      </a:lnTo>
                      <a:lnTo>
                        <a:pt x="1005530" y="219758"/>
                      </a:lnTo>
                      <a:lnTo>
                        <a:pt x="1008534" y="219103"/>
                      </a:lnTo>
                      <a:lnTo>
                        <a:pt x="1010929" y="219029"/>
                      </a:lnTo>
                      <a:lnTo>
                        <a:pt x="1013324" y="219574"/>
                      </a:lnTo>
                      <a:lnTo>
                        <a:pt x="1016322" y="220838"/>
                      </a:lnTo>
                      <a:lnTo>
                        <a:pt x="1017955" y="221229"/>
                      </a:lnTo>
                      <a:lnTo>
                        <a:pt x="1022515" y="220216"/>
                      </a:lnTo>
                      <a:lnTo>
                        <a:pt x="1025516" y="220267"/>
                      </a:lnTo>
                      <a:lnTo>
                        <a:pt x="1034273" y="222005"/>
                      </a:lnTo>
                      <a:lnTo>
                        <a:pt x="1047057" y="221931"/>
                      </a:lnTo>
                      <a:lnTo>
                        <a:pt x="1043789" y="229483"/>
                      </a:lnTo>
                      <a:lnTo>
                        <a:pt x="1040472" y="237100"/>
                      </a:lnTo>
                      <a:lnTo>
                        <a:pt x="1037161" y="244717"/>
                      </a:lnTo>
                      <a:lnTo>
                        <a:pt x="1033844" y="252335"/>
                      </a:lnTo>
                      <a:lnTo>
                        <a:pt x="1030510" y="259958"/>
                      </a:lnTo>
                      <a:lnTo>
                        <a:pt x="1027184" y="267577"/>
                      </a:lnTo>
                      <a:lnTo>
                        <a:pt x="1023848" y="275193"/>
                      </a:lnTo>
                      <a:lnTo>
                        <a:pt x="1020496" y="282819"/>
                      </a:lnTo>
                      <a:lnTo>
                        <a:pt x="1017149" y="290441"/>
                      </a:lnTo>
                      <a:lnTo>
                        <a:pt x="1013792" y="298055"/>
                      </a:lnTo>
                      <a:lnTo>
                        <a:pt x="1010429" y="305678"/>
                      </a:lnTo>
                      <a:lnTo>
                        <a:pt x="1007056" y="313303"/>
                      </a:lnTo>
                      <a:lnTo>
                        <a:pt x="1003686" y="320928"/>
                      </a:lnTo>
                      <a:lnTo>
                        <a:pt x="1000309" y="328554"/>
                      </a:lnTo>
                      <a:lnTo>
                        <a:pt x="996919" y="336181"/>
                      </a:lnTo>
                      <a:lnTo>
                        <a:pt x="993530" y="343808"/>
                      </a:lnTo>
                      <a:lnTo>
                        <a:pt x="981566" y="343609"/>
                      </a:lnTo>
                      <a:lnTo>
                        <a:pt x="969595" y="343406"/>
                      </a:lnTo>
                      <a:lnTo>
                        <a:pt x="957629" y="343199"/>
                      </a:lnTo>
                      <a:lnTo>
                        <a:pt x="945658" y="342975"/>
                      </a:lnTo>
                      <a:lnTo>
                        <a:pt x="933692" y="342760"/>
                      </a:lnTo>
                      <a:lnTo>
                        <a:pt x="921722" y="342537"/>
                      </a:lnTo>
                      <a:lnTo>
                        <a:pt x="909753" y="342319"/>
                      </a:lnTo>
                      <a:lnTo>
                        <a:pt x="897791" y="342092"/>
                      </a:lnTo>
                      <a:lnTo>
                        <a:pt x="884332" y="350518"/>
                      </a:lnTo>
                      <a:lnTo>
                        <a:pt x="870860" y="358957"/>
                      </a:lnTo>
                      <a:lnTo>
                        <a:pt x="857357" y="367380"/>
                      </a:lnTo>
                      <a:lnTo>
                        <a:pt x="843837" y="375802"/>
                      </a:lnTo>
                      <a:lnTo>
                        <a:pt x="830292" y="384224"/>
                      </a:lnTo>
                      <a:lnTo>
                        <a:pt x="816726" y="392638"/>
                      </a:lnTo>
                      <a:lnTo>
                        <a:pt x="803141" y="401043"/>
                      </a:lnTo>
                      <a:lnTo>
                        <a:pt x="789535" y="409457"/>
                      </a:lnTo>
                      <a:lnTo>
                        <a:pt x="781899" y="413386"/>
                      </a:lnTo>
                      <a:lnTo>
                        <a:pt x="774262" y="417312"/>
                      </a:lnTo>
                      <a:lnTo>
                        <a:pt x="766624" y="421236"/>
                      </a:lnTo>
                      <a:lnTo>
                        <a:pt x="758971" y="425164"/>
                      </a:lnTo>
                      <a:lnTo>
                        <a:pt x="751313" y="429086"/>
                      </a:lnTo>
                      <a:lnTo>
                        <a:pt x="743656" y="433002"/>
                      </a:lnTo>
                      <a:lnTo>
                        <a:pt x="735993" y="436925"/>
                      </a:lnTo>
                      <a:lnTo>
                        <a:pt x="728321" y="440843"/>
                      </a:lnTo>
                      <a:lnTo>
                        <a:pt x="722548" y="443786"/>
                      </a:lnTo>
                      <a:lnTo>
                        <a:pt x="713673" y="440955"/>
                      </a:lnTo>
                      <a:lnTo>
                        <a:pt x="706984" y="438811"/>
                      </a:lnTo>
                      <a:lnTo>
                        <a:pt x="702159" y="437273"/>
                      </a:lnTo>
                      <a:lnTo>
                        <a:pt x="700160" y="438141"/>
                      </a:lnTo>
                      <a:lnTo>
                        <a:pt x="698010" y="439611"/>
                      </a:lnTo>
                      <a:lnTo>
                        <a:pt x="696974" y="441166"/>
                      </a:lnTo>
                      <a:lnTo>
                        <a:pt x="695924" y="444060"/>
                      </a:lnTo>
                      <a:lnTo>
                        <a:pt x="695467" y="444728"/>
                      </a:lnTo>
                      <a:lnTo>
                        <a:pt x="694763" y="445179"/>
                      </a:lnTo>
                      <a:lnTo>
                        <a:pt x="692527" y="445729"/>
                      </a:lnTo>
                      <a:lnTo>
                        <a:pt x="691746" y="446057"/>
                      </a:lnTo>
                      <a:lnTo>
                        <a:pt x="691064" y="446616"/>
                      </a:lnTo>
                      <a:lnTo>
                        <a:pt x="690524" y="447322"/>
                      </a:lnTo>
                      <a:lnTo>
                        <a:pt x="690061" y="448211"/>
                      </a:lnTo>
                      <a:lnTo>
                        <a:pt x="689867" y="449262"/>
                      </a:lnTo>
                      <a:lnTo>
                        <a:pt x="689392" y="453614"/>
                      </a:lnTo>
                      <a:lnTo>
                        <a:pt x="689079" y="454368"/>
                      </a:lnTo>
                      <a:lnTo>
                        <a:pt x="688818" y="454821"/>
                      </a:lnTo>
                      <a:lnTo>
                        <a:pt x="688333" y="455352"/>
                      </a:lnTo>
                      <a:lnTo>
                        <a:pt x="687627" y="455786"/>
                      </a:lnTo>
                      <a:lnTo>
                        <a:pt x="685627" y="456280"/>
                      </a:lnTo>
                      <a:lnTo>
                        <a:pt x="683281" y="456453"/>
                      </a:lnTo>
                      <a:lnTo>
                        <a:pt x="680774" y="456303"/>
                      </a:lnTo>
                      <a:lnTo>
                        <a:pt x="678743" y="455693"/>
                      </a:lnTo>
                      <a:lnTo>
                        <a:pt x="678117" y="455614"/>
                      </a:lnTo>
                      <a:lnTo>
                        <a:pt x="677813" y="456184"/>
                      </a:lnTo>
                      <a:lnTo>
                        <a:pt x="677965" y="459933"/>
                      </a:lnTo>
                      <a:lnTo>
                        <a:pt x="678403" y="470724"/>
                      </a:lnTo>
                      <a:lnTo>
                        <a:pt x="678844" y="481525"/>
                      </a:lnTo>
                      <a:lnTo>
                        <a:pt x="679284" y="492329"/>
                      </a:lnTo>
                      <a:lnTo>
                        <a:pt x="679720" y="503136"/>
                      </a:lnTo>
                      <a:lnTo>
                        <a:pt x="680156" y="513945"/>
                      </a:lnTo>
                      <a:lnTo>
                        <a:pt x="680591" y="524756"/>
                      </a:lnTo>
                      <a:lnTo>
                        <a:pt x="681031" y="535566"/>
                      </a:lnTo>
                      <a:lnTo>
                        <a:pt x="681465" y="546383"/>
                      </a:lnTo>
                      <a:lnTo>
                        <a:pt x="681562" y="548880"/>
                      </a:lnTo>
                      <a:lnTo>
                        <a:pt x="681796" y="554509"/>
                      </a:lnTo>
                      <a:lnTo>
                        <a:pt x="679092" y="555019"/>
                      </a:lnTo>
                      <a:lnTo>
                        <a:pt x="677419" y="556155"/>
                      </a:lnTo>
                      <a:lnTo>
                        <a:pt x="675589" y="558068"/>
                      </a:lnTo>
                      <a:lnTo>
                        <a:pt x="674130" y="560390"/>
                      </a:lnTo>
                      <a:lnTo>
                        <a:pt x="673590" y="562730"/>
                      </a:lnTo>
                      <a:lnTo>
                        <a:pt x="672293" y="564207"/>
                      </a:lnTo>
                      <a:lnTo>
                        <a:pt x="669146" y="564113"/>
                      </a:lnTo>
                      <a:lnTo>
                        <a:pt x="665602" y="563499"/>
                      </a:lnTo>
                      <a:lnTo>
                        <a:pt x="663108" y="563393"/>
                      </a:lnTo>
                      <a:lnTo>
                        <a:pt x="661116" y="564953"/>
                      </a:lnTo>
                      <a:lnTo>
                        <a:pt x="658180" y="569504"/>
                      </a:lnTo>
                      <a:lnTo>
                        <a:pt x="656133" y="570477"/>
                      </a:lnTo>
                      <a:lnTo>
                        <a:pt x="650356" y="570548"/>
                      </a:lnTo>
                      <a:lnTo>
                        <a:pt x="649027" y="570931"/>
                      </a:lnTo>
                      <a:lnTo>
                        <a:pt x="647974" y="571745"/>
                      </a:lnTo>
                      <a:lnTo>
                        <a:pt x="647191" y="572556"/>
                      </a:lnTo>
                      <a:lnTo>
                        <a:pt x="646670" y="572929"/>
                      </a:lnTo>
                      <a:lnTo>
                        <a:pt x="646531" y="573440"/>
                      </a:lnTo>
                      <a:lnTo>
                        <a:pt x="644978" y="575825"/>
                      </a:lnTo>
                      <a:lnTo>
                        <a:pt x="644330" y="576563"/>
                      </a:lnTo>
                      <a:lnTo>
                        <a:pt x="643191" y="577119"/>
                      </a:lnTo>
                      <a:lnTo>
                        <a:pt x="639590" y="577680"/>
                      </a:lnTo>
                      <a:lnTo>
                        <a:pt x="632206" y="581858"/>
                      </a:lnTo>
                      <a:lnTo>
                        <a:pt x="629679" y="582471"/>
                      </a:lnTo>
                      <a:lnTo>
                        <a:pt x="625343" y="584299"/>
                      </a:lnTo>
                      <a:lnTo>
                        <a:pt x="621606" y="588587"/>
                      </a:lnTo>
                      <a:lnTo>
                        <a:pt x="616311" y="597897"/>
                      </a:lnTo>
                      <a:lnTo>
                        <a:pt x="617091" y="602865"/>
                      </a:lnTo>
                      <a:lnTo>
                        <a:pt x="613391" y="607988"/>
                      </a:lnTo>
                      <a:lnTo>
                        <a:pt x="601575" y="618281"/>
                      </a:lnTo>
                      <a:lnTo>
                        <a:pt x="600349" y="620375"/>
                      </a:lnTo>
                      <a:lnTo>
                        <a:pt x="599928" y="623241"/>
                      </a:lnTo>
                      <a:lnTo>
                        <a:pt x="599407" y="636200"/>
                      </a:lnTo>
                      <a:lnTo>
                        <a:pt x="602221" y="642195"/>
                      </a:lnTo>
                      <a:lnTo>
                        <a:pt x="608393" y="643373"/>
                      </a:lnTo>
                      <a:lnTo>
                        <a:pt x="615448" y="643138"/>
                      </a:lnTo>
                      <a:lnTo>
                        <a:pt x="620952" y="644889"/>
                      </a:lnTo>
                      <a:lnTo>
                        <a:pt x="622640" y="647478"/>
                      </a:lnTo>
                      <a:lnTo>
                        <a:pt x="624933" y="654023"/>
                      </a:lnTo>
                      <a:lnTo>
                        <a:pt x="626093" y="656518"/>
                      </a:lnTo>
                      <a:lnTo>
                        <a:pt x="628626" y="659264"/>
                      </a:lnTo>
                      <a:lnTo>
                        <a:pt x="631265" y="661551"/>
                      </a:lnTo>
                      <a:lnTo>
                        <a:pt x="633374" y="664223"/>
                      </a:lnTo>
                      <a:lnTo>
                        <a:pt x="634161" y="667488"/>
                      </a:lnTo>
                      <a:lnTo>
                        <a:pt x="633654" y="670575"/>
                      </a:lnTo>
                      <a:lnTo>
                        <a:pt x="629782" y="676486"/>
                      </a:lnTo>
                      <a:lnTo>
                        <a:pt x="628971" y="680460"/>
                      </a:lnTo>
                      <a:lnTo>
                        <a:pt x="628321" y="683583"/>
                      </a:lnTo>
                      <a:lnTo>
                        <a:pt x="626559" y="685565"/>
                      </a:lnTo>
                      <a:lnTo>
                        <a:pt x="624398" y="687196"/>
                      </a:lnTo>
                      <a:lnTo>
                        <a:pt x="622529" y="689308"/>
                      </a:lnTo>
                      <a:lnTo>
                        <a:pt x="621434" y="692127"/>
                      </a:lnTo>
                      <a:lnTo>
                        <a:pt x="620980" y="695319"/>
                      </a:lnTo>
                      <a:lnTo>
                        <a:pt x="621079" y="702933"/>
                      </a:lnTo>
                      <a:lnTo>
                        <a:pt x="620300" y="706536"/>
                      </a:lnTo>
                      <a:lnTo>
                        <a:pt x="620105" y="708560"/>
                      </a:lnTo>
                      <a:lnTo>
                        <a:pt x="620782" y="709431"/>
                      </a:lnTo>
                      <a:lnTo>
                        <a:pt x="623442" y="715147"/>
                      </a:lnTo>
                      <a:lnTo>
                        <a:pt x="623751" y="719007"/>
                      </a:lnTo>
                      <a:lnTo>
                        <a:pt x="623061" y="722393"/>
                      </a:lnTo>
                      <a:lnTo>
                        <a:pt x="621314" y="724798"/>
                      </a:lnTo>
                      <a:lnTo>
                        <a:pt x="618447" y="725734"/>
                      </a:lnTo>
                      <a:lnTo>
                        <a:pt x="616562" y="727378"/>
                      </a:lnTo>
                      <a:lnTo>
                        <a:pt x="617618" y="731155"/>
                      </a:lnTo>
                      <a:lnTo>
                        <a:pt x="621280" y="738794"/>
                      </a:lnTo>
                      <a:lnTo>
                        <a:pt x="622844" y="746072"/>
                      </a:lnTo>
                      <a:lnTo>
                        <a:pt x="623728" y="753413"/>
                      </a:lnTo>
                      <a:lnTo>
                        <a:pt x="623308" y="754507"/>
                      </a:lnTo>
                      <a:lnTo>
                        <a:pt x="621415" y="757439"/>
                      </a:lnTo>
                      <a:lnTo>
                        <a:pt x="621021" y="759295"/>
                      </a:lnTo>
                      <a:lnTo>
                        <a:pt x="622112" y="764817"/>
                      </a:lnTo>
                      <a:lnTo>
                        <a:pt x="622258" y="766898"/>
                      </a:lnTo>
                      <a:lnTo>
                        <a:pt x="621487" y="771544"/>
                      </a:lnTo>
                      <a:lnTo>
                        <a:pt x="615981" y="782311"/>
                      </a:lnTo>
                      <a:lnTo>
                        <a:pt x="619901" y="785232"/>
                      </a:lnTo>
                      <a:lnTo>
                        <a:pt x="628857" y="790114"/>
                      </a:lnTo>
                      <a:lnTo>
                        <a:pt x="639188" y="798802"/>
                      </a:lnTo>
                      <a:lnTo>
                        <a:pt x="641772" y="800253"/>
                      </a:lnTo>
                      <a:lnTo>
                        <a:pt x="642703" y="801713"/>
                      </a:lnTo>
                      <a:lnTo>
                        <a:pt x="643440" y="803320"/>
                      </a:lnTo>
                      <a:lnTo>
                        <a:pt x="644105" y="804377"/>
                      </a:lnTo>
                      <a:lnTo>
                        <a:pt x="650410" y="807664"/>
                      </a:lnTo>
                      <a:lnTo>
                        <a:pt x="672742" y="810603"/>
                      </a:lnTo>
                      <a:lnTo>
                        <a:pt x="677838" y="812210"/>
                      </a:lnTo>
                      <a:lnTo>
                        <a:pt x="682826" y="815547"/>
                      </a:lnTo>
                      <a:lnTo>
                        <a:pt x="687112" y="820074"/>
                      </a:lnTo>
                      <a:lnTo>
                        <a:pt x="691095" y="827426"/>
                      </a:lnTo>
                      <a:lnTo>
                        <a:pt x="692367" y="829311"/>
                      </a:lnTo>
                      <a:lnTo>
                        <a:pt x="693960" y="830730"/>
                      </a:lnTo>
                      <a:lnTo>
                        <a:pt x="695909" y="831536"/>
                      </a:lnTo>
                      <a:lnTo>
                        <a:pt x="712676" y="833788"/>
                      </a:lnTo>
                      <a:lnTo>
                        <a:pt x="720425" y="836188"/>
                      </a:lnTo>
                      <a:lnTo>
                        <a:pt x="742988" y="853284"/>
                      </a:lnTo>
                      <a:lnTo>
                        <a:pt x="748774" y="861245"/>
                      </a:lnTo>
                      <a:lnTo>
                        <a:pt x="760383" y="879514"/>
                      </a:lnTo>
                      <a:lnTo>
                        <a:pt x="763368" y="882770"/>
                      </a:lnTo>
                      <a:lnTo>
                        <a:pt x="769027" y="884937"/>
                      </a:lnTo>
                      <a:lnTo>
                        <a:pt x="786254" y="897830"/>
                      </a:lnTo>
                      <a:lnTo>
                        <a:pt x="788086" y="898647"/>
                      </a:lnTo>
                      <a:lnTo>
                        <a:pt x="789899" y="899074"/>
                      </a:lnTo>
                      <a:lnTo>
                        <a:pt x="803792" y="898888"/>
                      </a:lnTo>
                      <a:lnTo>
                        <a:pt x="804634" y="899181"/>
                      </a:lnTo>
                      <a:lnTo>
                        <a:pt x="813065" y="904943"/>
                      </a:lnTo>
                      <a:lnTo>
                        <a:pt x="814163" y="905443"/>
                      </a:lnTo>
                      <a:lnTo>
                        <a:pt x="815401" y="905770"/>
                      </a:lnTo>
                      <a:lnTo>
                        <a:pt x="820680" y="906049"/>
                      </a:lnTo>
                      <a:lnTo>
                        <a:pt x="822440" y="906770"/>
                      </a:lnTo>
                      <a:lnTo>
                        <a:pt x="823410" y="907579"/>
                      </a:lnTo>
                      <a:lnTo>
                        <a:pt x="824042" y="908545"/>
                      </a:lnTo>
                      <a:lnTo>
                        <a:pt x="824466" y="909674"/>
                      </a:lnTo>
                      <a:lnTo>
                        <a:pt x="824794" y="910985"/>
                      </a:lnTo>
                      <a:lnTo>
                        <a:pt x="825937" y="913368"/>
                      </a:lnTo>
                      <a:lnTo>
                        <a:pt x="829446" y="917026"/>
                      </a:lnTo>
                      <a:lnTo>
                        <a:pt x="830686" y="919274"/>
                      </a:lnTo>
                      <a:lnTo>
                        <a:pt x="836932" y="921211"/>
                      </a:lnTo>
                      <a:lnTo>
                        <a:pt x="838897" y="922235"/>
                      </a:lnTo>
                      <a:lnTo>
                        <a:pt x="840403" y="923575"/>
                      </a:lnTo>
                      <a:lnTo>
                        <a:pt x="841437" y="925257"/>
                      </a:lnTo>
                      <a:lnTo>
                        <a:pt x="842136" y="927198"/>
                      </a:lnTo>
                      <a:lnTo>
                        <a:pt x="843028" y="931353"/>
                      </a:lnTo>
                      <a:lnTo>
                        <a:pt x="843340" y="935311"/>
                      </a:lnTo>
                      <a:lnTo>
                        <a:pt x="843235" y="940370"/>
                      </a:lnTo>
                      <a:lnTo>
                        <a:pt x="843409" y="941861"/>
                      </a:lnTo>
                      <a:lnTo>
                        <a:pt x="843771" y="943316"/>
                      </a:lnTo>
                      <a:lnTo>
                        <a:pt x="844419" y="944769"/>
                      </a:lnTo>
                      <a:lnTo>
                        <a:pt x="845257" y="945964"/>
                      </a:lnTo>
                      <a:lnTo>
                        <a:pt x="847333" y="948006"/>
                      </a:lnTo>
                      <a:lnTo>
                        <a:pt x="848304" y="949303"/>
                      </a:lnTo>
                      <a:lnTo>
                        <a:pt x="848880" y="950867"/>
                      </a:lnTo>
                      <a:lnTo>
                        <a:pt x="849478" y="954237"/>
                      </a:lnTo>
                      <a:lnTo>
                        <a:pt x="849660" y="957493"/>
                      </a:lnTo>
                      <a:lnTo>
                        <a:pt x="848391" y="966880"/>
                      </a:lnTo>
                      <a:lnTo>
                        <a:pt x="848503" y="968465"/>
                      </a:lnTo>
                      <a:lnTo>
                        <a:pt x="849819" y="973025"/>
                      </a:lnTo>
                      <a:lnTo>
                        <a:pt x="849967" y="974837"/>
                      </a:lnTo>
                      <a:lnTo>
                        <a:pt x="849643" y="980254"/>
                      </a:lnTo>
                      <a:lnTo>
                        <a:pt x="849864" y="982541"/>
                      </a:lnTo>
                      <a:lnTo>
                        <a:pt x="850946" y="986992"/>
                      </a:lnTo>
                      <a:lnTo>
                        <a:pt x="851245" y="989258"/>
                      </a:lnTo>
                      <a:lnTo>
                        <a:pt x="851128" y="991438"/>
                      </a:lnTo>
                      <a:lnTo>
                        <a:pt x="850497" y="995487"/>
                      </a:lnTo>
                      <a:lnTo>
                        <a:pt x="803420" y="996218"/>
                      </a:lnTo>
                      <a:lnTo>
                        <a:pt x="756338" y="996904"/>
                      </a:lnTo>
                      <a:lnTo>
                        <a:pt x="709248" y="997524"/>
                      </a:lnTo>
                      <a:lnTo>
                        <a:pt x="662155" y="998091"/>
                      </a:lnTo>
                      <a:lnTo>
                        <a:pt x="615050" y="998621"/>
                      </a:lnTo>
                      <a:lnTo>
                        <a:pt x="582462" y="998947"/>
                      </a:lnTo>
                      <a:lnTo>
                        <a:pt x="567947" y="999084"/>
                      </a:lnTo>
                      <a:lnTo>
                        <a:pt x="520838" y="999486"/>
                      </a:lnTo>
                      <a:lnTo>
                        <a:pt x="473718" y="999852"/>
                      </a:lnTo>
                      <a:lnTo>
                        <a:pt x="426599" y="1000151"/>
                      </a:lnTo>
                      <a:lnTo>
                        <a:pt x="379481" y="1000397"/>
                      </a:lnTo>
                      <a:lnTo>
                        <a:pt x="332357" y="1000602"/>
                      </a:lnTo>
                      <a:lnTo>
                        <a:pt x="285234" y="1000742"/>
                      </a:lnTo>
                      <a:lnTo>
                        <a:pt x="238111" y="1000827"/>
                      </a:lnTo>
                      <a:lnTo>
                        <a:pt x="190975" y="1000873"/>
                      </a:lnTo>
                      <a:lnTo>
                        <a:pt x="143850" y="1000860"/>
                      </a:lnTo>
                      <a:lnTo>
                        <a:pt x="96727" y="1000782"/>
                      </a:lnTo>
                      <a:lnTo>
                        <a:pt x="96994" y="962937"/>
                      </a:lnTo>
                      <a:lnTo>
                        <a:pt x="97263" y="925120"/>
                      </a:lnTo>
                      <a:lnTo>
                        <a:pt x="97533" y="887332"/>
                      </a:lnTo>
                      <a:lnTo>
                        <a:pt x="97805" y="849574"/>
                      </a:lnTo>
                      <a:lnTo>
                        <a:pt x="98078" y="811842"/>
                      </a:lnTo>
                      <a:lnTo>
                        <a:pt x="98352" y="774138"/>
                      </a:lnTo>
                      <a:lnTo>
                        <a:pt x="98628" y="736478"/>
                      </a:lnTo>
                      <a:lnTo>
                        <a:pt x="98899" y="698838"/>
                      </a:lnTo>
                      <a:lnTo>
                        <a:pt x="98948" y="692203"/>
                      </a:lnTo>
                      <a:lnTo>
                        <a:pt x="98949" y="692157"/>
                      </a:lnTo>
                      <a:lnTo>
                        <a:pt x="98217" y="691616"/>
                      </a:lnTo>
                      <a:lnTo>
                        <a:pt x="97277" y="689879"/>
                      </a:lnTo>
                      <a:lnTo>
                        <a:pt x="93455" y="683419"/>
                      </a:lnTo>
                      <a:lnTo>
                        <a:pt x="92091" y="682140"/>
                      </a:lnTo>
                      <a:lnTo>
                        <a:pt x="88745" y="679645"/>
                      </a:lnTo>
                      <a:lnTo>
                        <a:pt x="87226" y="678136"/>
                      </a:lnTo>
                      <a:lnTo>
                        <a:pt x="83131" y="675512"/>
                      </a:lnTo>
                      <a:lnTo>
                        <a:pt x="77139" y="673891"/>
                      </a:lnTo>
                      <a:lnTo>
                        <a:pt x="65972" y="672821"/>
                      </a:lnTo>
                      <a:lnTo>
                        <a:pt x="63158" y="670646"/>
                      </a:lnTo>
                      <a:lnTo>
                        <a:pt x="60078" y="665564"/>
                      </a:lnTo>
                      <a:lnTo>
                        <a:pt x="55081" y="655147"/>
                      </a:lnTo>
                      <a:lnTo>
                        <a:pt x="52245" y="651180"/>
                      </a:lnTo>
                      <a:lnTo>
                        <a:pt x="45365" y="644235"/>
                      </a:lnTo>
                      <a:lnTo>
                        <a:pt x="41677" y="639914"/>
                      </a:lnTo>
                      <a:lnTo>
                        <a:pt x="42318" y="636304"/>
                      </a:lnTo>
                      <a:lnTo>
                        <a:pt x="44108" y="632707"/>
                      </a:lnTo>
                      <a:lnTo>
                        <a:pt x="45172" y="631647"/>
                      </a:lnTo>
                      <a:lnTo>
                        <a:pt x="46457" y="630754"/>
                      </a:lnTo>
                      <a:lnTo>
                        <a:pt x="51830" y="627462"/>
                      </a:lnTo>
                      <a:lnTo>
                        <a:pt x="55073" y="624309"/>
                      </a:lnTo>
                      <a:lnTo>
                        <a:pt x="56534" y="623216"/>
                      </a:lnTo>
                      <a:lnTo>
                        <a:pt x="66835" y="618136"/>
                      </a:lnTo>
                      <a:lnTo>
                        <a:pt x="70626" y="615523"/>
                      </a:lnTo>
                      <a:lnTo>
                        <a:pt x="71985" y="614308"/>
                      </a:lnTo>
                      <a:lnTo>
                        <a:pt x="73121" y="612959"/>
                      </a:lnTo>
                      <a:lnTo>
                        <a:pt x="73649" y="612189"/>
                      </a:lnTo>
                      <a:lnTo>
                        <a:pt x="77933" y="603763"/>
                      </a:lnTo>
                      <a:lnTo>
                        <a:pt x="80822" y="599336"/>
                      </a:lnTo>
                      <a:lnTo>
                        <a:pt x="81787" y="596389"/>
                      </a:lnTo>
                      <a:lnTo>
                        <a:pt x="83131" y="585979"/>
                      </a:lnTo>
                      <a:lnTo>
                        <a:pt x="83498" y="585088"/>
                      </a:lnTo>
                      <a:lnTo>
                        <a:pt x="83999" y="584179"/>
                      </a:lnTo>
                      <a:lnTo>
                        <a:pt x="84456" y="583530"/>
                      </a:lnTo>
                      <a:lnTo>
                        <a:pt x="85375" y="581764"/>
                      </a:lnTo>
                      <a:lnTo>
                        <a:pt x="82708" y="568995"/>
                      </a:lnTo>
                      <a:lnTo>
                        <a:pt x="82765" y="564938"/>
                      </a:lnTo>
                      <a:lnTo>
                        <a:pt x="84470" y="561153"/>
                      </a:lnTo>
                      <a:lnTo>
                        <a:pt x="85502" y="556383"/>
                      </a:lnTo>
                      <a:lnTo>
                        <a:pt x="85565" y="554219"/>
                      </a:lnTo>
                      <a:lnTo>
                        <a:pt x="84673" y="547893"/>
                      </a:lnTo>
                      <a:lnTo>
                        <a:pt x="84033" y="546929"/>
                      </a:lnTo>
                      <a:lnTo>
                        <a:pt x="84262" y="544945"/>
                      </a:lnTo>
                      <a:lnTo>
                        <a:pt x="84587" y="543663"/>
                      </a:lnTo>
                      <a:lnTo>
                        <a:pt x="84528" y="542546"/>
                      </a:lnTo>
                      <a:lnTo>
                        <a:pt x="81369" y="537907"/>
                      </a:lnTo>
                      <a:lnTo>
                        <a:pt x="80765" y="536447"/>
                      </a:lnTo>
                      <a:lnTo>
                        <a:pt x="80333" y="534625"/>
                      </a:lnTo>
                      <a:lnTo>
                        <a:pt x="80018" y="531165"/>
                      </a:lnTo>
                      <a:lnTo>
                        <a:pt x="80467" y="520115"/>
                      </a:lnTo>
                      <a:lnTo>
                        <a:pt x="79636" y="516501"/>
                      </a:lnTo>
                      <a:lnTo>
                        <a:pt x="77592" y="513547"/>
                      </a:lnTo>
                      <a:lnTo>
                        <a:pt x="72876" y="508871"/>
                      </a:lnTo>
                      <a:lnTo>
                        <a:pt x="64913" y="497728"/>
                      </a:lnTo>
                      <a:lnTo>
                        <a:pt x="64005" y="495868"/>
                      </a:lnTo>
                      <a:lnTo>
                        <a:pt x="63796" y="494148"/>
                      </a:lnTo>
                      <a:lnTo>
                        <a:pt x="63826" y="492641"/>
                      </a:lnTo>
                      <a:lnTo>
                        <a:pt x="63643" y="491375"/>
                      </a:lnTo>
                      <a:lnTo>
                        <a:pt x="62822" y="490057"/>
                      </a:lnTo>
                      <a:lnTo>
                        <a:pt x="60583" y="487809"/>
                      </a:lnTo>
                      <a:lnTo>
                        <a:pt x="59811" y="486599"/>
                      </a:lnTo>
                      <a:lnTo>
                        <a:pt x="60770" y="483144"/>
                      </a:lnTo>
                      <a:lnTo>
                        <a:pt x="60708" y="479531"/>
                      </a:lnTo>
                      <a:lnTo>
                        <a:pt x="59960" y="473211"/>
                      </a:lnTo>
                      <a:lnTo>
                        <a:pt x="59056" y="469862"/>
                      </a:lnTo>
                      <a:lnTo>
                        <a:pt x="54713" y="464500"/>
                      </a:lnTo>
                      <a:lnTo>
                        <a:pt x="53369" y="462137"/>
                      </a:lnTo>
                      <a:lnTo>
                        <a:pt x="53110" y="458459"/>
                      </a:lnTo>
                      <a:lnTo>
                        <a:pt x="54879" y="452545"/>
                      </a:lnTo>
                      <a:lnTo>
                        <a:pt x="55418" y="448713"/>
                      </a:lnTo>
                      <a:lnTo>
                        <a:pt x="54998" y="444973"/>
                      </a:lnTo>
                      <a:lnTo>
                        <a:pt x="53084" y="438989"/>
                      </a:lnTo>
                      <a:lnTo>
                        <a:pt x="52727" y="436332"/>
                      </a:lnTo>
                      <a:lnTo>
                        <a:pt x="53051" y="434615"/>
                      </a:lnTo>
                      <a:lnTo>
                        <a:pt x="54354" y="431806"/>
                      </a:lnTo>
                      <a:lnTo>
                        <a:pt x="54770" y="430635"/>
                      </a:lnTo>
                      <a:lnTo>
                        <a:pt x="54992" y="428769"/>
                      </a:lnTo>
                      <a:lnTo>
                        <a:pt x="54860" y="423023"/>
                      </a:lnTo>
                      <a:lnTo>
                        <a:pt x="55325" y="421267"/>
                      </a:lnTo>
                      <a:lnTo>
                        <a:pt x="57289" y="418934"/>
                      </a:lnTo>
                      <a:lnTo>
                        <a:pt x="58046" y="416211"/>
                      </a:lnTo>
                      <a:lnTo>
                        <a:pt x="58564" y="415468"/>
                      </a:lnTo>
                      <a:lnTo>
                        <a:pt x="58823" y="414700"/>
                      </a:lnTo>
                      <a:lnTo>
                        <a:pt x="58312" y="413635"/>
                      </a:lnTo>
                      <a:lnTo>
                        <a:pt x="57447" y="412900"/>
                      </a:lnTo>
                      <a:lnTo>
                        <a:pt x="55810" y="412500"/>
                      </a:lnTo>
                      <a:lnTo>
                        <a:pt x="54434" y="411613"/>
                      </a:lnTo>
                      <a:lnTo>
                        <a:pt x="52827" y="411213"/>
                      </a:lnTo>
                      <a:lnTo>
                        <a:pt x="52091" y="410757"/>
                      </a:lnTo>
                      <a:lnTo>
                        <a:pt x="52650" y="410764"/>
                      </a:lnTo>
                      <a:lnTo>
                        <a:pt x="52601" y="409504"/>
                      </a:lnTo>
                      <a:lnTo>
                        <a:pt x="52132" y="407271"/>
                      </a:lnTo>
                      <a:lnTo>
                        <a:pt x="50440" y="404597"/>
                      </a:lnTo>
                      <a:lnTo>
                        <a:pt x="49734" y="403057"/>
                      </a:lnTo>
                      <a:lnTo>
                        <a:pt x="49468" y="400812"/>
                      </a:lnTo>
                      <a:lnTo>
                        <a:pt x="50608" y="389642"/>
                      </a:lnTo>
                      <a:lnTo>
                        <a:pt x="50502" y="386249"/>
                      </a:lnTo>
                      <a:lnTo>
                        <a:pt x="48704" y="379269"/>
                      </a:lnTo>
                      <a:lnTo>
                        <a:pt x="48695" y="377276"/>
                      </a:lnTo>
                      <a:lnTo>
                        <a:pt x="49089" y="375579"/>
                      </a:lnTo>
                      <a:lnTo>
                        <a:pt x="49571" y="374123"/>
                      </a:lnTo>
                      <a:lnTo>
                        <a:pt x="49812" y="372837"/>
                      </a:lnTo>
                      <a:lnTo>
                        <a:pt x="49380" y="369199"/>
                      </a:lnTo>
                      <a:lnTo>
                        <a:pt x="47428" y="360942"/>
                      </a:lnTo>
                      <a:lnTo>
                        <a:pt x="47020" y="357101"/>
                      </a:lnTo>
                      <a:lnTo>
                        <a:pt x="48315" y="335483"/>
                      </a:lnTo>
                      <a:lnTo>
                        <a:pt x="47797" y="333793"/>
                      </a:lnTo>
                      <a:lnTo>
                        <a:pt x="46621" y="332332"/>
                      </a:lnTo>
                      <a:lnTo>
                        <a:pt x="45397" y="331133"/>
                      </a:lnTo>
                      <a:lnTo>
                        <a:pt x="44722" y="330296"/>
                      </a:lnTo>
                      <a:lnTo>
                        <a:pt x="44827" y="326758"/>
                      </a:lnTo>
                      <a:lnTo>
                        <a:pt x="47098" y="318182"/>
                      </a:lnTo>
                      <a:lnTo>
                        <a:pt x="47120" y="315707"/>
                      </a:lnTo>
                      <a:lnTo>
                        <a:pt x="45846" y="312807"/>
                      </a:lnTo>
                      <a:lnTo>
                        <a:pt x="45751" y="309821"/>
                      </a:lnTo>
                      <a:lnTo>
                        <a:pt x="46042" y="306444"/>
                      </a:lnTo>
                      <a:lnTo>
                        <a:pt x="45931" y="302364"/>
                      </a:lnTo>
                      <a:lnTo>
                        <a:pt x="46119" y="301739"/>
                      </a:lnTo>
                      <a:lnTo>
                        <a:pt x="46577" y="300937"/>
                      </a:lnTo>
                      <a:lnTo>
                        <a:pt x="46954" y="299972"/>
                      </a:lnTo>
                      <a:lnTo>
                        <a:pt x="46910" y="298890"/>
                      </a:lnTo>
                      <a:lnTo>
                        <a:pt x="46315" y="298013"/>
                      </a:lnTo>
                      <a:lnTo>
                        <a:pt x="44142" y="296454"/>
                      </a:lnTo>
                      <a:lnTo>
                        <a:pt x="42568" y="291776"/>
                      </a:lnTo>
                      <a:lnTo>
                        <a:pt x="41851" y="285764"/>
                      </a:lnTo>
                      <a:lnTo>
                        <a:pt x="40463" y="282809"/>
                      </a:lnTo>
                      <a:lnTo>
                        <a:pt x="38649" y="280162"/>
                      </a:lnTo>
                      <a:lnTo>
                        <a:pt x="36860" y="276727"/>
                      </a:lnTo>
                      <a:lnTo>
                        <a:pt x="35275" y="270742"/>
                      </a:lnTo>
                      <a:lnTo>
                        <a:pt x="34262" y="268600"/>
                      </a:lnTo>
                      <a:lnTo>
                        <a:pt x="31082" y="265152"/>
                      </a:lnTo>
                      <a:lnTo>
                        <a:pt x="30600" y="264479"/>
                      </a:lnTo>
                      <a:lnTo>
                        <a:pt x="30452" y="264047"/>
                      </a:lnTo>
                      <a:lnTo>
                        <a:pt x="30076" y="263859"/>
                      </a:lnTo>
                      <a:lnTo>
                        <a:pt x="29596" y="263708"/>
                      </a:lnTo>
                      <a:lnTo>
                        <a:pt x="29135" y="263366"/>
                      </a:lnTo>
                      <a:lnTo>
                        <a:pt x="28883" y="262611"/>
                      </a:lnTo>
                      <a:lnTo>
                        <a:pt x="29656" y="261360"/>
                      </a:lnTo>
                      <a:lnTo>
                        <a:pt x="29645" y="260371"/>
                      </a:lnTo>
                      <a:lnTo>
                        <a:pt x="26284" y="252039"/>
                      </a:lnTo>
                      <a:lnTo>
                        <a:pt x="25970" y="248196"/>
                      </a:lnTo>
                      <a:lnTo>
                        <a:pt x="28023" y="244148"/>
                      </a:lnTo>
                      <a:lnTo>
                        <a:pt x="23345" y="239385"/>
                      </a:lnTo>
                      <a:lnTo>
                        <a:pt x="21215" y="233630"/>
                      </a:lnTo>
                      <a:lnTo>
                        <a:pt x="19780" y="227315"/>
                      </a:lnTo>
                      <a:lnTo>
                        <a:pt x="14044" y="214787"/>
                      </a:lnTo>
                      <a:lnTo>
                        <a:pt x="12030" y="208691"/>
                      </a:lnTo>
                      <a:lnTo>
                        <a:pt x="11083" y="202274"/>
                      </a:lnTo>
                      <a:lnTo>
                        <a:pt x="11171" y="195257"/>
                      </a:lnTo>
                      <a:lnTo>
                        <a:pt x="13350" y="183540"/>
                      </a:lnTo>
                      <a:lnTo>
                        <a:pt x="12749" y="180859"/>
                      </a:lnTo>
                      <a:lnTo>
                        <a:pt x="11897" y="178465"/>
                      </a:lnTo>
                      <a:lnTo>
                        <a:pt x="9704" y="167397"/>
                      </a:lnTo>
                      <a:lnTo>
                        <a:pt x="10223" y="165366"/>
                      </a:lnTo>
                      <a:lnTo>
                        <a:pt x="11939" y="162334"/>
                      </a:lnTo>
                      <a:lnTo>
                        <a:pt x="12583" y="160473"/>
                      </a:lnTo>
                      <a:lnTo>
                        <a:pt x="12726" y="158594"/>
                      </a:lnTo>
                      <a:lnTo>
                        <a:pt x="12032" y="155904"/>
                      </a:lnTo>
                      <a:lnTo>
                        <a:pt x="11386" y="150543"/>
                      </a:lnTo>
                      <a:lnTo>
                        <a:pt x="8391" y="140708"/>
                      </a:lnTo>
                      <a:lnTo>
                        <a:pt x="9698" y="133587"/>
                      </a:lnTo>
                      <a:lnTo>
                        <a:pt x="13376" y="127499"/>
                      </a:lnTo>
                      <a:lnTo>
                        <a:pt x="16285" y="121065"/>
                      </a:lnTo>
                      <a:lnTo>
                        <a:pt x="15288" y="112924"/>
                      </a:lnTo>
                      <a:lnTo>
                        <a:pt x="12267" y="107134"/>
                      </a:lnTo>
                      <a:lnTo>
                        <a:pt x="11200" y="104298"/>
                      </a:lnTo>
                      <a:lnTo>
                        <a:pt x="10324" y="97753"/>
                      </a:lnTo>
                      <a:lnTo>
                        <a:pt x="6528" y="88647"/>
                      </a:lnTo>
                      <a:lnTo>
                        <a:pt x="5632" y="82768"/>
                      </a:lnTo>
                      <a:lnTo>
                        <a:pt x="4952" y="81246"/>
                      </a:lnTo>
                      <a:lnTo>
                        <a:pt x="4064" y="79807"/>
                      </a:lnTo>
                      <a:lnTo>
                        <a:pt x="3307" y="78260"/>
                      </a:lnTo>
                      <a:lnTo>
                        <a:pt x="2733" y="74879"/>
                      </a:lnTo>
                      <a:lnTo>
                        <a:pt x="2357" y="72633"/>
                      </a:lnTo>
                      <a:lnTo>
                        <a:pt x="985" y="69983"/>
                      </a:lnTo>
                      <a:lnTo>
                        <a:pt x="0" y="67219"/>
                      </a:lnTo>
                      <a:lnTo>
                        <a:pt x="491" y="63162"/>
                      </a:lnTo>
                      <a:lnTo>
                        <a:pt x="9951" y="63214"/>
                      </a:lnTo>
                      <a:lnTo>
                        <a:pt x="39353" y="63358"/>
                      </a:lnTo>
                      <a:lnTo>
                        <a:pt x="68760" y="63476"/>
                      </a:lnTo>
                      <a:lnTo>
                        <a:pt x="98167" y="63569"/>
                      </a:lnTo>
                      <a:lnTo>
                        <a:pt x="127572" y="63636"/>
                      </a:lnTo>
                      <a:lnTo>
                        <a:pt x="156992" y="63678"/>
                      </a:lnTo>
                      <a:lnTo>
                        <a:pt x="186404" y="63693"/>
                      </a:lnTo>
                      <a:lnTo>
                        <a:pt x="215810" y="63683"/>
                      </a:lnTo>
                      <a:lnTo>
                        <a:pt x="245215" y="63647"/>
                      </a:lnTo>
                      <a:lnTo>
                        <a:pt x="274626" y="63586"/>
                      </a:lnTo>
                      <a:lnTo>
                        <a:pt x="275771" y="63181"/>
                      </a:lnTo>
                      <a:lnTo>
                        <a:pt x="276651" y="62149"/>
                      </a:lnTo>
                      <a:lnTo>
                        <a:pt x="276977" y="60351"/>
                      </a:lnTo>
                      <a:lnTo>
                        <a:pt x="276795" y="43855"/>
                      </a:lnTo>
                      <a:lnTo>
                        <a:pt x="276586" y="24645"/>
                      </a:lnTo>
                      <a:lnTo>
                        <a:pt x="276418" y="9524"/>
                      </a:lnTo>
                      <a:lnTo>
                        <a:pt x="276307" y="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Freeform 11">
                  <a:extLst>
                    <a:ext uri="{FF2B5EF4-FFF2-40B4-BE49-F238E27FC236}">
                      <a16:creationId xmlns:a16="http://schemas.microsoft.com/office/drawing/2014/main" id="{FA61472B-B765-4D35-8B1D-713A670E23B0}"/>
                    </a:ext>
                  </a:extLst>
                </p:cNvPr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1441709" y="3208191"/>
                  <a:ext cx="1100034" cy="55566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27024" h="821866">
                      <a:moveTo>
                        <a:pt x="1627023" y="91728"/>
                      </a:moveTo>
                      <a:lnTo>
                        <a:pt x="1623834" y="123906"/>
                      </a:lnTo>
                      <a:lnTo>
                        <a:pt x="1620890" y="152131"/>
                      </a:lnTo>
                      <a:lnTo>
                        <a:pt x="1617960" y="180374"/>
                      </a:lnTo>
                      <a:lnTo>
                        <a:pt x="1615041" y="208637"/>
                      </a:lnTo>
                      <a:lnTo>
                        <a:pt x="1612132" y="236922"/>
                      </a:lnTo>
                      <a:lnTo>
                        <a:pt x="1609235" y="265226"/>
                      </a:lnTo>
                      <a:lnTo>
                        <a:pt x="1606348" y="293546"/>
                      </a:lnTo>
                      <a:lnTo>
                        <a:pt x="1603472" y="321883"/>
                      </a:lnTo>
                      <a:lnTo>
                        <a:pt x="1600608" y="350239"/>
                      </a:lnTo>
                      <a:lnTo>
                        <a:pt x="1597754" y="378614"/>
                      </a:lnTo>
                      <a:lnTo>
                        <a:pt x="1594911" y="407008"/>
                      </a:lnTo>
                      <a:lnTo>
                        <a:pt x="1592078" y="435420"/>
                      </a:lnTo>
                      <a:lnTo>
                        <a:pt x="1589257" y="463849"/>
                      </a:lnTo>
                      <a:lnTo>
                        <a:pt x="1586446" y="492299"/>
                      </a:lnTo>
                      <a:lnTo>
                        <a:pt x="1583646" y="520765"/>
                      </a:lnTo>
                      <a:lnTo>
                        <a:pt x="1580857" y="549251"/>
                      </a:lnTo>
                      <a:lnTo>
                        <a:pt x="1578078" y="577757"/>
                      </a:lnTo>
                      <a:lnTo>
                        <a:pt x="1575106" y="610360"/>
                      </a:lnTo>
                      <a:lnTo>
                        <a:pt x="1573413" y="628921"/>
                      </a:lnTo>
                      <a:lnTo>
                        <a:pt x="1571730" y="647494"/>
                      </a:lnTo>
                      <a:lnTo>
                        <a:pt x="1570050" y="666070"/>
                      </a:lnTo>
                      <a:lnTo>
                        <a:pt x="1568374" y="684655"/>
                      </a:lnTo>
                      <a:lnTo>
                        <a:pt x="1566703" y="703246"/>
                      </a:lnTo>
                      <a:lnTo>
                        <a:pt x="1565039" y="721854"/>
                      </a:lnTo>
                      <a:lnTo>
                        <a:pt x="1563375" y="740451"/>
                      </a:lnTo>
                      <a:lnTo>
                        <a:pt x="1561706" y="759754"/>
                      </a:lnTo>
                      <a:lnTo>
                        <a:pt x="1560785" y="769633"/>
                      </a:lnTo>
                      <a:lnTo>
                        <a:pt x="1560482" y="771779"/>
                      </a:lnTo>
                      <a:lnTo>
                        <a:pt x="1558030" y="771675"/>
                      </a:lnTo>
                      <a:lnTo>
                        <a:pt x="1545400" y="771295"/>
                      </a:lnTo>
                      <a:lnTo>
                        <a:pt x="1530010" y="770825"/>
                      </a:lnTo>
                      <a:lnTo>
                        <a:pt x="1514620" y="770349"/>
                      </a:lnTo>
                      <a:lnTo>
                        <a:pt x="1499240" y="769866"/>
                      </a:lnTo>
                      <a:lnTo>
                        <a:pt x="1483861" y="769378"/>
                      </a:lnTo>
                      <a:lnTo>
                        <a:pt x="1468478" y="768884"/>
                      </a:lnTo>
                      <a:lnTo>
                        <a:pt x="1453092" y="768384"/>
                      </a:lnTo>
                      <a:lnTo>
                        <a:pt x="1437718" y="767877"/>
                      </a:lnTo>
                      <a:lnTo>
                        <a:pt x="1422343" y="767364"/>
                      </a:lnTo>
                      <a:lnTo>
                        <a:pt x="1406967" y="766845"/>
                      </a:lnTo>
                      <a:lnTo>
                        <a:pt x="1391595" y="766320"/>
                      </a:lnTo>
                      <a:lnTo>
                        <a:pt x="1376225" y="765789"/>
                      </a:lnTo>
                      <a:lnTo>
                        <a:pt x="1360854" y="765251"/>
                      </a:lnTo>
                      <a:lnTo>
                        <a:pt x="1345485" y="764707"/>
                      </a:lnTo>
                      <a:lnTo>
                        <a:pt x="1330120" y="764158"/>
                      </a:lnTo>
                      <a:lnTo>
                        <a:pt x="1314758" y="763602"/>
                      </a:lnTo>
                      <a:lnTo>
                        <a:pt x="1299392" y="763040"/>
                      </a:lnTo>
                      <a:lnTo>
                        <a:pt x="1284033" y="762471"/>
                      </a:lnTo>
                      <a:lnTo>
                        <a:pt x="1268676" y="761897"/>
                      </a:lnTo>
                      <a:lnTo>
                        <a:pt x="1253319" y="761317"/>
                      </a:lnTo>
                      <a:lnTo>
                        <a:pt x="1237970" y="760730"/>
                      </a:lnTo>
                      <a:lnTo>
                        <a:pt x="1222613" y="760137"/>
                      </a:lnTo>
                      <a:lnTo>
                        <a:pt x="1207262" y="759538"/>
                      </a:lnTo>
                      <a:lnTo>
                        <a:pt x="1191919" y="758933"/>
                      </a:lnTo>
                      <a:lnTo>
                        <a:pt x="1176575" y="758321"/>
                      </a:lnTo>
                      <a:lnTo>
                        <a:pt x="1161232" y="757704"/>
                      </a:lnTo>
                      <a:lnTo>
                        <a:pt x="1145887" y="757080"/>
                      </a:lnTo>
                      <a:lnTo>
                        <a:pt x="1130549" y="756450"/>
                      </a:lnTo>
                      <a:lnTo>
                        <a:pt x="1115221" y="755814"/>
                      </a:lnTo>
                      <a:lnTo>
                        <a:pt x="1099880" y="755172"/>
                      </a:lnTo>
                      <a:lnTo>
                        <a:pt x="1084546" y="754524"/>
                      </a:lnTo>
                      <a:lnTo>
                        <a:pt x="1069220" y="753878"/>
                      </a:lnTo>
                      <a:lnTo>
                        <a:pt x="1053893" y="753221"/>
                      </a:lnTo>
                      <a:lnTo>
                        <a:pt x="1038568" y="752555"/>
                      </a:lnTo>
                      <a:lnTo>
                        <a:pt x="1023244" y="751881"/>
                      </a:lnTo>
                      <a:lnTo>
                        <a:pt x="1007924" y="751202"/>
                      </a:lnTo>
                      <a:lnTo>
                        <a:pt x="992611" y="750517"/>
                      </a:lnTo>
                      <a:lnTo>
                        <a:pt x="977289" y="749825"/>
                      </a:lnTo>
                      <a:lnTo>
                        <a:pt x="961973" y="749127"/>
                      </a:lnTo>
                      <a:lnTo>
                        <a:pt x="946667" y="748423"/>
                      </a:lnTo>
                      <a:lnTo>
                        <a:pt x="931360" y="747712"/>
                      </a:lnTo>
                      <a:lnTo>
                        <a:pt x="916054" y="746996"/>
                      </a:lnTo>
                      <a:lnTo>
                        <a:pt x="900745" y="746273"/>
                      </a:lnTo>
                      <a:lnTo>
                        <a:pt x="885446" y="745544"/>
                      </a:lnTo>
                      <a:lnTo>
                        <a:pt x="870147" y="744809"/>
                      </a:lnTo>
                      <a:lnTo>
                        <a:pt x="854850" y="744067"/>
                      </a:lnTo>
                      <a:lnTo>
                        <a:pt x="839561" y="743319"/>
                      </a:lnTo>
                      <a:lnTo>
                        <a:pt x="824264" y="742565"/>
                      </a:lnTo>
                      <a:lnTo>
                        <a:pt x="808974" y="741806"/>
                      </a:lnTo>
                      <a:lnTo>
                        <a:pt x="793693" y="741040"/>
                      </a:lnTo>
                      <a:lnTo>
                        <a:pt x="778408" y="740267"/>
                      </a:lnTo>
                      <a:lnTo>
                        <a:pt x="763122" y="739488"/>
                      </a:lnTo>
                      <a:lnTo>
                        <a:pt x="747849" y="738703"/>
                      </a:lnTo>
                      <a:lnTo>
                        <a:pt x="732572" y="737912"/>
                      </a:lnTo>
                      <a:lnTo>
                        <a:pt x="717297" y="737114"/>
                      </a:lnTo>
                      <a:lnTo>
                        <a:pt x="702033" y="736310"/>
                      </a:lnTo>
                      <a:lnTo>
                        <a:pt x="686767" y="735501"/>
                      </a:lnTo>
                      <a:lnTo>
                        <a:pt x="671502" y="734684"/>
                      </a:lnTo>
                      <a:lnTo>
                        <a:pt x="656238" y="733862"/>
                      </a:lnTo>
                      <a:lnTo>
                        <a:pt x="640985" y="733034"/>
                      </a:lnTo>
                      <a:lnTo>
                        <a:pt x="625734" y="732199"/>
                      </a:lnTo>
                      <a:lnTo>
                        <a:pt x="610477" y="731358"/>
                      </a:lnTo>
                      <a:lnTo>
                        <a:pt x="595225" y="730510"/>
                      </a:lnTo>
                      <a:lnTo>
                        <a:pt x="579983" y="729656"/>
                      </a:lnTo>
                      <a:lnTo>
                        <a:pt x="572892" y="729257"/>
                      </a:lnTo>
                      <a:lnTo>
                        <a:pt x="572406" y="732051"/>
                      </a:lnTo>
                      <a:lnTo>
                        <a:pt x="571485" y="737277"/>
                      </a:lnTo>
                      <a:lnTo>
                        <a:pt x="570576" y="742504"/>
                      </a:lnTo>
                      <a:lnTo>
                        <a:pt x="569661" y="747736"/>
                      </a:lnTo>
                      <a:lnTo>
                        <a:pt x="568749" y="752963"/>
                      </a:lnTo>
                      <a:lnTo>
                        <a:pt x="567839" y="758189"/>
                      </a:lnTo>
                      <a:lnTo>
                        <a:pt x="566926" y="763418"/>
                      </a:lnTo>
                      <a:lnTo>
                        <a:pt x="566014" y="768643"/>
                      </a:lnTo>
                      <a:lnTo>
                        <a:pt x="565105" y="773878"/>
                      </a:lnTo>
                      <a:lnTo>
                        <a:pt x="564197" y="779110"/>
                      </a:lnTo>
                      <a:lnTo>
                        <a:pt x="563287" y="784338"/>
                      </a:lnTo>
                      <a:lnTo>
                        <a:pt x="562374" y="789566"/>
                      </a:lnTo>
                      <a:lnTo>
                        <a:pt x="561470" y="794807"/>
                      </a:lnTo>
                      <a:lnTo>
                        <a:pt x="560563" y="800033"/>
                      </a:lnTo>
                      <a:lnTo>
                        <a:pt x="559654" y="805271"/>
                      </a:lnTo>
                      <a:lnTo>
                        <a:pt x="558746" y="810511"/>
                      </a:lnTo>
                      <a:lnTo>
                        <a:pt x="557847" y="815742"/>
                      </a:lnTo>
                      <a:lnTo>
                        <a:pt x="551910" y="813885"/>
                      </a:lnTo>
                      <a:lnTo>
                        <a:pt x="549876" y="812271"/>
                      </a:lnTo>
                      <a:lnTo>
                        <a:pt x="546589" y="807536"/>
                      </a:lnTo>
                      <a:lnTo>
                        <a:pt x="544796" y="803746"/>
                      </a:lnTo>
                      <a:lnTo>
                        <a:pt x="543281" y="801664"/>
                      </a:lnTo>
                      <a:lnTo>
                        <a:pt x="541938" y="800492"/>
                      </a:lnTo>
                      <a:lnTo>
                        <a:pt x="539948" y="799373"/>
                      </a:lnTo>
                      <a:lnTo>
                        <a:pt x="538998" y="798610"/>
                      </a:lnTo>
                      <a:lnTo>
                        <a:pt x="538330" y="797858"/>
                      </a:lnTo>
                      <a:lnTo>
                        <a:pt x="538033" y="797085"/>
                      </a:lnTo>
                      <a:lnTo>
                        <a:pt x="537848" y="796276"/>
                      </a:lnTo>
                      <a:lnTo>
                        <a:pt x="537719" y="795355"/>
                      </a:lnTo>
                      <a:lnTo>
                        <a:pt x="537956" y="793342"/>
                      </a:lnTo>
                      <a:lnTo>
                        <a:pt x="538188" y="792169"/>
                      </a:lnTo>
                      <a:lnTo>
                        <a:pt x="538275" y="791031"/>
                      </a:lnTo>
                      <a:lnTo>
                        <a:pt x="538037" y="789773"/>
                      </a:lnTo>
                      <a:lnTo>
                        <a:pt x="537346" y="788935"/>
                      </a:lnTo>
                      <a:lnTo>
                        <a:pt x="536380" y="788251"/>
                      </a:lnTo>
                      <a:lnTo>
                        <a:pt x="535091" y="787567"/>
                      </a:lnTo>
                      <a:lnTo>
                        <a:pt x="534589" y="786863"/>
                      </a:lnTo>
                      <a:lnTo>
                        <a:pt x="533832" y="784602"/>
                      </a:lnTo>
                      <a:lnTo>
                        <a:pt x="529554" y="776308"/>
                      </a:lnTo>
                      <a:lnTo>
                        <a:pt x="528737" y="773297"/>
                      </a:lnTo>
                      <a:lnTo>
                        <a:pt x="527511" y="772190"/>
                      </a:lnTo>
                      <a:lnTo>
                        <a:pt x="522860" y="769413"/>
                      </a:lnTo>
                      <a:lnTo>
                        <a:pt x="521155" y="768887"/>
                      </a:lnTo>
                      <a:lnTo>
                        <a:pt x="519934" y="768872"/>
                      </a:lnTo>
                      <a:lnTo>
                        <a:pt x="519184" y="769411"/>
                      </a:lnTo>
                      <a:lnTo>
                        <a:pt x="517231" y="771738"/>
                      </a:lnTo>
                      <a:lnTo>
                        <a:pt x="516348" y="772338"/>
                      </a:lnTo>
                      <a:lnTo>
                        <a:pt x="515194" y="772654"/>
                      </a:lnTo>
                      <a:lnTo>
                        <a:pt x="511048" y="772908"/>
                      </a:lnTo>
                      <a:lnTo>
                        <a:pt x="510049" y="773148"/>
                      </a:lnTo>
                      <a:lnTo>
                        <a:pt x="508206" y="773960"/>
                      </a:lnTo>
                      <a:lnTo>
                        <a:pt x="506638" y="775123"/>
                      </a:lnTo>
                      <a:lnTo>
                        <a:pt x="506086" y="775924"/>
                      </a:lnTo>
                      <a:lnTo>
                        <a:pt x="505772" y="776782"/>
                      </a:lnTo>
                      <a:lnTo>
                        <a:pt x="505893" y="777580"/>
                      </a:lnTo>
                      <a:lnTo>
                        <a:pt x="506232" y="778329"/>
                      </a:lnTo>
                      <a:lnTo>
                        <a:pt x="506664" y="779000"/>
                      </a:lnTo>
                      <a:lnTo>
                        <a:pt x="507015" y="779760"/>
                      </a:lnTo>
                      <a:lnTo>
                        <a:pt x="507215" y="780545"/>
                      </a:lnTo>
                      <a:lnTo>
                        <a:pt x="507226" y="781544"/>
                      </a:lnTo>
                      <a:lnTo>
                        <a:pt x="507001" y="782564"/>
                      </a:lnTo>
                      <a:lnTo>
                        <a:pt x="506578" y="783539"/>
                      </a:lnTo>
                      <a:lnTo>
                        <a:pt x="505900" y="784231"/>
                      </a:lnTo>
                      <a:lnTo>
                        <a:pt x="505113" y="784721"/>
                      </a:lnTo>
                      <a:lnTo>
                        <a:pt x="501141" y="785772"/>
                      </a:lnTo>
                      <a:lnTo>
                        <a:pt x="500359" y="786271"/>
                      </a:lnTo>
                      <a:lnTo>
                        <a:pt x="499820" y="787034"/>
                      </a:lnTo>
                      <a:lnTo>
                        <a:pt x="499313" y="788838"/>
                      </a:lnTo>
                      <a:lnTo>
                        <a:pt x="498932" y="789594"/>
                      </a:lnTo>
                      <a:lnTo>
                        <a:pt x="497575" y="791496"/>
                      </a:lnTo>
                      <a:lnTo>
                        <a:pt x="497135" y="792448"/>
                      </a:lnTo>
                      <a:lnTo>
                        <a:pt x="496782" y="793491"/>
                      </a:lnTo>
                      <a:lnTo>
                        <a:pt x="496649" y="794482"/>
                      </a:lnTo>
                      <a:lnTo>
                        <a:pt x="496606" y="795428"/>
                      </a:lnTo>
                      <a:lnTo>
                        <a:pt x="496755" y="797210"/>
                      </a:lnTo>
                      <a:lnTo>
                        <a:pt x="496887" y="797957"/>
                      </a:lnTo>
                      <a:lnTo>
                        <a:pt x="497090" y="798440"/>
                      </a:lnTo>
                      <a:lnTo>
                        <a:pt x="497423" y="798966"/>
                      </a:lnTo>
                      <a:lnTo>
                        <a:pt x="497945" y="799510"/>
                      </a:lnTo>
                      <a:lnTo>
                        <a:pt x="498722" y="799985"/>
                      </a:lnTo>
                      <a:lnTo>
                        <a:pt x="501793" y="801160"/>
                      </a:lnTo>
                      <a:lnTo>
                        <a:pt x="502482" y="801705"/>
                      </a:lnTo>
                      <a:lnTo>
                        <a:pt x="502801" y="802421"/>
                      </a:lnTo>
                      <a:lnTo>
                        <a:pt x="502665" y="803153"/>
                      </a:lnTo>
                      <a:lnTo>
                        <a:pt x="501700" y="803655"/>
                      </a:lnTo>
                      <a:lnTo>
                        <a:pt x="500259" y="803908"/>
                      </a:lnTo>
                      <a:lnTo>
                        <a:pt x="497803" y="804001"/>
                      </a:lnTo>
                      <a:lnTo>
                        <a:pt x="496515" y="803816"/>
                      </a:lnTo>
                      <a:lnTo>
                        <a:pt x="495695" y="803565"/>
                      </a:lnTo>
                      <a:lnTo>
                        <a:pt x="494166" y="802350"/>
                      </a:lnTo>
                      <a:lnTo>
                        <a:pt x="490127" y="800246"/>
                      </a:lnTo>
                      <a:lnTo>
                        <a:pt x="488462" y="799827"/>
                      </a:lnTo>
                      <a:lnTo>
                        <a:pt x="473112" y="798840"/>
                      </a:lnTo>
                      <a:lnTo>
                        <a:pt x="471010" y="798977"/>
                      </a:lnTo>
                      <a:lnTo>
                        <a:pt x="464014" y="802402"/>
                      </a:lnTo>
                      <a:lnTo>
                        <a:pt x="463085" y="802756"/>
                      </a:lnTo>
                      <a:lnTo>
                        <a:pt x="460602" y="803087"/>
                      </a:lnTo>
                      <a:lnTo>
                        <a:pt x="457665" y="803141"/>
                      </a:lnTo>
                      <a:lnTo>
                        <a:pt x="456375" y="803406"/>
                      </a:lnTo>
                      <a:lnTo>
                        <a:pt x="453332" y="804436"/>
                      </a:lnTo>
                      <a:lnTo>
                        <a:pt x="451999" y="804430"/>
                      </a:lnTo>
                      <a:lnTo>
                        <a:pt x="451023" y="804083"/>
                      </a:lnTo>
                      <a:lnTo>
                        <a:pt x="450403" y="803476"/>
                      </a:lnTo>
                      <a:lnTo>
                        <a:pt x="450018" y="802739"/>
                      </a:lnTo>
                      <a:lnTo>
                        <a:pt x="449726" y="801973"/>
                      </a:lnTo>
                      <a:lnTo>
                        <a:pt x="448885" y="800511"/>
                      </a:lnTo>
                      <a:lnTo>
                        <a:pt x="448036" y="799755"/>
                      </a:lnTo>
                      <a:lnTo>
                        <a:pt x="446817" y="799002"/>
                      </a:lnTo>
                      <a:lnTo>
                        <a:pt x="444446" y="798004"/>
                      </a:lnTo>
                      <a:lnTo>
                        <a:pt x="438546" y="797459"/>
                      </a:lnTo>
                      <a:lnTo>
                        <a:pt x="437233" y="797573"/>
                      </a:lnTo>
                      <a:lnTo>
                        <a:pt x="436165" y="797850"/>
                      </a:lnTo>
                      <a:lnTo>
                        <a:pt x="435329" y="798324"/>
                      </a:lnTo>
                      <a:lnTo>
                        <a:pt x="434222" y="798795"/>
                      </a:lnTo>
                      <a:lnTo>
                        <a:pt x="432664" y="799128"/>
                      </a:lnTo>
                      <a:lnTo>
                        <a:pt x="429937" y="799341"/>
                      </a:lnTo>
                      <a:lnTo>
                        <a:pt x="427729" y="798955"/>
                      </a:lnTo>
                      <a:lnTo>
                        <a:pt x="413914" y="800320"/>
                      </a:lnTo>
                      <a:lnTo>
                        <a:pt x="412608" y="800093"/>
                      </a:lnTo>
                      <a:lnTo>
                        <a:pt x="409398" y="798636"/>
                      </a:lnTo>
                      <a:lnTo>
                        <a:pt x="405543" y="797524"/>
                      </a:lnTo>
                      <a:lnTo>
                        <a:pt x="402962" y="797152"/>
                      </a:lnTo>
                      <a:lnTo>
                        <a:pt x="399788" y="797072"/>
                      </a:lnTo>
                      <a:lnTo>
                        <a:pt x="398233" y="796842"/>
                      </a:lnTo>
                      <a:lnTo>
                        <a:pt x="397196" y="796405"/>
                      </a:lnTo>
                      <a:lnTo>
                        <a:pt x="395392" y="794819"/>
                      </a:lnTo>
                      <a:lnTo>
                        <a:pt x="393506" y="793866"/>
                      </a:lnTo>
                      <a:lnTo>
                        <a:pt x="392273" y="793792"/>
                      </a:lnTo>
                      <a:lnTo>
                        <a:pt x="391259" y="794110"/>
                      </a:lnTo>
                      <a:lnTo>
                        <a:pt x="389798" y="795209"/>
                      </a:lnTo>
                      <a:lnTo>
                        <a:pt x="389061" y="795625"/>
                      </a:lnTo>
                      <a:lnTo>
                        <a:pt x="387920" y="795990"/>
                      </a:lnTo>
                      <a:lnTo>
                        <a:pt x="384228" y="796558"/>
                      </a:lnTo>
                      <a:lnTo>
                        <a:pt x="381854" y="797253"/>
                      </a:lnTo>
                      <a:lnTo>
                        <a:pt x="380054" y="798009"/>
                      </a:lnTo>
                      <a:lnTo>
                        <a:pt x="379223" y="798512"/>
                      </a:lnTo>
                      <a:lnTo>
                        <a:pt x="378529" y="799142"/>
                      </a:lnTo>
                      <a:lnTo>
                        <a:pt x="377910" y="799987"/>
                      </a:lnTo>
                      <a:lnTo>
                        <a:pt x="376114" y="803992"/>
                      </a:lnTo>
                      <a:lnTo>
                        <a:pt x="372589" y="809576"/>
                      </a:lnTo>
                      <a:lnTo>
                        <a:pt x="371617" y="810373"/>
                      </a:lnTo>
                      <a:lnTo>
                        <a:pt x="370296" y="811004"/>
                      </a:lnTo>
                      <a:lnTo>
                        <a:pt x="367930" y="811573"/>
                      </a:lnTo>
                      <a:lnTo>
                        <a:pt x="366357" y="811578"/>
                      </a:lnTo>
                      <a:lnTo>
                        <a:pt x="365190" y="811273"/>
                      </a:lnTo>
                      <a:lnTo>
                        <a:pt x="364452" y="810705"/>
                      </a:lnTo>
                      <a:lnTo>
                        <a:pt x="363920" y="810033"/>
                      </a:lnTo>
                      <a:lnTo>
                        <a:pt x="363116" y="809243"/>
                      </a:lnTo>
                      <a:lnTo>
                        <a:pt x="362057" y="808449"/>
                      </a:lnTo>
                      <a:lnTo>
                        <a:pt x="359470" y="807640"/>
                      </a:lnTo>
                      <a:lnTo>
                        <a:pt x="357439" y="807460"/>
                      </a:lnTo>
                      <a:lnTo>
                        <a:pt x="353441" y="807701"/>
                      </a:lnTo>
                      <a:lnTo>
                        <a:pt x="352589" y="807542"/>
                      </a:lnTo>
                      <a:lnTo>
                        <a:pt x="351555" y="806384"/>
                      </a:lnTo>
                      <a:lnTo>
                        <a:pt x="350893" y="805798"/>
                      </a:lnTo>
                      <a:lnTo>
                        <a:pt x="350059" y="805304"/>
                      </a:lnTo>
                      <a:lnTo>
                        <a:pt x="333182" y="802338"/>
                      </a:lnTo>
                      <a:lnTo>
                        <a:pt x="328616" y="800930"/>
                      </a:lnTo>
                      <a:lnTo>
                        <a:pt x="327098" y="800857"/>
                      </a:lnTo>
                      <a:lnTo>
                        <a:pt x="325890" y="800999"/>
                      </a:lnTo>
                      <a:lnTo>
                        <a:pt x="323147" y="802299"/>
                      </a:lnTo>
                      <a:lnTo>
                        <a:pt x="322234" y="802575"/>
                      </a:lnTo>
                      <a:lnTo>
                        <a:pt x="318043" y="803231"/>
                      </a:lnTo>
                      <a:lnTo>
                        <a:pt x="317147" y="803648"/>
                      </a:lnTo>
                      <a:lnTo>
                        <a:pt x="307697" y="810371"/>
                      </a:lnTo>
                      <a:lnTo>
                        <a:pt x="306961" y="811021"/>
                      </a:lnTo>
                      <a:lnTo>
                        <a:pt x="306275" y="811753"/>
                      </a:lnTo>
                      <a:lnTo>
                        <a:pt x="305672" y="812556"/>
                      </a:lnTo>
                      <a:lnTo>
                        <a:pt x="305266" y="813444"/>
                      </a:lnTo>
                      <a:lnTo>
                        <a:pt x="305092" y="814431"/>
                      </a:lnTo>
                      <a:lnTo>
                        <a:pt x="305248" y="815285"/>
                      </a:lnTo>
                      <a:lnTo>
                        <a:pt x="306963" y="819128"/>
                      </a:lnTo>
                      <a:lnTo>
                        <a:pt x="306656" y="820081"/>
                      </a:lnTo>
                      <a:lnTo>
                        <a:pt x="305857" y="820987"/>
                      </a:lnTo>
                      <a:lnTo>
                        <a:pt x="303381" y="821865"/>
                      </a:lnTo>
                      <a:lnTo>
                        <a:pt x="302162" y="821725"/>
                      </a:lnTo>
                      <a:lnTo>
                        <a:pt x="301353" y="821205"/>
                      </a:lnTo>
                      <a:lnTo>
                        <a:pt x="298883" y="816844"/>
                      </a:lnTo>
                      <a:lnTo>
                        <a:pt x="298333" y="816213"/>
                      </a:lnTo>
                      <a:lnTo>
                        <a:pt x="297577" y="815688"/>
                      </a:lnTo>
                      <a:lnTo>
                        <a:pt x="291654" y="813521"/>
                      </a:lnTo>
                      <a:lnTo>
                        <a:pt x="290727" y="812900"/>
                      </a:lnTo>
                      <a:lnTo>
                        <a:pt x="290129" y="812303"/>
                      </a:lnTo>
                      <a:lnTo>
                        <a:pt x="288462" y="809366"/>
                      </a:lnTo>
                      <a:lnTo>
                        <a:pt x="287733" y="808565"/>
                      </a:lnTo>
                      <a:lnTo>
                        <a:pt x="286660" y="807751"/>
                      </a:lnTo>
                      <a:lnTo>
                        <a:pt x="284459" y="806819"/>
                      </a:lnTo>
                      <a:lnTo>
                        <a:pt x="283367" y="806046"/>
                      </a:lnTo>
                      <a:lnTo>
                        <a:pt x="282946" y="805098"/>
                      </a:lnTo>
                      <a:lnTo>
                        <a:pt x="283210" y="803102"/>
                      </a:lnTo>
                      <a:lnTo>
                        <a:pt x="283162" y="802331"/>
                      </a:lnTo>
                      <a:lnTo>
                        <a:pt x="282299" y="799952"/>
                      </a:lnTo>
                      <a:lnTo>
                        <a:pt x="282309" y="799215"/>
                      </a:lnTo>
                      <a:lnTo>
                        <a:pt x="282435" y="798727"/>
                      </a:lnTo>
                      <a:lnTo>
                        <a:pt x="283296" y="797182"/>
                      </a:lnTo>
                      <a:lnTo>
                        <a:pt x="285143" y="794574"/>
                      </a:lnTo>
                      <a:lnTo>
                        <a:pt x="285511" y="793676"/>
                      </a:lnTo>
                      <a:lnTo>
                        <a:pt x="285269" y="792688"/>
                      </a:lnTo>
                      <a:lnTo>
                        <a:pt x="284441" y="791749"/>
                      </a:lnTo>
                      <a:lnTo>
                        <a:pt x="282416" y="790555"/>
                      </a:lnTo>
                      <a:lnTo>
                        <a:pt x="281366" y="789703"/>
                      </a:lnTo>
                      <a:lnTo>
                        <a:pt x="280841" y="788796"/>
                      </a:lnTo>
                      <a:lnTo>
                        <a:pt x="281202" y="786832"/>
                      </a:lnTo>
                      <a:lnTo>
                        <a:pt x="281178" y="785938"/>
                      </a:lnTo>
                      <a:lnTo>
                        <a:pt x="280914" y="785133"/>
                      </a:lnTo>
                      <a:lnTo>
                        <a:pt x="277846" y="781130"/>
                      </a:lnTo>
                      <a:lnTo>
                        <a:pt x="277507" y="780396"/>
                      </a:lnTo>
                      <a:lnTo>
                        <a:pt x="277476" y="779593"/>
                      </a:lnTo>
                      <a:lnTo>
                        <a:pt x="277725" y="778760"/>
                      </a:lnTo>
                      <a:lnTo>
                        <a:pt x="278357" y="778024"/>
                      </a:lnTo>
                      <a:lnTo>
                        <a:pt x="279089" y="777401"/>
                      </a:lnTo>
                      <a:lnTo>
                        <a:pt x="280747" y="776424"/>
                      </a:lnTo>
                      <a:lnTo>
                        <a:pt x="281513" y="775820"/>
                      </a:lnTo>
                      <a:lnTo>
                        <a:pt x="282096" y="775073"/>
                      </a:lnTo>
                      <a:lnTo>
                        <a:pt x="282362" y="774169"/>
                      </a:lnTo>
                      <a:lnTo>
                        <a:pt x="282375" y="773287"/>
                      </a:lnTo>
                      <a:lnTo>
                        <a:pt x="282250" y="772414"/>
                      </a:lnTo>
                      <a:lnTo>
                        <a:pt x="281705" y="770819"/>
                      </a:lnTo>
                      <a:lnTo>
                        <a:pt x="280581" y="768581"/>
                      </a:lnTo>
                      <a:lnTo>
                        <a:pt x="280287" y="767782"/>
                      </a:lnTo>
                      <a:lnTo>
                        <a:pt x="279813" y="765169"/>
                      </a:lnTo>
                      <a:lnTo>
                        <a:pt x="279589" y="764332"/>
                      </a:lnTo>
                      <a:lnTo>
                        <a:pt x="279247" y="763568"/>
                      </a:lnTo>
                      <a:lnTo>
                        <a:pt x="278315" y="762225"/>
                      </a:lnTo>
                      <a:lnTo>
                        <a:pt x="277933" y="761468"/>
                      </a:lnTo>
                      <a:lnTo>
                        <a:pt x="277714" y="760674"/>
                      </a:lnTo>
                      <a:lnTo>
                        <a:pt x="277555" y="759785"/>
                      </a:lnTo>
                      <a:lnTo>
                        <a:pt x="277546" y="758877"/>
                      </a:lnTo>
                      <a:lnTo>
                        <a:pt x="277426" y="758008"/>
                      </a:lnTo>
                      <a:lnTo>
                        <a:pt x="277187" y="757200"/>
                      </a:lnTo>
                      <a:lnTo>
                        <a:pt x="276813" y="756473"/>
                      </a:lnTo>
                      <a:lnTo>
                        <a:pt x="275140" y="754549"/>
                      </a:lnTo>
                      <a:lnTo>
                        <a:pt x="274683" y="753847"/>
                      </a:lnTo>
                      <a:lnTo>
                        <a:pt x="273366" y="750829"/>
                      </a:lnTo>
                      <a:lnTo>
                        <a:pt x="272955" y="750100"/>
                      </a:lnTo>
                      <a:lnTo>
                        <a:pt x="270798" y="747471"/>
                      </a:lnTo>
                      <a:lnTo>
                        <a:pt x="268031" y="744902"/>
                      </a:lnTo>
                      <a:lnTo>
                        <a:pt x="264688" y="742965"/>
                      </a:lnTo>
                      <a:lnTo>
                        <a:pt x="261587" y="742014"/>
                      </a:lnTo>
                      <a:lnTo>
                        <a:pt x="259174" y="741811"/>
                      </a:lnTo>
                      <a:lnTo>
                        <a:pt x="258159" y="742019"/>
                      </a:lnTo>
                      <a:lnTo>
                        <a:pt x="257217" y="742337"/>
                      </a:lnTo>
                      <a:lnTo>
                        <a:pt x="256354" y="742745"/>
                      </a:lnTo>
                      <a:lnTo>
                        <a:pt x="253131" y="744902"/>
                      </a:lnTo>
                      <a:lnTo>
                        <a:pt x="251944" y="745414"/>
                      </a:lnTo>
                      <a:lnTo>
                        <a:pt x="250494" y="745708"/>
                      </a:lnTo>
                      <a:lnTo>
                        <a:pt x="247915" y="745750"/>
                      </a:lnTo>
                      <a:lnTo>
                        <a:pt x="246662" y="745319"/>
                      </a:lnTo>
                      <a:lnTo>
                        <a:pt x="246004" y="744594"/>
                      </a:lnTo>
                      <a:lnTo>
                        <a:pt x="246195" y="741651"/>
                      </a:lnTo>
                      <a:lnTo>
                        <a:pt x="246073" y="740773"/>
                      </a:lnTo>
                      <a:lnTo>
                        <a:pt x="245097" y="739733"/>
                      </a:lnTo>
                      <a:lnTo>
                        <a:pt x="243414" y="738571"/>
                      </a:lnTo>
                      <a:lnTo>
                        <a:pt x="237419" y="735399"/>
                      </a:lnTo>
                      <a:lnTo>
                        <a:pt x="235988" y="734142"/>
                      </a:lnTo>
                      <a:lnTo>
                        <a:pt x="235004" y="732568"/>
                      </a:lnTo>
                      <a:lnTo>
                        <a:pt x="234435" y="730991"/>
                      </a:lnTo>
                      <a:lnTo>
                        <a:pt x="233574" y="725869"/>
                      </a:lnTo>
                      <a:lnTo>
                        <a:pt x="233009" y="724293"/>
                      </a:lnTo>
                      <a:lnTo>
                        <a:pt x="232251" y="722840"/>
                      </a:lnTo>
                      <a:lnTo>
                        <a:pt x="231268" y="721518"/>
                      </a:lnTo>
                      <a:lnTo>
                        <a:pt x="230911" y="720748"/>
                      </a:lnTo>
                      <a:lnTo>
                        <a:pt x="230812" y="719937"/>
                      </a:lnTo>
                      <a:lnTo>
                        <a:pt x="231160" y="719120"/>
                      </a:lnTo>
                      <a:lnTo>
                        <a:pt x="231819" y="718506"/>
                      </a:lnTo>
                      <a:lnTo>
                        <a:pt x="232648" y="718075"/>
                      </a:lnTo>
                      <a:lnTo>
                        <a:pt x="235533" y="717122"/>
                      </a:lnTo>
                      <a:lnTo>
                        <a:pt x="236327" y="716621"/>
                      </a:lnTo>
                      <a:lnTo>
                        <a:pt x="237077" y="715928"/>
                      </a:lnTo>
                      <a:lnTo>
                        <a:pt x="237692" y="715086"/>
                      </a:lnTo>
                      <a:lnTo>
                        <a:pt x="238265" y="714156"/>
                      </a:lnTo>
                      <a:lnTo>
                        <a:pt x="239988" y="710033"/>
                      </a:lnTo>
                      <a:lnTo>
                        <a:pt x="240293" y="709004"/>
                      </a:lnTo>
                      <a:lnTo>
                        <a:pt x="240315" y="708793"/>
                      </a:lnTo>
                      <a:lnTo>
                        <a:pt x="240257" y="705998"/>
                      </a:lnTo>
                      <a:lnTo>
                        <a:pt x="240147" y="705117"/>
                      </a:lnTo>
                      <a:lnTo>
                        <a:pt x="238973" y="700096"/>
                      </a:lnTo>
                      <a:lnTo>
                        <a:pt x="238389" y="698498"/>
                      </a:lnTo>
                      <a:lnTo>
                        <a:pt x="235143" y="692565"/>
                      </a:lnTo>
                      <a:lnTo>
                        <a:pt x="234884" y="691781"/>
                      </a:lnTo>
                      <a:lnTo>
                        <a:pt x="234644" y="688680"/>
                      </a:lnTo>
                      <a:lnTo>
                        <a:pt x="233993" y="687303"/>
                      </a:lnTo>
                      <a:lnTo>
                        <a:pt x="233037" y="686788"/>
                      </a:lnTo>
                      <a:lnTo>
                        <a:pt x="228329" y="686565"/>
                      </a:lnTo>
                      <a:lnTo>
                        <a:pt x="227231" y="686105"/>
                      </a:lnTo>
                      <a:lnTo>
                        <a:pt x="226621" y="685395"/>
                      </a:lnTo>
                      <a:lnTo>
                        <a:pt x="226612" y="684478"/>
                      </a:lnTo>
                      <a:lnTo>
                        <a:pt x="226986" y="682385"/>
                      </a:lnTo>
                      <a:lnTo>
                        <a:pt x="226855" y="681525"/>
                      </a:lnTo>
                      <a:lnTo>
                        <a:pt x="226545" y="680780"/>
                      </a:lnTo>
                      <a:lnTo>
                        <a:pt x="225696" y="679321"/>
                      </a:lnTo>
                      <a:lnTo>
                        <a:pt x="225470" y="678493"/>
                      </a:lnTo>
                      <a:lnTo>
                        <a:pt x="225422" y="677578"/>
                      </a:lnTo>
                      <a:lnTo>
                        <a:pt x="225489" y="676611"/>
                      </a:lnTo>
                      <a:lnTo>
                        <a:pt x="225407" y="674820"/>
                      </a:lnTo>
                      <a:lnTo>
                        <a:pt x="225196" y="673975"/>
                      </a:lnTo>
                      <a:lnTo>
                        <a:pt x="224612" y="672424"/>
                      </a:lnTo>
                      <a:lnTo>
                        <a:pt x="223025" y="670312"/>
                      </a:lnTo>
                      <a:lnTo>
                        <a:pt x="221104" y="668607"/>
                      </a:lnTo>
                      <a:lnTo>
                        <a:pt x="218888" y="665553"/>
                      </a:lnTo>
                      <a:lnTo>
                        <a:pt x="216833" y="663621"/>
                      </a:lnTo>
                      <a:lnTo>
                        <a:pt x="216365" y="662721"/>
                      </a:lnTo>
                      <a:lnTo>
                        <a:pt x="216332" y="661812"/>
                      </a:lnTo>
                      <a:lnTo>
                        <a:pt x="216620" y="659892"/>
                      </a:lnTo>
                      <a:lnTo>
                        <a:pt x="216562" y="658934"/>
                      </a:lnTo>
                      <a:lnTo>
                        <a:pt x="216072" y="657977"/>
                      </a:lnTo>
                      <a:lnTo>
                        <a:pt x="215228" y="657000"/>
                      </a:lnTo>
                      <a:lnTo>
                        <a:pt x="212579" y="654717"/>
                      </a:lnTo>
                      <a:lnTo>
                        <a:pt x="211832" y="653870"/>
                      </a:lnTo>
                      <a:lnTo>
                        <a:pt x="211504" y="653111"/>
                      </a:lnTo>
                      <a:lnTo>
                        <a:pt x="211307" y="652267"/>
                      </a:lnTo>
                      <a:lnTo>
                        <a:pt x="211498" y="650295"/>
                      </a:lnTo>
                      <a:lnTo>
                        <a:pt x="211764" y="649273"/>
                      </a:lnTo>
                      <a:lnTo>
                        <a:pt x="212541" y="647205"/>
                      </a:lnTo>
                      <a:lnTo>
                        <a:pt x="213686" y="642954"/>
                      </a:lnTo>
                      <a:lnTo>
                        <a:pt x="214072" y="640867"/>
                      </a:lnTo>
                      <a:lnTo>
                        <a:pt x="213791" y="639703"/>
                      </a:lnTo>
                      <a:lnTo>
                        <a:pt x="212971" y="638459"/>
                      </a:lnTo>
                      <a:lnTo>
                        <a:pt x="209672" y="635323"/>
                      </a:lnTo>
                      <a:lnTo>
                        <a:pt x="209319" y="634094"/>
                      </a:lnTo>
                      <a:lnTo>
                        <a:pt x="209472" y="632149"/>
                      </a:lnTo>
                      <a:lnTo>
                        <a:pt x="209310" y="631308"/>
                      </a:lnTo>
                      <a:lnTo>
                        <a:pt x="209230" y="630425"/>
                      </a:lnTo>
                      <a:lnTo>
                        <a:pt x="209464" y="629410"/>
                      </a:lnTo>
                      <a:lnTo>
                        <a:pt x="209877" y="628429"/>
                      </a:lnTo>
                      <a:lnTo>
                        <a:pt x="210395" y="627502"/>
                      </a:lnTo>
                      <a:lnTo>
                        <a:pt x="211610" y="625775"/>
                      </a:lnTo>
                      <a:lnTo>
                        <a:pt x="212075" y="624839"/>
                      </a:lnTo>
                      <a:lnTo>
                        <a:pt x="212377" y="623864"/>
                      </a:lnTo>
                      <a:lnTo>
                        <a:pt x="212594" y="621039"/>
                      </a:lnTo>
                      <a:lnTo>
                        <a:pt x="212777" y="619973"/>
                      </a:lnTo>
                      <a:lnTo>
                        <a:pt x="212860" y="619758"/>
                      </a:lnTo>
                      <a:lnTo>
                        <a:pt x="212706" y="618555"/>
                      </a:lnTo>
                      <a:lnTo>
                        <a:pt x="211523" y="617244"/>
                      </a:lnTo>
                      <a:lnTo>
                        <a:pt x="207571" y="615247"/>
                      </a:lnTo>
                      <a:lnTo>
                        <a:pt x="206642" y="614315"/>
                      </a:lnTo>
                      <a:lnTo>
                        <a:pt x="206306" y="613284"/>
                      </a:lnTo>
                      <a:lnTo>
                        <a:pt x="206577" y="612229"/>
                      </a:lnTo>
                      <a:lnTo>
                        <a:pt x="207396" y="610041"/>
                      </a:lnTo>
                      <a:lnTo>
                        <a:pt x="208449" y="608111"/>
                      </a:lnTo>
                      <a:lnTo>
                        <a:pt x="209058" y="607281"/>
                      </a:lnTo>
                      <a:lnTo>
                        <a:pt x="210440" y="605885"/>
                      </a:lnTo>
                      <a:lnTo>
                        <a:pt x="211008" y="605119"/>
                      </a:lnTo>
                      <a:lnTo>
                        <a:pt x="211309" y="604216"/>
                      </a:lnTo>
                      <a:lnTo>
                        <a:pt x="211241" y="603232"/>
                      </a:lnTo>
                      <a:lnTo>
                        <a:pt x="210869" y="602211"/>
                      </a:lnTo>
                      <a:lnTo>
                        <a:pt x="209930" y="600891"/>
                      </a:lnTo>
                      <a:lnTo>
                        <a:pt x="209030" y="600127"/>
                      </a:lnTo>
                      <a:lnTo>
                        <a:pt x="208011" y="599551"/>
                      </a:lnTo>
                      <a:lnTo>
                        <a:pt x="201315" y="596850"/>
                      </a:lnTo>
                      <a:lnTo>
                        <a:pt x="199856" y="595920"/>
                      </a:lnTo>
                      <a:lnTo>
                        <a:pt x="199094" y="594939"/>
                      </a:lnTo>
                      <a:lnTo>
                        <a:pt x="199325" y="593026"/>
                      </a:lnTo>
                      <a:lnTo>
                        <a:pt x="199242" y="592135"/>
                      </a:lnTo>
                      <a:lnTo>
                        <a:pt x="198989" y="591343"/>
                      </a:lnTo>
                      <a:lnTo>
                        <a:pt x="196024" y="588326"/>
                      </a:lnTo>
                      <a:lnTo>
                        <a:pt x="191730" y="584854"/>
                      </a:lnTo>
                      <a:lnTo>
                        <a:pt x="189403" y="583501"/>
                      </a:lnTo>
                      <a:lnTo>
                        <a:pt x="187645" y="582814"/>
                      </a:lnTo>
                      <a:lnTo>
                        <a:pt x="186764" y="582992"/>
                      </a:lnTo>
                      <a:lnTo>
                        <a:pt x="186181" y="583338"/>
                      </a:lnTo>
                      <a:lnTo>
                        <a:pt x="185768" y="583821"/>
                      </a:lnTo>
                      <a:lnTo>
                        <a:pt x="185389" y="584642"/>
                      </a:lnTo>
                      <a:lnTo>
                        <a:pt x="185139" y="585612"/>
                      </a:lnTo>
                      <a:lnTo>
                        <a:pt x="184985" y="586551"/>
                      </a:lnTo>
                      <a:lnTo>
                        <a:pt x="185001" y="587382"/>
                      </a:lnTo>
                      <a:lnTo>
                        <a:pt x="185200" y="588592"/>
                      </a:lnTo>
                      <a:lnTo>
                        <a:pt x="185206" y="589414"/>
                      </a:lnTo>
                      <a:lnTo>
                        <a:pt x="185074" y="590253"/>
                      </a:lnTo>
                      <a:lnTo>
                        <a:pt x="184693" y="590954"/>
                      </a:lnTo>
                      <a:lnTo>
                        <a:pt x="184276" y="591292"/>
                      </a:lnTo>
                      <a:lnTo>
                        <a:pt x="183650" y="591521"/>
                      </a:lnTo>
                      <a:lnTo>
                        <a:pt x="179731" y="592387"/>
                      </a:lnTo>
                      <a:lnTo>
                        <a:pt x="178777" y="592725"/>
                      </a:lnTo>
                      <a:lnTo>
                        <a:pt x="177899" y="593154"/>
                      </a:lnTo>
                      <a:lnTo>
                        <a:pt x="177097" y="593699"/>
                      </a:lnTo>
                      <a:lnTo>
                        <a:pt x="176384" y="594416"/>
                      </a:lnTo>
                      <a:lnTo>
                        <a:pt x="175106" y="596108"/>
                      </a:lnTo>
                      <a:lnTo>
                        <a:pt x="174538" y="597048"/>
                      </a:lnTo>
                      <a:lnTo>
                        <a:pt x="173906" y="597878"/>
                      </a:lnTo>
                      <a:lnTo>
                        <a:pt x="173219" y="598604"/>
                      </a:lnTo>
                      <a:lnTo>
                        <a:pt x="172426" y="599121"/>
                      </a:lnTo>
                      <a:lnTo>
                        <a:pt x="169697" y="600294"/>
                      </a:lnTo>
                      <a:lnTo>
                        <a:pt x="168891" y="600865"/>
                      </a:lnTo>
                      <a:lnTo>
                        <a:pt x="168218" y="601606"/>
                      </a:lnTo>
                      <a:lnTo>
                        <a:pt x="167659" y="602432"/>
                      </a:lnTo>
                      <a:lnTo>
                        <a:pt x="167171" y="603262"/>
                      </a:lnTo>
                      <a:lnTo>
                        <a:pt x="166465" y="603917"/>
                      </a:lnTo>
                      <a:lnTo>
                        <a:pt x="165608" y="604343"/>
                      </a:lnTo>
                      <a:lnTo>
                        <a:pt x="159713" y="605991"/>
                      </a:lnTo>
                      <a:lnTo>
                        <a:pt x="156140" y="607647"/>
                      </a:lnTo>
                      <a:lnTo>
                        <a:pt x="155195" y="607956"/>
                      </a:lnTo>
                      <a:lnTo>
                        <a:pt x="154127" y="607992"/>
                      </a:lnTo>
                      <a:lnTo>
                        <a:pt x="151818" y="607677"/>
                      </a:lnTo>
                      <a:lnTo>
                        <a:pt x="150712" y="607728"/>
                      </a:lnTo>
                      <a:lnTo>
                        <a:pt x="149737" y="608010"/>
                      </a:lnTo>
                      <a:lnTo>
                        <a:pt x="148851" y="608459"/>
                      </a:lnTo>
                      <a:lnTo>
                        <a:pt x="148073" y="609057"/>
                      </a:lnTo>
                      <a:lnTo>
                        <a:pt x="147337" y="609747"/>
                      </a:lnTo>
                      <a:lnTo>
                        <a:pt x="146713" y="610505"/>
                      </a:lnTo>
                      <a:lnTo>
                        <a:pt x="144489" y="614070"/>
                      </a:lnTo>
                      <a:lnTo>
                        <a:pt x="143676" y="614960"/>
                      </a:lnTo>
                      <a:lnTo>
                        <a:pt x="143512" y="615071"/>
                      </a:lnTo>
                      <a:lnTo>
                        <a:pt x="142830" y="615458"/>
                      </a:lnTo>
                      <a:lnTo>
                        <a:pt x="139213" y="616757"/>
                      </a:lnTo>
                      <a:lnTo>
                        <a:pt x="138339" y="617174"/>
                      </a:lnTo>
                      <a:lnTo>
                        <a:pt x="137103" y="617509"/>
                      </a:lnTo>
                      <a:lnTo>
                        <a:pt x="135511" y="617679"/>
                      </a:lnTo>
                      <a:lnTo>
                        <a:pt x="132664" y="617266"/>
                      </a:lnTo>
                      <a:lnTo>
                        <a:pt x="131209" y="616746"/>
                      </a:lnTo>
                      <a:lnTo>
                        <a:pt x="130346" y="616017"/>
                      </a:lnTo>
                      <a:lnTo>
                        <a:pt x="129941" y="615331"/>
                      </a:lnTo>
                      <a:lnTo>
                        <a:pt x="129437" y="614093"/>
                      </a:lnTo>
                      <a:lnTo>
                        <a:pt x="125278" y="611452"/>
                      </a:lnTo>
                      <a:lnTo>
                        <a:pt x="124039" y="610448"/>
                      </a:lnTo>
                      <a:lnTo>
                        <a:pt x="123347" y="609397"/>
                      </a:lnTo>
                      <a:lnTo>
                        <a:pt x="123342" y="608468"/>
                      </a:lnTo>
                      <a:lnTo>
                        <a:pt x="123157" y="607453"/>
                      </a:lnTo>
                      <a:lnTo>
                        <a:pt x="122639" y="606504"/>
                      </a:lnTo>
                      <a:lnTo>
                        <a:pt x="118747" y="603086"/>
                      </a:lnTo>
                      <a:lnTo>
                        <a:pt x="117488" y="602579"/>
                      </a:lnTo>
                      <a:lnTo>
                        <a:pt x="111228" y="601005"/>
                      </a:lnTo>
                      <a:lnTo>
                        <a:pt x="108511" y="600821"/>
                      </a:lnTo>
                      <a:lnTo>
                        <a:pt x="106652" y="600446"/>
                      </a:lnTo>
                      <a:lnTo>
                        <a:pt x="106169" y="599772"/>
                      </a:lnTo>
                      <a:lnTo>
                        <a:pt x="106385" y="599127"/>
                      </a:lnTo>
                      <a:lnTo>
                        <a:pt x="108478" y="597062"/>
                      </a:lnTo>
                      <a:lnTo>
                        <a:pt x="109052" y="596183"/>
                      </a:lnTo>
                      <a:lnTo>
                        <a:pt x="109438" y="595254"/>
                      </a:lnTo>
                      <a:lnTo>
                        <a:pt x="109448" y="594189"/>
                      </a:lnTo>
                      <a:lnTo>
                        <a:pt x="109171" y="593103"/>
                      </a:lnTo>
                      <a:lnTo>
                        <a:pt x="108645" y="591625"/>
                      </a:lnTo>
                      <a:lnTo>
                        <a:pt x="108634" y="590525"/>
                      </a:lnTo>
                      <a:lnTo>
                        <a:pt x="109063" y="589651"/>
                      </a:lnTo>
                      <a:lnTo>
                        <a:pt x="109764" y="589024"/>
                      </a:lnTo>
                      <a:lnTo>
                        <a:pt x="113111" y="587071"/>
                      </a:lnTo>
                      <a:lnTo>
                        <a:pt x="115253" y="585454"/>
                      </a:lnTo>
                      <a:lnTo>
                        <a:pt x="115729" y="584994"/>
                      </a:lnTo>
                      <a:lnTo>
                        <a:pt x="116168" y="584454"/>
                      </a:lnTo>
                      <a:lnTo>
                        <a:pt x="116636" y="583695"/>
                      </a:lnTo>
                      <a:lnTo>
                        <a:pt x="117016" y="582809"/>
                      </a:lnTo>
                      <a:lnTo>
                        <a:pt x="117268" y="581792"/>
                      </a:lnTo>
                      <a:lnTo>
                        <a:pt x="117165" y="579989"/>
                      </a:lnTo>
                      <a:lnTo>
                        <a:pt x="117296" y="579121"/>
                      </a:lnTo>
                      <a:lnTo>
                        <a:pt x="118253" y="577531"/>
                      </a:lnTo>
                      <a:lnTo>
                        <a:pt x="118263" y="576386"/>
                      </a:lnTo>
                      <a:lnTo>
                        <a:pt x="117641" y="575067"/>
                      </a:lnTo>
                      <a:lnTo>
                        <a:pt x="114808" y="571682"/>
                      </a:lnTo>
                      <a:lnTo>
                        <a:pt x="114195" y="570611"/>
                      </a:lnTo>
                      <a:lnTo>
                        <a:pt x="114061" y="569753"/>
                      </a:lnTo>
                      <a:lnTo>
                        <a:pt x="113862" y="567349"/>
                      </a:lnTo>
                      <a:lnTo>
                        <a:pt x="113070" y="565605"/>
                      </a:lnTo>
                      <a:lnTo>
                        <a:pt x="113062" y="564407"/>
                      </a:lnTo>
                      <a:lnTo>
                        <a:pt x="113449" y="563497"/>
                      </a:lnTo>
                      <a:lnTo>
                        <a:pt x="114210" y="562917"/>
                      </a:lnTo>
                      <a:lnTo>
                        <a:pt x="115896" y="561882"/>
                      </a:lnTo>
                      <a:lnTo>
                        <a:pt x="116697" y="561241"/>
                      </a:lnTo>
                      <a:lnTo>
                        <a:pt x="117350" y="560436"/>
                      </a:lnTo>
                      <a:lnTo>
                        <a:pt x="117945" y="559558"/>
                      </a:lnTo>
                      <a:lnTo>
                        <a:pt x="119216" y="558047"/>
                      </a:lnTo>
                      <a:lnTo>
                        <a:pt x="121251" y="555956"/>
                      </a:lnTo>
                      <a:lnTo>
                        <a:pt x="122318" y="554506"/>
                      </a:lnTo>
                      <a:lnTo>
                        <a:pt x="122689" y="554081"/>
                      </a:lnTo>
                      <a:lnTo>
                        <a:pt x="123285" y="553524"/>
                      </a:lnTo>
                      <a:lnTo>
                        <a:pt x="124916" y="552626"/>
                      </a:lnTo>
                      <a:lnTo>
                        <a:pt x="125878" y="552341"/>
                      </a:lnTo>
                      <a:lnTo>
                        <a:pt x="126916" y="552219"/>
                      </a:lnTo>
                      <a:lnTo>
                        <a:pt x="131661" y="552362"/>
                      </a:lnTo>
                      <a:lnTo>
                        <a:pt x="132729" y="552229"/>
                      </a:lnTo>
                      <a:lnTo>
                        <a:pt x="133746" y="551922"/>
                      </a:lnTo>
                      <a:lnTo>
                        <a:pt x="134619" y="551495"/>
                      </a:lnTo>
                      <a:lnTo>
                        <a:pt x="138557" y="548777"/>
                      </a:lnTo>
                      <a:lnTo>
                        <a:pt x="139291" y="548080"/>
                      </a:lnTo>
                      <a:lnTo>
                        <a:pt x="139701" y="547083"/>
                      </a:lnTo>
                      <a:lnTo>
                        <a:pt x="139766" y="545763"/>
                      </a:lnTo>
                      <a:lnTo>
                        <a:pt x="137772" y="541440"/>
                      </a:lnTo>
                      <a:lnTo>
                        <a:pt x="137549" y="540585"/>
                      </a:lnTo>
                      <a:lnTo>
                        <a:pt x="137417" y="539737"/>
                      </a:lnTo>
                      <a:lnTo>
                        <a:pt x="137506" y="538768"/>
                      </a:lnTo>
                      <a:lnTo>
                        <a:pt x="137844" y="537775"/>
                      </a:lnTo>
                      <a:lnTo>
                        <a:pt x="138288" y="536742"/>
                      </a:lnTo>
                      <a:lnTo>
                        <a:pt x="138852" y="535841"/>
                      </a:lnTo>
                      <a:lnTo>
                        <a:pt x="140740" y="533502"/>
                      </a:lnTo>
                      <a:lnTo>
                        <a:pt x="141231" y="532512"/>
                      </a:lnTo>
                      <a:lnTo>
                        <a:pt x="141366" y="531440"/>
                      </a:lnTo>
                      <a:lnTo>
                        <a:pt x="141056" y="530290"/>
                      </a:lnTo>
                      <a:lnTo>
                        <a:pt x="140189" y="529709"/>
                      </a:lnTo>
                      <a:lnTo>
                        <a:pt x="136770" y="528545"/>
                      </a:lnTo>
                      <a:lnTo>
                        <a:pt x="133761" y="527061"/>
                      </a:lnTo>
                      <a:lnTo>
                        <a:pt x="132750" y="525912"/>
                      </a:lnTo>
                      <a:lnTo>
                        <a:pt x="132573" y="524779"/>
                      </a:lnTo>
                      <a:lnTo>
                        <a:pt x="133055" y="523869"/>
                      </a:lnTo>
                      <a:lnTo>
                        <a:pt x="133448" y="522837"/>
                      </a:lnTo>
                      <a:lnTo>
                        <a:pt x="133529" y="521599"/>
                      </a:lnTo>
                      <a:lnTo>
                        <a:pt x="132816" y="519824"/>
                      </a:lnTo>
                      <a:lnTo>
                        <a:pt x="132697" y="518539"/>
                      </a:lnTo>
                      <a:lnTo>
                        <a:pt x="132888" y="517390"/>
                      </a:lnTo>
                      <a:lnTo>
                        <a:pt x="133388" y="516444"/>
                      </a:lnTo>
                      <a:lnTo>
                        <a:pt x="133976" y="515626"/>
                      </a:lnTo>
                      <a:lnTo>
                        <a:pt x="137544" y="512149"/>
                      </a:lnTo>
                      <a:lnTo>
                        <a:pt x="138207" y="511358"/>
                      </a:lnTo>
                      <a:lnTo>
                        <a:pt x="138755" y="510469"/>
                      </a:lnTo>
                      <a:lnTo>
                        <a:pt x="139099" y="509503"/>
                      </a:lnTo>
                      <a:lnTo>
                        <a:pt x="139229" y="508559"/>
                      </a:lnTo>
                      <a:lnTo>
                        <a:pt x="139097" y="507639"/>
                      </a:lnTo>
                      <a:lnTo>
                        <a:pt x="138690" y="506835"/>
                      </a:lnTo>
                      <a:lnTo>
                        <a:pt x="134395" y="501280"/>
                      </a:lnTo>
                      <a:lnTo>
                        <a:pt x="133983" y="500208"/>
                      </a:lnTo>
                      <a:lnTo>
                        <a:pt x="134052" y="499292"/>
                      </a:lnTo>
                      <a:lnTo>
                        <a:pt x="134326" y="498398"/>
                      </a:lnTo>
                      <a:lnTo>
                        <a:pt x="134785" y="497703"/>
                      </a:lnTo>
                      <a:lnTo>
                        <a:pt x="135174" y="497322"/>
                      </a:lnTo>
                      <a:lnTo>
                        <a:pt x="135882" y="496914"/>
                      </a:lnTo>
                      <a:lnTo>
                        <a:pt x="136781" y="496634"/>
                      </a:lnTo>
                      <a:lnTo>
                        <a:pt x="141444" y="496523"/>
                      </a:lnTo>
                      <a:lnTo>
                        <a:pt x="142484" y="496325"/>
                      </a:lnTo>
                      <a:lnTo>
                        <a:pt x="143411" y="495966"/>
                      </a:lnTo>
                      <a:lnTo>
                        <a:pt x="144179" y="495375"/>
                      </a:lnTo>
                      <a:lnTo>
                        <a:pt x="144805" y="494612"/>
                      </a:lnTo>
                      <a:lnTo>
                        <a:pt x="145182" y="493652"/>
                      </a:lnTo>
                      <a:lnTo>
                        <a:pt x="145365" y="492652"/>
                      </a:lnTo>
                      <a:lnTo>
                        <a:pt x="145433" y="490721"/>
                      </a:lnTo>
                      <a:lnTo>
                        <a:pt x="145791" y="487783"/>
                      </a:lnTo>
                      <a:lnTo>
                        <a:pt x="145831" y="486858"/>
                      </a:lnTo>
                      <a:lnTo>
                        <a:pt x="145792" y="485928"/>
                      </a:lnTo>
                      <a:lnTo>
                        <a:pt x="145410" y="483995"/>
                      </a:lnTo>
                      <a:lnTo>
                        <a:pt x="145003" y="482830"/>
                      </a:lnTo>
                      <a:lnTo>
                        <a:pt x="144807" y="481871"/>
                      </a:lnTo>
                      <a:lnTo>
                        <a:pt x="144876" y="480928"/>
                      </a:lnTo>
                      <a:lnTo>
                        <a:pt x="145317" y="480096"/>
                      </a:lnTo>
                      <a:lnTo>
                        <a:pt x="145922" y="479392"/>
                      </a:lnTo>
                      <a:lnTo>
                        <a:pt x="147374" y="478050"/>
                      </a:lnTo>
                      <a:lnTo>
                        <a:pt x="148022" y="477212"/>
                      </a:lnTo>
                      <a:lnTo>
                        <a:pt x="148496" y="476277"/>
                      </a:lnTo>
                      <a:lnTo>
                        <a:pt x="149071" y="474281"/>
                      </a:lnTo>
                      <a:lnTo>
                        <a:pt x="149508" y="473339"/>
                      </a:lnTo>
                      <a:lnTo>
                        <a:pt x="150130" y="472457"/>
                      </a:lnTo>
                      <a:lnTo>
                        <a:pt x="153732" y="469029"/>
                      </a:lnTo>
                      <a:lnTo>
                        <a:pt x="154364" y="468233"/>
                      </a:lnTo>
                      <a:lnTo>
                        <a:pt x="154775" y="467306"/>
                      </a:lnTo>
                      <a:lnTo>
                        <a:pt x="155086" y="466266"/>
                      </a:lnTo>
                      <a:lnTo>
                        <a:pt x="155294" y="464210"/>
                      </a:lnTo>
                      <a:lnTo>
                        <a:pt x="155817" y="462041"/>
                      </a:lnTo>
                      <a:lnTo>
                        <a:pt x="156622" y="459987"/>
                      </a:lnTo>
                      <a:lnTo>
                        <a:pt x="157635" y="458061"/>
                      </a:lnTo>
                      <a:lnTo>
                        <a:pt x="162130" y="452320"/>
                      </a:lnTo>
                      <a:lnTo>
                        <a:pt x="162683" y="451280"/>
                      </a:lnTo>
                      <a:lnTo>
                        <a:pt x="163152" y="450242"/>
                      </a:lnTo>
                      <a:lnTo>
                        <a:pt x="163490" y="449166"/>
                      </a:lnTo>
                      <a:lnTo>
                        <a:pt x="163621" y="448177"/>
                      </a:lnTo>
                      <a:lnTo>
                        <a:pt x="163626" y="447234"/>
                      </a:lnTo>
                      <a:lnTo>
                        <a:pt x="163304" y="446306"/>
                      </a:lnTo>
                      <a:lnTo>
                        <a:pt x="162816" y="445319"/>
                      </a:lnTo>
                      <a:lnTo>
                        <a:pt x="161326" y="443116"/>
                      </a:lnTo>
                      <a:lnTo>
                        <a:pt x="161034" y="442390"/>
                      </a:lnTo>
                      <a:lnTo>
                        <a:pt x="160967" y="442109"/>
                      </a:lnTo>
                      <a:lnTo>
                        <a:pt x="160989" y="441919"/>
                      </a:lnTo>
                      <a:lnTo>
                        <a:pt x="161435" y="441160"/>
                      </a:lnTo>
                      <a:lnTo>
                        <a:pt x="162140" y="440732"/>
                      </a:lnTo>
                      <a:lnTo>
                        <a:pt x="163026" y="440404"/>
                      </a:lnTo>
                      <a:lnTo>
                        <a:pt x="167019" y="439401"/>
                      </a:lnTo>
                      <a:lnTo>
                        <a:pt x="167964" y="439010"/>
                      </a:lnTo>
                      <a:lnTo>
                        <a:pt x="168830" y="438559"/>
                      </a:lnTo>
                      <a:lnTo>
                        <a:pt x="169632" y="438012"/>
                      </a:lnTo>
                      <a:lnTo>
                        <a:pt x="170254" y="437335"/>
                      </a:lnTo>
                      <a:lnTo>
                        <a:pt x="170694" y="436505"/>
                      </a:lnTo>
                      <a:lnTo>
                        <a:pt x="170718" y="435665"/>
                      </a:lnTo>
                      <a:lnTo>
                        <a:pt x="170543" y="434850"/>
                      </a:lnTo>
                      <a:lnTo>
                        <a:pt x="170310" y="434051"/>
                      </a:lnTo>
                      <a:lnTo>
                        <a:pt x="170273" y="433182"/>
                      </a:lnTo>
                      <a:lnTo>
                        <a:pt x="170556" y="432267"/>
                      </a:lnTo>
                      <a:lnTo>
                        <a:pt x="171061" y="431433"/>
                      </a:lnTo>
                      <a:lnTo>
                        <a:pt x="172371" y="429973"/>
                      </a:lnTo>
                      <a:lnTo>
                        <a:pt x="172952" y="429136"/>
                      </a:lnTo>
                      <a:lnTo>
                        <a:pt x="173294" y="428196"/>
                      </a:lnTo>
                      <a:lnTo>
                        <a:pt x="173343" y="427256"/>
                      </a:lnTo>
                      <a:lnTo>
                        <a:pt x="173309" y="426353"/>
                      </a:lnTo>
                      <a:lnTo>
                        <a:pt x="173422" y="425419"/>
                      </a:lnTo>
                      <a:lnTo>
                        <a:pt x="173807" y="424483"/>
                      </a:lnTo>
                      <a:lnTo>
                        <a:pt x="174353" y="423596"/>
                      </a:lnTo>
                      <a:lnTo>
                        <a:pt x="175581" y="421905"/>
                      </a:lnTo>
                      <a:lnTo>
                        <a:pt x="176493" y="419851"/>
                      </a:lnTo>
                      <a:lnTo>
                        <a:pt x="177230" y="416758"/>
                      </a:lnTo>
                      <a:lnTo>
                        <a:pt x="177361" y="415633"/>
                      </a:lnTo>
                      <a:lnTo>
                        <a:pt x="177397" y="414515"/>
                      </a:lnTo>
                      <a:lnTo>
                        <a:pt x="177087" y="413342"/>
                      </a:lnTo>
                      <a:lnTo>
                        <a:pt x="176409" y="412626"/>
                      </a:lnTo>
                      <a:lnTo>
                        <a:pt x="175463" y="412154"/>
                      </a:lnTo>
                      <a:lnTo>
                        <a:pt x="174319" y="411962"/>
                      </a:lnTo>
                      <a:lnTo>
                        <a:pt x="173208" y="411945"/>
                      </a:lnTo>
                      <a:lnTo>
                        <a:pt x="163528" y="413358"/>
                      </a:lnTo>
                      <a:lnTo>
                        <a:pt x="162568" y="413645"/>
                      </a:lnTo>
                      <a:lnTo>
                        <a:pt x="160032" y="414956"/>
                      </a:lnTo>
                      <a:lnTo>
                        <a:pt x="158150" y="415618"/>
                      </a:lnTo>
                      <a:lnTo>
                        <a:pt x="157118" y="415802"/>
                      </a:lnTo>
                      <a:lnTo>
                        <a:pt x="156084" y="415854"/>
                      </a:lnTo>
                      <a:lnTo>
                        <a:pt x="155052" y="415635"/>
                      </a:lnTo>
                      <a:lnTo>
                        <a:pt x="152958" y="414747"/>
                      </a:lnTo>
                      <a:lnTo>
                        <a:pt x="152104" y="414545"/>
                      </a:lnTo>
                      <a:lnTo>
                        <a:pt x="151143" y="414577"/>
                      </a:lnTo>
                      <a:lnTo>
                        <a:pt x="147800" y="415450"/>
                      </a:lnTo>
                      <a:lnTo>
                        <a:pt x="146092" y="415674"/>
                      </a:lnTo>
                      <a:lnTo>
                        <a:pt x="143781" y="415657"/>
                      </a:lnTo>
                      <a:lnTo>
                        <a:pt x="142167" y="415144"/>
                      </a:lnTo>
                      <a:lnTo>
                        <a:pt x="140395" y="414241"/>
                      </a:lnTo>
                      <a:lnTo>
                        <a:pt x="137538" y="412170"/>
                      </a:lnTo>
                      <a:lnTo>
                        <a:pt x="136326" y="410947"/>
                      </a:lnTo>
                      <a:lnTo>
                        <a:pt x="135566" y="409850"/>
                      </a:lnTo>
                      <a:lnTo>
                        <a:pt x="135443" y="408975"/>
                      </a:lnTo>
                      <a:lnTo>
                        <a:pt x="135451" y="408070"/>
                      </a:lnTo>
                      <a:lnTo>
                        <a:pt x="135797" y="407105"/>
                      </a:lnTo>
                      <a:lnTo>
                        <a:pt x="136361" y="406318"/>
                      </a:lnTo>
                      <a:lnTo>
                        <a:pt x="138691" y="404356"/>
                      </a:lnTo>
                      <a:lnTo>
                        <a:pt x="139135" y="403386"/>
                      </a:lnTo>
                      <a:lnTo>
                        <a:pt x="139131" y="402133"/>
                      </a:lnTo>
                      <a:lnTo>
                        <a:pt x="138379" y="400344"/>
                      </a:lnTo>
                      <a:lnTo>
                        <a:pt x="137685" y="399320"/>
                      </a:lnTo>
                      <a:lnTo>
                        <a:pt x="134747" y="396869"/>
                      </a:lnTo>
                      <a:lnTo>
                        <a:pt x="133880" y="396448"/>
                      </a:lnTo>
                      <a:lnTo>
                        <a:pt x="132835" y="396184"/>
                      </a:lnTo>
                      <a:lnTo>
                        <a:pt x="131784" y="396179"/>
                      </a:lnTo>
                      <a:lnTo>
                        <a:pt x="130774" y="396346"/>
                      </a:lnTo>
                      <a:lnTo>
                        <a:pt x="129880" y="396696"/>
                      </a:lnTo>
                      <a:lnTo>
                        <a:pt x="127311" y="398206"/>
                      </a:lnTo>
                      <a:lnTo>
                        <a:pt x="123535" y="401327"/>
                      </a:lnTo>
                      <a:lnTo>
                        <a:pt x="122555" y="401730"/>
                      </a:lnTo>
                      <a:lnTo>
                        <a:pt x="121463" y="401840"/>
                      </a:lnTo>
                      <a:lnTo>
                        <a:pt x="120192" y="401449"/>
                      </a:lnTo>
                      <a:lnTo>
                        <a:pt x="119611" y="400759"/>
                      </a:lnTo>
                      <a:lnTo>
                        <a:pt x="119418" y="399904"/>
                      </a:lnTo>
                      <a:lnTo>
                        <a:pt x="119609" y="398971"/>
                      </a:lnTo>
                      <a:lnTo>
                        <a:pt x="121519" y="394914"/>
                      </a:lnTo>
                      <a:lnTo>
                        <a:pt x="121839" y="393803"/>
                      </a:lnTo>
                      <a:lnTo>
                        <a:pt x="121988" y="392628"/>
                      </a:lnTo>
                      <a:lnTo>
                        <a:pt x="121756" y="391396"/>
                      </a:lnTo>
                      <a:lnTo>
                        <a:pt x="121220" y="390604"/>
                      </a:lnTo>
                      <a:lnTo>
                        <a:pt x="120381" y="390002"/>
                      </a:lnTo>
                      <a:lnTo>
                        <a:pt x="116734" y="388741"/>
                      </a:lnTo>
                      <a:lnTo>
                        <a:pt x="114727" y="387674"/>
                      </a:lnTo>
                      <a:lnTo>
                        <a:pt x="113543" y="386451"/>
                      </a:lnTo>
                      <a:lnTo>
                        <a:pt x="112048" y="384351"/>
                      </a:lnTo>
                      <a:lnTo>
                        <a:pt x="110854" y="383059"/>
                      </a:lnTo>
                      <a:lnTo>
                        <a:pt x="107274" y="380361"/>
                      </a:lnTo>
                      <a:lnTo>
                        <a:pt x="106240" y="379358"/>
                      </a:lnTo>
                      <a:lnTo>
                        <a:pt x="105571" y="378453"/>
                      </a:lnTo>
                      <a:lnTo>
                        <a:pt x="104996" y="375944"/>
                      </a:lnTo>
                      <a:lnTo>
                        <a:pt x="104781" y="374161"/>
                      </a:lnTo>
                      <a:lnTo>
                        <a:pt x="104804" y="372276"/>
                      </a:lnTo>
                      <a:lnTo>
                        <a:pt x="105218" y="369274"/>
                      </a:lnTo>
                      <a:lnTo>
                        <a:pt x="105553" y="368211"/>
                      </a:lnTo>
                      <a:lnTo>
                        <a:pt x="106024" y="367210"/>
                      </a:lnTo>
                      <a:lnTo>
                        <a:pt x="106565" y="366260"/>
                      </a:lnTo>
                      <a:lnTo>
                        <a:pt x="106969" y="365364"/>
                      </a:lnTo>
                      <a:lnTo>
                        <a:pt x="107067" y="364471"/>
                      </a:lnTo>
                      <a:lnTo>
                        <a:pt x="106412" y="363670"/>
                      </a:lnTo>
                      <a:lnTo>
                        <a:pt x="103459" y="361595"/>
                      </a:lnTo>
                      <a:lnTo>
                        <a:pt x="102496" y="360694"/>
                      </a:lnTo>
                      <a:lnTo>
                        <a:pt x="101802" y="359865"/>
                      </a:lnTo>
                      <a:lnTo>
                        <a:pt x="99060" y="355074"/>
                      </a:lnTo>
                      <a:lnTo>
                        <a:pt x="98324" y="354210"/>
                      </a:lnTo>
                      <a:lnTo>
                        <a:pt x="97569" y="353648"/>
                      </a:lnTo>
                      <a:lnTo>
                        <a:pt x="95040" y="352824"/>
                      </a:lnTo>
                      <a:lnTo>
                        <a:pt x="93257" y="351967"/>
                      </a:lnTo>
                      <a:lnTo>
                        <a:pt x="92393" y="351183"/>
                      </a:lnTo>
                      <a:lnTo>
                        <a:pt x="91909" y="350479"/>
                      </a:lnTo>
                      <a:lnTo>
                        <a:pt x="91791" y="350020"/>
                      </a:lnTo>
                      <a:lnTo>
                        <a:pt x="91750" y="349707"/>
                      </a:lnTo>
                      <a:lnTo>
                        <a:pt x="91851" y="346554"/>
                      </a:lnTo>
                      <a:lnTo>
                        <a:pt x="91746" y="345654"/>
                      </a:lnTo>
                      <a:lnTo>
                        <a:pt x="82430" y="333023"/>
                      </a:lnTo>
                      <a:lnTo>
                        <a:pt x="81434" y="328890"/>
                      </a:lnTo>
                      <a:lnTo>
                        <a:pt x="78814" y="324050"/>
                      </a:lnTo>
                      <a:lnTo>
                        <a:pt x="77593" y="322670"/>
                      </a:lnTo>
                      <a:lnTo>
                        <a:pt x="74411" y="320097"/>
                      </a:lnTo>
                      <a:lnTo>
                        <a:pt x="73517" y="318894"/>
                      </a:lnTo>
                      <a:lnTo>
                        <a:pt x="72628" y="317262"/>
                      </a:lnTo>
                      <a:lnTo>
                        <a:pt x="71872" y="316313"/>
                      </a:lnTo>
                      <a:lnTo>
                        <a:pt x="70948" y="315536"/>
                      </a:lnTo>
                      <a:lnTo>
                        <a:pt x="69762" y="314811"/>
                      </a:lnTo>
                      <a:lnTo>
                        <a:pt x="69133" y="314062"/>
                      </a:lnTo>
                      <a:lnTo>
                        <a:pt x="68841" y="313202"/>
                      </a:lnTo>
                      <a:lnTo>
                        <a:pt x="68794" y="311363"/>
                      </a:lnTo>
                      <a:lnTo>
                        <a:pt x="68603" y="310486"/>
                      </a:lnTo>
                      <a:lnTo>
                        <a:pt x="68244" y="309614"/>
                      </a:lnTo>
                      <a:lnTo>
                        <a:pt x="67616" y="308583"/>
                      </a:lnTo>
                      <a:lnTo>
                        <a:pt x="67263" y="307677"/>
                      </a:lnTo>
                      <a:lnTo>
                        <a:pt x="66554" y="305125"/>
                      </a:lnTo>
                      <a:lnTo>
                        <a:pt x="65556" y="302949"/>
                      </a:lnTo>
                      <a:lnTo>
                        <a:pt x="64733" y="301815"/>
                      </a:lnTo>
                      <a:lnTo>
                        <a:pt x="63774" y="301014"/>
                      </a:lnTo>
                      <a:lnTo>
                        <a:pt x="52685" y="295819"/>
                      </a:lnTo>
                      <a:lnTo>
                        <a:pt x="46185" y="294211"/>
                      </a:lnTo>
                      <a:lnTo>
                        <a:pt x="44397" y="293319"/>
                      </a:lnTo>
                      <a:lnTo>
                        <a:pt x="43502" y="292539"/>
                      </a:lnTo>
                      <a:lnTo>
                        <a:pt x="42965" y="291702"/>
                      </a:lnTo>
                      <a:lnTo>
                        <a:pt x="42155" y="289344"/>
                      </a:lnTo>
                      <a:lnTo>
                        <a:pt x="41596" y="286862"/>
                      </a:lnTo>
                      <a:lnTo>
                        <a:pt x="40079" y="283863"/>
                      </a:lnTo>
                      <a:lnTo>
                        <a:pt x="36842" y="279091"/>
                      </a:lnTo>
                      <a:lnTo>
                        <a:pt x="35873" y="277970"/>
                      </a:lnTo>
                      <a:lnTo>
                        <a:pt x="27232" y="271310"/>
                      </a:lnTo>
                      <a:lnTo>
                        <a:pt x="22300" y="269525"/>
                      </a:lnTo>
                      <a:lnTo>
                        <a:pt x="20313" y="268368"/>
                      </a:lnTo>
                      <a:lnTo>
                        <a:pt x="19627" y="267409"/>
                      </a:lnTo>
                      <a:lnTo>
                        <a:pt x="19489" y="266454"/>
                      </a:lnTo>
                      <a:lnTo>
                        <a:pt x="19928" y="265691"/>
                      </a:lnTo>
                      <a:lnTo>
                        <a:pt x="20443" y="265103"/>
                      </a:lnTo>
                      <a:lnTo>
                        <a:pt x="20886" y="264798"/>
                      </a:lnTo>
                      <a:lnTo>
                        <a:pt x="21650" y="264425"/>
                      </a:lnTo>
                      <a:lnTo>
                        <a:pt x="22593" y="264241"/>
                      </a:lnTo>
                      <a:lnTo>
                        <a:pt x="28410" y="264219"/>
                      </a:lnTo>
                      <a:lnTo>
                        <a:pt x="29444" y="264046"/>
                      </a:lnTo>
                      <a:lnTo>
                        <a:pt x="30387" y="263793"/>
                      </a:lnTo>
                      <a:lnTo>
                        <a:pt x="31283" y="263406"/>
                      </a:lnTo>
                      <a:lnTo>
                        <a:pt x="32039" y="262744"/>
                      </a:lnTo>
                      <a:lnTo>
                        <a:pt x="32527" y="261899"/>
                      </a:lnTo>
                      <a:lnTo>
                        <a:pt x="32272" y="260735"/>
                      </a:lnTo>
                      <a:lnTo>
                        <a:pt x="31237" y="259872"/>
                      </a:lnTo>
                      <a:lnTo>
                        <a:pt x="29384" y="258841"/>
                      </a:lnTo>
                      <a:lnTo>
                        <a:pt x="28195" y="257957"/>
                      </a:lnTo>
                      <a:lnTo>
                        <a:pt x="28153" y="257800"/>
                      </a:lnTo>
                      <a:lnTo>
                        <a:pt x="28224" y="254204"/>
                      </a:lnTo>
                      <a:lnTo>
                        <a:pt x="27662" y="252265"/>
                      </a:lnTo>
                      <a:lnTo>
                        <a:pt x="26713" y="251107"/>
                      </a:lnTo>
                      <a:lnTo>
                        <a:pt x="23760" y="248811"/>
                      </a:lnTo>
                      <a:lnTo>
                        <a:pt x="23185" y="247874"/>
                      </a:lnTo>
                      <a:lnTo>
                        <a:pt x="23348" y="246998"/>
                      </a:lnTo>
                      <a:lnTo>
                        <a:pt x="24070" y="246445"/>
                      </a:lnTo>
                      <a:lnTo>
                        <a:pt x="24937" y="245974"/>
                      </a:lnTo>
                      <a:lnTo>
                        <a:pt x="28578" y="244464"/>
                      </a:lnTo>
                      <a:lnTo>
                        <a:pt x="29416" y="243983"/>
                      </a:lnTo>
                      <a:lnTo>
                        <a:pt x="30206" y="243413"/>
                      </a:lnTo>
                      <a:lnTo>
                        <a:pt x="30938" y="242724"/>
                      </a:lnTo>
                      <a:lnTo>
                        <a:pt x="32175" y="241068"/>
                      </a:lnTo>
                      <a:lnTo>
                        <a:pt x="32722" y="240131"/>
                      </a:lnTo>
                      <a:lnTo>
                        <a:pt x="32771" y="238661"/>
                      </a:lnTo>
                      <a:lnTo>
                        <a:pt x="32313" y="236747"/>
                      </a:lnTo>
                      <a:lnTo>
                        <a:pt x="29872" y="231483"/>
                      </a:lnTo>
                      <a:lnTo>
                        <a:pt x="29573" y="230032"/>
                      </a:lnTo>
                      <a:lnTo>
                        <a:pt x="30957" y="225830"/>
                      </a:lnTo>
                      <a:lnTo>
                        <a:pt x="31117" y="224620"/>
                      </a:lnTo>
                      <a:lnTo>
                        <a:pt x="31034" y="223425"/>
                      </a:lnTo>
                      <a:lnTo>
                        <a:pt x="30529" y="221936"/>
                      </a:lnTo>
                      <a:lnTo>
                        <a:pt x="29780" y="221070"/>
                      </a:lnTo>
                      <a:lnTo>
                        <a:pt x="26477" y="218487"/>
                      </a:lnTo>
                      <a:lnTo>
                        <a:pt x="26008" y="217491"/>
                      </a:lnTo>
                      <a:lnTo>
                        <a:pt x="25874" y="216291"/>
                      </a:lnTo>
                      <a:lnTo>
                        <a:pt x="25838" y="215091"/>
                      </a:lnTo>
                      <a:lnTo>
                        <a:pt x="25408" y="213477"/>
                      </a:lnTo>
                      <a:lnTo>
                        <a:pt x="24396" y="212495"/>
                      </a:lnTo>
                      <a:lnTo>
                        <a:pt x="21318" y="210325"/>
                      </a:lnTo>
                      <a:lnTo>
                        <a:pt x="20609" y="209300"/>
                      </a:lnTo>
                      <a:lnTo>
                        <a:pt x="20255" y="208307"/>
                      </a:lnTo>
                      <a:lnTo>
                        <a:pt x="19747" y="199921"/>
                      </a:lnTo>
                      <a:lnTo>
                        <a:pt x="19470" y="198854"/>
                      </a:lnTo>
                      <a:lnTo>
                        <a:pt x="18954" y="197403"/>
                      </a:lnTo>
                      <a:lnTo>
                        <a:pt x="18116" y="196457"/>
                      </a:lnTo>
                      <a:lnTo>
                        <a:pt x="15378" y="194524"/>
                      </a:lnTo>
                      <a:lnTo>
                        <a:pt x="14412" y="193334"/>
                      </a:lnTo>
                      <a:lnTo>
                        <a:pt x="13340" y="191557"/>
                      </a:lnTo>
                      <a:lnTo>
                        <a:pt x="12247" y="190148"/>
                      </a:lnTo>
                      <a:lnTo>
                        <a:pt x="10869" y="188839"/>
                      </a:lnTo>
                      <a:lnTo>
                        <a:pt x="10206" y="187890"/>
                      </a:lnTo>
                      <a:lnTo>
                        <a:pt x="9835" y="186985"/>
                      </a:lnTo>
                      <a:lnTo>
                        <a:pt x="9282" y="185111"/>
                      </a:lnTo>
                      <a:lnTo>
                        <a:pt x="6964" y="180932"/>
                      </a:lnTo>
                      <a:lnTo>
                        <a:pt x="6053" y="178196"/>
                      </a:lnTo>
                      <a:lnTo>
                        <a:pt x="3227" y="173623"/>
                      </a:lnTo>
                      <a:lnTo>
                        <a:pt x="926" y="170896"/>
                      </a:lnTo>
                      <a:lnTo>
                        <a:pt x="189" y="169172"/>
                      </a:lnTo>
                      <a:lnTo>
                        <a:pt x="0" y="168070"/>
                      </a:lnTo>
                      <a:lnTo>
                        <a:pt x="2109" y="159657"/>
                      </a:lnTo>
                      <a:lnTo>
                        <a:pt x="7147" y="139655"/>
                      </a:lnTo>
                      <a:lnTo>
                        <a:pt x="12202" y="119663"/>
                      </a:lnTo>
                      <a:lnTo>
                        <a:pt x="17261" y="99689"/>
                      </a:lnTo>
                      <a:lnTo>
                        <a:pt x="22341" y="79709"/>
                      </a:lnTo>
                      <a:lnTo>
                        <a:pt x="27438" y="59749"/>
                      </a:lnTo>
                      <a:lnTo>
                        <a:pt x="32539" y="39799"/>
                      </a:lnTo>
                      <a:lnTo>
                        <a:pt x="37657" y="19860"/>
                      </a:lnTo>
                      <a:lnTo>
                        <a:pt x="42766" y="0"/>
                      </a:lnTo>
                      <a:lnTo>
                        <a:pt x="70030" y="2275"/>
                      </a:lnTo>
                      <a:lnTo>
                        <a:pt x="98708" y="4641"/>
                      </a:lnTo>
                      <a:lnTo>
                        <a:pt x="127415" y="6980"/>
                      </a:lnTo>
                      <a:lnTo>
                        <a:pt x="156138" y="9292"/>
                      </a:lnTo>
                      <a:lnTo>
                        <a:pt x="184859" y="11577"/>
                      </a:lnTo>
                      <a:lnTo>
                        <a:pt x="213610" y="13835"/>
                      </a:lnTo>
                      <a:lnTo>
                        <a:pt x="242376" y="16067"/>
                      </a:lnTo>
                      <a:lnTo>
                        <a:pt x="271150" y="18272"/>
                      </a:lnTo>
                      <a:lnTo>
                        <a:pt x="299942" y="20450"/>
                      </a:lnTo>
                      <a:lnTo>
                        <a:pt x="302149" y="20616"/>
                      </a:lnTo>
                      <a:lnTo>
                        <a:pt x="328749" y="22601"/>
                      </a:lnTo>
                      <a:lnTo>
                        <a:pt x="357575" y="24726"/>
                      </a:lnTo>
                      <a:lnTo>
                        <a:pt x="386417" y="26824"/>
                      </a:lnTo>
                      <a:lnTo>
                        <a:pt x="415268" y="28895"/>
                      </a:lnTo>
                      <a:lnTo>
                        <a:pt x="444125" y="30940"/>
                      </a:lnTo>
                      <a:lnTo>
                        <a:pt x="473006" y="32949"/>
                      </a:lnTo>
                      <a:lnTo>
                        <a:pt x="501902" y="34932"/>
                      </a:lnTo>
                      <a:lnTo>
                        <a:pt x="530808" y="36897"/>
                      </a:lnTo>
                      <a:lnTo>
                        <a:pt x="559726" y="38835"/>
                      </a:lnTo>
                      <a:lnTo>
                        <a:pt x="588658" y="40746"/>
                      </a:lnTo>
                      <a:lnTo>
                        <a:pt x="617610" y="42632"/>
                      </a:lnTo>
                      <a:lnTo>
                        <a:pt x="646569" y="44492"/>
                      </a:lnTo>
                      <a:lnTo>
                        <a:pt x="675540" y="46323"/>
                      </a:lnTo>
                      <a:lnTo>
                        <a:pt x="704515" y="48129"/>
                      </a:lnTo>
                      <a:lnTo>
                        <a:pt x="733510" y="49908"/>
                      </a:lnTo>
                      <a:lnTo>
                        <a:pt x="762516" y="51662"/>
                      </a:lnTo>
                      <a:lnTo>
                        <a:pt x="791538" y="53389"/>
                      </a:lnTo>
                      <a:lnTo>
                        <a:pt x="820564" y="55089"/>
                      </a:lnTo>
                      <a:lnTo>
                        <a:pt x="837049" y="56042"/>
                      </a:lnTo>
                      <a:lnTo>
                        <a:pt x="849610" y="56763"/>
                      </a:lnTo>
                      <a:lnTo>
                        <a:pt x="878652" y="58410"/>
                      </a:lnTo>
                      <a:lnTo>
                        <a:pt x="907719" y="60031"/>
                      </a:lnTo>
                      <a:lnTo>
                        <a:pt x="936801" y="61627"/>
                      </a:lnTo>
                      <a:lnTo>
                        <a:pt x="965886" y="63196"/>
                      </a:lnTo>
                      <a:lnTo>
                        <a:pt x="994983" y="64738"/>
                      </a:lnTo>
                      <a:lnTo>
                        <a:pt x="1024089" y="66255"/>
                      </a:lnTo>
                      <a:lnTo>
                        <a:pt x="1053206" y="67745"/>
                      </a:lnTo>
                      <a:lnTo>
                        <a:pt x="1082336" y="69209"/>
                      </a:lnTo>
                      <a:lnTo>
                        <a:pt x="1111467" y="70647"/>
                      </a:lnTo>
                      <a:lnTo>
                        <a:pt x="1140613" y="72058"/>
                      </a:lnTo>
                      <a:lnTo>
                        <a:pt x="1169769" y="73444"/>
                      </a:lnTo>
                      <a:lnTo>
                        <a:pt x="1198935" y="74803"/>
                      </a:lnTo>
                      <a:lnTo>
                        <a:pt x="1228114" y="76136"/>
                      </a:lnTo>
                      <a:lnTo>
                        <a:pt x="1257297" y="77444"/>
                      </a:lnTo>
                      <a:lnTo>
                        <a:pt x="1286489" y="78725"/>
                      </a:lnTo>
                      <a:lnTo>
                        <a:pt x="1315697" y="79980"/>
                      </a:lnTo>
                      <a:lnTo>
                        <a:pt x="1344907" y="81209"/>
                      </a:lnTo>
                      <a:lnTo>
                        <a:pt x="1374122" y="82412"/>
                      </a:lnTo>
                      <a:lnTo>
                        <a:pt x="1403347" y="83589"/>
                      </a:lnTo>
                      <a:lnTo>
                        <a:pt x="1432578" y="84740"/>
                      </a:lnTo>
                      <a:lnTo>
                        <a:pt x="1461823" y="85865"/>
                      </a:lnTo>
                      <a:lnTo>
                        <a:pt x="1491069" y="86963"/>
                      </a:lnTo>
                      <a:lnTo>
                        <a:pt x="1520329" y="88037"/>
                      </a:lnTo>
                      <a:lnTo>
                        <a:pt x="1549600" y="89084"/>
                      </a:lnTo>
                      <a:lnTo>
                        <a:pt x="1578871" y="90105"/>
                      </a:lnTo>
                      <a:lnTo>
                        <a:pt x="1608150" y="9110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4" name="Freeform 12">
                  <a:extLst>
                    <a:ext uri="{FF2B5EF4-FFF2-40B4-BE49-F238E27FC236}">
                      <a16:creationId xmlns:a16="http://schemas.microsoft.com/office/drawing/2014/main" id="{8E146BA1-FB24-4FC3-831C-0AF5F5FE17E2}"/>
                    </a:ext>
                  </a:extLst>
                </p:cNvPr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2506642" y="3270209"/>
                  <a:ext cx="708650" cy="3624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48141" h="536124">
                      <a:moveTo>
                        <a:pt x="963066" y="17521"/>
                      </a:moveTo>
                      <a:lnTo>
                        <a:pt x="962575" y="21578"/>
                      </a:lnTo>
                      <a:lnTo>
                        <a:pt x="963560" y="24342"/>
                      </a:lnTo>
                      <a:lnTo>
                        <a:pt x="964932" y="26992"/>
                      </a:lnTo>
                      <a:lnTo>
                        <a:pt x="965308" y="29238"/>
                      </a:lnTo>
                      <a:lnTo>
                        <a:pt x="965882" y="32619"/>
                      </a:lnTo>
                      <a:lnTo>
                        <a:pt x="966639" y="34166"/>
                      </a:lnTo>
                      <a:lnTo>
                        <a:pt x="967527" y="35605"/>
                      </a:lnTo>
                      <a:lnTo>
                        <a:pt x="968207" y="37127"/>
                      </a:lnTo>
                      <a:lnTo>
                        <a:pt x="969103" y="43006"/>
                      </a:lnTo>
                      <a:lnTo>
                        <a:pt x="972899" y="52112"/>
                      </a:lnTo>
                      <a:lnTo>
                        <a:pt x="973775" y="58657"/>
                      </a:lnTo>
                      <a:lnTo>
                        <a:pt x="974842" y="61493"/>
                      </a:lnTo>
                      <a:lnTo>
                        <a:pt x="977863" y="67283"/>
                      </a:lnTo>
                      <a:lnTo>
                        <a:pt x="978860" y="75424"/>
                      </a:lnTo>
                      <a:lnTo>
                        <a:pt x="975951" y="81858"/>
                      </a:lnTo>
                      <a:lnTo>
                        <a:pt x="972273" y="87946"/>
                      </a:lnTo>
                      <a:lnTo>
                        <a:pt x="970966" y="95067"/>
                      </a:lnTo>
                      <a:lnTo>
                        <a:pt x="973961" y="104902"/>
                      </a:lnTo>
                      <a:lnTo>
                        <a:pt x="974607" y="110263"/>
                      </a:lnTo>
                      <a:lnTo>
                        <a:pt x="975301" y="112953"/>
                      </a:lnTo>
                      <a:lnTo>
                        <a:pt x="975158" y="114832"/>
                      </a:lnTo>
                      <a:lnTo>
                        <a:pt x="974514" y="116693"/>
                      </a:lnTo>
                      <a:lnTo>
                        <a:pt x="972798" y="119725"/>
                      </a:lnTo>
                      <a:lnTo>
                        <a:pt x="972279" y="121756"/>
                      </a:lnTo>
                      <a:lnTo>
                        <a:pt x="974472" y="132824"/>
                      </a:lnTo>
                      <a:lnTo>
                        <a:pt x="975324" y="135218"/>
                      </a:lnTo>
                      <a:lnTo>
                        <a:pt x="975925" y="137899"/>
                      </a:lnTo>
                      <a:lnTo>
                        <a:pt x="973746" y="149616"/>
                      </a:lnTo>
                      <a:lnTo>
                        <a:pt x="973658" y="156633"/>
                      </a:lnTo>
                      <a:lnTo>
                        <a:pt x="974605" y="163050"/>
                      </a:lnTo>
                      <a:lnTo>
                        <a:pt x="976619" y="169146"/>
                      </a:lnTo>
                      <a:lnTo>
                        <a:pt x="982355" y="181674"/>
                      </a:lnTo>
                      <a:lnTo>
                        <a:pt x="983790" y="187989"/>
                      </a:lnTo>
                      <a:lnTo>
                        <a:pt x="985920" y="193744"/>
                      </a:lnTo>
                      <a:lnTo>
                        <a:pt x="990598" y="198507"/>
                      </a:lnTo>
                      <a:lnTo>
                        <a:pt x="988545" y="202555"/>
                      </a:lnTo>
                      <a:lnTo>
                        <a:pt x="988859" y="206398"/>
                      </a:lnTo>
                      <a:lnTo>
                        <a:pt x="992220" y="214730"/>
                      </a:lnTo>
                      <a:lnTo>
                        <a:pt x="992231" y="215719"/>
                      </a:lnTo>
                      <a:lnTo>
                        <a:pt x="991458" y="216970"/>
                      </a:lnTo>
                      <a:lnTo>
                        <a:pt x="991710" y="217725"/>
                      </a:lnTo>
                      <a:lnTo>
                        <a:pt x="992171" y="218067"/>
                      </a:lnTo>
                      <a:lnTo>
                        <a:pt x="992651" y="218218"/>
                      </a:lnTo>
                      <a:lnTo>
                        <a:pt x="993027" y="218406"/>
                      </a:lnTo>
                      <a:lnTo>
                        <a:pt x="993175" y="218838"/>
                      </a:lnTo>
                      <a:lnTo>
                        <a:pt x="993657" y="219511"/>
                      </a:lnTo>
                      <a:lnTo>
                        <a:pt x="996837" y="222959"/>
                      </a:lnTo>
                      <a:lnTo>
                        <a:pt x="997850" y="225101"/>
                      </a:lnTo>
                      <a:lnTo>
                        <a:pt x="999435" y="231086"/>
                      </a:lnTo>
                      <a:lnTo>
                        <a:pt x="1001224" y="234521"/>
                      </a:lnTo>
                      <a:lnTo>
                        <a:pt x="1003038" y="237168"/>
                      </a:lnTo>
                      <a:lnTo>
                        <a:pt x="1004426" y="240123"/>
                      </a:lnTo>
                      <a:lnTo>
                        <a:pt x="1005143" y="246135"/>
                      </a:lnTo>
                      <a:lnTo>
                        <a:pt x="1006717" y="250813"/>
                      </a:lnTo>
                      <a:lnTo>
                        <a:pt x="1008890" y="252372"/>
                      </a:lnTo>
                      <a:lnTo>
                        <a:pt x="1009485" y="253249"/>
                      </a:lnTo>
                      <a:lnTo>
                        <a:pt x="1009529" y="254331"/>
                      </a:lnTo>
                      <a:lnTo>
                        <a:pt x="1009152" y="255296"/>
                      </a:lnTo>
                      <a:lnTo>
                        <a:pt x="1008694" y="256098"/>
                      </a:lnTo>
                      <a:lnTo>
                        <a:pt x="1008506" y="256723"/>
                      </a:lnTo>
                      <a:lnTo>
                        <a:pt x="1008617" y="260803"/>
                      </a:lnTo>
                      <a:lnTo>
                        <a:pt x="1008326" y="264180"/>
                      </a:lnTo>
                      <a:lnTo>
                        <a:pt x="1008421" y="267166"/>
                      </a:lnTo>
                      <a:lnTo>
                        <a:pt x="1009695" y="270066"/>
                      </a:lnTo>
                      <a:lnTo>
                        <a:pt x="1009673" y="272541"/>
                      </a:lnTo>
                      <a:lnTo>
                        <a:pt x="1007402" y="281117"/>
                      </a:lnTo>
                      <a:lnTo>
                        <a:pt x="1007297" y="284655"/>
                      </a:lnTo>
                      <a:lnTo>
                        <a:pt x="1007972" y="285492"/>
                      </a:lnTo>
                      <a:lnTo>
                        <a:pt x="1009196" y="286691"/>
                      </a:lnTo>
                      <a:lnTo>
                        <a:pt x="1010372" y="288152"/>
                      </a:lnTo>
                      <a:lnTo>
                        <a:pt x="1010890" y="289842"/>
                      </a:lnTo>
                      <a:lnTo>
                        <a:pt x="1009595" y="311460"/>
                      </a:lnTo>
                      <a:lnTo>
                        <a:pt x="1010003" y="315301"/>
                      </a:lnTo>
                      <a:lnTo>
                        <a:pt x="1011955" y="323558"/>
                      </a:lnTo>
                      <a:lnTo>
                        <a:pt x="1012387" y="327196"/>
                      </a:lnTo>
                      <a:lnTo>
                        <a:pt x="1012146" y="328482"/>
                      </a:lnTo>
                      <a:lnTo>
                        <a:pt x="1011664" y="329938"/>
                      </a:lnTo>
                      <a:lnTo>
                        <a:pt x="1011270" y="331635"/>
                      </a:lnTo>
                      <a:lnTo>
                        <a:pt x="1011279" y="333628"/>
                      </a:lnTo>
                      <a:lnTo>
                        <a:pt x="1013077" y="340608"/>
                      </a:lnTo>
                      <a:lnTo>
                        <a:pt x="1013183" y="344001"/>
                      </a:lnTo>
                      <a:lnTo>
                        <a:pt x="1012043" y="355171"/>
                      </a:lnTo>
                      <a:lnTo>
                        <a:pt x="1012309" y="357416"/>
                      </a:lnTo>
                      <a:lnTo>
                        <a:pt x="1013015" y="358956"/>
                      </a:lnTo>
                      <a:lnTo>
                        <a:pt x="1014707" y="361630"/>
                      </a:lnTo>
                      <a:lnTo>
                        <a:pt x="1015176" y="363863"/>
                      </a:lnTo>
                      <a:lnTo>
                        <a:pt x="1015225" y="365123"/>
                      </a:lnTo>
                      <a:lnTo>
                        <a:pt x="1014666" y="365116"/>
                      </a:lnTo>
                      <a:lnTo>
                        <a:pt x="1015402" y="365572"/>
                      </a:lnTo>
                      <a:lnTo>
                        <a:pt x="1017009" y="365972"/>
                      </a:lnTo>
                      <a:lnTo>
                        <a:pt x="1018385" y="366859"/>
                      </a:lnTo>
                      <a:lnTo>
                        <a:pt x="1020022" y="367259"/>
                      </a:lnTo>
                      <a:lnTo>
                        <a:pt x="1020887" y="367994"/>
                      </a:lnTo>
                      <a:lnTo>
                        <a:pt x="1021398" y="369059"/>
                      </a:lnTo>
                      <a:lnTo>
                        <a:pt x="1021139" y="369827"/>
                      </a:lnTo>
                      <a:lnTo>
                        <a:pt x="1020621" y="370570"/>
                      </a:lnTo>
                      <a:lnTo>
                        <a:pt x="1019864" y="373293"/>
                      </a:lnTo>
                      <a:lnTo>
                        <a:pt x="1017900" y="375626"/>
                      </a:lnTo>
                      <a:lnTo>
                        <a:pt x="1017435" y="377382"/>
                      </a:lnTo>
                      <a:lnTo>
                        <a:pt x="1017567" y="383128"/>
                      </a:lnTo>
                      <a:lnTo>
                        <a:pt x="1017345" y="384994"/>
                      </a:lnTo>
                      <a:lnTo>
                        <a:pt x="1016929" y="386165"/>
                      </a:lnTo>
                      <a:lnTo>
                        <a:pt x="1015626" y="388974"/>
                      </a:lnTo>
                      <a:lnTo>
                        <a:pt x="1015302" y="390691"/>
                      </a:lnTo>
                      <a:lnTo>
                        <a:pt x="1015659" y="393348"/>
                      </a:lnTo>
                      <a:lnTo>
                        <a:pt x="1017573" y="399332"/>
                      </a:lnTo>
                      <a:lnTo>
                        <a:pt x="1017993" y="403072"/>
                      </a:lnTo>
                      <a:lnTo>
                        <a:pt x="1017454" y="406904"/>
                      </a:lnTo>
                      <a:lnTo>
                        <a:pt x="1015685" y="412818"/>
                      </a:lnTo>
                      <a:lnTo>
                        <a:pt x="1015944" y="416496"/>
                      </a:lnTo>
                      <a:lnTo>
                        <a:pt x="1017288" y="418859"/>
                      </a:lnTo>
                      <a:lnTo>
                        <a:pt x="1021631" y="424221"/>
                      </a:lnTo>
                      <a:lnTo>
                        <a:pt x="1022535" y="427570"/>
                      </a:lnTo>
                      <a:lnTo>
                        <a:pt x="1023283" y="433890"/>
                      </a:lnTo>
                      <a:lnTo>
                        <a:pt x="1023345" y="437503"/>
                      </a:lnTo>
                      <a:lnTo>
                        <a:pt x="1022386" y="440958"/>
                      </a:lnTo>
                      <a:lnTo>
                        <a:pt x="1023158" y="442168"/>
                      </a:lnTo>
                      <a:lnTo>
                        <a:pt x="1025397" y="444416"/>
                      </a:lnTo>
                      <a:lnTo>
                        <a:pt x="1026218" y="445734"/>
                      </a:lnTo>
                      <a:lnTo>
                        <a:pt x="1026401" y="447000"/>
                      </a:lnTo>
                      <a:lnTo>
                        <a:pt x="1026371" y="448507"/>
                      </a:lnTo>
                      <a:lnTo>
                        <a:pt x="1026580" y="450227"/>
                      </a:lnTo>
                      <a:lnTo>
                        <a:pt x="1027488" y="452087"/>
                      </a:lnTo>
                      <a:lnTo>
                        <a:pt x="1035451" y="463230"/>
                      </a:lnTo>
                      <a:lnTo>
                        <a:pt x="1040167" y="467906"/>
                      </a:lnTo>
                      <a:lnTo>
                        <a:pt x="1042211" y="470860"/>
                      </a:lnTo>
                      <a:lnTo>
                        <a:pt x="1043042" y="474474"/>
                      </a:lnTo>
                      <a:lnTo>
                        <a:pt x="1042593" y="485524"/>
                      </a:lnTo>
                      <a:lnTo>
                        <a:pt x="1042908" y="488984"/>
                      </a:lnTo>
                      <a:lnTo>
                        <a:pt x="1043340" y="490806"/>
                      </a:lnTo>
                      <a:lnTo>
                        <a:pt x="1043944" y="492266"/>
                      </a:lnTo>
                      <a:lnTo>
                        <a:pt x="1047103" y="496905"/>
                      </a:lnTo>
                      <a:lnTo>
                        <a:pt x="1047162" y="498022"/>
                      </a:lnTo>
                      <a:lnTo>
                        <a:pt x="1046837" y="499304"/>
                      </a:lnTo>
                      <a:lnTo>
                        <a:pt x="1046608" y="501288"/>
                      </a:lnTo>
                      <a:lnTo>
                        <a:pt x="1047248" y="502252"/>
                      </a:lnTo>
                      <a:lnTo>
                        <a:pt x="1048140" y="508578"/>
                      </a:lnTo>
                      <a:lnTo>
                        <a:pt x="1048077" y="510742"/>
                      </a:lnTo>
                      <a:lnTo>
                        <a:pt x="1047045" y="515512"/>
                      </a:lnTo>
                      <a:lnTo>
                        <a:pt x="1045340" y="519297"/>
                      </a:lnTo>
                      <a:lnTo>
                        <a:pt x="1045283" y="523354"/>
                      </a:lnTo>
                      <a:lnTo>
                        <a:pt x="1047950" y="536123"/>
                      </a:lnTo>
                      <a:lnTo>
                        <a:pt x="1015307" y="536019"/>
                      </a:lnTo>
                      <a:lnTo>
                        <a:pt x="982654" y="535887"/>
                      </a:lnTo>
                      <a:lnTo>
                        <a:pt x="950013" y="535727"/>
                      </a:lnTo>
                      <a:lnTo>
                        <a:pt x="917370" y="535531"/>
                      </a:lnTo>
                      <a:lnTo>
                        <a:pt x="884728" y="535306"/>
                      </a:lnTo>
                      <a:lnTo>
                        <a:pt x="852089" y="535062"/>
                      </a:lnTo>
                      <a:lnTo>
                        <a:pt x="819450" y="534789"/>
                      </a:lnTo>
                      <a:lnTo>
                        <a:pt x="786814" y="534488"/>
                      </a:lnTo>
                      <a:lnTo>
                        <a:pt x="754184" y="534159"/>
                      </a:lnTo>
                      <a:lnTo>
                        <a:pt x="721552" y="533802"/>
                      </a:lnTo>
                      <a:lnTo>
                        <a:pt x="688924" y="533417"/>
                      </a:lnTo>
                      <a:lnTo>
                        <a:pt x="656299" y="532999"/>
                      </a:lnTo>
                      <a:lnTo>
                        <a:pt x="623677" y="532553"/>
                      </a:lnTo>
                      <a:lnTo>
                        <a:pt x="591050" y="532084"/>
                      </a:lnTo>
                      <a:lnTo>
                        <a:pt x="558439" y="531586"/>
                      </a:lnTo>
                      <a:lnTo>
                        <a:pt x="525828" y="531059"/>
                      </a:lnTo>
                      <a:lnTo>
                        <a:pt x="493219" y="530504"/>
                      </a:lnTo>
                      <a:lnTo>
                        <a:pt x="460620" y="529922"/>
                      </a:lnTo>
                      <a:lnTo>
                        <a:pt x="428013" y="529311"/>
                      </a:lnTo>
                      <a:lnTo>
                        <a:pt x="395420" y="528664"/>
                      </a:lnTo>
                      <a:lnTo>
                        <a:pt x="362831" y="527988"/>
                      </a:lnTo>
                      <a:lnTo>
                        <a:pt x="330243" y="527292"/>
                      </a:lnTo>
                      <a:lnTo>
                        <a:pt x="297667" y="526568"/>
                      </a:lnTo>
                      <a:lnTo>
                        <a:pt x="265093" y="525816"/>
                      </a:lnTo>
                      <a:lnTo>
                        <a:pt x="232525" y="525036"/>
                      </a:lnTo>
                      <a:lnTo>
                        <a:pt x="199963" y="524227"/>
                      </a:lnTo>
                      <a:lnTo>
                        <a:pt x="167406" y="523390"/>
                      </a:lnTo>
                      <a:lnTo>
                        <a:pt x="134857" y="522525"/>
                      </a:lnTo>
                      <a:lnTo>
                        <a:pt x="102312" y="521631"/>
                      </a:lnTo>
                      <a:lnTo>
                        <a:pt x="69783" y="520710"/>
                      </a:lnTo>
                      <a:lnTo>
                        <a:pt x="37250" y="519759"/>
                      </a:lnTo>
                      <a:lnTo>
                        <a:pt x="0" y="518632"/>
                      </a:lnTo>
                      <a:lnTo>
                        <a:pt x="2972" y="486029"/>
                      </a:lnTo>
                      <a:lnTo>
                        <a:pt x="5751" y="457523"/>
                      </a:lnTo>
                      <a:lnTo>
                        <a:pt x="8540" y="429037"/>
                      </a:lnTo>
                      <a:lnTo>
                        <a:pt x="11340" y="400571"/>
                      </a:lnTo>
                      <a:lnTo>
                        <a:pt x="14151" y="372121"/>
                      </a:lnTo>
                      <a:lnTo>
                        <a:pt x="16972" y="343692"/>
                      </a:lnTo>
                      <a:lnTo>
                        <a:pt x="19805" y="315280"/>
                      </a:lnTo>
                      <a:lnTo>
                        <a:pt x="22648" y="286886"/>
                      </a:lnTo>
                      <a:lnTo>
                        <a:pt x="25502" y="258511"/>
                      </a:lnTo>
                      <a:lnTo>
                        <a:pt x="28366" y="230155"/>
                      </a:lnTo>
                      <a:lnTo>
                        <a:pt x="31242" y="201818"/>
                      </a:lnTo>
                      <a:lnTo>
                        <a:pt x="34129" y="173498"/>
                      </a:lnTo>
                      <a:lnTo>
                        <a:pt x="37026" y="145194"/>
                      </a:lnTo>
                      <a:lnTo>
                        <a:pt x="39935" y="116909"/>
                      </a:lnTo>
                      <a:lnTo>
                        <a:pt x="42854" y="88646"/>
                      </a:lnTo>
                      <a:lnTo>
                        <a:pt x="45784" y="60403"/>
                      </a:lnTo>
                      <a:lnTo>
                        <a:pt x="48728" y="32178"/>
                      </a:lnTo>
                      <a:lnTo>
                        <a:pt x="51917" y="0"/>
                      </a:lnTo>
                      <a:lnTo>
                        <a:pt x="62321" y="342"/>
                      </a:lnTo>
                      <a:lnTo>
                        <a:pt x="91613" y="1285"/>
                      </a:lnTo>
                      <a:lnTo>
                        <a:pt x="120913" y="2202"/>
                      </a:lnTo>
                      <a:lnTo>
                        <a:pt x="150217" y="3094"/>
                      </a:lnTo>
                      <a:lnTo>
                        <a:pt x="179526" y="3959"/>
                      </a:lnTo>
                      <a:lnTo>
                        <a:pt x="208848" y="4800"/>
                      </a:lnTo>
                      <a:lnTo>
                        <a:pt x="238170" y="5613"/>
                      </a:lnTo>
                      <a:lnTo>
                        <a:pt x="267500" y="6402"/>
                      </a:lnTo>
                      <a:lnTo>
                        <a:pt x="296833" y="7156"/>
                      </a:lnTo>
                      <a:lnTo>
                        <a:pt x="326162" y="7892"/>
                      </a:lnTo>
                      <a:lnTo>
                        <a:pt x="355505" y="8602"/>
                      </a:lnTo>
                      <a:lnTo>
                        <a:pt x="384851" y="9287"/>
                      </a:lnTo>
                      <a:lnTo>
                        <a:pt x="409852" y="9850"/>
                      </a:lnTo>
                      <a:lnTo>
                        <a:pt x="414213" y="9946"/>
                      </a:lnTo>
                      <a:lnTo>
                        <a:pt x="443569" y="10579"/>
                      </a:lnTo>
                      <a:lnTo>
                        <a:pt x="472925" y="11187"/>
                      </a:lnTo>
                      <a:lnTo>
                        <a:pt x="502293" y="11769"/>
                      </a:lnTo>
                      <a:lnTo>
                        <a:pt x="531657" y="12324"/>
                      </a:lnTo>
                      <a:lnTo>
                        <a:pt x="561032" y="12855"/>
                      </a:lnTo>
                      <a:lnTo>
                        <a:pt x="590403" y="13359"/>
                      </a:lnTo>
                      <a:lnTo>
                        <a:pt x="619778" y="13837"/>
                      </a:lnTo>
                      <a:lnTo>
                        <a:pt x="649161" y="14290"/>
                      </a:lnTo>
                      <a:lnTo>
                        <a:pt x="678545" y="14717"/>
                      </a:lnTo>
                      <a:lnTo>
                        <a:pt x="707936" y="15118"/>
                      </a:lnTo>
                      <a:lnTo>
                        <a:pt x="737326" y="15494"/>
                      </a:lnTo>
                      <a:lnTo>
                        <a:pt x="766719" y="15844"/>
                      </a:lnTo>
                      <a:lnTo>
                        <a:pt x="796121" y="16168"/>
                      </a:lnTo>
                      <a:lnTo>
                        <a:pt x="825510" y="16467"/>
                      </a:lnTo>
                      <a:lnTo>
                        <a:pt x="854913" y="16740"/>
                      </a:lnTo>
                      <a:lnTo>
                        <a:pt x="884315" y="16987"/>
                      </a:lnTo>
                      <a:lnTo>
                        <a:pt x="913716" y="17208"/>
                      </a:lnTo>
                      <a:lnTo>
                        <a:pt x="943120" y="17403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Freeform 13">
                  <a:extLst>
                    <a:ext uri="{FF2B5EF4-FFF2-40B4-BE49-F238E27FC236}">
                      <a16:creationId xmlns:a16="http://schemas.microsoft.com/office/drawing/2014/main" id="{B07815F4-18D6-45A2-BD7A-8C5B3DF960A3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1185614" y="3200682"/>
                  <a:ext cx="633258" cy="8515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36630" h="1259565">
                      <a:moveTo>
                        <a:pt x="500245" y="412946"/>
                      </a:moveTo>
                      <a:lnTo>
                        <a:pt x="501337" y="412836"/>
                      </a:lnTo>
                      <a:lnTo>
                        <a:pt x="502317" y="412433"/>
                      </a:lnTo>
                      <a:lnTo>
                        <a:pt x="506093" y="409312"/>
                      </a:lnTo>
                      <a:lnTo>
                        <a:pt x="508662" y="407802"/>
                      </a:lnTo>
                      <a:lnTo>
                        <a:pt x="509556" y="407452"/>
                      </a:lnTo>
                      <a:lnTo>
                        <a:pt x="510566" y="407285"/>
                      </a:lnTo>
                      <a:lnTo>
                        <a:pt x="511617" y="407290"/>
                      </a:lnTo>
                      <a:lnTo>
                        <a:pt x="512662" y="407554"/>
                      </a:lnTo>
                      <a:lnTo>
                        <a:pt x="513529" y="407975"/>
                      </a:lnTo>
                      <a:lnTo>
                        <a:pt x="516467" y="410426"/>
                      </a:lnTo>
                      <a:lnTo>
                        <a:pt x="517161" y="411450"/>
                      </a:lnTo>
                      <a:lnTo>
                        <a:pt x="517913" y="413239"/>
                      </a:lnTo>
                      <a:lnTo>
                        <a:pt x="517917" y="414492"/>
                      </a:lnTo>
                      <a:lnTo>
                        <a:pt x="517473" y="415462"/>
                      </a:lnTo>
                      <a:lnTo>
                        <a:pt x="515143" y="417424"/>
                      </a:lnTo>
                      <a:lnTo>
                        <a:pt x="514579" y="418211"/>
                      </a:lnTo>
                      <a:lnTo>
                        <a:pt x="514233" y="419176"/>
                      </a:lnTo>
                      <a:lnTo>
                        <a:pt x="514225" y="420081"/>
                      </a:lnTo>
                      <a:lnTo>
                        <a:pt x="514348" y="420956"/>
                      </a:lnTo>
                      <a:lnTo>
                        <a:pt x="515108" y="422053"/>
                      </a:lnTo>
                      <a:lnTo>
                        <a:pt x="516320" y="423276"/>
                      </a:lnTo>
                      <a:lnTo>
                        <a:pt x="519177" y="425347"/>
                      </a:lnTo>
                      <a:lnTo>
                        <a:pt x="520949" y="426250"/>
                      </a:lnTo>
                      <a:lnTo>
                        <a:pt x="522563" y="426763"/>
                      </a:lnTo>
                      <a:lnTo>
                        <a:pt x="524874" y="426780"/>
                      </a:lnTo>
                      <a:lnTo>
                        <a:pt x="526582" y="426556"/>
                      </a:lnTo>
                      <a:lnTo>
                        <a:pt x="529925" y="425683"/>
                      </a:lnTo>
                      <a:lnTo>
                        <a:pt x="530886" y="425651"/>
                      </a:lnTo>
                      <a:lnTo>
                        <a:pt x="531740" y="425853"/>
                      </a:lnTo>
                      <a:lnTo>
                        <a:pt x="533834" y="426741"/>
                      </a:lnTo>
                      <a:lnTo>
                        <a:pt x="534866" y="426960"/>
                      </a:lnTo>
                      <a:lnTo>
                        <a:pt x="535900" y="426908"/>
                      </a:lnTo>
                      <a:lnTo>
                        <a:pt x="536932" y="426724"/>
                      </a:lnTo>
                      <a:lnTo>
                        <a:pt x="538814" y="426062"/>
                      </a:lnTo>
                      <a:lnTo>
                        <a:pt x="541350" y="424751"/>
                      </a:lnTo>
                      <a:lnTo>
                        <a:pt x="542310" y="424464"/>
                      </a:lnTo>
                      <a:lnTo>
                        <a:pt x="551990" y="423051"/>
                      </a:lnTo>
                      <a:lnTo>
                        <a:pt x="553101" y="423068"/>
                      </a:lnTo>
                      <a:lnTo>
                        <a:pt x="554245" y="423260"/>
                      </a:lnTo>
                      <a:lnTo>
                        <a:pt x="555191" y="423732"/>
                      </a:lnTo>
                      <a:lnTo>
                        <a:pt x="555869" y="424448"/>
                      </a:lnTo>
                      <a:lnTo>
                        <a:pt x="556179" y="425621"/>
                      </a:lnTo>
                      <a:lnTo>
                        <a:pt x="556143" y="426739"/>
                      </a:lnTo>
                      <a:lnTo>
                        <a:pt x="556012" y="427864"/>
                      </a:lnTo>
                      <a:lnTo>
                        <a:pt x="555275" y="430957"/>
                      </a:lnTo>
                      <a:lnTo>
                        <a:pt x="554363" y="433011"/>
                      </a:lnTo>
                      <a:lnTo>
                        <a:pt x="553135" y="434702"/>
                      </a:lnTo>
                      <a:lnTo>
                        <a:pt x="552589" y="435589"/>
                      </a:lnTo>
                      <a:lnTo>
                        <a:pt x="552204" y="436525"/>
                      </a:lnTo>
                      <a:lnTo>
                        <a:pt x="552091" y="437459"/>
                      </a:lnTo>
                      <a:lnTo>
                        <a:pt x="552125" y="438362"/>
                      </a:lnTo>
                      <a:lnTo>
                        <a:pt x="552076" y="439302"/>
                      </a:lnTo>
                      <a:lnTo>
                        <a:pt x="551734" y="440242"/>
                      </a:lnTo>
                      <a:lnTo>
                        <a:pt x="551153" y="441079"/>
                      </a:lnTo>
                      <a:lnTo>
                        <a:pt x="549843" y="442539"/>
                      </a:lnTo>
                      <a:lnTo>
                        <a:pt x="549338" y="443373"/>
                      </a:lnTo>
                      <a:lnTo>
                        <a:pt x="549055" y="444288"/>
                      </a:lnTo>
                      <a:lnTo>
                        <a:pt x="549092" y="445157"/>
                      </a:lnTo>
                      <a:lnTo>
                        <a:pt x="549325" y="445956"/>
                      </a:lnTo>
                      <a:lnTo>
                        <a:pt x="549500" y="446771"/>
                      </a:lnTo>
                      <a:lnTo>
                        <a:pt x="549476" y="447611"/>
                      </a:lnTo>
                      <a:lnTo>
                        <a:pt x="549036" y="448441"/>
                      </a:lnTo>
                      <a:lnTo>
                        <a:pt x="548414" y="449118"/>
                      </a:lnTo>
                      <a:lnTo>
                        <a:pt x="547612" y="449665"/>
                      </a:lnTo>
                      <a:lnTo>
                        <a:pt x="546746" y="450116"/>
                      </a:lnTo>
                      <a:lnTo>
                        <a:pt x="545801" y="450507"/>
                      </a:lnTo>
                      <a:lnTo>
                        <a:pt x="541808" y="451510"/>
                      </a:lnTo>
                      <a:lnTo>
                        <a:pt x="540922" y="451838"/>
                      </a:lnTo>
                      <a:lnTo>
                        <a:pt x="540217" y="452266"/>
                      </a:lnTo>
                      <a:lnTo>
                        <a:pt x="539771" y="453025"/>
                      </a:lnTo>
                      <a:lnTo>
                        <a:pt x="539749" y="453215"/>
                      </a:lnTo>
                      <a:lnTo>
                        <a:pt x="539816" y="453496"/>
                      </a:lnTo>
                      <a:lnTo>
                        <a:pt x="540108" y="454222"/>
                      </a:lnTo>
                      <a:lnTo>
                        <a:pt x="541598" y="456425"/>
                      </a:lnTo>
                      <a:lnTo>
                        <a:pt x="542086" y="457412"/>
                      </a:lnTo>
                      <a:lnTo>
                        <a:pt x="542408" y="458340"/>
                      </a:lnTo>
                      <a:lnTo>
                        <a:pt x="542403" y="459283"/>
                      </a:lnTo>
                      <a:lnTo>
                        <a:pt x="542272" y="460272"/>
                      </a:lnTo>
                      <a:lnTo>
                        <a:pt x="541934" y="461348"/>
                      </a:lnTo>
                      <a:lnTo>
                        <a:pt x="541465" y="462386"/>
                      </a:lnTo>
                      <a:lnTo>
                        <a:pt x="540912" y="463426"/>
                      </a:lnTo>
                      <a:lnTo>
                        <a:pt x="536417" y="469167"/>
                      </a:lnTo>
                      <a:lnTo>
                        <a:pt x="535404" y="471093"/>
                      </a:lnTo>
                      <a:lnTo>
                        <a:pt x="534599" y="473147"/>
                      </a:lnTo>
                      <a:lnTo>
                        <a:pt x="534076" y="475316"/>
                      </a:lnTo>
                      <a:lnTo>
                        <a:pt x="533868" y="477372"/>
                      </a:lnTo>
                      <a:lnTo>
                        <a:pt x="533557" y="478412"/>
                      </a:lnTo>
                      <a:lnTo>
                        <a:pt x="533146" y="479339"/>
                      </a:lnTo>
                      <a:lnTo>
                        <a:pt x="532514" y="480135"/>
                      </a:lnTo>
                      <a:lnTo>
                        <a:pt x="528912" y="483563"/>
                      </a:lnTo>
                      <a:lnTo>
                        <a:pt x="528290" y="484445"/>
                      </a:lnTo>
                      <a:lnTo>
                        <a:pt x="527853" y="485387"/>
                      </a:lnTo>
                      <a:lnTo>
                        <a:pt x="527278" y="487383"/>
                      </a:lnTo>
                      <a:lnTo>
                        <a:pt x="526804" y="488318"/>
                      </a:lnTo>
                      <a:lnTo>
                        <a:pt x="526156" y="489156"/>
                      </a:lnTo>
                      <a:lnTo>
                        <a:pt x="524704" y="490498"/>
                      </a:lnTo>
                      <a:lnTo>
                        <a:pt x="524099" y="491202"/>
                      </a:lnTo>
                      <a:lnTo>
                        <a:pt x="523658" y="492034"/>
                      </a:lnTo>
                      <a:lnTo>
                        <a:pt x="523589" y="492977"/>
                      </a:lnTo>
                      <a:lnTo>
                        <a:pt x="523785" y="493936"/>
                      </a:lnTo>
                      <a:lnTo>
                        <a:pt x="524192" y="495101"/>
                      </a:lnTo>
                      <a:lnTo>
                        <a:pt x="524574" y="497034"/>
                      </a:lnTo>
                      <a:lnTo>
                        <a:pt x="524613" y="497964"/>
                      </a:lnTo>
                      <a:lnTo>
                        <a:pt x="524573" y="498889"/>
                      </a:lnTo>
                      <a:lnTo>
                        <a:pt x="524215" y="501827"/>
                      </a:lnTo>
                      <a:lnTo>
                        <a:pt x="524147" y="503758"/>
                      </a:lnTo>
                      <a:lnTo>
                        <a:pt x="523964" y="504758"/>
                      </a:lnTo>
                      <a:lnTo>
                        <a:pt x="523587" y="505718"/>
                      </a:lnTo>
                      <a:lnTo>
                        <a:pt x="522961" y="506481"/>
                      </a:lnTo>
                      <a:lnTo>
                        <a:pt x="522193" y="507072"/>
                      </a:lnTo>
                      <a:lnTo>
                        <a:pt x="521266" y="507431"/>
                      </a:lnTo>
                      <a:lnTo>
                        <a:pt x="520226" y="507629"/>
                      </a:lnTo>
                      <a:lnTo>
                        <a:pt x="515563" y="507740"/>
                      </a:lnTo>
                      <a:lnTo>
                        <a:pt x="514664" y="508020"/>
                      </a:lnTo>
                      <a:lnTo>
                        <a:pt x="513956" y="508428"/>
                      </a:lnTo>
                      <a:lnTo>
                        <a:pt x="513567" y="508809"/>
                      </a:lnTo>
                      <a:lnTo>
                        <a:pt x="513108" y="509504"/>
                      </a:lnTo>
                      <a:lnTo>
                        <a:pt x="512834" y="510398"/>
                      </a:lnTo>
                      <a:lnTo>
                        <a:pt x="512765" y="511314"/>
                      </a:lnTo>
                      <a:lnTo>
                        <a:pt x="513177" y="512386"/>
                      </a:lnTo>
                      <a:lnTo>
                        <a:pt x="517472" y="517941"/>
                      </a:lnTo>
                      <a:lnTo>
                        <a:pt x="517879" y="518745"/>
                      </a:lnTo>
                      <a:lnTo>
                        <a:pt x="518011" y="519665"/>
                      </a:lnTo>
                      <a:lnTo>
                        <a:pt x="517881" y="520609"/>
                      </a:lnTo>
                      <a:lnTo>
                        <a:pt x="517537" y="521575"/>
                      </a:lnTo>
                      <a:lnTo>
                        <a:pt x="516989" y="522464"/>
                      </a:lnTo>
                      <a:lnTo>
                        <a:pt x="516326" y="523255"/>
                      </a:lnTo>
                      <a:lnTo>
                        <a:pt x="512758" y="526732"/>
                      </a:lnTo>
                      <a:lnTo>
                        <a:pt x="512170" y="527550"/>
                      </a:lnTo>
                      <a:lnTo>
                        <a:pt x="511670" y="528496"/>
                      </a:lnTo>
                      <a:lnTo>
                        <a:pt x="511479" y="529645"/>
                      </a:lnTo>
                      <a:lnTo>
                        <a:pt x="511598" y="530930"/>
                      </a:lnTo>
                      <a:lnTo>
                        <a:pt x="512311" y="532705"/>
                      </a:lnTo>
                      <a:lnTo>
                        <a:pt x="512230" y="533943"/>
                      </a:lnTo>
                      <a:lnTo>
                        <a:pt x="511837" y="534975"/>
                      </a:lnTo>
                      <a:lnTo>
                        <a:pt x="511355" y="535885"/>
                      </a:lnTo>
                      <a:lnTo>
                        <a:pt x="511532" y="537018"/>
                      </a:lnTo>
                      <a:lnTo>
                        <a:pt x="512543" y="538167"/>
                      </a:lnTo>
                      <a:lnTo>
                        <a:pt x="515552" y="539651"/>
                      </a:lnTo>
                      <a:lnTo>
                        <a:pt x="518971" y="540815"/>
                      </a:lnTo>
                      <a:lnTo>
                        <a:pt x="519838" y="541396"/>
                      </a:lnTo>
                      <a:lnTo>
                        <a:pt x="520148" y="542546"/>
                      </a:lnTo>
                      <a:lnTo>
                        <a:pt x="520013" y="543618"/>
                      </a:lnTo>
                      <a:lnTo>
                        <a:pt x="519522" y="544608"/>
                      </a:lnTo>
                      <a:lnTo>
                        <a:pt x="517634" y="546947"/>
                      </a:lnTo>
                      <a:lnTo>
                        <a:pt x="517070" y="547848"/>
                      </a:lnTo>
                      <a:lnTo>
                        <a:pt x="516626" y="548881"/>
                      </a:lnTo>
                      <a:lnTo>
                        <a:pt x="516288" y="549874"/>
                      </a:lnTo>
                      <a:lnTo>
                        <a:pt x="516199" y="550843"/>
                      </a:lnTo>
                      <a:lnTo>
                        <a:pt x="516331" y="551691"/>
                      </a:lnTo>
                      <a:lnTo>
                        <a:pt x="516554" y="552546"/>
                      </a:lnTo>
                      <a:lnTo>
                        <a:pt x="518548" y="556869"/>
                      </a:lnTo>
                      <a:lnTo>
                        <a:pt x="518483" y="558189"/>
                      </a:lnTo>
                      <a:lnTo>
                        <a:pt x="518073" y="559186"/>
                      </a:lnTo>
                      <a:lnTo>
                        <a:pt x="517339" y="559883"/>
                      </a:lnTo>
                      <a:lnTo>
                        <a:pt x="513401" y="562601"/>
                      </a:lnTo>
                      <a:lnTo>
                        <a:pt x="512528" y="563028"/>
                      </a:lnTo>
                      <a:lnTo>
                        <a:pt x="511511" y="563335"/>
                      </a:lnTo>
                      <a:lnTo>
                        <a:pt x="510443" y="563468"/>
                      </a:lnTo>
                      <a:lnTo>
                        <a:pt x="505698" y="563325"/>
                      </a:lnTo>
                      <a:lnTo>
                        <a:pt x="504660" y="563447"/>
                      </a:lnTo>
                      <a:lnTo>
                        <a:pt x="503698" y="563732"/>
                      </a:lnTo>
                      <a:lnTo>
                        <a:pt x="502067" y="564630"/>
                      </a:lnTo>
                      <a:lnTo>
                        <a:pt x="501471" y="565187"/>
                      </a:lnTo>
                      <a:lnTo>
                        <a:pt x="501100" y="565612"/>
                      </a:lnTo>
                      <a:lnTo>
                        <a:pt x="500033" y="567062"/>
                      </a:lnTo>
                      <a:lnTo>
                        <a:pt x="497998" y="569153"/>
                      </a:lnTo>
                      <a:lnTo>
                        <a:pt x="496727" y="570664"/>
                      </a:lnTo>
                      <a:lnTo>
                        <a:pt x="496132" y="571542"/>
                      </a:lnTo>
                      <a:lnTo>
                        <a:pt x="495479" y="572347"/>
                      </a:lnTo>
                      <a:lnTo>
                        <a:pt x="494678" y="572988"/>
                      </a:lnTo>
                      <a:lnTo>
                        <a:pt x="492992" y="574023"/>
                      </a:lnTo>
                      <a:lnTo>
                        <a:pt x="492231" y="574603"/>
                      </a:lnTo>
                      <a:lnTo>
                        <a:pt x="491844" y="575513"/>
                      </a:lnTo>
                      <a:lnTo>
                        <a:pt x="491852" y="576711"/>
                      </a:lnTo>
                      <a:lnTo>
                        <a:pt x="492644" y="578455"/>
                      </a:lnTo>
                      <a:lnTo>
                        <a:pt x="492843" y="580859"/>
                      </a:lnTo>
                      <a:lnTo>
                        <a:pt x="492977" y="581717"/>
                      </a:lnTo>
                      <a:lnTo>
                        <a:pt x="493590" y="582788"/>
                      </a:lnTo>
                      <a:lnTo>
                        <a:pt x="496423" y="586173"/>
                      </a:lnTo>
                      <a:lnTo>
                        <a:pt x="497045" y="587492"/>
                      </a:lnTo>
                      <a:lnTo>
                        <a:pt x="497035" y="588637"/>
                      </a:lnTo>
                      <a:lnTo>
                        <a:pt x="496078" y="590227"/>
                      </a:lnTo>
                      <a:lnTo>
                        <a:pt x="495947" y="591095"/>
                      </a:lnTo>
                      <a:lnTo>
                        <a:pt x="496050" y="592898"/>
                      </a:lnTo>
                      <a:lnTo>
                        <a:pt x="495798" y="593915"/>
                      </a:lnTo>
                      <a:lnTo>
                        <a:pt x="495418" y="594801"/>
                      </a:lnTo>
                      <a:lnTo>
                        <a:pt x="494950" y="595560"/>
                      </a:lnTo>
                      <a:lnTo>
                        <a:pt x="494511" y="596100"/>
                      </a:lnTo>
                      <a:lnTo>
                        <a:pt x="494035" y="596560"/>
                      </a:lnTo>
                      <a:lnTo>
                        <a:pt x="491893" y="598177"/>
                      </a:lnTo>
                      <a:lnTo>
                        <a:pt x="488546" y="600130"/>
                      </a:lnTo>
                      <a:lnTo>
                        <a:pt x="487845" y="600757"/>
                      </a:lnTo>
                      <a:lnTo>
                        <a:pt x="487416" y="601631"/>
                      </a:lnTo>
                      <a:lnTo>
                        <a:pt x="487427" y="602731"/>
                      </a:lnTo>
                      <a:lnTo>
                        <a:pt x="487953" y="604209"/>
                      </a:lnTo>
                      <a:lnTo>
                        <a:pt x="488230" y="605295"/>
                      </a:lnTo>
                      <a:lnTo>
                        <a:pt x="488220" y="606360"/>
                      </a:lnTo>
                      <a:lnTo>
                        <a:pt x="487834" y="607289"/>
                      </a:lnTo>
                      <a:lnTo>
                        <a:pt x="487260" y="608168"/>
                      </a:lnTo>
                      <a:lnTo>
                        <a:pt x="485167" y="610233"/>
                      </a:lnTo>
                      <a:lnTo>
                        <a:pt x="484951" y="610878"/>
                      </a:lnTo>
                      <a:lnTo>
                        <a:pt x="485434" y="611552"/>
                      </a:lnTo>
                      <a:lnTo>
                        <a:pt x="487293" y="611927"/>
                      </a:lnTo>
                      <a:lnTo>
                        <a:pt x="490010" y="612111"/>
                      </a:lnTo>
                      <a:lnTo>
                        <a:pt x="496270" y="613685"/>
                      </a:lnTo>
                      <a:lnTo>
                        <a:pt x="497529" y="614192"/>
                      </a:lnTo>
                      <a:lnTo>
                        <a:pt x="501421" y="617610"/>
                      </a:lnTo>
                      <a:lnTo>
                        <a:pt x="501939" y="618559"/>
                      </a:lnTo>
                      <a:lnTo>
                        <a:pt x="502124" y="619574"/>
                      </a:lnTo>
                      <a:lnTo>
                        <a:pt x="502129" y="620503"/>
                      </a:lnTo>
                      <a:lnTo>
                        <a:pt x="502821" y="621554"/>
                      </a:lnTo>
                      <a:lnTo>
                        <a:pt x="504060" y="622558"/>
                      </a:lnTo>
                      <a:lnTo>
                        <a:pt x="508219" y="625199"/>
                      </a:lnTo>
                      <a:lnTo>
                        <a:pt x="508723" y="626437"/>
                      </a:lnTo>
                      <a:lnTo>
                        <a:pt x="509128" y="627123"/>
                      </a:lnTo>
                      <a:lnTo>
                        <a:pt x="509991" y="627852"/>
                      </a:lnTo>
                      <a:lnTo>
                        <a:pt x="511446" y="628372"/>
                      </a:lnTo>
                      <a:lnTo>
                        <a:pt x="514293" y="628785"/>
                      </a:lnTo>
                      <a:lnTo>
                        <a:pt x="515885" y="628615"/>
                      </a:lnTo>
                      <a:lnTo>
                        <a:pt x="517121" y="628280"/>
                      </a:lnTo>
                      <a:lnTo>
                        <a:pt x="517995" y="627863"/>
                      </a:lnTo>
                      <a:lnTo>
                        <a:pt x="521612" y="626564"/>
                      </a:lnTo>
                      <a:lnTo>
                        <a:pt x="522294" y="626177"/>
                      </a:lnTo>
                      <a:lnTo>
                        <a:pt x="522458" y="626066"/>
                      </a:lnTo>
                      <a:lnTo>
                        <a:pt x="523271" y="625176"/>
                      </a:lnTo>
                      <a:lnTo>
                        <a:pt x="525495" y="621611"/>
                      </a:lnTo>
                      <a:lnTo>
                        <a:pt x="526119" y="620853"/>
                      </a:lnTo>
                      <a:lnTo>
                        <a:pt x="526855" y="620163"/>
                      </a:lnTo>
                      <a:lnTo>
                        <a:pt x="527633" y="619565"/>
                      </a:lnTo>
                      <a:lnTo>
                        <a:pt x="528519" y="619116"/>
                      </a:lnTo>
                      <a:lnTo>
                        <a:pt x="529494" y="618834"/>
                      </a:lnTo>
                      <a:lnTo>
                        <a:pt x="530600" y="618783"/>
                      </a:lnTo>
                      <a:lnTo>
                        <a:pt x="532909" y="619098"/>
                      </a:lnTo>
                      <a:lnTo>
                        <a:pt x="533977" y="619062"/>
                      </a:lnTo>
                      <a:lnTo>
                        <a:pt x="534922" y="618753"/>
                      </a:lnTo>
                      <a:lnTo>
                        <a:pt x="538495" y="617097"/>
                      </a:lnTo>
                      <a:lnTo>
                        <a:pt x="544390" y="615449"/>
                      </a:lnTo>
                      <a:lnTo>
                        <a:pt x="545247" y="615023"/>
                      </a:lnTo>
                      <a:lnTo>
                        <a:pt x="545953" y="614368"/>
                      </a:lnTo>
                      <a:lnTo>
                        <a:pt x="546441" y="613538"/>
                      </a:lnTo>
                      <a:lnTo>
                        <a:pt x="547000" y="612712"/>
                      </a:lnTo>
                      <a:lnTo>
                        <a:pt x="547673" y="611971"/>
                      </a:lnTo>
                      <a:lnTo>
                        <a:pt x="548479" y="611400"/>
                      </a:lnTo>
                      <a:lnTo>
                        <a:pt x="551208" y="610227"/>
                      </a:lnTo>
                      <a:lnTo>
                        <a:pt x="552001" y="609710"/>
                      </a:lnTo>
                      <a:lnTo>
                        <a:pt x="552688" y="608984"/>
                      </a:lnTo>
                      <a:lnTo>
                        <a:pt x="553320" y="608154"/>
                      </a:lnTo>
                      <a:lnTo>
                        <a:pt x="553888" y="607214"/>
                      </a:lnTo>
                      <a:lnTo>
                        <a:pt x="555166" y="605522"/>
                      </a:lnTo>
                      <a:lnTo>
                        <a:pt x="555879" y="604805"/>
                      </a:lnTo>
                      <a:lnTo>
                        <a:pt x="556681" y="604260"/>
                      </a:lnTo>
                      <a:lnTo>
                        <a:pt x="557559" y="603831"/>
                      </a:lnTo>
                      <a:lnTo>
                        <a:pt x="558513" y="603493"/>
                      </a:lnTo>
                      <a:lnTo>
                        <a:pt x="562432" y="602627"/>
                      </a:lnTo>
                      <a:lnTo>
                        <a:pt x="563058" y="602398"/>
                      </a:lnTo>
                      <a:lnTo>
                        <a:pt x="563475" y="602060"/>
                      </a:lnTo>
                      <a:lnTo>
                        <a:pt x="563856" y="601359"/>
                      </a:lnTo>
                      <a:lnTo>
                        <a:pt x="563988" y="600520"/>
                      </a:lnTo>
                      <a:lnTo>
                        <a:pt x="563982" y="599698"/>
                      </a:lnTo>
                      <a:lnTo>
                        <a:pt x="563783" y="598488"/>
                      </a:lnTo>
                      <a:lnTo>
                        <a:pt x="563767" y="597657"/>
                      </a:lnTo>
                      <a:lnTo>
                        <a:pt x="563921" y="596718"/>
                      </a:lnTo>
                      <a:lnTo>
                        <a:pt x="564171" y="595748"/>
                      </a:lnTo>
                      <a:lnTo>
                        <a:pt x="564550" y="594927"/>
                      </a:lnTo>
                      <a:lnTo>
                        <a:pt x="564963" y="594444"/>
                      </a:lnTo>
                      <a:lnTo>
                        <a:pt x="565546" y="594098"/>
                      </a:lnTo>
                      <a:lnTo>
                        <a:pt x="566427" y="593920"/>
                      </a:lnTo>
                      <a:lnTo>
                        <a:pt x="568185" y="594607"/>
                      </a:lnTo>
                      <a:lnTo>
                        <a:pt x="570512" y="595960"/>
                      </a:lnTo>
                      <a:lnTo>
                        <a:pt x="574806" y="599432"/>
                      </a:lnTo>
                      <a:lnTo>
                        <a:pt x="577771" y="602449"/>
                      </a:lnTo>
                      <a:lnTo>
                        <a:pt x="578024" y="603241"/>
                      </a:lnTo>
                      <a:lnTo>
                        <a:pt x="578107" y="604132"/>
                      </a:lnTo>
                      <a:lnTo>
                        <a:pt x="577876" y="606045"/>
                      </a:lnTo>
                      <a:lnTo>
                        <a:pt x="578638" y="607026"/>
                      </a:lnTo>
                      <a:lnTo>
                        <a:pt x="580097" y="607956"/>
                      </a:lnTo>
                      <a:lnTo>
                        <a:pt x="586793" y="610657"/>
                      </a:lnTo>
                      <a:lnTo>
                        <a:pt x="587812" y="611233"/>
                      </a:lnTo>
                      <a:lnTo>
                        <a:pt x="588712" y="611997"/>
                      </a:lnTo>
                      <a:lnTo>
                        <a:pt x="589651" y="613317"/>
                      </a:lnTo>
                      <a:lnTo>
                        <a:pt x="590023" y="614338"/>
                      </a:lnTo>
                      <a:lnTo>
                        <a:pt x="590091" y="615322"/>
                      </a:lnTo>
                      <a:lnTo>
                        <a:pt x="589790" y="616225"/>
                      </a:lnTo>
                      <a:lnTo>
                        <a:pt x="589222" y="616991"/>
                      </a:lnTo>
                      <a:lnTo>
                        <a:pt x="587840" y="618387"/>
                      </a:lnTo>
                      <a:lnTo>
                        <a:pt x="587231" y="619217"/>
                      </a:lnTo>
                      <a:lnTo>
                        <a:pt x="586178" y="621147"/>
                      </a:lnTo>
                      <a:lnTo>
                        <a:pt x="585359" y="623335"/>
                      </a:lnTo>
                      <a:lnTo>
                        <a:pt x="585088" y="624390"/>
                      </a:lnTo>
                      <a:lnTo>
                        <a:pt x="585424" y="625421"/>
                      </a:lnTo>
                      <a:lnTo>
                        <a:pt x="586353" y="626353"/>
                      </a:lnTo>
                      <a:lnTo>
                        <a:pt x="590305" y="628350"/>
                      </a:lnTo>
                      <a:lnTo>
                        <a:pt x="591488" y="629661"/>
                      </a:lnTo>
                      <a:lnTo>
                        <a:pt x="591642" y="630864"/>
                      </a:lnTo>
                      <a:lnTo>
                        <a:pt x="591559" y="631079"/>
                      </a:lnTo>
                      <a:lnTo>
                        <a:pt x="591376" y="632145"/>
                      </a:lnTo>
                      <a:lnTo>
                        <a:pt x="591159" y="634970"/>
                      </a:lnTo>
                      <a:lnTo>
                        <a:pt x="590857" y="635945"/>
                      </a:lnTo>
                      <a:lnTo>
                        <a:pt x="590392" y="636881"/>
                      </a:lnTo>
                      <a:lnTo>
                        <a:pt x="589177" y="638608"/>
                      </a:lnTo>
                      <a:lnTo>
                        <a:pt x="588659" y="639535"/>
                      </a:lnTo>
                      <a:lnTo>
                        <a:pt x="588246" y="640516"/>
                      </a:lnTo>
                      <a:lnTo>
                        <a:pt x="588012" y="641531"/>
                      </a:lnTo>
                      <a:lnTo>
                        <a:pt x="588092" y="642414"/>
                      </a:lnTo>
                      <a:lnTo>
                        <a:pt x="588254" y="643255"/>
                      </a:lnTo>
                      <a:lnTo>
                        <a:pt x="588101" y="645200"/>
                      </a:lnTo>
                      <a:lnTo>
                        <a:pt x="588454" y="646429"/>
                      </a:lnTo>
                      <a:lnTo>
                        <a:pt x="591753" y="649565"/>
                      </a:lnTo>
                      <a:lnTo>
                        <a:pt x="592573" y="650809"/>
                      </a:lnTo>
                      <a:lnTo>
                        <a:pt x="592854" y="651973"/>
                      </a:lnTo>
                      <a:lnTo>
                        <a:pt x="592468" y="654060"/>
                      </a:lnTo>
                      <a:lnTo>
                        <a:pt x="591323" y="658311"/>
                      </a:lnTo>
                      <a:lnTo>
                        <a:pt x="590546" y="660379"/>
                      </a:lnTo>
                      <a:lnTo>
                        <a:pt x="590280" y="661401"/>
                      </a:lnTo>
                      <a:lnTo>
                        <a:pt x="590089" y="663373"/>
                      </a:lnTo>
                      <a:lnTo>
                        <a:pt x="590286" y="664217"/>
                      </a:lnTo>
                      <a:lnTo>
                        <a:pt x="590614" y="664976"/>
                      </a:lnTo>
                      <a:lnTo>
                        <a:pt x="591361" y="665823"/>
                      </a:lnTo>
                      <a:lnTo>
                        <a:pt x="594010" y="668106"/>
                      </a:lnTo>
                      <a:lnTo>
                        <a:pt x="594854" y="669083"/>
                      </a:lnTo>
                      <a:lnTo>
                        <a:pt x="595344" y="670040"/>
                      </a:lnTo>
                      <a:lnTo>
                        <a:pt x="595402" y="670998"/>
                      </a:lnTo>
                      <a:lnTo>
                        <a:pt x="595114" y="672918"/>
                      </a:lnTo>
                      <a:lnTo>
                        <a:pt x="595147" y="673827"/>
                      </a:lnTo>
                      <a:lnTo>
                        <a:pt x="595615" y="674727"/>
                      </a:lnTo>
                      <a:lnTo>
                        <a:pt x="597670" y="676659"/>
                      </a:lnTo>
                      <a:lnTo>
                        <a:pt x="599886" y="679713"/>
                      </a:lnTo>
                      <a:lnTo>
                        <a:pt x="601807" y="681418"/>
                      </a:lnTo>
                      <a:lnTo>
                        <a:pt x="603394" y="683530"/>
                      </a:lnTo>
                      <a:lnTo>
                        <a:pt x="603978" y="685081"/>
                      </a:lnTo>
                      <a:lnTo>
                        <a:pt x="604189" y="685926"/>
                      </a:lnTo>
                      <a:lnTo>
                        <a:pt x="604271" y="687717"/>
                      </a:lnTo>
                      <a:lnTo>
                        <a:pt x="604204" y="688684"/>
                      </a:lnTo>
                      <a:lnTo>
                        <a:pt x="604252" y="689599"/>
                      </a:lnTo>
                      <a:lnTo>
                        <a:pt x="604478" y="690427"/>
                      </a:lnTo>
                      <a:lnTo>
                        <a:pt x="605327" y="691886"/>
                      </a:lnTo>
                      <a:lnTo>
                        <a:pt x="605637" y="692631"/>
                      </a:lnTo>
                      <a:lnTo>
                        <a:pt x="605768" y="693491"/>
                      </a:lnTo>
                      <a:lnTo>
                        <a:pt x="605394" y="695584"/>
                      </a:lnTo>
                      <a:lnTo>
                        <a:pt x="605403" y="696501"/>
                      </a:lnTo>
                      <a:lnTo>
                        <a:pt x="606013" y="697211"/>
                      </a:lnTo>
                      <a:lnTo>
                        <a:pt x="607111" y="697671"/>
                      </a:lnTo>
                      <a:lnTo>
                        <a:pt x="611819" y="697894"/>
                      </a:lnTo>
                      <a:lnTo>
                        <a:pt x="612775" y="698409"/>
                      </a:lnTo>
                      <a:lnTo>
                        <a:pt x="613426" y="699786"/>
                      </a:lnTo>
                      <a:lnTo>
                        <a:pt x="613666" y="702887"/>
                      </a:lnTo>
                      <a:lnTo>
                        <a:pt x="613925" y="703671"/>
                      </a:lnTo>
                      <a:lnTo>
                        <a:pt x="617171" y="709604"/>
                      </a:lnTo>
                      <a:lnTo>
                        <a:pt x="617755" y="711202"/>
                      </a:lnTo>
                      <a:lnTo>
                        <a:pt x="618929" y="716223"/>
                      </a:lnTo>
                      <a:lnTo>
                        <a:pt x="619039" y="717104"/>
                      </a:lnTo>
                      <a:lnTo>
                        <a:pt x="619097" y="719899"/>
                      </a:lnTo>
                      <a:lnTo>
                        <a:pt x="619075" y="720110"/>
                      </a:lnTo>
                      <a:lnTo>
                        <a:pt x="618770" y="721139"/>
                      </a:lnTo>
                      <a:lnTo>
                        <a:pt x="617047" y="725262"/>
                      </a:lnTo>
                      <a:lnTo>
                        <a:pt x="616474" y="726192"/>
                      </a:lnTo>
                      <a:lnTo>
                        <a:pt x="615859" y="727034"/>
                      </a:lnTo>
                      <a:lnTo>
                        <a:pt x="615109" y="727727"/>
                      </a:lnTo>
                      <a:lnTo>
                        <a:pt x="614315" y="728228"/>
                      </a:lnTo>
                      <a:lnTo>
                        <a:pt x="611430" y="729181"/>
                      </a:lnTo>
                      <a:lnTo>
                        <a:pt x="610601" y="729612"/>
                      </a:lnTo>
                      <a:lnTo>
                        <a:pt x="609942" y="730226"/>
                      </a:lnTo>
                      <a:lnTo>
                        <a:pt x="609594" y="731043"/>
                      </a:lnTo>
                      <a:lnTo>
                        <a:pt x="609693" y="731854"/>
                      </a:lnTo>
                      <a:lnTo>
                        <a:pt x="610050" y="732624"/>
                      </a:lnTo>
                      <a:lnTo>
                        <a:pt x="611033" y="733946"/>
                      </a:lnTo>
                      <a:lnTo>
                        <a:pt x="611791" y="735399"/>
                      </a:lnTo>
                      <a:lnTo>
                        <a:pt x="612356" y="736975"/>
                      </a:lnTo>
                      <a:lnTo>
                        <a:pt x="613217" y="742097"/>
                      </a:lnTo>
                      <a:lnTo>
                        <a:pt x="613786" y="743674"/>
                      </a:lnTo>
                      <a:lnTo>
                        <a:pt x="614770" y="745248"/>
                      </a:lnTo>
                      <a:lnTo>
                        <a:pt x="616201" y="746505"/>
                      </a:lnTo>
                      <a:lnTo>
                        <a:pt x="622196" y="749677"/>
                      </a:lnTo>
                      <a:lnTo>
                        <a:pt x="623879" y="750839"/>
                      </a:lnTo>
                      <a:lnTo>
                        <a:pt x="624855" y="751879"/>
                      </a:lnTo>
                      <a:lnTo>
                        <a:pt x="624977" y="752757"/>
                      </a:lnTo>
                      <a:lnTo>
                        <a:pt x="624786" y="755700"/>
                      </a:lnTo>
                      <a:lnTo>
                        <a:pt x="625444" y="756425"/>
                      </a:lnTo>
                      <a:lnTo>
                        <a:pt x="626697" y="756856"/>
                      </a:lnTo>
                      <a:lnTo>
                        <a:pt x="629276" y="756814"/>
                      </a:lnTo>
                      <a:lnTo>
                        <a:pt x="630726" y="756520"/>
                      </a:lnTo>
                      <a:lnTo>
                        <a:pt x="631913" y="756008"/>
                      </a:lnTo>
                      <a:lnTo>
                        <a:pt x="635136" y="753851"/>
                      </a:lnTo>
                      <a:lnTo>
                        <a:pt x="635999" y="753443"/>
                      </a:lnTo>
                      <a:lnTo>
                        <a:pt x="636941" y="753125"/>
                      </a:lnTo>
                      <a:lnTo>
                        <a:pt x="637956" y="752917"/>
                      </a:lnTo>
                      <a:lnTo>
                        <a:pt x="640369" y="753120"/>
                      </a:lnTo>
                      <a:lnTo>
                        <a:pt x="643470" y="754071"/>
                      </a:lnTo>
                      <a:lnTo>
                        <a:pt x="646813" y="756008"/>
                      </a:lnTo>
                      <a:lnTo>
                        <a:pt x="649580" y="758577"/>
                      </a:lnTo>
                      <a:lnTo>
                        <a:pt x="651737" y="761206"/>
                      </a:lnTo>
                      <a:lnTo>
                        <a:pt x="652148" y="761935"/>
                      </a:lnTo>
                      <a:lnTo>
                        <a:pt x="653465" y="764953"/>
                      </a:lnTo>
                      <a:lnTo>
                        <a:pt x="653922" y="765655"/>
                      </a:lnTo>
                      <a:lnTo>
                        <a:pt x="655595" y="767579"/>
                      </a:lnTo>
                      <a:lnTo>
                        <a:pt x="655969" y="768306"/>
                      </a:lnTo>
                      <a:lnTo>
                        <a:pt x="656208" y="769114"/>
                      </a:lnTo>
                      <a:lnTo>
                        <a:pt x="656328" y="769983"/>
                      </a:lnTo>
                      <a:lnTo>
                        <a:pt x="656337" y="770891"/>
                      </a:lnTo>
                      <a:lnTo>
                        <a:pt x="656496" y="771780"/>
                      </a:lnTo>
                      <a:lnTo>
                        <a:pt x="656715" y="772574"/>
                      </a:lnTo>
                      <a:lnTo>
                        <a:pt x="657097" y="773331"/>
                      </a:lnTo>
                      <a:lnTo>
                        <a:pt x="658029" y="774674"/>
                      </a:lnTo>
                      <a:lnTo>
                        <a:pt x="658371" y="775438"/>
                      </a:lnTo>
                      <a:lnTo>
                        <a:pt x="658595" y="776275"/>
                      </a:lnTo>
                      <a:lnTo>
                        <a:pt x="659069" y="778888"/>
                      </a:lnTo>
                      <a:lnTo>
                        <a:pt x="659363" y="779687"/>
                      </a:lnTo>
                      <a:lnTo>
                        <a:pt x="660487" y="781925"/>
                      </a:lnTo>
                      <a:lnTo>
                        <a:pt x="661032" y="783520"/>
                      </a:lnTo>
                      <a:lnTo>
                        <a:pt x="661157" y="784393"/>
                      </a:lnTo>
                      <a:lnTo>
                        <a:pt x="661144" y="785275"/>
                      </a:lnTo>
                      <a:lnTo>
                        <a:pt x="660878" y="786179"/>
                      </a:lnTo>
                      <a:lnTo>
                        <a:pt x="660295" y="786926"/>
                      </a:lnTo>
                      <a:lnTo>
                        <a:pt x="659529" y="787530"/>
                      </a:lnTo>
                      <a:lnTo>
                        <a:pt x="657871" y="788507"/>
                      </a:lnTo>
                      <a:lnTo>
                        <a:pt x="657139" y="789130"/>
                      </a:lnTo>
                      <a:lnTo>
                        <a:pt x="656507" y="789866"/>
                      </a:lnTo>
                      <a:lnTo>
                        <a:pt x="656258" y="790699"/>
                      </a:lnTo>
                      <a:lnTo>
                        <a:pt x="656289" y="791502"/>
                      </a:lnTo>
                      <a:lnTo>
                        <a:pt x="656628" y="792236"/>
                      </a:lnTo>
                      <a:lnTo>
                        <a:pt x="659696" y="796239"/>
                      </a:lnTo>
                      <a:lnTo>
                        <a:pt x="659960" y="797044"/>
                      </a:lnTo>
                      <a:lnTo>
                        <a:pt x="659984" y="797938"/>
                      </a:lnTo>
                      <a:lnTo>
                        <a:pt x="659623" y="799902"/>
                      </a:lnTo>
                      <a:lnTo>
                        <a:pt x="660148" y="800809"/>
                      </a:lnTo>
                      <a:lnTo>
                        <a:pt x="661198" y="801661"/>
                      </a:lnTo>
                      <a:lnTo>
                        <a:pt x="663223" y="802855"/>
                      </a:lnTo>
                      <a:lnTo>
                        <a:pt x="664051" y="803794"/>
                      </a:lnTo>
                      <a:lnTo>
                        <a:pt x="664293" y="804782"/>
                      </a:lnTo>
                      <a:lnTo>
                        <a:pt x="663925" y="805680"/>
                      </a:lnTo>
                      <a:lnTo>
                        <a:pt x="662078" y="808288"/>
                      </a:lnTo>
                      <a:lnTo>
                        <a:pt x="661217" y="809833"/>
                      </a:lnTo>
                      <a:lnTo>
                        <a:pt x="661091" y="810321"/>
                      </a:lnTo>
                      <a:lnTo>
                        <a:pt x="661081" y="811058"/>
                      </a:lnTo>
                      <a:lnTo>
                        <a:pt x="661944" y="813437"/>
                      </a:lnTo>
                      <a:lnTo>
                        <a:pt x="661992" y="814208"/>
                      </a:lnTo>
                      <a:lnTo>
                        <a:pt x="661728" y="816204"/>
                      </a:lnTo>
                      <a:lnTo>
                        <a:pt x="662149" y="817152"/>
                      </a:lnTo>
                      <a:lnTo>
                        <a:pt x="663241" y="817925"/>
                      </a:lnTo>
                      <a:lnTo>
                        <a:pt x="665442" y="818857"/>
                      </a:lnTo>
                      <a:lnTo>
                        <a:pt x="666515" y="819671"/>
                      </a:lnTo>
                      <a:lnTo>
                        <a:pt x="667244" y="820472"/>
                      </a:lnTo>
                      <a:lnTo>
                        <a:pt x="668911" y="823409"/>
                      </a:lnTo>
                      <a:lnTo>
                        <a:pt x="669509" y="824006"/>
                      </a:lnTo>
                      <a:lnTo>
                        <a:pt x="670436" y="824627"/>
                      </a:lnTo>
                      <a:lnTo>
                        <a:pt x="676359" y="826794"/>
                      </a:lnTo>
                      <a:lnTo>
                        <a:pt x="677115" y="827319"/>
                      </a:lnTo>
                      <a:lnTo>
                        <a:pt x="677665" y="827950"/>
                      </a:lnTo>
                      <a:lnTo>
                        <a:pt x="680135" y="832311"/>
                      </a:lnTo>
                      <a:lnTo>
                        <a:pt x="680944" y="832831"/>
                      </a:lnTo>
                      <a:lnTo>
                        <a:pt x="682163" y="832971"/>
                      </a:lnTo>
                      <a:lnTo>
                        <a:pt x="684639" y="832093"/>
                      </a:lnTo>
                      <a:lnTo>
                        <a:pt x="685438" y="831187"/>
                      </a:lnTo>
                      <a:lnTo>
                        <a:pt x="685745" y="830234"/>
                      </a:lnTo>
                      <a:lnTo>
                        <a:pt x="684030" y="826391"/>
                      </a:lnTo>
                      <a:lnTo>
                        <a:pt x="683874" y="825537"/>
                      </a:lnTo>
                      <a:lnTo>
                        <a:pt x="684048" y="824550"/>
                      </a:lnTo>
                      <a:lnTo>
                        <a:pt x="684454" y="823662"/>
                      </a:lnTo>
                      <a:lnTo>
                        <a:pt x="685057" y="822859"/>
                      </a:lnTo>
                      <a:lnTo>
                        <a:pt x="685743" y="822127"/>
                      </a:lnTo>
                      <a:lnTo>
                        <a:pt x="686479" y="821477"/>
                      </a:lnTo>
                      <a:lnTo>
                        <a:pt x="695929" y="814754"/>
                      </a:lnTo>
                      <a:lnTo>
                        <a:pt x="696825" y="814337"/>
                      </a:lnTo>
                      <a:lnTo>
                        <a:pt x="701016" y="813681"/>
                      </a:lnTo>
                      <a:lnTo>
                        <a:pt x="701929" y="813405"/>
                      </a:lnTo>
                      <a:lnTo>
                        <a:pt x="704672" y="812105"/>
                      </a:lnTo>
                      <a:lnTo>
                        <a:pt x="705880" y="811963"/>
                      </a:lnTo>
                      <a:lnTo>
                        <a:pt x="707398" y="812036"/>
                      </a:lnTo>
                      <a:lnTo>
                        <a:pt x="711964" y="813444"/>
                      </a:lnTo>
                      <a:lnTo>
                        <a:pt x="728841" y="816410"/>
                      </a:lnTo>
                      <a:lnTo>
                        <a:pt x="729675" y="816904"/>
                      </a:lnTo>
                      <a:lnTo>
                        <a:pt x="730337" y="817490"/>
                      </a:lnTo>
                      <a:lnTo>
                        <a:pt x="731371" y="818648"/>
                      </a:lnTo>
                      <a:lnTo>
                        <a:pt x="732223" y="818807"/>
                      </a:lnTo>
                      <a:lnTo>
                        <a:pt x="736221" y="818566"/>
                      </a:lnTo>
                      <a:lnTo>
                        <a:pt x="738252" y="818746"/>
                      </a:lnTo>
                      <a:lnTo>
                        <a:pt x="740839" y="819555"/>
                      </a:lnTo>
                      <a:lnTo>
                        <a:pt x="741898" y="820349"/>
                      </a:lnTo>
                      <a:lnTo>
                        <a:pt x="742702" y="821139"/>
                      </a:lnTo>
                      <a:lnTo>
                        <a:pt x="743234" y="821811"/>
                      </a:lnTo>
                      <a:lnTo>
                        <a:pt x="743972" y="822379"/>
                      </a:lnTo>
                      <a:lnTo>
                        <a:pt x="745139" y="822684"/>
                      </a:lnTo>
                      <a:lnTo>
                        <a:pt x="746712" y="822679"/>
                      </a:lnTo>
                      <a:lnTo>
                        <a:pt x="749078" y="822110"/>
                      </a:lnTo>
                      <a:lnTo>
                        <a:pt x="750399" y="821479"/>
                      </a:lnTo>
                      <a:lnTo>
                        <a:pt x="751371" y="820682"/>
                      </a:lnTo>
                      <a:lnTo>
                        <a:pt x="754896" y="815098"/>
                      </a:lnTo>
                      <a:lnTo>
                        <a:pt x="756692" y="811093"/>
                      </a:lnTo>
                      <a:lnTo>
                        <a:pt x="757311" y="810248"/>
                      </a:lnTo>
                      <a:lnTo>
                        <a:pt x="758005" y="809618"/>
                      </a:lnTo>
                      <a:lnTo>
                        <a:pt x="758836" y="809115"/>
                      </a:lnTo>
                      <a:lnTo>
                        <a:pt x="760636" y="808359"/>
                      </a:lnTo>
                      <a:lnTo>
                        <a:pt x="763010" y="807664"/>
                      </a:lnTo>
                      <a:lnTo>
                        <a:pt x="766702" y="807096"/>
                      </a:lnTo>
                      <a:lnTo>
                        <a:pt x="767843" y="806731"/>
                      </a:lnTo>
                      <a:lnTo>
                        <a:pt x="768580" y="806315"/>
                      </a:lnTo>
                      <a:lnTo>
                        <a:pt x="770041" y="805216"/>
                      </a:lnTo>
                      <a:lnTo>
                        <a:pt x="771055" y="804898"/>
                      </a:lnTo>
                      <a:lnTo>
                        <a:pt x="772288" y="804972"/>
                      </a:lnTo>
                      <a:lnTo>
                        <a:pt x="774174" y="805925"/>
                      </a:lnTo>
                      <a:lnTo>
                        <a:pt x="775978" y="807511"/>
                      </a:lnTo>
                      <a:lnTo>
                        <a:pt x="777015" y="807948"/>
                      </a:lnTo>
                      <a:lnTo>
                        <a:pt x="778570" y="808178"/>
                      </a:lnTo>
                      <a:lnTo>
                        <a:pt x="781744" y="808258"/>
                      </a:lnTo>
                      <a:lnTo>
                        <a:pt x="784325" y="808630"/>
                      </a:lnTo>
                      <a:lnTo>
                        <a:pt x="788180" y="809742"/>
                      </a:lnTo>
                      <a:lnTo>
                        <a:pt x="791390" y="811199"/>
                      </a:lnTo>
                      <a:lnTo>
                        <a:pt x="792696" y="811426"/>
                      </a:lnTo>
                      <a:lnTo>
                        <a:pt x="806511" y="810061"/>
                      </a:lnTo>
                      <a:lnTo>
                        <a:pt x="808719" y="810447"/>
                      </a:lnTo>
                      <a:lnTo>
                        <a:pt x="811446" y="810234"/>
                      </a:lnTo>
                      <a:lnTo>
                        <a:pt x="813004" y="809901"/>
                      </a:lnTo>
                      <a:lnTo>
                        <a:pt x="814111" y="809430"/>
                      </a:lnTo>
                      <a:lnTo>
                        <a:pt x="814947" y="808956"/>
                      </a:lnTo>
                      <a:lnTo>
                        <a:pt x="816015" y="808679"/>
                      </a:lnTo>
                      <a:lnTo>
                        <a:pt x="817328" y="808565"/>
                      </a:lnTo>
                      <a:lnTo>
                        <a:pt x="823228" y="809110"/>
                      </a:lnTo>
                      <a:lnTo>
                        <a:pt x="825599" y="810108"/>
                      </a:lnTo>
                      <a:lnTo>
                        <a:pt x="826818" y="810861"/>
                      </a:lnTo>
                      <a:lnTo>
                        <a:pt x="827667" y="811617"/>
                      </a:lnTo>
                      <a:lnTo>
                        <a:pt x="828508" y="813079"/>
                      </a:lnTo>
                      <a:lnTo>
                        <a:pt x="828800" y="813845"/>
                      </a:lnTo>
                      <a:lnTo>
                        <a:pt x="829185" y="814582"/>
                      </a:lnTo>
                      <a:lnTo>
                        <a:pt x="829805" y="815189"/>
                      </a:lnTo>
                      <a:lnTo>
                        <a:pt x="830781" y="815536"/>
                      </a:lnTo>
                      <a:lnTo>
                        <a:pt x="832114" y="815542"/>
                      </a:lnTo>
                      <a:lnTo>
                        <a:pt x="835157" y="814512"/>
                      </a:lnTo>
                      <a:lnTo>
                        <a:pt x="836447" y="814247"/>
                      </a:lnTo>
                      <a:lnTo>
                        <a:pt x="839384" y="814193"/>
                      </a:lnTo>
                      <a:lnTo>
                        <a:pt x="841867" y="813862"/>
                      </a:lnTo>
                      <a:lnTo>
                        <a:pt x="842796" y="813508"/>
                      </a:lnTo>
                      <a:lnTo>
                        <a:pt x="849792" y="810083"/>
                      </a:lnTo>
                      <a:lnTo>
                        <a:pt x="851894" y="809946"/>
                      </a:lnTo>
                      <a:lnTo>
                        <a:pt x="867244" y="810933"/>
                      </a:lnTo>
                      <a:lnTo>
                        <a:pt x="868909" y="811352"/>
                      </a:lnTo>
                      <a:lnTo>
                        <a:pt x="872948" y="813456"/>
                      </a:lnTo>
                      <a:lnTo>
                        <a:pt x="874477" y="814671"/>
                      </a:lnTo>
                      <a:lnTo>
                        <a:pt x="875297" y="814922"/>
                      </a:lnTo>
                      <a:lnTo>
                        <a:pt x="876585" y="815107"/>
                      </a:lnTo>
                      <a:lnTo>
                        <a:pt x="879041" y="815014"/>
                      </a:lnTo>
                      <a:lnTo>
                        <a:pt x="880482" y="814761"/>
                      </a:lnTo>
                      <a:lnTo>
                        <a:pt x="881447" y="814259"/>
                      </a:lnTo>
                      <a:lnTo>
                        <a:pt x="881583" y="813527"/>
                      </a:lnTo>
                      <a:lnTo>
                        <a:pt x="881264" y="812811"/>
                      </a:lnTo>
                      <a:lnTo>
                        <a:pt x="880575" y="812266"/>
                      </a:lnTo>
                      <a:lnTo>
                        <a:pt x="877504" y="811091"/>
                      </a:lnTo>
                      <a:lnTo>
                        <a:pt x="876727" y="810616"/>
                      </a:lnTo>
                      <a:lnTo>
                        <a:pt x="876205" y="810072"/>
                      </a:lnTo>
                      <a:lnTo>
                        <a:pt x="875872" y="809546"/>
                      </a:lnTo>
                      <a:lnTo>
                        <a:pt x="875669" y="809063"/>
                      </a:lnTo>
                      <a:lnTo>
                        <a:pt x="875537" y="808316"/>
                      </a:lnTo>
                      <a:lnTo>
                        <a:pt x="875388" y="806534"/>
                      </a:lnTo>
                      <a:lnTo>
                        <a:pt x="875431" y="805588"/>
                      </a:lnTo>
                      <a:lnTo>
                        <a:pt x="875564" y="804597"/>
                      </a:lnTo>
                      <a:lnTo>
                        <a:pt x="875917" y="803554"/>
                      </a:lnTo>
                      <a:lnTo>
                        <a:pt x="876357" y="802602"/>
                      </a:lnTo>
                      <a:lnTo>
                        <a:pt x="877714" y="800700"/>
                      </a:lnTo>
                      <a:lnTo>
                        <a:pt x="878095" y="799944"/>
                      </a:lnTo>
                      <a:lnTo>
                        <a:pt x="878602" y="798140"/>
                      </a:lnTo>
                      <a:lnTo>
                        <a:pt x="879141" y="797377"/>
                      </a:lnTo>
                      <a:lnTo>
                        <a:pt x="879923" y="796878"/>
                      </a:lnTo>
                      <a:lnTo>
                        <a:pt x="883895" y="795827"/>
                      </a:lnTo>
                      <a:lnTo>
                        <a:pt x="884682" y="795337"/>
                      </a:lnTo>
                      <a:lnTo>
                        <a:pt x="885360" y="794645"/>
                      </a:lnTo>
                      <a:lnTo>
                        <a:pt x="885783" y="793670"/>
                      </a:lnTo>
                      <a:lnTo>
                        <a:pt x="886008" y="792650"/>
                      </a:lnTo>
                      <a:lnTo>
                        <a:pt x="885997" y="791651"/>
                      </a:lnTo>
                      <a:lnTo>
                        <a:pt x="885797" y="790866"/>
                      </a:lnTo>
                      <a:lnTo>
                        <a:pt x="885446" y="790106"/>
                      </a:lnTo>
                      <a:lnTo>
                        <a:pt x="885014" y="789435"/>
                      </a:lnTo>
                      <a:lnTo>
                        <a:pt x="884675" y="788686"/>
                      </a:lnTo>
                      <a:lnTo>
                        <a:pt x="884554" y="787888"/>
                      </a:lnTo>
                      <a:lnTo>
                        <a:pt x="884868" y="787030"/>
                      </a:lnTo>
                      <a:lnTo>
                        <a:pt x="885420" y="786229"/>
                      </a:lnTo>
                      <a:lnTo>
                        <a:pt x="886988" y="785066"/>
                      </a:lnTo>
                      <a:lnTo>
                        <a:pt x="888831" y="784254"/>
                      </a:lnTo>
                      <a:lnTo>
                        <a:pt x="889830" y="784014"/>
                      </a:lnTo>
                      <a:lnTo>
                        <a:pt x="893976" y="783760"/>
                      </a:lnTo>
                      <a:lnTo>
                        <a:pt x="895130" y="783444"/>
                      </a:lnTo>
                      <a:lnTo>
                        <a:pt x="896013" y="782844"/>
                      </a:lnTo>
                      <a:lnTo>
                        <a:pt x="897966" y="780517"/>
                      </a:lnTo>
                      <a:lnTo>
                        <a:pt x="898716" y="779978"/>
                      </a:lnTo>
                      <a:lnTo>
                        <a:pt x="899937" y="779993"/>
                      </a:lnTo>
                      <a:lnTo>
                        <a:pt x="901642" y="780519"/>
                      </a:lnTo>
                      <a:lnTo>
                        <a:pt x="906293" y="783296"/>
                      </a:lnTo>
                      <a:lnTo>
                        <a:pt x="907519" y="784403"/>
                      </a:lnTo>
                      <a:lnTo>
                        <a:pt x="908336" y="787414"/>
                      </a:lnTo>
                      <a:lnTo>
                        <a:pt x="912614" y="795708"/>
                      </a:lnTo>
                      <a:lnTo>
                        <a:pt x="913371" y="797969"/>
                      </a:lnTo>
                      <a:lnTo>
                        <a:pt x="913873" y="798673"/>
                      </a:lnTo>
                      <a:lnTo>
                        <a:pt x="915162" y="799357"/>
                      </a:lnTo>
                      <a:lnTo>
                        <a:pt x="916128" y="800041"/>
                      </a:lnTo>
                      <a:lnTo>
                        <a:pt x="916819" y="800879"/>
                      </a:lnTo>
                      <a:lnTo>
                        <a:pt x="917057" y="802137"/>
                      </a:lnTo>
                      <a:lnTo>
                        <a:pt x="916970" y="803275"/>
                      </a:lnTo>
                      <a:lnTo>
                        <a:pt x="916738" y="804448"/>
                      </a:lnTo>
                      <a:lnTo>
                        <a:pt x="916501" y="806461"/>
                      </a:lnTo>
                      <a:lnTo>
                        <a:pt x="916630" y="807382"/>
                      </a:lnTo>
                      <a:lnTo>
                        <a:pt x="916815" y="808191"/>
                      </a:lnTo>
                      <a:lnTo>
                        <a:pt x="917112" y="808964"/>
                      </a:lnTo>
                      <a:lnTo>
                        <a:pt x="917780" y="809716"/>
                      </a:lnTo>
                      <a:lnTo>
                        <a:pt x="918730" y="810479"/>
                      </a:lnTo>
                      <a:lnTo>
                        <a:pt x="920720" y="811598"/>
                      </a:lnTo>
                      <a:lnTo>
                        <a:pt x="922063" y="812770"/>
                      </a:lnTo>
                      <a:lnTo>
                        <a:pt x="923578" y="814852"/>
                      </a:lnTo>
                      <a:lnTo>
                        <a:pt x="925371" y="818642"/>
                      </a:lnTo>
                      <a:lnTo>
                        <a:pt x="928658" y="823377"/>
                      </a:lnTo>
                      <a:lnTo>
                        <a:pt x="930692" y="824991"/>
                      </a:lnTo>
                      <a:lnTo>
                        <a:pt x="936629" y="826848"/>
                      </a:lnTo>
                      <a:lnTo>
                        <a:pt x="932021" y="853765"/>
                      </a:lnTo>
                      <a:lnTo>
                        <a:pt x="927434" y="880716"/>
                      </a:lnTo>
                      <a:lnTo>
                        <a:pt x="922864" y="907674"/>
                      </a:lnTo>
                      <a:lnTo>
                        <a:pt x="918310" y="934644"/>
                      </a:lnTo>
                      <a:lnTo>
                        <a:pt x="913772" y="961639"/>
                      </a:lnTo>
                      <a:lnTo>
                        <a:pt x="909252" y="988644"/>
                      </a:lnTo>
                      <a:lnTo>
                        <a:pt x="904751" y="1015661"/>
                      </a:lnTo>
                      <a:lnTo>
                        <a:pt x="900265" y="1042704"/>
                      </a:lnTo>
                      <a:lnTo>
                        <a:pt x="895800" y="1069758"/>
                      </a:lnTo>
                      <a:lnTo>
                        <a:pt x="891350" y="1096826"/>
                      </a:lnTo>
                      <a:lnTo>
                        <a:pt x="886916" y="1123911"/>
                      </a:lnTo>
                      <a:lnTo>
                        <a:pt x="882495" y="1151015"/>
                      </a:lnTo>
                      <a:lnTo>
                        <a:pt x="878089" y="1178125"/>
                      </a:lnTo>
                      <a:lnTo>
                        <a:pt x="873707" y="1205256"/>
                      </a:lnTo>
                      <a:lnTo>
                        <a:pt x="869345" y="1232407"/>
                      </a:lnTo>
                      <a:lnTo>
                        <a:pt x="864997" y="1259564"/>
                      </a:lnTo>
                      <a:lnTo>
                        <a:pt x="837729" y="1258130"/>
                      </a:lnTo>
                      <a:lnTo>
                        <a:pt x="810473" y="1256673"/>
                      </a:lnTo>
                      <a:lnTo>
                        <a:pt x="783228" y="1255196"/>
                      </a:lnTo>
                      <a:lnTo>
                        <a:pt x="755990" y="1253708"/>
                      </a:lnTo>
                      <a:lnTo>
                        <a:pt x="728754" y="1252201"/>
                      </a:lnTo>
                      <a:lnTo>
                        <a:pt x="701534" y="1250678"/>
                      </a:lnTo>
                      <a:lnTo>
                        <a:pt x="674323" y="1249136"/>
                      </a:lnTo>
                      <a:lnTo>
                        <a:pt x="647124" y="1247567"/>
                      </a:lnTo>
                      <a:lnTo>
                        <a:pt x="619929" y="1245981"/>
                      </a:lnTo>
                      <a:lnTo>
                        <a:pt x="592745" y="1244385"/>
                      </a:lnTo>
                      <a:lnTo>
                        <a:pt x="565572" y="1242771"/>
                      </a:lnTo>
                      <a:lnTo>
                        <a:pt x="538410" y="1241139"/>
                      </a:lnTo>
                      <a:lnTo>
                        <a:pt x="511258" y="1239490"/>
                      </a:lnTo>
                      <a:lnTo>
                        <a:pt x="484117" y="1237818"/>
                      </a:lnTo>
                      <a:lnTo>
                        <a:pt x="456986" y="1236123"/>
                      </a:lnTo>
                      <a:lnTo>
                        <a:pt x="429865" y="1234419"/>
                      </a:lnTo>
                      <a:lnTo>
                        <a:pt x="402922" y="1232716"/>
                      </a:lnTo>
                      <a:lnTo>
                        <a:pt x="375980" y="1230990"/>
                      </a:lnTo>
                      <a:lnTo>
                        <a:pt x="349047" y="1229252"/>
                      </a:lnTo>
                      <a:lnTo>
                        <a:pt x="322128" y="1227494"/>
                      </a:lnTo>
                      <a:lnTo>
                        <a:pt x="295220" y="1225719"/>
                      </a:lnTo>
                      <a:lnTo>
                        <a:pt x="268328" y="1223922"/>
                      </a:lnTo>
                      <a:lnTo>
                        <a:pt x="241450" y="1222103"/>
                      </a:lnTo>
                      <a:lnTo>
                        <a:pt x="214573" y="1220269"/>
                      </a:lnTo>
                      <a:lnTo>
                        <a:pt x="187708" y="1218422"/>
                      </a:lnTo>
                      <a:lnTo>
                        <a:pt x="160862" y="1216549"/>
                      </a:lnTo>
                      <a:lnTo>
                        <a:pt x="134026" y="1214666"/>
                      </a:lnTo>
                      <a:lnTo>
                        <a:pt x="107194" y="1212760"/>
                      </a:lnTo>
                      <a:lnTo>
                        <a:pt x="80377" y="1210837"/>
                      </a:lnTo>
                      <a:lnTo>
                        <a:pt x="53573" y="1208899"/>
                      </a:lnTo>
                      <a:lnTo>
                        <a:pt x="26781" y="1206943"/>
                      </a:lnTo>
                      <a:lnTo>
                        <a:pt x="0" y="1204966"/>
                      </a:lnTo>
                      <a:lnTo>
                        <a:pt x="3972" y="1186949"/>
                      </a:lnTo>
                      <a:lnTo>
                        <a:pt x="7968" y="1168929"/>
                      </a:lnTo>
                      <a:lnTo>
                        <a:pt x="11969" y="1150911"/>
                      </a:lnTo>
                      <a:lnTo>
                        <a:pt x="15978" y="1132908"/>
                      </a:lnTo>
                      <a:lnTo>
                        <a:pt x="20005" y="1114913"/>
                      </a:lnTo>
                      <a:lnTo>
                        <a:pt x="24036" y="1096917"/>
                      </a:lnTo>
                      <a:lnTo>
                        <a:pt x="28078" y="1078936"/>
                      </a:lnTo>
                      <a:lnTo>
                        <a:pt x="32132" y="1060962"/>
                      </a:lnTo>
                      <a:lnTo>
                        <a:pt x="36197" y="1042992"/>
                      </a:lnTo>
                      <a:lnTo>
                        <a:pt x="40264" y="1025037"/>
                      </a:lnTo>
                      <a:lnTo>
                        <a:pt x="44355" y="1007081"/>
                      </a:lnTo>
                      <a:lnTo>
                        <a:pt x="48448" y="989133"/>
                      </a:lnTo>
                      <a:lnTo>
                        <a:pt x="52551" y="971195"/>
                      </a:lnTo>
                      <a:lnTo>
                        <a:pt x="56671" y="953257"/>
                      </a:lnTo>
                      <a:lnTo>
                        <a:pt x="60798" y="935335"/>
                      </a:lnTo>
                      <a:lnTo>
                        <a:pt x="64929" y="917420"/>
                      </a:lnTo>
                      <a:lnTo>
                        <a:pt x="66741" y="909603"/>
                      </a:lnTo>
                      <a:lnTo>
                        <a:pt x="70365" y="893987"/>
                      </a:lnTo>
                      <a:lnTo>
                        <a:pt x="70414" y="891683"/>
                      </a:lnTo>
                      <a:lnTo>
                        <a:pt x="70424" y="891658"/>
                      </a:lnTo>
                      <a:lnTo>
                        <a:pt x="70724" y="890375"/>
                      </a:lnTo>
                      <a:lnTo>
                        <a:pt x="70555" y="886298"/>
                      </a:lnTo>
                      <a:lnTo>
                        <a:pt x="73412" y="883670"/>
                      </a:lnTo>
                      <a:lnTo>
                        <a:pt x="77032" y="881680"/>
                      </a:lnTo>
                      <a:lnTo>
                        <a:pt x="79133" y="879510"/>
                      </a:lnTo>
                      <a:lnTo>
                        <a:pt x="81664" y="875740"/>
                      </a:lnTo>
                      <a:lnTo>
                        <a:pt x="83163" y="871636"/>
                      </a:lnTo>
                      <a:lnTo>
                        <a:pt x="86255" y="866148"/>
                      </a:lnTo>
                      <a:lnTo>
                        <a:pt x="88876" y="859115"/>
                      </a:lnTo>
                      <a:lnTo>
                        <a:pt x="89951" y="857255"/>
                      </a:lnTo>
                      <a:lnTo>
                        <a:pt x="90879" y="855988"/>
                      </a:lnTo>
                      <a:lnTo>
                        <a:pt x="91673" y="854683"/>
                      </a:lnTo>
                      <a:lnTo>
                        <a:pt x="92331" y="852704"/>
                      </a:lnTo>
                      <a:lnTo>
                        <a:pt x="92179" y="848982"/>
                      </a:lnTo>
                      <a:lnTo>
                        <a:pt x="89729" y="842801"/>
                      </a:lnTo>
                      <a:lnTo>
                        <a:pt x="90362" y="839946"/>
                      </a:lnTo>
                      <a:lnTo>
                        <a:pt x="92160" y="838549"/>
                      </a:lnTo>
                      <a:lnTo>
                        <a:pt x="94120" y="838422"/>
                      </a:lnTo>
                      <a:lnTo>
                        <a:pt x="96037" y="838606"/>
                      </a:lnTo>
                      <a:lnTo>
                        <a:pt x="97702" y="838116"/>
                      </a:lnTo>
                      <a:lnTo>
                        <a:pt x="99247" y="836461"/>
                      </a:lnTo>
                      <a:lnTo>
                        <a:pt x="100274" y="834534"/>
                      </a:lnTo>
                      <a:lnTo>
                        <a:pt x="100950" y="832502"/>
                      </a:lnTo>
                      <a:lnTo>
                        <a:pt x="101437" y="830520"/>
                      </a:lnTo>
                      <a:lnTo>
                        <a:pt x="102174" y="829630"/>
                      </a:lnTo>
                      <a:lnTo>
                        <a:pt x="103396" y="828687"/>
                      </a:lnTo>
                      <a:lnTo>
                        <a:pt x="104268" y="827493"/>
                      </a:lnTo>
                      <a:lnTo>
                        <a:pt x="103949" y="825841"/>
                      </a:lnTo>
                      <a:lnTo>
                        <a:pt x="101736" y="823148"/>
                      </a:lnTo>
                      <a:lnTo>
                        <a:pt x="99714" y="821292"/>
                      </a:lnTo>
                      <a:lnTo>
                        <a:pt x="97023" y="819561"/>
                      </a:lnTo>
                      <a:lnTo>
                        <a:pt x="96479" y="818567"/>
                      </a:lnTo>
                      <a:lnTo>
                        <a:pt x="95963" y="816187"/>
                      </a:lnTo>
                      <a:lnTo>
                        <a:pt x="96136" y="814250"/>
                      </a:lnTo>
                      <a:lnTo>
                        <a:pt x="96671" y="812293"/>
                      </a:lnTo>
                      <a:lnTo>
                        <a:pt x="96609" y="810729"/>
                      </a:lnTo>
                      <a:lnTo>
                        <a:pt x="95005" y="809975"/>
                      </a:lnTo>
                      <a:lnTo>
                        <a:pt x="91727" y="810272"/>
                      </a:lnTo>
                      <a:lnTo>
                        <a:pt x="88959" y="811087"/>
                      </a:lnTo>
                      <a:lnTo>
                        <a:pt x="86396" y="811454"/>
                      </a:lnTo>
                      <a:lnTo>
                        <a:pt x="83727" y="810399"/>
                      </a:lnTo>
                      <a:lnTo>
                        <a:pt x="82859" y="809003"/>
                      </a:lnTo>
                      <a:lnTo>
                        <a:pt x="82441" y="807243"/>
                      </a:lnTo>
                      <a:lnTo>
                        <a:pt x="81750" y="805749"/>
                      </a:lnTo>
                      <a:lnTo>
                        <a:pt x="80019" y="805181"/>
                      </a:lnTo>
                      <a:lnTo>
                        <a:pt x="77957" y="805704"/>
                      </a:lnTo>
                      <a:lnTo>
                        <a:pt x="76359" y="806835"/>
                      </a:lnTo>
                      <a:lnTo>
                        <a:pt x="74878" y="808238"/>
                      </a:lnTo>
                      <a:lnTo>
                        <a:pt x="73146" y="809562"/>
                      </a:lnTo>
                      <a:lnTo>
                        <a:pt x="68588" y="805619"/>
                      </a:lnTo>
                      <a:lnTo>
                        <a:pt x="66866" y="803189"/>
                      </a:lnTo>
                      <a:lnTo>
                        <a:pt x="66707" y="799902"/>
                      </a:lnTo>
                      <a:lnTo>
                        <a:pt x="67280" y="798134"/>
                      </a:lnTo>
                      <a:lnTo>
                        <a:pt x="68486" y="795913"/>
                      </a:lnTo>
                      <a:lnTo>
                        <a:pt x="69058" y="794128"/>
                      </a:lnTo>
                      <a:lnTo>
                        <a:pt x="69198" y="791889"/>
                      </a:lnTo>
                      <a:lnTo>
                        <a:pt x="68197" y="788208"/>
                      </a:lnTo>
                      <a:lnTo>
                        <a:pt x="68061" y="786160"/>
                      </a:lnTo>
                      <a:lnTo>
                        <a:pt x="69474" y="782207"/>
                      </a:lnTo>
                      <a:lnTo>
                        <a:pt x="71828" y="778901"/>
                      </a:lnTo>
                      <a:lnTo>
                        <a:pt x="73629" y="775876"/>
                      </a:lnTo>
                      <a:lnTo>
                        <a:pt x="73317" y="771101"/>
                      </a:lnTo>
                      <a:lnTo>
                        <a:pt x="74525" y="769927"/>
                      </a:lnTo>
                      <a:lnTo>
                        <a:pt x="76047" y="769015"/>
                      </a:lnTo>
                      <a:lnTo>
                        <a:pt x="76915" y="768141"/>
                      </a:lnTo>
                      <a:lnTo>
                        <a:pt x="77924" y="765988"/>
                      </a:lnTo>
                      <a:lnTo>
                        <a:pt x="79346" y="765176"/>
                      </a:lnTo>
                      <a:lnTo>
                        <a:pt x="80986" y="764898"/>
                      </a:lnTo>
                      <a:lnTo>
                        <a:pt x="82672" y="764335"/>
                      </a:lnTo>
                      <a:lnTo>
                        <a:pt x="85088" y="762410"/>
                      </a:lnTo>
                      <a:lnTo>
                        <a:pt x="87640" y="759622"/>
                      </a:lnTo>
                      <a:lnTo>
                        <a:pt x="89812" y="756489"/>
                      </a:lnTo>
                      <a:lnTo>
                        <a:pt x="92617" y="749836"/>
                      </a:lnTo>
                      <a:lnTo>
                        <a:pt x="95035" y="746294"/>
                      </a:lnTo>
                      <a:lnTo>
                        <a:pt x="100023" y="740445"/>
                      </a:lnTo>
                      <a:lnTo>
                        <a:pt x="105947" y="731982"/>
                      </a:lnTo>
                      <a:lnTo>
                        <a:pt x="108028" y="729602"/>
                      </a:lnTo>
                      <a:lnTo>
                        <a:pt x="111299" y="726985"/>
                      </a:lnTo>
                      <a:lnTo>
                        <a:pt x="120868" y="722751"/>
                      </a:lnTo>
                      <a:lnTo>
                        <a:pt x="123938" y="720901"/>
                      </a:lnTo>
                      <a:lnTo>
                        <a:pt x="126423" y="718924"/>
                      </a:lnTo>
                      <a:lnTo>
                        <a:pt x="136446" y="708540"/>
                      </a:lnTo>
                      <a:lnTo>
                        <a:pt x="141101" y="702721"/>
                      </a:lnTo>
                      <a:lnTo>
                        <a:pt x="142982" y="699592"/>
                      </a:lnTo>
                      <a:lnTo>
                        <a:pt x="146412" y="691650"/>
                      </a:lnTo>
                      <a:lnTo>
                        <a:pt x="147502" y="688047"/>
                      </a:lnTo>
                      <a:lnTo>
                        <a:pt x="147317" y="687513"/>
                      </a:lnTo>
                      <a:lnTo>
                        <a:pt x="146842" y="686595"/>
                      </a:lnTo>
                      <a:lnTo>
                        <a:pt x="146492" y="685171"/>
                      </a:lnTo>
                      <a:lnTo>
                        <a:pt x="146655" y="683178"/>
                      </a:lnTo>
                      <a:lnTo>
                        <a:pt x="147533" y="681456"/>
                      </a:lnTo>
                      <a:lnTo>
                        <a:pt x="149065" y="679680"/>
                      </a:lnTo>
                      <a:lnTo>
                        <a:pt x="168501" y="660899"/>
                      </a:lnTo>
                      <a:lnTo>
                        <a:pt x="172936" y="654488"/>
                      </a:lnTo>
                      <a:lnTo>
                        <a:pt x="177944" y="644076"/>
                      </a:lnTo>
                      <a:lnTo>
                        <a:pt x="180463" y="641277"/>
                      </a:lnTo>
                      <a:lnTo>
                        <a:pt x="182480" y="638572"/>
                      </a:lnTo>
                      <a:lnTo>
                        <a:pt x="184615" y="631441"/>
                      </a:lnTo>
                      <a:lnTo>
                        <a:pt x="186045" y="627823"/>
                      </a:lnTo>
                      <a:lnTo>
                        <a:pt x="188571" y="624834"/>
                      </a:lnTo>
                      <a:lnTo>
                        <a:pt x="194533" y="620230"/>
                      </a:lnTo>
                      <a:lnTo>
                        <a:pt x="197961" y="614619"/>
                      </a:lnTo>
                      <a:lnTo>
                        <a:pt x="206270" y="607739"/>
                      </a:lnTo>
                      <a:lnTo>
                        <a:pt x="207214" y="606083"/>
                      </a:lnTo>
                      <a:lnTo>
                        <a:pt x="208718" y="602504"/>
                      </a:lnTo>
                      <a:lnTo>
                        <a:pt x="212695" y="596909"/>
                      </a:lnTo>
                      <a:lnTo>
                        <a:pt x="213746" y="595802"/>
                      </a:lnTo>
                      <a:lnTo>
                        <a:pt x="218799" y="591973"/>
                      </a:lnTo>
                      <a:lnTo>
                        <a:pt x="221318" y="589470"/>
                      </a:lnTo>
                      <a:lnTo>
                        <a:pt x="223188" y="586311"/>
                      </a:lnTo>
                      <a:lnTo>
                        <a:pt x="223937" y="582657"/>
                      </a:lnTo>
                      <a:lnTo>
                        <a:pt x="223717" y="579042"/>
                      </a:lnTo>
                      <a:lnTo>
                        <a:pt x="220908" y="570306"/>
                      </a:lnTo>
                      <a:lnTo>
                        <a:pt x="220076" y="563063"/>
                      </a:lnTo>
                      <a:lnTo>
                        <a:pt x="219123" y="559536"/>
                      </a:lnTo>
                      <a:lnTo>
                        <a:pt x="217839" y="557528"/>
                      </a:lnTo>
                      <a:lnTo>
                        <a:pt x="216234" y="555705"/>
                      </a:lnTo>
                      <a:lnTo>
                        <a:pt x="210732" y="554224"/>
                      </a:lnTo>
                      <a:lnTo>
                        <a:pt x="203857" y="549198"/>
                      </a:lnTo>
                      <a:lnTo>
                        <a:pt x="201737" y="546042"/>
                      </a:lnTo>
                      <a:lnTo>
                        <a:pt x="200675" y="544878"/>
                      </a:lnTo>
                      <a:lnTo>
                        <a:pt x="191355" y="542152"/>
                      </a:lnTo>
                      <a:lnTo>
                        <a:pt x="190490" y="539816"/>
                      </a:lnTo>
                      <a:lnTo>
                        <a:pt x="189893" y="537027"/>
                      </a:lnTo>
                      <a:lnTo>
                        <a:pt x="183565" y="528907"/>
                      </a:lnTo>
                      <a:lnTo>
                        <a:pt x="181950" y="518913"/>
                      </a:lnTo>
                      <a:lnTo>
                        <a:pt x="182081" y="513506"/>
                      </a:lnTo>
                      <a:lnTo>
                        <a:pt x="181956" y="512708"/>
                      </a:lnTo>
                      <a:lnTo>
                        <a:pt x="180668" y="504720"/>
                      </a:lnTo>
                      <a:lnTo>
                        <a:pt x="175513" y="495918"/>
                      </a:lnTo>
                      <a:lnTo>
                        <a:pt x="175209" y="494039"/>
                      </a:lnTo>
                      <a:lnTo>
                        <a:pt x="180212" y="490362"/>
                      </a:lnTo>
                      <a:lnTo>
                        <a:pt x="182559" y="488123"/>
                      </a:lnTo>
                      <a:lnTo>
                        <a:pt x="184687" y="484698"/>
                      </a:lnTo>
                      <a:lnTo>
                        <a:pt x="185574" y="481099"/>
                      </a:lnTo>
                      <a:lnTo>
                        <a:pt x="183804" y="476168"/>
                      </a:lnTo>
                      <a:lnTo>
                        <a:pt x="184362" y="467626"/>
                      </a:lnTo>
                      <a:lnTo>
                        <a:pt x="183380" y="463843"/>
                      </a:lnTo>
                      <a:lnTo>
                        <a:pt x="180529" y="456718"/>
                      </a:lnTo>
                      <a:lnTo>
                        <a:pt x="175956" y="448782"/>
                      </a:lnTo>
                      <a:lnTo>
                        <a:pt x="175636" y="446090"/>
                      </a:lnTo>
                      <a:lnTo>
                        <a:pt x="176946" y="443042"/>
                      </a:lnTo>
                      <a:lnTo>
                        <a:pt x="178355" y="438284"/>
                      </a:lnTo>
                      <a:lnTo>
                        <a:pt x="179480" y="433016"/>
                      </a:lnTo>
                      <a:lnTo>
                        <a:pt x="185720" y="407503"/>
                      </a:lnTo>
                      <a:lnTo>
                        <a:pt x="193136" y="379042"/>
                      </a:lnTo>
                      <a:lnTo>
                        <a:pt x="200574" y="349836"/>
                      </a:lnTo>
                      <a:lnTo>
                        <a:pt x="207014" y="323878"/>
                      </a:lnTo>
                      <a:lnTo>
                        <a:pt x="214218" y="295834"/>
                      </a:lnTo>
                      <a:lnTo>
                        <a:pt x="221481" y="267688"/>
                      </a:lnTo>
                      <a:lnTo>
                        <a:pt x="227996" y="241783"/>
                      </a:lnTo>
                      <a:lnTo>
                        <a:pt x="235344" y="213551"/>
                      </a:lnTo>
                      <a:lnTo>
                        <a:pt x="242296" y="186955"/>
                      </a:lnTo>
                      <a:lnTo>
                        <a:pt x="249533" y="159385"/>
                      </a:lnTo>
                      <a:lnTo>
                        <a:pt x="257355" y="132649"/>
                      </a:lnTo>
                      <a:lnTo>
                        <a:pt x="264264" y="107698"/>
                      </a:lnTo>
                      <a:lnTo>
                        <a:pt x="271320" y="80731"/>
                      </a:lnTo>
                      <a:lnTo>
                        <a:pt x="278402" y="53781"/>
                      </a:lnTo>
                      <a:lnTo>
                        <a:pt x="285515" y="26851"/>
                      </a:lnTo>
                      <a:lnTo>
                        <a:pt x="292629" y="0"/>
                      </a:lnTo>
                      <a:lnTo>
                        <a:pt x="305633" y="1147"/>
                      </a:lnTo>
                      <a:lnTo>
                        <a:pt x="334234" y="3647"/>
                      </a:lnTo>
                      <a:lnTo>
                        <a:pt x="362854" y="6121"/>
                      </a:lnTo>
                      <a:lnTo>
                        <a:pt x="391488" y="8568"/>
                      </a:lnTo>
                      <a:lnTo>
                        <a:pt x="420140" y="10988"/>
                      </a:lnTo>
                      <a:lnTo>
                        <a:pt x="421548" y="11106"/>
                      </a:lnTo>
                      <a:lnTo>
                        <a:pt x="416439" y="30966"/>
                      </a:lnTo>
                      <a:lnTo>
                        <a:pt x="411321" y="50905"/>
                      </a:lnTo>
                      <a:lnTo>
                        <a:pt x="406220" y="70855"/>
                      </a:lnTo>
                      <a:lnTo>
                        <a:pt x="401123" y="90815"/>
                      </a:lnTo>
                      <a:lnTo>
                        <a:pt x="396043" y="110795"/>
                      </a:lnTo>
                      <a:lnTo>
                        <a:pt x="390984" y="130769"/>
                      </a:lnTo>
                      <a:lnTo>
                        <a:pt x="385929" y="150761"/>
                      </a:lnTo>
                      <a:lnTo>
                        <a:pt x="380891" y="170763"/>
                      </a:lnTo>
                      <a:lnTo>
                        <a:pt x="378782" y="179176"/>
                      </a:lnTo>
                      <a:lnTo>
                        <a:pt x="378971" y="180278"/>
                      </a:lnTo>
                      <a:lnTo>
                        <a:pt x="379708" y="182002"/>
                      </a:lnTo>
                      <a:lnTo>
                        <a:pt x="382009" y="184729"/>
                      </a:lnTo>
                      <a:lnTo>
                        <a:pt x="384835" y="189302"/>
                      </a:lnTo>
                      <a:lnTo>
                        <a:pt x="385746" y="192038"/>
                      </a:lnTo>
                      <a:lnTo>
                        <a:pt x="388064" y="196217"/>
                      </a:lnTo>
                      <a:lnTo>
                        <a:pt x="388617" y="198091"/>
                      </a:lnTo>
                      <a:lnTo>
                        <a:pt x="388988" y="198996"/>
                      </a:lnTo>
                      <a:lnTo>
                        <a:pt x="389651" y="199945"/>
                      </a:lnTo>
                      <a:lnTo>
                        <a:pt x="391029" y="201254"/>
                      </a:lnTo>
                      <a:lnTo>
                        <a:pt x="392122" y="202663"/>
                      </a:lnTo>
                      <a:lnTo>
                        <a:pt x="393194" y="204440"/>
                      </a:lnTo>
                      <a:lnTo>
                        <a:pt x="394160" y="205630"/>
                      </a:lnTo>
                      <a:lnTo>
                        <a:pt x="396898" y="207563"/>
                      </a:lnTo>
                      <a:lnTo>
                        <a:pt x="397736" y="208509"/>
                      </a:lnTo>
                      <a:lnTo>
                        <a:pt x="398252" y="209960"/>
                      </a:lnTo>
                      <a:lnTo>
                        <a:pt x="398529" y="211027"/>
                      </a:lnTo>
                      <a:lnTo>
                        <a:pt x="399037" y="219413"/>
                      </a:lnTo>
                      <a:lnTo>
                        <a:pt x="399391" y="220406"/>
                      </a:lnTo>
                      <a:lnTo>
                        <a:pt x="400100" y="221431"/>
                      </a:lnTo>
                      <a:lnTo>
                        <a:pt x="403178" y="223601"/>
                      </a:lnTo>
                      <a:lnTo>
                        <a:pt x="404190" y="224583"/>
                      </a:lnTo>
                      <a:lnTo>
                        <a:pt x="404620" y="226197"/>
                      </a:lnTo>
                      <a:lnTo>
                        <a:pt x="404656" y="227397"/>
                      </a:lnTo>
                      <a:lnTo>
                        <a:pt x="404790" y="228597"/>
                      </a:lnTo>
                      <a:lnTo>
                        <a:pt x="405259" y="229593"/>
                      </a:lnTo>
                      <a:lnTo>
                        <a:pt x="408562" y="232176"/>
                      </a:lnTo>
                      <a:lnTo>
                        <a:pt x="409311" y="233042"/>
                      </a:lnTo>
                      <a:lnTo>
                        <a:pt x="409816" y="234531"/>
                      </a:lnTo>
                      <a:lnTo>
                        <a:pt x="409899" y="235726"/>
                      </a:lnTo>
                      <a:lnTo>
                        <a:pt x="409739" y="236936"/>
                      </a:lnTo>
                      <a:lnTo>
                        <a:pt x="408355" y="241138"/>
                      </a:lnTo>
                      <a:lnTo>
                        <a:pt x="408654" y="242589"/>
                      </a:lnTo>
                      <a:lnTo>
                        <a:pt x="411095" y="247853"/>
                      </a:lnTo>
                      <a:lnTo>
                        <a:pt x="411553" y="249767"/>
                      </a:lnTo>
                      <a:lnTo>
                        <a:pt x="411504" y="251237"/>
                      </a:lnTo>
                      <a:lnTo>
                        <a:pt x="410957" y="252174"/>
                      </a:lnTo>
                      <a:lnTo>
                        <a:pt x="409720" y="253830"/>
                      </a:lnTo>
                      <a:lnTo>
                        <a:pt x="408988" y="254519"/>
                      </a:lnTo>
                      <a:lnTo>
                        <a:pt x="408198" y="255089"/>
                      </a:lnTo>
                      <a:lnTo>
                        <a:pt x="407360" y="255570"/>
                      </a:lnTo>
                      <a:lnTo>
                        <a:pt x="403719" y="257080"/>
                      </a:lnTo>
                      <a:lnTo>
                        <a:pt x="402852" y="257551"/>
                      </a:lnTo>
                      <a:lnTo>
                        <a:pt x="402130" y="258104"/>
                      </a:lnTo>
                      <a:lnTo>
                        <a:pt x="401967" y="258980"/>
                      </a:lnTo>
                      <a:lnTo>
                        <a:pt x="402542" y="259917"/>
                      </a:lnTo>
                      <a:lnTo>
                        <a:pt x="405495" y="262213"/>
                      </a:lnTo>
                      <a:lnTo>
                        <a:pt x="406444" y="263371"/>
                      </a:lnTo>
                      <a:lnTo>
                        <a:pt x="407006" y="265310"/>
                      </a:lnTo>
                      <a:lnTo>
                        <a:pt x="406935" y="268906"/>
                      </a:lnTo>
                      <a:lnTo>
                        <a:pt x="406977" y="269063"/>
                      </a:lnTo>
                      <a:lnTo>
                        <a:pt x="408166" y="269947"/>
                      </a:lnTo>
                      <a:lnTo>
                        <a:pt x="410019" y="270978"/>
                      </a:lnTo>
                      <a:lnTo>
                        <a:pt x="411054" y="271841"/>
                      </a:lnTo>
                      <a:lnTo>
                        <a:pt x="411309" y="273005"/>
                      </a:lnTo>
                      <a:lnTo>
                        <a:pt x="410821" y="273850"/>
                      </a:lnTo>
                      <a:lnTo>
                        <a:pt x="410065" y="274512"/>
                      </a:lnTo>
                      <a:lnTo>
                        <a:pt x="409169" y="274899"/>
                      </a:lnTo>
                      <a:lnTo>
                        <a:pt x="408226" y="275152"/>
                      </a:lnTo>
                      <a:lnTo>
                        <a:pt x="407192" y="275325"/>
                      </a:lnTo>
                      <a:lnTo>
                        <a:pt x="401375" y="275347"/>
                      </a:lnTo>
                      <a:lnTo>
                        <a:pt x="400432" y="275531"/>
                      </a:lnTo>
                      <a:lnTo>
                        <a:pt x="399668" y="275904"/>
                      </a:lnTo>
                      <a:lnTo>
                        <a:pt x="399225" y="276209"/>
                      </a:lnTo>
                      <a:lnTo>
                        <a:pt x="398710" y="276797"/>
                      </a:lnTo>
                      <a:lnTo>
                        <a:pt x="398271" y="277560"/>
                      </a:lnTo>
                      <a:lnTo>
                        <a:pt x="398409" y="278515"/>
                      </a:lnTo>
                      <a:lnTo>
                        <a:pt x="399095" y="279474"/>
                      </a:lnTo>
                      <a:lnTo>
                        <a:pt x="401082" y="280631"/>
                      </a:lnTo>
                      <a:lnTo>
                        <a:pt x="406014" y="282416"/>
                      </a:lnTo>
                      <a:lnTo>
                        <a:pt x="414655" y="289076"/>
                      </a:lnTo>
                      <a:lnTo>
                        <a:pt x="415624" y="290197"/>
                      </a:lnTo>
                      <a:lnTo>
                        <a:pt x="418861" y="294969"/>
                      </a:lnTo>
                      <a:lnTo>
                        <a:pt x="420378" y="297968"/>
                      </a:lnTo>
                      <a:lnTo>
                        <a:pt x="420937" y="300450"/>
                      </a:lnTo>
                      <a:lnTo>
                        <a:pt x="421747" y="302808"/>
                      </a:lnTo>
                      <a:lnTo>
                        <a:pt x="422284" y="303645"/>
                      </a:lnTo>
                      <a:lnTo>
                        <a:pt x="423179" y="304425"/>
                      </a:lnTo>
                      <a:lnTo>
                        <a:pt x="424967" y="305317"/>
                      </a:lnTo>
                      <a:lnTo>
                        <a:pt x="431467" y="306925"/>
                      </a:lnTo>
                      <a:lnTo>
                        <a:pt x="442556" y="312120"/>
                      </a:lnTo>
                      <a:lnTo>
                        <a:pt x="443515" y="312921"/>
                      </a:lnTo>
                      <a:lnTo>
                        <a:pt x="444338" y="314055"/>
                      </a:lnTo>
                      <a:lnTo>
                        <a:pt x="445336" y="316231"/>
                      </a:lnTo>
                      <a:lnTo>
                        <a:pt x="446045" y="318783"/>
                      </a:lnTo>
                      <a:lnTo>
                        <a:pt x="446398" y="319689"/>
                      </a:lnTo>
                      <a:lnTo>
                        <a:pt x="447026" y="320720"/>
                      </a:lnTo>
                      <a:lnTo>
                        <a:pt x="447385" y="321592"/>
                      </a:lnTo>
                      <a:lnTo>
                        <a:pt x="447576" y="322469"/>
                      </a:lnTo>
                      <a:lnTo>
                        <a:pt x="447623" y="324308"/>
                      </a:lnTo>
                      <a:lnTo>
                        <a:pt x="447915" y="325168"/>
                      </a:lnTo>
                      <a:lnTo>
                        <a:pt x="448544" y="325917"/>
                      </a:lnTo>
                      <a:lnTo>
                        <a:pt x="449730" y="326642"/>
                      </a:lnTo>
                      <a:lnTo>
                        <a:pt x="450654" y="327419"/>
                      </a:lnTo>
                      <a:lnTo>
                        <a:pt x="451410" y="328368"/>
                      </a:lnTo>
                      <a:lnTo>
                        <a:pt x="452299" y="330000"/>
                      </a:lnTo>
                      <a:lnTo>
                        <a:pt x="453193" y="331203"/>
                      </a:lnTo>
                      <a:lnTo>
                        <a:pt x="456375" y="333776"/>
                      </a:lnTo>
                      <a:lnTo>
                        <a:pt x="457596" y="335156"/>
                      </a:lnTo>
                      <a:lnTo>
                        <a:pt x="460216" y="339996"/>
                      </a:lnTo>
                      <a:lnTo>
                        <a:pt x="461212" y="344129"/>
                      </a:lnTo>
                      <a:lnTo>
                        <a:pt x="470528" y="356760"/>
                      </a:lnTo>
                      <a:lnTo>
                        <a:pt x="470633" y="357660"/>
                      </a:lnTo>
                      <a:lnTo>
                        <a:pt x="470532" y="360813"/>
                      </a:lnTo>
                      <a:lnTo>
                        <a:pt x="470573" y="361126"/>
                      </a:lnTo>
                      <a:lnTo>
                        <a:pt x="470691" y="361585"/>
                      </a:lnTo>
                      <a:lnTo>
                        <a:pt x="471175" y="362289"/>
                      </a:lnTo>
                      <a:lnTo>
                        <a:pt x="472039" y="363073"/>
                      </a:lnTo>
                      <a:lnTo>
                        <a:pt x="473822" y="363930"/>
                      </a:lnTo>
                      <a:lnTo>
                        <a:pt x="476351" y="364754"/>
                      </a:lnTo>
                      <a:lnTo>
                        <a:pt x="477106" y="365316"/>
                      </a:lnTo>
                      <a:lnTo>
                        <a:pt x="477842" y="366180"/>
                      </a:lnTo>
                      <a:lnTo>
                        <a:pt x="480584" y="370971"/>
                      </a:lnTo>
                      <a:lnTo>
                        <a:pt x="481278" y="371800"/>
                      </a:lnTo>
                      <a:lnTo>
                        <a:pt x="482241" y="372701"/>
                      </a:lnTo>
                      <a:lnTo>
                        <a:pt x="485194" y="374776"/>
                      </a:lnTo>
                      <a:lnTo>
                        <a:pt x="485849" y="375577"/>
                      </a:lnTo>
                      <a:lnTo>
                        <a:pt x="485751" y="376470"/>
                      </a:lnTo>
                      <a:lnTo>
                        <a:pt x="485347" y="377366"/>
                      </a:lnTo>
                      <a:lnTo>
                        <a:pt x="484806" y="378316"/>
                      </a:lnTo>
                      <a:lnTo>
                        <a:pt x="484335" y="379317"/>
                      </a:lnTo>
                      <a:lnTo>
                        <a:pt x="484000" y="380380"/>
                      </a:lnTo>
                      <a:lnTo>
                        <a:pt x="483586" y="383382"/>
                      </a:lnTo>
                      <a:lnTo>
                        <a:pt x="483563" y="385267"/>
                      </a:lnTo>
                      <a:lnTo>
                        <a:pt x="483778" y="387050"/>
                      </a:lnTo>
                      <a:lnTo>
                        <a:pt x="484353" y="389559"/>
                      </a:lnTo>
                      <a:lnTo>
                        <a:pt x="485022" y="390464"/>
                      </a:lnTo>
                      <a:lnTo>
                        <a:pt x="486056" y="391467"/>
                      </a:lnTo>
                      <a:lnTo>
                        <a:pt x="489636" y="394165"/>
                      </a:lnTo>
                      <a:lnTo>
                        <a:pt x="490830" y="395457"/>
                      </a:lnTo>
                      <a:lnTo>
                        <a:pt x="492325" y="397557"/>
                      </a:lnTo>
                      <a:lnTo>
                        <a:pt x="493509" y="398780"/>
                      </a:lnTo>
                      <a:lnTo>
                        <a:pt x="495516" y="399847"/>
                      </a:lnTo>
                      <a:lnTo>
                        <a:pt x="499163" y="401108"/>
                      </a:lnTo>
                      <a:lnTo>
                        <a:pt x="500002" y="401710"/>
                      </a:lnTo>
                      <a:lnTo>
                        <a:pt x="500538" y="402502"/>
                      </a:lnTo>
                      <a:lnTo>
                        <a:pt x="500770" y="403734"/>
                      </a:lnTo>
                      <a:lnTo>
                        <a:pt x="500621" y="404909"/>
                      </a:lnTo>
                      <a:lnTo>
                        <a:pt x="500301" y="406020"/>
                      </a:lnTo>
                      <a:lnTo>
                        <a:pt x="498391" y="410077"/>
                      </a:lnTo>
                      <a:lnTo>
                        <a:pt x="498200" y="411010"/>
                      </a:lnTo>
                      <a:lnTo>
                        <a:pt x="498393" y="411865"/>
                      </a:lnTo>
                      <a:lnTo>
                        <a:pt x="498974" y="412555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Freeform 14">
                  <a:extLst>
                    <a:ext uri="{FF2B5EF4-FFF2-40B4-BE49-F238E27FC236}">
                      <a16:creationId xmlns:a16="http://schemas.microsoft.com/office/drawing/2014/main" id="{E151D0BA-3384-4795-A617-3A4D13807D61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662031" y="3146622"/>
                  <a:ext cx="721430" cy="409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7043" h="605465">
                      <a:moveTo>
                        <a:pt x="84448" y="472867"/>
                      </a:moveTo>
                      <a:lnTo>
                        <a:pt x="85834" y="473720"/>
                      </a:lnTo>
                      <a:lnTo>
                        <a:pt x="87466" y="475790"/>
                      </a:lnTo>
                      <a:lnTo>
                        <a:pt x="89797" y="478044"/>
                      </a:lnTo>
                      <a:lnTo>
                        <a:pt x="91398" y="480509"/>
                      </a:lnTo>
                      <a:lnTo>
                        <a:pt x="94016" y="482898"/>
                      </a:lnTo>
                      <a:lnTo>
                        <a:pt x="94832" y="484083"/>
                      </a:lnTo>
                      <a:lnTo>
                        <a:pt x="91800" y="483917"/>
                      </a:lnTo>
                      <a:lnTo>
                        <a:pt x="89309" y="483123"/>
                      </a:lnTo>
                      <a:lnTo>
                        <a:pt x="87083" y="481869"/>
                      </a:lnTo>
                      <a:lnTo>
                        <a:pt x="85166" y="479366"/>
                      </a:lnTo>
                      <a:lnTo>
                        <a:pt x="83587" y="478093"/>
                      </a:lnTo>
                      <a:lnTo>
                        <a:pt x="82906" y="476137"/>
                      </a:lnTo>
                      <a:lnTo>
                        <a:pt x="82711" y="475720"/>
                      </a:lnTo>
                      <a:close/>
                      <a:moveTo>
                        <a:pt x="26111" y="413939"/>
                      </a:moveTo>
                      <a:lnTo>
                        <a:pt x="26792" y="414828"/>
                      </a:lnTo>
                      <a:lnTo>
                        <a:pt x="26693" y="416276"/>
                      </a:lnTo>
                      <a:lnTo>
                        <a:pt x="27393" y="417191"/>
                      </a:lnTo>
                      <a:lnTo>
                        <a:pt x="28562" y="420175"/>
                      </a:lnTo>
                      <a:lnTo>
                        <a:pt x="27812" y="422865"/>
                      </a:lnTo>
                      <a:lnTo>
                        <a:pt x="26243" y="428240"/>
                      </a:lnTo>
                      <a:lnTo>
                        <a:pt x="23156" y="429831"/>
                      </a:lnTo>
                      <a:lnTo>
                        <a:pt x="23667" y="423912"/>
                      </a:lnTo>
                      <a:lnTo>
                        <a:pt x="21371" y="421284"/>
                      </a:lnTo>
                      <a:lnTo>
                        <a:pt x="23411" y="417977"/>
                      </a:lnTo>
                      <a:lnTo>
                        <a:pt x="24360" y="415380"/>
                      </a:lnTo>
                      <a:close/>
                      <a:moveTo>
                        <a:pt x="233288" y="315151"/>
                      </a:moveTo>
                      <a:lnTo>
                        <a:pt x="235826" y="315670"/>
                      </a:lnTo>
                      <a:lnTo>
                        <a:pt x="236895" y="316547"/>
                      </a:lnTo>
                      <a:lnTo>
                        <a:pt x="236820" y="318557"/>
                      </a:lnTo>
                      <a:lnTo>
                        <a:pt x="236088" y="320235"/>
                      </a:lnTo>
                      <a:lnTo>
                        <a:pt x="234655" y="322841"/>
                      </a:lnTo>
                      <a:lnTo>
                        <a:pt x="232429" y="324368"/>
                      </a:lnTo>
                      <a:lnTo>
                        <a:pt x="230626" y="325169"/>
                      </a:lnTo>
                      <a:lnTo>
                        <a:pt x="229875" y="325086"/>
                      </a:lnTo>
                      <a:lnTo>
                        <a:pt x="228994" y="324243"/>
                      </a:lnTo>
                      <a:lnTo>
                        <a:pt x="228110" y="323392"/>
                      </a:lnTo>
                      <a:lnTo>
                        <a:pt x="226798" y="321483"/>
                      </a:lnTo>
                      <a:lnTo>
                        <a:pt x="226315" y="321175"/>
                      </a:lnTo>
                      <a:lnTo>
                        <a:pt x="226314" y="319403"/>
                      </a:lnTo>
                      <a:lnTo>
                        <a:pt x="227667" y="318807"/>
                      </a:lnTo>
                      <a:lnTo>
                        <a:pt x="229025" y="318197"/>
                      </a:lnTo>
                      <a:lnTo>
                        <a:pt x="230321" y="316582"/>
                      </a:lnTo>
                      <a:lnTo>
                        <a:pt x="231542" y="315197"/>
                      </a:lnTo>
                      <a:close/>
                      <a:moveTo>
                        <a:pt x="221180" y="293164"/>
                      </a:moveTo>
                      <a:lnTo>
                        <a:pt x="219719" y="295259"/>
                      </a:lnTo>
                      <a:lnTo>
                        <a:pt x="217462" y="296267"/>
                      </a:lnTo>
                      <a:lnTo>
                        <a:pt x="216719" y="297958"/>
                      </a:lnTo>
                      <a:lnTo>
                        <a:pt x="216004" y="300143"/>
                      </a:lnTo>
                      <a:lnTo>
                        <a:pt x="215110" y="302302"/>
                      </a:lnTo>
                      <a:lnTo>
                        <a:pt x="215959" y="304416"/>
                      </a:lnTo>
                      <a:lnTo>
                        <a:pt x="216629" y="306502"/>
                      </a:lnTo>
                      <a:lnTo>
                        <a:pt x="215915" y="308688"/>
                      </a:lnTo>
                      <a:lnTo>
                        <a:pt x="215122" y="311119"/>
                      </a:lnTo>
                      <a:lnTo>
                        <a:pt x="212750" y="313629"/>
                      </a:lnTo>
                      <a:lnTo>
                        <a:pt x="210335" y="315111"/>
                      </a:lnTo>
                      <a:lnTo>
                        <a:pt x="209832" y="314310"/>
                      </a:lnTo>
                      <a:lnTo>
                        <a:pt x="209936" y="312801"/>
                      </a:lnTo>
                      <a:lnTo>
                        <a:pt x="209899" y="310538"/>
                      </a:lnTo>
                      <a:lnTo>
                        <a:pt x="209933" y="309282"/>
                      </a:lnTo>
                      <a:lnTo>
                        <a:pt x="209479" y="307719"/>
                      </a:lnTo>
                      <a:lnTo>
                        <a:pt x="208176" y="305807"/>
                      </a:lnTo>
                      <a:lnTo>
                        <a:pt x="207427" y="303964"/>
                      </a:lnTo>
                      <a:lnTo>
                        <a:pt x="207906" y="302505"/>
                      </a:lnTo>
                      <a:lnTo>
                        <a:pt x="209868" y="299458"/>
                      </a:lnTo>
                      <a:lnTo>
                        <a:pt x="211039" y="297070"/>
                      </a:lnTo>
                      <a:lnTo>
                        <a:pt x="212449" y="295708"/>
                      </a:lnTo>
                      <a:lnTo>
                        <a:pt x="214309" y="295915"/>
                      </a:lnTo>
                      <a:lnTo>
                        <a:pt x="215736" y="295076"/>
                      </a:lnTo>
                      <a:lnTo>
                        <a:pt x="218287" y="294355"/>
                      </a:lnTo>
                      <a:lnTo>
                        <a:pt x="219380" y="293962"/>
                      </a:lnTo>
                      <a:close/>
                      <a:moveTo>
                        <a:pt x="283842" y="264067"/>
                      </a:moveTo>
                      <a:lnTo>
                        <a:pt x="282215" y="266394"/>
                      </a:lnTo>
                      <a:lnTo>
                        <a:pt x="282429" y="267587"/>
                      </a:lnTo>
                      <a:lnTo>
                        <a:pt x="283349" y="268533"/>
                      </a:lnTo>
                      <a:lnTo>
                        <a:pt x="283823" y="270124"/>
                      </a:lnTo>
                      <a:lnTo>
                        <a:pt x="283528" y="271955"/>
                      </a:lnTo>
                      <a:lnTo>
                        <a:pt x="282536" y="275465"/>
                      </a:lnTo>
                      <a:lnTo>
                        <a:pt x="282358" y="277244"/>
                      </a:lnTo>
                      <a:lnTo>
                        <a:pt x="283087" y="280322"/>
                      </a:lnTo>
                      <a:lnTo>
                        <a:pt x="284752" y="282014"/>
                      </a:lnTo>
                      <a:lnTo>
                        <a:pt x="286869" y="283372"/>
                      </a:lnTo>
                      <a:lnTo>
                        <a:pt x="288989" y="285462"/>
                      </a:lnTo>
                      <a:lnTo>
                        <a:pt x="287985" y="285401"/>
                      </a:lnTo>
                      <a:lnTo>
                        <a:pt x="281589" y="286911"/>
                      </a:lnTo>
                      <a:lnTo>
                        <a:pt x="276142" y="290411"/>
                      </a:lnTo>
                      <a:lnTo>
                        <a:pt x="272925" y="292074"/>
                      </a:lnTo>
                      <a:lnTo>
                        <a:pt x="272934" y="289734"/>
                      </a:lnTo>
                      <a:lnTo>
                        <a:pt x="273796" y="287465"/>
                      </a:lnTo>
                      <a:lnTo>
                        <a:pt x="275342" y="285800"/>
                      </a:lnTo>
                      <a:lnTo>
                        <a:pt x="277431" y="285293"/>
                      </a:lnTo>
                      <a:lnTo>
                        <a:pt x="279026" y="284550"/>
                      </a:lnTo>
                      <a:lnTo>
                        <a:pt x="279912" y="282820"/>
                      </a:lnTo>
                      <a:lnTo>
                        <a:pt x="279483" y="281393"/>
                      </a:lnTo>
                      <a:lnTo>
                        <a:pt x="277143" y="281634"/>
                      </a:lnTo>
                      <a:lnTo>
                        <a:pt x="277741" y="282899"/>
                      </a:lnTo>
                      <a:lnTo>
                        <a:pt x="274802" y="283739"/>
                      </a:lnTo>
                      <a:lnTo>
                        <a:pt x="273209" y="284388"/>
                      </a:lnTo>
                      <a:lnTo>
                        <a:pt x="272315" y="285337"/>
                      </a:lnTo>
                      <a:lnTo>
                        <a:pt x="271135" y="288778"/>
                      </a:lnTo>
                      <a:lnTo>
                        <a:pt x="270343" y="290403"/>
                      </a:lnTo>
                      <a:lnTo>
                        <a:pt x="269332" y="291679"/>
                      </a:lnTo>
                      <a:lnTo>
                        <a:pt x="268166" y="292412"/>
                      </a:lnTo>
                      <a:lnTo>
                        <a:pt x="267267" y="292212"/>
                      </a:lnTo>
                      <a:lnTo>
                        <a:pt x="266530" y="291205"/>
                      </a:lnTo>
                      <a:lnTo>
                        <a:pt x="265852" y="289541"/>
                      </a:lnTo>
                      <a:lnTo>
                        <a:pt x="265888" y="287652"/>
                      </a:lnTo>
                      <a:lnTo>
                        <a:pt x="266930" y="286075"/>
                      </a:lnTo>
                      <a:lnTo>
                        <a:pt x="268229" y="284801"/>
                      </a:lnTo>
                      <a:lnTo>
                        <a:pt x="269007" y="283817"/>
                      </a:lnTo>
                      <a:lnTo>
                        <a:pt x="274175" y="271005"/>
                      </a:lnTo>
                      <a:lnTo>
                        <a:pt x="275648" y="269094"/>
                      </a:lnTo>
                      <a:lnTo>
                        <a:pt x="278455" y="266710"/>
                      </a:lnTo>
                      <a:lnTo>
                        <a:pt x="281544" y="264717"/>
                      </a:lnTo>
                      <a:close/>
                      <a:moveTo>
                        <a:pt x="283839" y="225716"/>
                      </a:moveTo>
                      <a:lnTo>
                        <a:pt x="285049" y="226240"/>
                      </a:lnTo>
                      <a:lnTo>
                        <a:pt x="286202" y="227343"/>
                      </a:lnTo>
                      <a:lnTo>
                        <a:pt x="287079" y="228668"/>
                      </a:lnTo>
                      <a:lnTo>
                        <a:pt x="287480" y="229867"/>
                      </a:lnTo>
                      <a:lnTo>
                        <a:pt x="286327" y="235522"/>
                      </a:lnTo>
                      <a:lnTo>
                        <a:pt x="286323" y="238114"/>
                      </a:lnTo>
                      <a:lnTo>
                        <a:pt x="287186" y="239523"/>
                      </a:lnTo>
                      <a:lnTo>
                        <a:pt x="285690" y="240715"/>
                      </a:lnTo>
                      <a:lnTo>
                        <a:pt x="284803" y="241253"/>
                      </a:lnTo>
                      <a:lnTo>
                        <a:pt x="283662" y="241559"/>
                      </a:lnTo>
                      <a:lnTo>
                        <a:pt x="284613" y="243138"/>
                      </a:lnTo>
                      <a:lnTo>
                        <a:pt x="284132" y="244427"/>
                      </a:lnTo>
                      <a:lnTo>
                        <a:pt x="284354" y="245268"/>
                      </a:lnTo>
                      <a:lnTo>
                        <a:pt x="284283" y="246249"/>
                      </a:lnTo>
                      <a:lnTo>
                        <a:pt x="284113" y="247531"/>
                      </a:lnTo>
                      <a:lnTo>
                        <a:pt x="284461" y="248393"/>
                      </a:lnTo>
                      <a:lnTo>
                        <a:pt x="285391" y="248979"/>
                      </a:lnTo>
                      <a:lnTo>
                        <a:pt x="284003" y="249800"/>
                      </a:lnTo>
                      <a:lnTo>
                        <a:pt x="282112" y="251389"/>
                      </a:lnTo>
                      <a:lnTo>
                        <a:pt x="279372" y="250603"/>
                      </a:lnTo>
                      <a:lnTo>
                        <a:pt x="277766" y="246597"/>
                      </a:lnTo>
                      <a:lnTo>
                        <a:pt x="275902" y="245972"/>
                      </a:lnTo>
                      <a:lnTo>
                        <a:pt x="274110" y="246091"/>
                      </a:lnTo>
                      <a:lnTo>
                        <a:pt x="273457" y="245051"/>
                      </a:lnTo>
                      <a:lnTo>
                        <a:pt x="275470" y="242334"/>
                      </a:lnTo>
                      <a:lnTo>
                        <a:pt x="276358" y="240396"/>
                      </a:lnTo>
                      <a:lnTo>
                        <a:pt x="275918" y="238874"/>
                      </a:lnTo>
                      <a:lnTo>
                        <a:pt x="275916" y="236960"/>
                      </a:lnTo>
                      <a:lnTo>
                        <a:pt x="276560" y="234489"/>
                      </a:lnTo>
                      <a:lnTo>
                        <a:pt x="277120" y="233417"/>
                      </a:lnTo>
                      <a:lnTo>
                        <a:pt x="280257" y="230885"/>
                      </a:lnTo>
                      <a:lnTo>
                        <a:pt x="281330" y="229206"/>
                      </a:lnTo>
                      <a:lnTo>
                        <a:pt x="281780" y="227444"/>
                      </a:lnTo>
                      <a:lnTo>
                        <a:pt x="282375" y="226117"/>
                      </a:lnTo>
                      <a:close/>
                      <a:moveTo>
                        <a:pt x="283357" y="157326"/>
                      </a:moveTo>
                      <a:lnTo>
                        <a:pt x="284613" y="157468"/>
                      </a:lnTo>
                      <a:lnTo>
                        <a:pt x="285393" y="158379"/>
                      </a:lnTo>
                      <a:lnTo>
                        <a:pt x="285860" y="162754"/>
                      </a:lnTo>
                      <a:lnTo>
                        <a:pt x="285732" y="167097"/>
                      </a:lnTo>
                      <a:lnTo>
                        <a:pt x="284826" y="171411"/>
                      </a:lnTo>
                      <a:lnTo>
                        <a:pt x="282814" y="174107"/>
                      </a:lnTo>
                      <a:lnTo>
                        <a:pt x="280416" y="173750"/>
                      </a:lnTo>
                      <a:lnTo>
                        <a:pt x="279021" y="170887"/>
                      </a:lnTo>
                      <a:lnTo>
                        <a:pt x="278413" y="167376"/>
                      </a:lnTo>
                      <a:lnTo>
                        <a:pt x="278399" y="165014"/>
                      </a:lnTo>
                      <a:lnTo>
                        <a:pt x="278921" y="161768"/>
                      </a:lnTo>
                      <a:lnTo>
                        <a:pt x="279638" y="160406"/>
                      </a:lnTo>
                      <a:lnTo>
                        <a:pt x="280911" y="160463"/>
                      </a:lnTo>
                      <a:lnTo>
                        <a:pt x="281344" y="161710"/>
                      </a:lnTo>
                      <a:lnTo>
                        <a:pt x="280471" y="165421"/>
                      </a:lnTo>
                      <a:lnTo>
                        <a:pt x="280626" y="166586"/>
                      </a:lnTo>
                      <a:lnTo>
                        <a:pt x="282538" y="166636"/>
                      </a:lnTo>
                      <a:lnTo>
                        <a:pt x="283442" y="164046"/>
                      </a:lnTo>
                      <a:lnTo>
                        <a:pt x="283196" y="160606"/>
                      </a:lnTo>
                      <a:lnTo>
                        <a:pt x="281694" y="158112"/>
                      </a:lnTo>
                      <a:close/>
                      <a:moveTo>
                        <a:pt x="316361" y="107951"/>
                      </a:moveTo>
                      <a:lnTo>
                        <a:pt x="316925" y="109982"/>
                      </a:lnTo>
                      <a:lnTo>
                        <a:pt x="316747" y="111280"/>
                      </a:lnTo>
                      <a:lnTo>
                        <a:pt x="316794" y="111826"/>
                      </a:lnTo>
                      <a:lnTo>
                        <a:pt x="317112" y="112424"/>
                      </a:lnTo>
                      <a:lnTo>
                        <a:pt x="316115" y="115936"/>
                      </a:lnTo>
                      <a:lnTo>
                        <a:pt x="322119" y="122760"/>
                      </a:lnTo>
                      <a:lnTo>
                        <a:pt x="320327" y="127509"/>
                      </a:lnTo>
                      <a:lnTo>
                        <a:pt x="318029" y="129052"/>
                      </a:lnTo>
                      <a:lnTo>
                        <a:pt x="315885" y="129243"/>
                      </a:lnTo>
                      <a:lnTo>
                        <a:pt x="314121" y="128194"/>
                      </a:lnTo>
                      <a:lnTo>
                        <a:pt x="312989" y="126034"/>
                      </a:lnTo>
                      <a:lnTo>
                        <a:pt x="311237" y="124019"/>
                      </a:lnTo>
                      <a:lnTo>
                        <a:pt x="308795" y="125300"/>
                      </a:lnTo>
                      <a:lnTo>
                        <a:pt x="306347" y="128073"/>
                      </a:lnTo>
                      <a:lnTo>
                        <a:pt x="304597" y="130471"/>
                      </a:lnTo>
                      <a:lnTo>
                        <a:pt x="303988" y="126733"/>
                      </a:lnTo>
                      <a:lnTo>
                        <a:pt x="302865" y="127874"/>
                      </a:lnTo>
                      <a:lnTo>
                        <a:pt x="301602" y="130955"/>
                      </a:lnTo>
                      <a:lnTo>
                        <a:pt x="300515" y="133081"/>
                      </a:lnTo>
                      <a:lnTo>
                        <a:pt x="298188" y="134196"/>
                      </a:lnTo>
                      <a:lnTo>
                        <a:pt x="290234" y="134782"/>
                      </a:lnTo>
                      <a:lnTo>
                        <a:pt x="291292" y="137094"/>
                      </a:lnTo>
                      <a:lnTo>
                        <a:pt x="293027" y="137513"/>
                      </a:lnTo>
                      <a:lnTo>
                        <a:pt x="297404" y="136905"/>
                      </a:lnTo>
                      <a:lnTo>
                        <a:pt x="298968" y="137493"/>
                      </a:lnTo>
                      <a:lnTo>
                        <a:pt x="301468" y="139506"/>
                      </a:lnTo>
                      <a:lnTo>
                        <a:pt x="302815" y="140054"/>
                      </a:lnTo>
                      <a:lnTo>
                        <a:pt x="305208" y="141506"/>
                      </a:lnTo>
                      <a:lnTo>
                        <a:pt x="306176" y="144615"/>
                      </a:lnTo>
                      <a:lnTo>
                        <a:pt x="306160" y="148550"/>
                      </a:lnTo>
                      <a:lnTo>
                        <a:pt x="305220" y="156405"/>
                      </a:lnTo>
                      <a:lnTo>
                        <a:pt x="302622" y="165907"/>
                      </a:lnTo>
                      <a:lnTo>
                        <a:pt x="300888" y="174403"/>
                      </a:lnTo>
                      <a:lnTo>
                        <a:pt x="301705" y="176464"/>
                      </a:lnTo>
                      <a:lnTo>
                        <a:pt x="303795" y="175631"/>
                      </a:lnTo>
                      <a:lnTo>
                        <a:pt x="306640" y="171823"/>
                      </a:lnTo>
                      <a:lnTo>
                        <a:pt x="306235" y="167905"/>
                      </a:lnTo>
                      <a:lnTo>
                        <a:pt x="307343" y="164070"/>
                      </a:lnTo>
                      <a:lnTo>
                        <a:pt x="309283" y="162275"/>
                      </a:lnTo>
                      <a:lnTo>
                        <a:pt x="311365" y="164477"/>
                      </a:lnTo>
                      <a:lnTo>
                        <a:pt x="312656" y="167173"/>
                      </a:lnTo>
                      <a:lnTo>
                        <a:pt x="314190" y="169436"/>
                      </a:lnTo>
                      <a:lnTo>
                        <a:pt x="322331" y="177010"/>
                      </a:lnTo>
                      <a:lnTo>
                        <a:pt x="323447" y="179997"/>
                      </a:lnTo>
                      <a:lnTo>
                        <a:pt x="322961" y="184022"/>
                      </a:lnTo>
                      <a:lnTo>
                        <a:pt x="323215" y="186834"/>
                      </a:lnTo>
                      <a:lnTo>
                        <a:pt x="323139" y="188657"/>
                      </a:lnTo>
                      <a:lnTo>
                        <a:pt x="322530" y="189411"/>
                      </a:lnTo>
                      <a:lnTo>
                        <a:pt x="321561" y="190010"/>
                      </a:lnTo>
                      <a:lnTo>
                        <a:pt x="317886" y="193641"/>
                      </a:lnTo>
                      <a:lnTo>
                        <a:pt x="317006" y="194337"/>
                      </a:lnTo>
                      <a:lnTo>
                        <a:pt x="316173" y="195470"/>
                      </a:lnTo>
                      <a:lnTo>
                        <a:pt x="315388" y="195888"/>
                      </a:lnTo>
                      <a:lnTo>
                        <a:pt x="314581" y="195770"/>
                      </a:lnTo>
                      <a:lnTo>
                        <a:pt x="314653" y="194847"/>
                      </a:lnTo>
                      <a:lnTo>
                        <a:pt x="314849" y="193781"/>
                      </a:lnTo>
                      <a:lnTo>
                        <a:pt x="314405" y="193255"/>
                      </a:lnTo>
                      <a:lnTo>
                        <a:pt x="311172" y="194108"/>
                      </a:lnTo>
                      <a:lnTo>
                        <a:pt x="309356" y="194238"/>
                      </a:lnTo>
                      <a:lnTo>
                        <a:pt x="308869" y="193296"/>
                      </a:lnTo>
                      <a:lnTo>
                        <a:pt x="309807" y="189600"/>
                      </a:lnTo>
                      <a:lnTo>
                        <a:pt x="310246" y="185654"/>
                      </a:lnTo>
                      <a:lnTo>
                        <a:pt x="309873" y="182352"/>
                      </a:lnTo>
                      <a:lnTo>
                        <a:pt x="308359" y="180582"/>
                      </a:lnTo>
                      <a:lnTo>
                        <a:pt x="306640" y="180708"/>
                      </a:lnTo>
                      <a:lnTo>
                        <a:pt x="303425" y="182874"/>
                      </a:lnTo>
                      <a:lnTo>
                        <a:pt x="301787" y="183499"/>
                      </a:lnTo>
                      <a:lnTo>
                        <a:pt x="300202" y="183134"/>
                      </a:lnTo>
                      <a:lnTo>
                        <a:pt x="299319" y="182185"/>
                      </a:lnTo>
                      <a:lnTo>
                        <a:pt x="298606" y="180720"/>
                      </a:lnTo>
                      <a:lnTo>
                        <a:pt x="297215" y="179251"/>
                      </a:lnTo>
                      <a:lnTo>
                        <a:pt x="295839" y="175996"/>
                      </a:lnTo>
                      <a:lnTo>
                        <a:pt x="295292" y="172298"/>
                      </a:lnTo>
                      <a:lnTo>
                        <a:pt x="296388" y="169463"/>
                      </a:lnTo>
                      <a:lnTo>
                        <a:pt x="295144" y="166056"/>
                      </a:lnTo>
                      <a:lnTo>
                        <a:pt x="295300" y="163520"/>
                      </a:lnTo>
                      <a:lnTo>
                        <a:pt x="300336" y="154298"/>
                      </a:lnTo>
                      <a:lnTo>
                        <a:pt x="300759" y="150156"/>
                      </a:lnTo>
                      <a:lnTo>
                        <a:pt x="299266" y="148294"/>
                      </a:lnTo>
                      <a:lnTo>
                        <a:pt x="296381" y="148300"/>
                      </a:lnTo>
                      <a:lnTo>
                        <a:pt x="292647" y="149804"/>
                      </a:lnTo>
                      <a:lnTo>
                        <a:pt x="291125" y="144374"/>
                      </a:lnTo>
                      <a:lnTo>
                        <a:pt x="290535" y="143507"/>
                      </a:lnTo>
                      <a:lnTo>
                        <a:pt x="289329" y="142959"/>
                      </a:lnTo>
                      <a:lnTo>
                        <a:pt x="287910" y="141803"/>
                      </a:lnTo>
                      <a:lnTo>
                        <a:pt x="286674" y="140430"/>
                      </a:lnTo>
                      <a:lnTo>
                        <a:pt x="285997" y="139249"/>
                      </a:lnTo>
                      <a:lnTo>
                        <a:pt x="285854" y="135021"/>
                      </a:lnTo>
                      <a:lnTo>
                        <a:pt x="287599" y="131619"/>
                      </a:lnTo>
                      <a:lnTo>
                        <a:pt x="304748" y="113554"/>
                      </a:lnTo>
                      <a:lnTo>
                        <a:pt x="307552" y="109937"/>
                      </a:lnTo>
                      <a:lnTo>
                        <a:pt x="310848" y="110383"/>
                      </a:lnTo>
                      <a:lnTo>
                        <a:pt x="312957" y="109749"/>
                      </a:lnTo>
                      <a:lnTo>
                        <a:pt x="314910" y="108407"/>
                      </a:lnTo>
                      <a:close/>
                      <a:moveTo>
                        <a:pt x="289540" y="75854"/>
                      </a:moveTo>
                      <a:lnTo>
                        <a:pt x="290117" y="80570"/>
                      </a:lnTo>
                      <a:lnTo>
                        <a:pt x="289279" y="83718"/>
                      </a:lnTo>
                      <a:lnTo>
                        <a:pt x="287060" y="89131"/>
                      </a:lnTo>
                      <a:lnTo>
                        <a:pt x="286556" y="91994"/>
                      </a:lnTo>
                      <a:lnTo>
                        <a:pt x="287082" y="94043"/>
                      </a:lnTo>
                      <a:lnTo>
                        <a:pt x="288668" y="94521"/>
                      </a:lnTo>
                      <a:lnTo>
                        <a:pt x="291374" y="92588"/>
                      </a:lnTo>
                      <a:lnTo>
                        <a:pt x="292169" y="95232"/>
                      </a:lnTo>
                      <a:lnTo>
                        <a:pt x="291523" y="98020"/>
                      </a:lnTo>
                      <a:lnTo>
                        <a:pt x="289779" y="100431"/>
                      </a:lnTo>
                      <a:lnTo>
                        <a:pt x="287319" y="101909"/>
                      </a:lnTo>
                      <a:lnTo>
                        <a:pt x="279698" y="99840"/>
                      </a:lnTo>
                      <a:lnTo>
                        <a:pt x="281527" y="96977"/>
                      </a:lnTo>
                      <a:lnTo>
                        <a:pt x="279937" y="95655"/>
                      </a:lnTo>
                      <a:lnTo>
                        <a:pt x="277190" y="94791"/>
                      </a:lnTo>
                      <a:lnTo>
                        <a:pt x="275522" y="93301"/>
                      </a:lnTo>
                      <a:lnTo>
                        <a:pt x="275898" y="90250"/>
                      </a:lnTo>
                      <a:lnTo>
                        <a:pt x="277620" y="87354"/>
                      </a:lnTo>
                      <a:lnTo>
                        <a:pt x="279987" y="85160"/>
                      </a:lnTo>
                      <a:lnTo>
                        <a:pt x="282234" y="84279"/>
                      </a:lnTo>
                      <a:lnTo>
                        <a:pt x="282064" y="82435"/>
                      </a:lnTo>
                      <a:lnTo>
                        <a:pt x="282536" y="80758"/>
                      </a:lnTo>
                      <a:lnTo>
                        <a:pt x="283585" y="79445"/>
                      </a:lnTo>
                      <a:lnTo>
                        <a:pt x="284171" y="78567"/>
                      </a:lnTo>
                      <a:lnTo>
                        <a:pt x="288120" y="76080"/>
                      </a:lnTo>
                      <a:close/>
                      <a:moveTo>
                        <a:pt x="312630" y="71387"/>
                      </a:moveTo>
                      <a:lnTo>
                        <a:pt x="313929" y="72529"/>
                      </a:lnTo>
                      <a:lnTo>
                        <a:pt x="314293" y="74012"/>
                      </a:lnTo>
                      <a:lnTo>
                        <a:pt x="314273" y="75134"/>
                      </a:lnTo>
                      <a:lnTo>
                        <a:pt x="315489" y="77578"/>
                      </a:lnTo>
                      <a:lnTo>
                        <a:pt x="315755" y="78335"/>
                      </a:lnTo>
                      <a:lnTo>
                        <a:pt x="314903" y="78995"/>
                      </a:lnTo>
                      <a:lnTo>
                        <a:pt x="313614" y="80188"/>
                      </a:lnTo>
                      <a:lnTo>
                        <a:pt x="312768" y="81850"/>
                      </a:lnTo>
                      <a:lnTo>
                        <a:pt x="311791" y="82358"/>
                      </a:lnTo>
                      <a:lnTo>
                        <a:pt x="310545" y="82504"/>
                      </a:lnTo>
                      <a:lnTo>
                        <a:pt x="309091" y="82331"/>
                      </a:lnTo>
                      <a:lnTo>
                        <a:pt x="308349" y="81144"/>
                      </a:lnTo>
                      <a:lnTo>
                        <a:pt x="308193" y="75995"/>
                      </a:lnTo>
                      <a:lnTo>
                        <a:pt x="309167" y="73758"/>
                      </a:lnTo>
                      <a:lnTo>
                        <a:pt x="310915" y="71991"/>
                      </a:lnTo>
                      <a:close/>
                      <a:moveTo>
                        <a:pt x="260298" y="62866"/>
                      </a:moveTo>
                      <a:lnTo>
                        <a:pt x="263128" y="65136"/>
                      </a:lnTo>
                      <a:lnTo>
                        <a:pt x="263522" y="67223"/>
                      </a:lnTo>
                      <a:lnTo>
                        <a:pt x="264937" y="69789"/>
                      </a:lnTo>
                      <a:lnTo>
                        <a:pt x="266713" y="71972"/>
                      </a:lnTo>
                      <a:lnTo>
                        <a:pt x="270383" y="74186"/>
                      </a:lnTo>
                      <a:lnTo>
                        <a:pt x="271641" y="78471"/>
                      </a:lnTo>
                      <a:lnTo>
                        <a:pt x="274596" y="80255"/>
                      </a:lnTo>
                      <a:lnTo>
                        <a:pt x="273939" y="81276"/>
                      </a:lnTo>
                      <a:lnTo>
                        <a:pt x="271689" y="83065"/>
                      </a:lnTo>
                      <a:lnTo>
                        <a:pt x="270135" y="83664"/>
                      </a:lnTo>
                      <a:lnTo>
                        <a:pt x="269220" y="83126"/>
                      </a:lnTo>
                      <a:lnTo>
                        <a:pt x="268432" y="83071"/>
                      </a:lnTo>
                      <a:lnTo>
                        <a:pt x="267270" y="85079"/>
                      </a:lnTo>
                      <a:lnTo>
                        <a:pt x="267544" y="85587"/>
                      </a:lnTo>
                      <a:lnTo>
                        <a:pt x="268427" y="89952"/>
                      </a:lnTo>
                      <a:lnTo>
                        <a:pt x="269147" y="90909"/>
                      </a:lnTo>
                      <a:lnTo>
                        <a:pt x="269996" y="91728"/>
                      </a:lnTo>
                      <a:lnTo>
                        <a:pt x="272000" y="92896"/>
                      </a:lnTo>
                      <a:lnTo>
                        <a:pt x="271605" y="94062"/>
                      </a:lnTo>
                      <a:lnTo>
                        <a:pt x="270038" y="93017"/>
                      </a:lnTo>
                      <a:lnTo>
                        <a:pt x="268584" y="92936"/>
                      </a:lnTo>
                      <a:lnTo>
                        <a:pt x="266977" y="93242"/>
                      </a:lnTo>
                      <a:lnTo>
                        <a:pt x="264970" y="93298"/>
                      </a:lnTo>
                      <a:lnTo>
                        <a:pt x="263360" y="92701"/>
                      </a:lnTo>
                      <a:lnTo>
                        <a:pt x="262601" y="91618"/>
                      </a:lnTo>
                      <a:lnTo>
                        <a:pt x="262125" y="90329"/>
                      </a:lnTo>
                      <a:lnTo>
                        <a:pt x="261402" y="89142"/>
                      </a:lnTo>
                      <a:lnTo>
                        <a:pt x="260237" y="87961"/>
                      </a:lnTo>
                      <a:lnTo>
                        <a:pt x="259693" y="87610"/>
                      </a:lnTo>
                      <a:lnTo>
                        <a:pt x="256884" y="87515"/>
                      </a:lnTo>
                      <a:lnTo>
                        <a:pt x="255550" y="87101"/>
                      </a:lnTo>
                      <a:lnTo>
                        <a:pt x="254013" y="86230"/>
                      </a:lnTo>
                      <a:lnTo>
                        <a:pt x="252618" y="85087"/>
                      </a:lnTo>
                      <a:lnTo>
                        <a:pt x="251739" y="83903"/>
                      </a:lnTo>
                      <a:lnTo>
                        <a:pt x="251042" y="82089"/>
                      </a:lnTo>
                      <a:lnTo>
                        <a:pt x="250801" y="80725"/>
                      </a:lnTo>
                      <a:lnTo>
                        <a:pt x="251018" y="75359"/>
                      </a:lnTo>
                      <a:lnTo>
                        <a:pt x="251819" y="70149"/>
                      </a:lnTo>
                      <a:lnTo>
                        <a:pt x="252086" y="69292"/>
                      </a:lnTo>
                      <a:lnTo>
                        <a:pt x="252840" y="65764"/>
                      </a:lnTo>
                      <a:lnTo>
                        <a:pt x="256216" y="63365"/>
                      </a:lnTo>
                      <a:close/>
                      <a:moveTo>
                        <a:pt x="292720" y="50437"/>
                      </a:moveTo>
                      <a:lnTo>
                        <a:pt x="295498" y="50629"/>
                      </a:lnTo>
                      <a:lnTo>
                        <a:pt x="300278" y="51792"/>
                      </a:lnTo>
                      <a:lnTo>
                        <a:pt x="312090" y="60995"/>
                      </a:lnTo>
                      <a:lnTo>
                        <a:pt x="310886" y="62564"/>
                      </a:lnTo>
                      <a:lnTo>
                        <a:pt x="309801" y="63269"/>
                      </a:lnTo>
                      <a:lnTo>
                        <a:pt x="303069" y="66114"/>
                      </a:lnTo>
                      <a:lnTo>
                        <a:pt x="302206" y="67059"/>
                      </a:lnTo>
                      <a:lnTo>
                        <a:pt x="301696" y="68211"/>
                      </a:lnTo>
                      <a:lnTo>
                        <a:pt x="300916" y="69116"/>
                      </a:lnTo>
                      <a:lnTo>
                        <a:pt x="299249" y="69308"/>
                      </a:lnTo>
                      <a:lnTo>
                        <a:pt x="298149" y="68547"/>
                      </a:lnTo>
                      <a:lnTo>
                        <a:pt x="297306" y="66994"/>
                      </a:lnTo>
                      <a:lnTo>
                        <a:pt x="295820" y="61742"/>
                      </a:lnTo>
                      <a:lnTo>
                        <a:pt x="295621" y="56833"/>
                      </a:lnTo>
                      <a:lnTo>
                        <a:pt x="295923" y="54958"/>
                      </a:lnTo>
                      <a:lnTo>
                        <a:pt x="295841" y="53478"/>
                      </a:lnTo>
                      <a:lnTo>
                        <a:pt x="294816" y="52740"/>
                      </a:lnTo>
                      <a:lnTo>
                        <a:pt x="293448" y="53015"/>
                      </a:lnTo>
                      <a:lnTo>
                        <a:pt x="292340" y="54545"/>
                      </a:lnTo>
                      <a:lnTo>
                        <a:pt x="291899" y="56446"/>
                      </a:lnTo>
                      <a:lnTo>
                        <a:pt x="291898" y="57484"/>
                      </a:lnTo>
                      <a:lnTo>
                        <a:pt x="291670" y="58345"/>
                      </a:lnTo>
                      <a:lnTo>
                        <a:pt x="290574" y="59732"/>
                      </a:lnTo>
                      <a:lnTo>
                        <a:pt x="293554" y="69965"/>
                      </a:lnTo>
                      <a:lnTo>
                        <a:pt x="291492" y="71141"/>
                      </a:lnTo>
                      <a:lnTo>
                        <a:pt x="289587" y="71585"/>
                      </a:lnTo>
                      <a:lnTo>
                        <a:pt x="285703" y="71368"/>
                      </a:lnTo>
                      <a:lnTo>
                        <a:pt x="283857" y="70434"/>
                      </a:lnTo>
                      <a:lnTo>
                        <a:pt x="283394" y="68636"/>
                      </a:lnTo>
                      <a:lnTo>
                        <a:pt x="283485" y="66613"/>
                      </a:lnTo>
                      <a:lnTo>
                        <a:pt x="283332" y="64937"/>
                      </a:lnTo>
                      <a:lnTo>
                        <a:pt x="281780" y="62783"/>
                      </a:lnTo>
                      <a:lnTo>
                        <a:pt x="280515" y="61922"/>
                      </a:lnTo>
                      <a:lnTo>
                        <a:pt x="279501" y="62793"/>
                      </a:lnTo>
                      <a:lnTo>
                        <a:pt x="278605" y="65119"/>
                      </a:lnTo>
                      <a:lnTo>
                        <a:pt x="277317" y="67574"/>
                      </a:lnTo>
                      <a:lnTo>
                        <a:pt x="275925" y="68740"/>
                      </a:lnTo>
                      <a:lnTo>
                        <a:pt x="274790" y="67144"/>
                      </a:lnTo>
                      <a:lnTo>
                        <a:pt x="273930" y="64745"/>
                      </a:lnTo>
                      <a:lnTo>
                        <a:pt x="273851" y="63293"/>
                      </a:lnTo>
                      <a:lnTo>
                        <a:pt x="274449" y="61603"/>
                      </a:lnTo>
                      <a:lnTo>
                        <a:pt x="275501" y="60657"/>
                      </a:lnTo>
                      <a:lnTo>
                        <a:pt x="279605" y="57924"/>
                      </a:lnTo>
                      <a:lnTo>
                        <a:pt x="280891" y="57402"/>
                      </a:lnTo>
                      <a:lnTo>
                        <a:pt x="282510" y="56984"/>
                      </a:lnTo>
                      <a:lnTo>
                        <a:pt x="291092" y="50775"/>
                      </a:lnTo>
                      <a:close/>
                      <a:moveTo>
                        <a:pt x="320339" y="48717"/>
                      </a:moveTo>
                      <a:lnTo>
                        <a:pt x="322226" y="49710"/>
                      </a:lnTo>
                      <a:lnTo>
                        <a:pt x="323983" y="55198"/>
                      </a:lnTo>
                      <a:lnTo>
                        <a:pt x="324733" y="56543"/>
                      </a:lnTo>
                      <a:lnTo>
                        <a:pt x="326257" y="57948"/>
                      </a:lnTo>
                      <a:lnTo>
                        <a:pt x="327396" y="59396"/>
                      </a:lnTo>
                      <a:lnTo>
                        <a:pt x="327906" y="60555"/>
                      </a:lnTo>
                      <a:lnTo>
                        <a:pt x="328315" y="62114"/>
                      </a:lnTo>
                      <a:lnTo>
                        <a:pt x="328526" y="63888"/>
                      </a:lnTo>
                      <a:lnTo>
                        <a:pt x="328222" y="65661"/>
                      </a:lnTo>
                      <a:lnTo>
                        <a:pt x="327138" y="65976"/>
                      </a:lnTo>
                      <a:lnTo>
                        <a:pt x="325779" y="64807"/>
                      </a:lnTo>
                      <a:lnTo>
                        <a:pt x="323763" y="62265"/>
                      </a:lnTo>
                      <a:lnTo>
                        <a:pt x="323174" y="61211"/>
                      </a:lnTo>
                      <a:lnTo>
                        <a:pt x="321991" y="57915"/>
                      </a:lnTo>
                      <a:lnTo>
                        <a:pt x="320087" y="54204"/>
                      </a:lnTo>
                      <a:lnTo>
                        <a:pt x="318786" y="52759"/>
                      </a:lnTo>
                      <a:lnTo>
                        <a:pt x="318864" y="51054"/>
                      </a:lnTo>
                      <a:close/>
                      <a:moveTo>
                        <a:pt x="330170" y="5010"/>
                      </a:moveTo>
                      <a:lnTo>
                        <a:pt x="342914" y="6479"/>
                      </a:lnTo>
                      <a:lnTo>
                        <a:pt x="371023" y="9696"/>
                      </a:lnTo>
                      <a:lnTo>
                        <a:pt x="399149" y="12885"/>
                      </a:lnTo>
                      <a:lnTo>
                        <a:pt x="427283" y="16044"/>
                      </a:lnTo>
                      <a:lnTo>
                        <a:pt x="455446" y="19176"/>
                      </a:lnTo>
                      <a:lnTo>
                        <a:pt x="483630" y="22280"/>
                      </a:lnTo>
                      <a:lnTo>
                        <a:pt x="511838" y="25357"/>
                      </a:lnTo>
                      <a:lnTo>
                        <a:pt x="540063" y="28405"/>
                      </a:lnTo>
                      <a:lnTo>
                        <a:pt x="568310" y="31426"/>
                      </a:lnTo>
                      <a:lnTo>
                        <a:pt x="596569" y="34419"/>
                      </a:lnTo>
                      <a:lnTo>
                        <a:pt x="624856" y="37385"/>
                      </a:lnTo>
                      <a:lnTo>
                        <a:pt x="653165" y="40323"/>
                      </a:lnTo>
                      <a:lnTo>
                        <a:pt x="681492" y="43234"/>
                      </a:lnTo>
                      <a:lnTo>
                        <a:pt x="709838" y="46116"/>
                      </a:lnTo>
                      <a:lnTo>
                        <a:pt x="738207" y="48972"/>
                      </a:lnTo>
                      <a:lnTo>
                        <a:pt x="766595" y="51800"/>
                      </a:lnTo>
                      <a:lnTo>
                        <a:pt x="795001" y="54601"/>
                      </a:lnTo>
                      <a:lnTo>
                        <a:pt x="823415" y="57374"/>
                      </a:lnTo>
                      <a:lnTo>
                        <a:pt x="851856" y="60119"/>
                      </a:lnTo>
                      <a:lnTo>
                        <a:pt x="880316" y="62838"/>
                      </a:lnTo>
                      <a:lnTo>
                        <a:pt x="908795" y="65529"/>
                      </a:lnTo>
                      <a:lnTo>
                        <a:pt x="937295" y="68194"/>
                      </a:lnTo>
                      <a:lnTo>
                        <a:pt x="965809" y="70830"/>
                      </a:lnTo>
                      <a:lnTo>
                        <a:pt x="994335" y="73439"/>
                      </a:lnTo>
                      <a:lnTo>
                        <a:pt x="1022885" y="76021"/>
                      </a:lnTo>
                      <a:lnTo>
                        <a:pt x="1051459" y="78577"/>
                      </a:lnTo>
                      <a:lnTo>
                        <a:pt x="1067043" y="79959"/>
                      </a:lnTo>
                      <a:lnTo>
                        <a:pt x="1059929" y="106810"/>
                      </a:lnTo>
                      <a:lnTo>
                        <a:pt x="1052816" y="133740"/>
                      </a:lnTo>
                      <a:lnTo>
                        <a:pt x="1045734" y="160690"/>
                      </a:lnTo>
                      <a:lnTo>
                        <a:pt x="1038678" y="187657"/>
                      </a:lnTo>
                      <a:lnTo>
                        <a:pt x="1031769" y="212608"/>
                      </a:lnTo>
                      <a:lnTo>
                        <a:pt x="1023947" y="239344"/>
                      </a:lnTo>
                      <a:lnTo>
                        <a:pt x="1016710" y="266914"/>
                      </a:lnTo>
                      <a:lnTo>
                        <a:pt x="1009758" y="293510"/>
                      </a:lnTo>
                      <a:lnTo>
                        <a:pt x="1002410" y="321742"/>
                      </a:lnTo>
                      <a:lnTo>
                        <a:pt x="995895" y="347647"/>
                      </a:lnTo>
                      <a:lnTo>
                        <a:pt x="988632" y="375793"/>
                      </a:lnTo>
                      <a:lnTo>
                        <a:pt x="981428" y="403837"/>
                      </a:lnTo>
                      <a:lnTo>
                        <a:pt x="974988" y="429795"/>
                      </a:lnTo>
                      <a:lnTo>
                        <a:pt x="967550" y="459001"/>
                      </a:lnTo>
                      <a:lnTo>
                        <a:pt x="960134" y="487462"/>
                      </a:lnTo>
                      <a:lnTo>
                        <a:pt x="953894" y="512975"/>
                      </a:lnTo>
                      <a:lnTo>
                        <a:pt x="952769" y="518243"/>
                      </a:lnTo>
                      <a:lnTo>
                        <a:pt x="951360" y="523001"/>
                      </a:lnTo>
                      <a:lnTo>
                        <a:pt x="950050" y="526049"/>
                      </a:lnTo>
                      <a:lnTo>
                        <a:pt x="950370" y="528741"/>
                      </a:lnTo>
                      <a:lnTo>
                        <a:pt x="954943" y="536677"/>
                      </a:lnTo>
                      <a:lnTo>
                        <a:pt x="957794" y="543802"/>
                      </a:lnTo>
                      <a:lnTo>
                        <a:pt x="958776" y="547585"/>
                      </a:lnTo>
                      <a:lnTo>
                        <a:pt x="958218" y="556127"/>
                      </a:lnTo>
                      <a:lnTo>
                        <a:pt x="959988" y="561058"/>
                      </a:lnTo>
                      <a:lnTo>
                        <a:pt x="959101" y="564657"/>
                      </a:lnTo>
                      <a:lnTo>
                        <a:pt x="956973" y="568082"/>
                      </a:lnTo>
                      <a:lnTo>
                        <a:pt x="954626" y="570321"/>
                      </a:lnTo>
                      <a:lnTo>
                        <a:pt x="949623" y="573998"/>
                      </a:lnTo>
                      <a:lnTo>
                        <a:pt x="949927" y="575877"/>
                      </a:lnTo>
                      <a:lnTo>
                        <a:pt x="955082" y="584679"/>
                      </a:lnTo>
                      <a:lnTo>
                        <a:pt x="956370" y="592667"/>
                      </a:lnTo>
                      <a:lnTo>
                        <a:pt x="937859" y="591167"/>
                      </a:lnTo>
                      <a:lnTo>
                        <a:pt x="920286" y="589734"/>
                      </a:lnTo>
                      <a:lnTo>
                        <a:pt x="902726" y="588297"/>
                      </a:lnTo>
                      <a:lnTo>
                        <a:pt x="885173" y="586850"/>
                      </a:lnTo>
                      <a:lnTo>
                        <a:pt x="867627" y="585395"/>
                      </a:lnTo>
                      <a:lnTo>
                        <a:pt x="850081" y="583926"/>
                      </a:lnTo>
                      <a:lnTo>
                        <a:pt x="832544" y="582452"/>
                      </a:lnTo>
                      <a:lnTo>
                        <a:pt x="815014" y="580973"/>
                      </a:lnTo>
                      <a:lnTo>
                        <a:pt x="797493" y="579477"/>
                      </a:lnTo>
                      <a:lnTo>
                        <a:pt x="779972" y="577971"/>
                      </a:lnTo>
                      <a:lnTo>
                        <a:pt x="762458" y="576461"/>
                      </a:lnTo>
                      <a:lnTo>
                        <a:pt x="744950" y="574946"/>
                      </a:lnTo>
                      <a:lnTo>
                        <a:pt x="727457" y="573413"/>
                      </a:lnTo>
                      <a:lnTo>
                        <a:pt x="709962" y="571870"/>
                      </a:lnTo>
                      <a:lnTo>
                        <a:pt x="692468" y="570331"/>
                      </a:lnTo>
                      <a:lnTo>
                        <a:pt x="674990" y="568776"/>
                      </a:lnTo>
                      <a:lnTo>
                        <a:pt x="668722" y="568220"/>
                      </a:lnTo>
                      <a:lnTo>
                        <a:pt x="667530" y="568112"/>
                      </a:lnTo>
                      <a:lnTo>
                        <a:pt x="660171" y="573625"/>
                      </a:lnTo>
                      <a:lnTo>
                        <a:pt x="652821" y="575717"/>
                      </a:lnTo>
                      <a:lnTo>
                        <a:pt x="619066" y="573098"/>
                      </a:lnTo>
                      <a:lnTo>
                        <a:pt x="606614" y="574049"/>
                      </a:lnTo>
                      <a:lnTo>
                        <a:pt x="599432" y="574592"/>
                      </a:lnTo>
                      <a:lnTo>
                        <a:pt x="590159" y="573321"/>
                      </a:lnTo>
                      <a:lnTo>
                        <a:pt x="586477" y="573358"/>
                      </a:lnTo>
                      <a:lnTo>
                        <a:pt x="583942" y="574261"/>
                      </a:lnTo>
                      <a:lnTo>
                        <a:pt x="578811" y="578297"/>
                      </a:lnTo>
                      <a:lnTo>
                        <a:pt x="571986" y="581864"/>
                      </a:lnTo>
                      <a:lnTo>
                        <a:pt x="533518" y="584241"/>
                      </a:lnTo>
                      <a:lnTo>
                        <a:pt x="511603" y="589809"/>
                      </a:lnTo>
                      <a:lnTo>
                        <a:pt x="504973" y="590186"/>
                      </a:lnTo>
                      <a:lnTo>
                        <a:pt x="502096" y="591420"/>
                      </a:lnTo>
                      <a:lnTo>
                        <a:pt x="496890" y="594738"/>
                      </a:lnTo>
                      <a:lnTo>
                        <a:pt x="492708" y="596679"/>
                      </a:lnTo>
                      <a:lnTo>
                        <a:pt x="488511" y="597831"/>
                      </a:lnTo>
                      <a:lnTo>
                        <a:pt x="486359" y="597820"/>
                      </a:lnTo>
                      <a:lnTo>
                        <a:pt x="482569" y="596709"/>
                      </a:lnTo>
                      <a:lnTo>
                        <a:pt x="480511" y="596473"/>
                      </a:lnTo>
                      <a:lnTo>
                        <a:pt x="478989" y="596682"/>
                      </a:lnTo>
                      <a:lnTo>
                        <a:pt x="472851" y="599035"/>
                      </a:lnTo>
                      <a:lnTo>
                        <a:pt x="469444" y="599872"/>
                      </a:lnTo>
                      <a:lnTo>
                        <a:pt x="467840" y="599908"/>
                      </a:lnTo>
                      <a:lnTo>
                        <a:pt x="461178" y="598076"/>
                      </a:lnTo>
                      <a:lnTo>
                        <a:pt x="459935" y="598204"/>
                      </a:lnTo>
                      <a:lnTo>
                        <a:pt x="456228" y="599357"/>
                      </a:lnTo>
                      <a:lnTo>
                        <a:pt x="454607" y="599348"/>
                      </a:lnTo>
                      <a:lnTo>
                        <a:pt x="435196" y="593790"/>
                      </a:lnTo>
                      <a:lnTo>
                        <a:pt x="433690" y="593964"/>
                      </a:lnTo>
                      <a:lnTo>
                        <a:pt x="429471" y="595767"/>
                      </a:lnTo>
                      <a:lnTo>
                        <a:pt x="428242" y="596678"/>
                      </a:lnTo>
                      <a:lnTo>
                        <a:pt x="427371" y="597905"/>
                      </a:lnTo>
                      <a:lnTo>
                        <a:pt x="420322" y="599605"/>
                      </a:lnTo>
                      <a:lnTo>
                        <a:pt x="410146" y="600444"/>
                      </a:lnTo>
                      <a:lnTo>
                        <a:pt x="409035" y="600729"/>
                      </a:lnTo>
                      <a:lnTo>
                        <a:pt x="401785" y="604423"/>
                      </a:lnTo>
                      <a:lnTo>
                        <a:pt x="401017" y="604560"/>
                      </a:lnTo>
                      <a:lnTo>
                        <a:pt x="399151" y="604494"/>
                      </a:lnTo>
                      <a:lnTo>
                        <a:pt x="392920" y="605465"/>
                      </a:lnTo>
                      <a:lnTo>
                        <a:pt x="387339" y="604235"/>
                      </a:lnTo>
                      <a:lnTo>
                        <a:pt x="385622" y="603245"/>
                      </a:lnTo>
                      <a:lnTo>
                        <a:pt x="384169" y="602907"/>
                      </a:lnTo>
                      <a:lnTo>
                        <a:pt x="379640" y="602694"/>
                      </a:lnTo>
                      <a:lnTo>
                        <a:pt x="378895" y="602556"/>
                      </a:lnTo>
                      <a:lnTo>
                        <a:pt x="377518" y="602026"/>
                      </a:lnTo>
                      <a:lnTo>
                        <a:pt x="374696" y="601620"/>
                      </a:lnTo>
                      <a:lnTo>
                        <a:pt x="373996" y="601620"/>
                      </a:lnTo>
                      <a:lnTo>
                        <a:pt x="360488" y="605396"/>
                      </a:lnTo>
                      <a:lnTo>
                        <a:pt x="357397" y="605432"/>
                      </a:lnTo>
                      <a:lnTo>
                        <a:pt x="355459" y="603538"/>
                      </a:lnTo>
                      <a:lnTo>
                        <a:pt x="354692" y="599743"/>
                      </a:lnTo>
                      <a:lnTo>
                        <a:pt x="354525" y="596597"/>
                      </a:lnTo>
                      <a:lnTo>
                        <a:pt x="353911" y="593937"/>
                      </a:lnTo>
                      <a:lnTo>
                        <a:pt x="351796" y="591591"/>
                      </a:lnTo>
                      <a:lnTo>
                        <a:pt x="345978" y="588909"/>
                      </a:lnTo>
                      <a:lnTo>
                        <a:pt x="306707" y="581272"/>
                      </a:lnTo>
                      <a:lnTo>
                        <a:pt x="285808" y="582603"/>
                      </a:lnTo>
                      <a:lnTo>
                        <a:pt x="276255" y="579600"/>
                      </a:lnTo>
                      <a:lnTo>
                        <a:pt x="272240" y="579888"/>
                      </a:lnTo>
                      <a:lnTo>
                        <a:pt x="265764" y="582192"/>
                      </a:lnTo>
                      <a:lnTo>
                        <a:pt x="254378" y="588271"/>
                      </a:lnTo>
                      <a:lnTo>
                        <a:pt x="248035" y="590781"/>
                      </a:lnTo>
                      <a:lnTo>
                        <a:pt x="221345" y="596650"/>
                      </a:lnTo>
                      <a:lnTo>
                        <a:pt x="210406" y="598365"/>
                      </a:lnTo>
                      <a:lnTo>
                        <a:pt x="207670" y="599492"/>
                      </a:lnTo>
                      <a:lnTo>
                        <a:pt x="204861" y="599862"/>
                      </a:lnTo>
                      <a:lnTo>
                        <a:pt x="195079" y="595133"/>
                      </a:lnTo>
                      <a:lnTo>
                        <a:pt x="183729" y="593747"/>
                      </a:lnTo>
                      <a:lnTo>
                        <a:pt x="180336" y="591233"/>
                      </a:lnTo>
                      <a:lnTo>
                        <a:pt x="173951" y="588831"/>
                      </a:lnTo>
                      <a:lnTo>
                        <a:pt x="170211" y="586309"/>
                      </a:lnTo>
                      <a:lnTo>
                        <a:pt x="168219" y="586033"/>
                      </a:lnTo>
                      <a:lnTo>
                        <a:pt x="162362" y="586809"/>
                      </a:lnTo>
                      <a:lnTo>
                        <a:pt x="152418" y="583736"/>
                      </a:lnTo>
                      <a:lnTo>
                        <a:pt x="149618" y="581663"/>
                      </a:lnTo>
                      <a:lnTo>
                        <a:pt x="147127" y="579039"/>
                      </a:lnTo>
                      <a:lnTo>
                        <a:pt x="145555" y="576377"/>
                      </a:lnTo>
                      <a:lnTo>
                        <a:pt x="145204" y="573361"/>
                      </a:lnTo>
                      <a:lnTo>
                        <a:pt x="145558" y="569399"/>
                      </a:lnTo>
                      <a:lnTo>
                        <a:pt x="147017" y="562569"/>
                      </a:lnTo>
                      <a:lnTo>
                        <a:pt x="147747" y="560668"/>
                      </a:lnTo>
                      <a:lnTo>
                        <a:pt x="149362" y="557404"/>
                      </a:lnTo>
                      <a:lnTo>
                        <a:pt x="150084" y="555519"/>
                      </a:lnTo>
                      <a:lnTo>
                        <a:pt x="150082" y="553758"/>
                      </a:lnTo>
                      <a:lnTo>
                        <a:pt x="148527" y="548647"/>
                      </a:lnTo>
                      <a:lnTo>
                        <a:pt x="149667" y="544698"/>
                      </a:lnTo>
                      <a:lnTo>
                        <a:pt x="151391" y="541273"/>
                      </a:lnTo>
                      <a:lnTo>
                        <a:pt x="152642" y="538108"/>
                      </a:lnTo>
                      <a:lnTo>
                        <a:pt x="152066" y="531804"/>
                      </a:lnTo>
                      <a:lnTo>
                        <a:pt x="153445" y="523876"/>
                      </a:lnTo>
                      <a:lnTo>
                        <a:pt x="153541" y="520931"/>
                      </a:lnTo>
                      <a:lnTo>
                        <a:pt x="152354" y="518537"/>
                      </a:lnTo>
                      <a:lnTo>
                        <a:pt x="150706" y="516651"/>
                      </a:lnTo>
                      <a:lnTo>
                        <a:pt x="149533" y="514541"/>
                      </a:lnTo>
                      <a:lnTo>
                        <a:pt x="150175" y="507798"/>
                      </a:lnTo>
                      <a:lnTo>
                        <a:pt x="149617" y="503754"/>
                      </a:lnTo>
                      <a:lnTo>
                        <a:pt x="148375" y="499959"/>
                      </a:lnTo>
                      <a:lnTo>
                        <a:pt x="146754" y="497033"/>
                      </a:lnTo>
                      <a:lnTo>
                        <a:pt x="144142" y="494178"/>
                      </a:lnTo>
                      <a:lnTo>
                        <a:pt x="140728" y="491405"/>
                      </a:lnTo>
                      <a:lnTo>
                        <a:pt x="136895" y="489226"/>
                      </a:lnTo>
                      <a:lnTo>
                        <a:pt x="133027" y="488115"/>
                      </a:lnTo>
                      <a:lnTo>
                        <a:pt x="131476" y="486982"/>
                      </a:lnTo>
                      <a:lnTo>
                        <a:pt x="127801" y="483280"/>
                      </a:lnTo>
                      <a:lnTo>
                        <a:pt x="126536" y="481467"/>
                      </a:lnTo>
                      <a:lnTo>
                        <a:pt x="124140" y="480533"/>
                      </a:lnTo>
                      <a:lnTo>
                        <a:pt x="115667" y="481023"/>
                      </a:lnTo>
                      <a:lnTo>
                        <a:pt x="115008" y="480832"/>
                      </a:lnTo>
                      <a:lnTo>
                        <a:pt x="114622" y="480804"/>
                      </a:lnTo>
                      <a:lnTo>
                        <a:pt x="114588" y="480636"/>
                      </a:lnTo>
                      <a:lnTo>
                        <a:pt x="110921" y="480529"/>
                      </a:lnTo>
                      <a:lnTo>
                        <a:pt x="104711" y="482656"/>
                      </a:lnTo>
                      <a:lnTo>
                        <a:pt x="101104" y="484441"/>
                      </a:lnTo>
                      <a:lnTo>
                        <a:pt x="97365" y="483825"/>
                      </a:lnTo>
                      <a:lnTo>
                        <a:pt x="94017" y="480952"/>
                      </a:lnTo>
                      <a:lnTo>
                        <a:pt x="87570" y="473341"/>
                      </a:lnTo>
                      <a:lnTo>
                        <a:pt x="85938" y="470270"/>
                      </a:lnTo>
                      <a:lnTo>
                        <a:pt x="84996" y="466771"/>
                      </a:lnTo>
                      <a:lnTo>
                        <a:pt x="83763" y="463327"/>
                      </a:lnTo>
                      <a:lnTo>
                        <a:pt x="82793" y="461564"/>
                      </a:lnTo>
                      <a:lnTo>
                        <a:pt x="80194" y="459697"/>
                      </a:lnTo>
                      <a:lnTo>
                        <a:pt x="62765" y="460569"/>
                      </a:lnTo>
                      <a:lnTo>
                        <a:pt x="55423" y="457924"/>
                      </a:lnTo>
                      <a:lnTo>
                        <a:pt x="55173" y="456717"/>
                      </a:lnTo>
                      <a:lnTo>
                        <a:pt x="55317" y="455168"/>
                      </a:lnTo>
                      <a:lnTo>
                        <a:pt x="55114" y="453595"/>
                      </a:lnTo>
                      <a:lnTo>
                        <a:pt x="53372" y="451441"/>
                      </a:lnTo>
                      <a:lnTo>
                        <a:pt x="52076" y="451626"/>
                      </a:lnTo>
                      <a:lnTo>
                        <a:pt x="50099" y="451740"/>
                      </a:lnTo>
                      <a:lnTo>
                        <a:pt x="48988" y="451819"/>
                      </a:lnTo>
                      <a:lnTo>
                        <a:pt x="48106" y="453524"/>
                      </a:lnTo>
                      <a:lnTo>
                        <a:pt x="46777" y="453786"/>
                      </a:lnTo>
                      <a:lnTo>
                        <a:pt x="45316" y="453058"/>
                      </a:lnTo>
                      <a:lnTo>
                        <a:pt x="44422" y="453864"/>
                      </a:lnTo>
                      <a:lnTo>
                        <a:pt x="43189" y="455244"/>
                      </a:lnTo>
                      <a:lnTo>
                        <a:pt x="42047" y="455876"/>
                      </a:lnTo>
                      <a:lnTo>
                        <a:pt x="40302" y="455532"/>
                      </a:lnTo>
                      <a:lnTo>
                        <a:pt x="39096" y="453802"/>
                      </a:lnTo>
                      <a:lnTo>
                        <a:pt x="37029" y="453495"/>
                      </a:lnTo>
                      <a:lnTo>
                        <a:pt x="35444" y="454763"/>
                      </a:lnTo>
                      <a:lnTo>
                        <a:pt x="34619" y="455842"/>
                      </a:lnTo>
                      <a:lnTo>
                        <a:pt x="32529" y="455605"/>
                      </a:lnTo>
                      <a:lnTo>
                        <a:pt x="31137" y="456759"/>
                      </a:lnTo>
                      <a:lnTo>
                        <a:pt x="29777" y="456889"/>
                      </a:lnTo>
                      <a:lnTo>
                        <a:pt x="28884" y="458170"/>
                      </a:lnTo>
                      <a:lnTo>
                        <a:pt x="27640" y="458651"/>
                      </a:lnTo>
                      <a:lnTo>
                        <a:pt x="25733" y="459952"/>
                      </a:lnTo>
                      <a:lnTo>
                        <a:pt x="23608" y="459358"/>
                      </a:lnTo>
                      <a:lnTo>
                        <a:pt x="21467" y="458343"/>
                      </a:lnTo>
                      <a:lnTo>
                        <a:pt x="19447" y="457203"/>
                      </a:lnTo>
                      <a:lnTo>
                        <a:pt x="18245" y="454767"/>
                      </a:lnTo>
                      <a:lnTo>
                        <a:pt x="17365" y="453690"/>
                      </a:lnTo>
                      <a:lnTo>
                        <a:pt x="16312" y="449186"/>
                      </a:lnTo>
                      <a:lnTo>
                        <a:pt x="15803" y="448150"/>
                      </a:lnTo>
                      <a:lnTo>
                        <a:pt x="14775" y="446364"/>
                      </a:lnTo>
                      <a:lnTo>
                        <a:pt x="11809" y="445246"/>
                      </a:lnTo>
                      <a:lnTo>
                        <a:pt x="10062" y="444902"/>
                      </a:lnTo>
                      <a:lnTo>
                        <a:pt x="8249" y="446154"/>
                      </a:lnTo>
                      <a:lnTo>
                        <a:pt x="7167" y="446376"/>
                      </a:lnTo>
                      <a:lnTo>
                        <a:pt x="5600" y="447587"/>
                      </a:lnTo>
                      <a:lnTo>
                        <a:pt x="4625" y="449354"/>
                      </a:lnTo>
                      <a:lnTo>
                        <a:pt x="5830" y="450379"/>
                      </a:lnTo>
                      <a:lnTo>
                        <a:pt x="5882" y="451150"/>
                      </a:lnTo>
                      <a:lnTo>
                        <a:pt x="5212" y="451768"/>
                      </a:lnTo>
                      <a:lnTo>
                        <a:pt x="3840" y="451470"/>
                      </a:lnTo>
                      <a:lnTo>
                        <a:pt x="2750" y="450788"/>
                      </a:lnTo>
                      <a:lnTo>
                        <a:pt x="1171" y="451580"/>
                      </a:lnTo>
                      <a:lnTo>
                        <a:pt x="382" y="452027"/>
                      </a:lnTo>
                      <a:lnTo>
                        <a:pt x="0" y="451376"/>
                      </a:lnTo>
                      <a:lnTo>
                        <a:pt x="855" y="449559"/>
                      </a:lnTo>
                      <a:lnTo>
                        <a:pt x="1713" y="447401"/>
                      </a:lnTo>
                      <a:lnTo>
                        <a:pt x="3001" y="445395"/>
                      </a:lnTo>
                      <a:lnTo>
                        <a:pt x="4440" y="442710"/>
                      </a:lnTo>
                      <a:lnTo>
                        <a:pt x="5730" y="440009"/>
                      </a:lnTo>
                      <a:lnTo>
                        <a:pt x="7034" y="437031"/>
                      </a:lnTo>
                      <a:lnTo>
                        <a:pt x="9070" y="431634"/>
                      </a:lnTo>
                      <a:lnTo>
                        <a:pt x="12232" y="422657"/>
                      </a:lnTo>
                      <a:lnTo>
                        <a:pt x="21003" y="395729"/>
                      </a:lnTo>
                      <a:lnTo>
                        <a:pt x="22390" y="387553"/>
                      </a:lnTo>
                      <a:lnTo>
                        <a:pt x="24382" y="385559"/>
                      </a:lnTo>
                      <a:lnTo>
                        <a:pt x="25408" y="387348"/>
                      </a:lnTo>
                      <a:lnTo>
                        <a:pt x="26568" y="390127"/>
                      </a:lnTo>
                      <a:lnTo>
                        <a:pt x="25049" y="391243"/>
                      </a:lnTo>
                      <a:lnTo>
                        <a:pt x="24889" y="394087"/>
                      </a:lnTo>
                      <a:lnTo>
                        <a:pt x="25602" y="397161"/>
                      </a:lnTo>
                      <a:lnTo>
                        <a:pt x="25336" y="401128"/>
                      </a:lnTo>
                      <a:lnTo>
                        <a:pt x="19840" y="414138"/>
                      </a:lnTo>
                      <a:lnTo>
                        <a:pt x="18496" y="418783"/>
                      </a:lnTo>
                      <a:lnTo>
                        <a:pt x="16214" y="426731"/>
                      </a:lnTo>
                      <a:lnTo>
                        <a:pt x="15263" y="432807"/>
                      </a:lnTo>
                      <a:lnTo>
                        <a:pt x="17735" y="433989"/>
                      </a:lnTo>
                      <a:lnTo>
                        <a:pt x="19958" y="433824"/>
                      </a:lnTo>
                      <a:lnTo>
                        <a:pt x="22315" y="434845"/>
                      </a:lnTo>
                      <a:lnTo>
                        <a:pt x="25092" y="430730"/>
                      </a:lnTo>
                      <a:lnTo>
                        <a:pt x="27899" y="428852"/>
                      </a:lnTo>
                      <a:lnTo>
                        <a:pt x="30005" y="424652"/>
                      </a:lnTo>
                      <a:lnTo>
                        <a:pt x="30781" y="424880"/>
                      </a:lnTo>
                      <a:lnTo>
                        <a:pt x="31494" y="426908"/>
                      </a:lnTo>
                      <a:lnTo>
                        <a:pt x="35563" y="429040"/>
                      </a:lnTo>
                      <a:lnTo>
                        <a:pt x="38172" y="433361"/>
                      </a:lnTo>
                      <a:lnTo>
                        <a:pt x="40047" y="430153"/>
                      </a:lnTo>
                      <a:lnTo>
                        <a:pt x="38521" y="428063"/>
                      </a:lnTo>
                      <a:lnTo>
                        <a:pt x="35750" y="426489"/>
                      </a:lnTo>
                      <a:lnTo>
                        <a:pt x="33911" y="424823"/>
                      </a:lnTo>
                      <a:lnTo>
                        <a:pt x="33915" y="423920"/>
                      </a:lnTo>
                      <a:lnTo>
                        <a:pt x="34332" y="422060"/>
                      </a:lnTo>
                      <a:lnTo>
                        <a:pt x="34021" y="421661"/>
                      </a:lnTo>
                      <a:lnTo>
                        <a:pt x="33352" y="421351"/>
                      </a:lnTo>
                      <a:lnTo>
                        <a:pt x="32591" y="420660"/>
                      </a:lnTo>
                      <a:lnTo>
                        <a:pt x="31959" y="419801"/>
                      </a:lnTo>
                      <a:lnTo>
                        <a:pt x="30664" y="418962"/>
                      </a:lnTo>
                      <a:lnTo>
                        <a:pt x="31143" y="417559"/>
                      </a:lnTo>
                      <a:lnTo>
                        <a:pt x="32036" y="415113"/>
                      </a:lnTo>
                      <a:lnTo>
                        <a:pt x="34217" y="413957"/>
                      </a:lnTo>
                      <a:lnTo>
                        <a:pt x="36411" y="413182"/>
                      </a:lnTo>
                      <a:lnTo>
                        <a:pt x="37673" y="412416"/>
                      </a:lnTo>
                      <a:lnTo>
                        <a:pt x="38699" y="411129"/>
                      </a:lnTo>
                      <a:lnTo>
                        <a:pt x="39467" y="409410"/>
                      </a:lnTo>
                      <a:lnTo>
                        <a:pt x="40029" y="407132"/>
                      </a:lnTo>
                      <a:lnTo>
                        <a:pt x="39960" y="405915"/>
                      </a:lnTo>
                      <a:lnTo>
                        <a:pt x="39633" y="405084"/>
                      </a:lnTo>
                      <a:lnTo>
                        <a:pt x="38943" y="400514"/>
                      </a:lnTo>
                      <a:lnTo>
                        <a:pt x="37163" y="395804"/>
                      </a:lnTo>
                      <a:lnTo>
                        <a:pt x="36610" y="392661"/>
                      </a:lnTo>
                      <a:lnTo>
                        <a:pt x="38784" y="393494"/>
                      </a:lnTo>
                      <a:lnTo>
                        <a:pt x="41590" y="396399"/>
                      </a:lnTo>
                      <a:lnTo>
                        <a:pt x="43566" y="397106"/>
                      </a:lnTo>
                      <a:lnTo>
                        <a:pt x="42271" y="392366"/>
                      </a:lnTo>
                      <a:lnTo>
                        <a:pt x="43091" y="387190"/>
                      </a:lnTo>
                      <a:lnTo>
                        <a:pt x="46004" y="383202"/>
                      </a:lnTo>
                      <a:lnTo>
                        <a:pt x="51038" y="381982"/>
                      </a:lnTo>
                      <a:lnTo>
                        <a:pt x="55774" y="381703"/>
                      </a:lnTo>
                      <a:lnTo>
                        <a:pt x="57762" y="382702"/>
                      </a:lnTo>
                      <a:lnTo>
                        <a:pt x="57727" y="385804"/>
                      </a:lnTo>
                      <a:lnTo>
                        <a:pt x="57982" y="388052"/>
                      </a:lnTo>
                      <a:lnTo>
                        <a:pt x="60106" y="388600"/>
                      </a:lnTo>
                      <a:lnTo>
                        <a:pt x="62925" y="387794"/>
                      </a:lnTo>
                      <a:lnTo>
                        <a:pt x="65220" y="386049"/>
                      </a:lnTo>
                      <a:lnTo>
                        <a:pt x="61229" y="384960"/>
                      </a:lnTo>
                      <a:lnTo>
                        <a:pt x="59143" y="381907"/>
                      </a:lnTo>
                      <a:lnTo>
                        <a:pt x="57450" y="378185"/>
                      </a:lnTo>
                      <a:lnTo>
                        <a:pt x="54664" y="375072"/>
                      </a:lnTo>
                      <a:lnTo>
                        <a:pt x="52815" y="374067"/>
                      </a:lnTo>
                      <a:lnTo>
                        <a:pt x="51224" y="372112"/>
                      </a:lnTo>
                      <a:lnTo>
                        <a:pt x="49241" y="373026"/>
                      </a:lnTo>
                      <a:lnTo>
                        <a:pt x="48375" y="375296"/>
                      </a:lnTo>
                      <a:lnTo>
                        <a:pt x="43088" y="375212"/>
                      </a:lnTo>
                      <a:lnTo>
                        <a:pt x="40812" y="372049"/>
                      </a:lnTo>
                      <a:lnTo>
                        <a:pt x="38852" y="375510"/>
                      </a:lnTo>
                      <a:lnTo>
                        <a:pt x="39255" y="377227"/>
                      </a:lnTo>
                      <a:lnTo>
                        <a:pt x="40541" y="378080"/>
                      </a:lnTo>
                      <a:lnTo>
                        <a:pt x="38966" y="378954"/>
                      </a:lnTo>
                      <a:lnTo>
                        <a:pt x="37234" y="377959"/>
                      </a:lnTo>
                      <a:lnTo>
                        <a:pt x="35529" y="377762"/>
                      </a:lnTo>
                      <a:lnTo>
                        <a:pt x="34015" y="376703"/>
                      </a:lnTo>
                      <a:lnTo>
                        <a:pt x="32707" y="376199"/>
                      </a:lnTo>
                      <a:lnTo>
                        <a:pt x="32515" y="374829"/>
                      </a:lnTo>
                      <a:lnTo>
                        <a:pt x="28025" y="371688"/>
                      </a:lnTo>
                      <a:lnTo>
                        <a:pt x="25473" y="369888"/>
                      </a:lnTo>
                      <a:lnTo>
                        <a:pt x="25580" y="366635"/>
                      </a:lnTo>
                      <a:lnTo>
                        <a:pt x="28229" y="358501"/>
                      </a:lnTo>
                      <a:lnTo>
                        <a:pt x="28901" y="351344"/>
                      </a:lnTo>
                      <a:lnTo>
                        <a:pt x="28890" y="344749"/>
                      </a:lnTo>
                      <a:lnTo>
                        <a:pt x="30103" y="342648"/>
                      </a:lnTo>
                      <a:lnTo>
                        <a:pt x="32888" y="340501"/>
                      </a:lnTo>
                      <a:lnTo>
                        <a:pt x="34919" y="342939"/>
                      </a:lnTo>
                      <a:lnTo>
                        <a:pt x="32750" y="346646"/>
                      </a:lnTo>
                      <a:lnTo>
                        <a:pt x="34295" y="350238"/>
                      </a:lnTo>
                      <a:lnTo>
                        <a:pt x="34015" y="353044"/>
                      </a:lnTo>
                      <a:lnTo>
                        <a:pt x="36002" y="352999"/>
                      </a:lnTo>
                      <a:lnTo>
                        <a:pt x="37842" y="354048"/>
                      </a:lnTo>
                      <a:lnTo>
                        <a:pt x="39305" y="355258"/>
                      </a:lnTo>
                      <a:lnTo>
                        <a:pt x="40143" y="355646"/>
                      </a:lnTo>
                      <a:lnTo>
                        <a:pt x="41717" y="354017"/>
                      </a:lnTo>
                      <a:lnTo>
                        <a:pt x="42102" y="352511"/>
                      </a:lnTo>
                      <a:lnTo>
                        <a:pt x="41728" y="350912"/>
                      </a:lnTo>
                      <a:lnTo>
                        <a:pt x="40994" y="348964"/>
                      </a:lnTo>
                      <a:lnTo>
                        <a:pt x="37164" y="349982"/>
                      </a:lnTo>
                      <a:lnTo>
                        <a:pt x="38252" y="347643"/>
                      </a:lnTo>
                      <a:lnTo>
                        <a:pt x="40185" y="345138"/>
                      </a:lnTo>
                      <a:lnTo>
                        <a:pt x="42388" y="344162"/>
                      </a:lnTo>
                      <a:lnTo>
                        <a:pt x="45948" y="344358"/>
                      </a:lnTo>
                      <a:lnTo>
                        <a:pt x="48154" y="343806"/>
                      </a:lnTo>
                      <a:lnTo>
                        <a:pt x="52838" y="341795"/>
                      </a:lnTo>
                      <a:lnTo>
                        <a:pt x="64857" y="338961"/>
                      </a:lnTo>
                      <a:lnTo>
                        <a:pt x="74886" y="337026"/>
                      </a:lnTo>
                      <a:lnTo>
                        <a:pt x="73268" y="335722"/>
                      </a:lnTo>
                      <a:lnTo>
                        <a:pt x="70831" y="336225"/>
                      </a:lnTo>
                      <a:lnTo>
                        <a:pt x="68287" y="334361"/>
                      </a:lnTo>
                      <a:lnTo>
                        <a:pt x="57409" y="333323"/>
                      </a:lnTo>
                      <a:lnTo>
                        <a:pt x="56881" y="332556"/>
                      </a:lnTo>
                      <a:lnTo>
                        <a:pt x="58333" y="332639"/>
                      </a:lnTo>
                      <a:lnTo>
                        <a:pt x="61748" y="331730"/>
                      </a:lnTo>
                      <a:lnTo>
                        <a:pt x="56339" y="330378"/>
                      </a:lnTo>
                      <a:lnTo>
                        <a:pt x="50048" y="329731"/>
                      </a:lnTo>
                      <a:lnTo>
                        <a:pt x="49799" y="327852"/>
                      </a:lnTo>
                      <a:lnTo>
                        <a:pt x="51546" y="325325"/>
                      </a:lnTo>
                      <a:lnTo>
                        <a:pt x="50688" y="321866"/>
                      </a:lnTo>
                      <a:lnTo>
                        <a:pt x="48470" y="320735"/>
                      </a:lnTo>
                      <a:lnTo>
                        <a:pt x="46264" y="319684"/>
                      </a:lnTo>
                      <a:lnTo>
                        <a:pt x="43240" y="318712"/>
                      </a:lnTo>
                      <a:lnTo>
                        <a:pt x="39846" y="317961"/>
                      </a:lnTo>
                      <a:lnTo>
                        <a:pt x="36472" y="318888"/>
                      </a:lnTo>
                      <a:lnTo>
                        <a:pt x="34652" y="320665"/>
                      </a:lnTo>
                      <a:lnTo>
                        <a:pt x="34505" y="321928"/>
                      </a:lnTo>
                      <a:lnTo>
                        <a:pt x="34842" y="324711"/>
                      </a:lnTo>
                      <a:lnTo>
                        <a:pt x="33936" y="327231"/>
                      </a:lnTo>
                      <a:lnTo>
                        <a:pt x="33171" y="328905"/>
                      </a:lnTo>
                      <a:lnTo>
                        <a:pt x="32872" y="330553"/>
                      </a:lnTo>
                      <a:lnTo>
                        <a:pt x="32979" y="332564"/>
                      </a:lnTo>
                      <a:lnTo>
                        <a:pt x="33334" y="334427"/>
                      </a:lnTo>
                      <a:lnTo>
                        <a:pt x="35063" y="334375"/>
                      </a:lnTo>
                      <a:lnTo>
                        <a:pt x="35694" y="335037"/>
                      </a:lnTo>
                      <a:lnTo>
                        <a:pt x="34910" y="336963"/>
                      </a:lnTo>
                      <a:lnTo>
                        <a:pt x="33218" y="335356"/>
                      </a:lnTo>
                      <a:lnTo>
                        <a:pt x="31319" y="334547"/>
                      </a:lnTo>
                      <a:lnTo>
                        <a:pt x="29875" y="334732"/>
                      </a:lnTo>
                      <a:lnTo>
                        <a:pt x="28910" y="335443"/>
                      </a:lnTo>
                      <a:lnTo>
                        <a:pt x="28450" y="336800"/>
                      </a:lnTo>
                      <a:lnTo>
                        <a:pt x="27031" y="337106"/>
                      </a:lnTo>
                      <a:lnTo>
                        <a:pt x="24890" y="337211"/>
                      </a:lnTo>
                      <a:lnTo>
                        <a:pt x="25863" y="335500"/>
                      </a:lnTo>
                      <a:lnTo>
                        <a:pt x="26158" y="334299"/>
                      </a:lnTo>
                      <a:lnTo>
                        <a:pt x="26916" y="332379"/>
                      </a:lnTo>
                      <a:lnTo>
                        <a:pt x="28972" y="327686"/>
                      </a:lnTo>
                      <a:lnTo>
                        <a:pt x="32569" y="317283"/>
                      </a:lnTo>
                      <a:lnTo>
                        <a:pt x="33693" y="313006"/>
                      </a:lnTo>
                      <a:lnTo>
                        <a:pt x="35409" y="306007"/>
                      </a:lnTo>
                      <a:lnTo>
                        <a:pt x="37453" y="291838"/>
                      </a:lnTo>
                      <a:lnTo>
                        <a:pt x="38206" y="284927"/>
                      </a:lnTo>
                      <a:lnTo>
                        <a:pt x="38289" y="278407"/>
                      </a:lnTo>
                      <a:lnTo>
                        <a:pt x="37867" y="273548"/>
                      </a:lnTo>
                      <a:lnTo>
                        <a:pt x="37139" y="271413"/>
                      </a:lnTo>
                      <a:lnTo>
                        <a:pt x="34291" y="270882"/>
                      </a:lnTo>
                      <a:lnTo>
                        <a:pt x="34290" y="269083"/>
                      </a:lnTo>
                      <a:lnTo>
                        <a:pt x="33951" y="262695"/>
                      </a:lnTo>
                      <a:lnTo>
                        <a:pt x="35522" y="263029"/>
                      </a:lnTo>
                      <a:lnTo>
                        <a:pt x="36314" y="264091"/>
                      </a:lnTo>
                      <a:lnTo>
                        <a:pt x="37213" y="264084"/>
                      </a:lnTo>
                      <a:lnTo>
                        <a:pt x="36241" y="262425"/>
                      </a:lnTo>
                      <a:lnTo>
                        <a:pt x="33027" y="261788"/>
                      </a:lnTo>
                      <a:lnTo>
                        <a:pt x="32073" y="260838"/>
                      </a:lnTo>
                      <a:lnTo>
                        <a:pt x="36513" y="235917"/>
                      </a:lnTo>
                      <a:lnTo>
                        <a:pt x="39042" y="227807"/>
                      </a:lnTo>
                      <a:lnTo>
                        <a:pt x="39549" y="216993"/>
                      </a:lnTo>
                      <a:lnTo>
                        <a:pt x="40110" y="212000"/>
                      </a:lnTo>
                      <a:lnTo>
                        <a:pt x="39707" y="202633"/>
                      </a:lnTo>
                      <a:lnTo>
                        <a:pt x="41295" y="196143"/>
                      </a:lnTo>
                      <a:lnTo>
                        <a:pt x="41376" y="193240"/>
                      </a:lnTo>
                      <a:lnTo>
                        <a:pt x="39890" y="192604"/>
                      </a:lnTo>
                      <a:lnTo>
                        <a:pt x="38775" y="191409"/>
                      </a:lnTo>
                      <a:lnTo>
                        <a:pt x="38280" y="189314"/>
                      </a:lnTo>
                      <a:lnTo>
                        <a:pt x="36592" y="186168"/>
                      </a:lnTo>
                      <a:lnTo>
                        <a:pt x="37787" y="180118"/>
                      </a:lnTo>
                      <a:lnTo>
                        <a:pt x="31554" y="175542"/>
                      </a:lnTo>
                      <a:lnTo>
                        <a:pt x="30828" y="171997"/>
                      </a:lnTo>
                      <a:lnTo>
                        <a:pt x="30282" y="169070"/>
                      </a:lnTo>
                      <a:lnTo>
                        <a:pt x="27425" y="167561"/>
                      </a:lnTo>
                      <a:lnTo>
                        <a:pt x="25227" y="167535"/>
                      </a:lnTo>
                      <a:lnTo>
                        <a:pt x="23531" y="161430"/>
                      </a:lnTo>
                      <a:lnTo>
                        <a:pt x="24008" y="153244"/>
                      </a:lnTo>
                      <a:lnTo>
                        <a:pt x="24200" y="146711"/>
                      </a:lnTo>
                      <a:lnTo>
                        <a:pt x="25014" y="140181"/>
                      </a:lnTo>
                      <a:lnTo>
                        <a:pt x="26495" y="132018"/>
                      </a:lnTo>
                      <a:lnTo>
                        <a:pt x="28628" y="127701"/>
                      </a:lnTo>
                      <a:lnTo>
                        <a:pt x="27369" y="118629"/>
                      </a:lnTo>
                      <a:lnTo>
                        <a:pt x="27117" y="114971"/>
                      </a:lnTo>
                      <a:lnTo>
                        <a:pt x="29454" y="114206"/>
                      </a:lnTo>
                      <a:lnTo>
                        <a:pt x="32872" y="111847"/>
                      </a:lnTo>
                      <a:lnTo>
                        <a:pt x="35559" y="108323"/>
                      </a:lnTo>
                      <a:lnTo>
                        <a:pt x="35851" y="107386"/>
                      </a:lnTo>
                      <a:lnTo>
                        <a:pt x="35596" y="106163"/>
                      </a:lnTo>
                      <a:lnTo>
                        <a:pt x="35489" y="102506"/>
                      </a:lnTo>
                      <a:lnTo>
                        <a:pt x="35968" y="101873"/>
                      </a:lnTo>
                      <a:lnTo>
                        <a:pt x="37992" y="101649"/>
                      </a:lnTo>
                      <a:lnTo>
                        <a:pt x="39520" y="99875"/>
                      </a:lnTo>
                      <a:lnTo>
                        <a:pt x="40728" y="96232"/>
                      </a:lnTo>
                      <a:lnTo>
                        <a:pt x="41711" y="94756"/>
                      </a:lnTo>
                      <a:lnTo>
                        <a:pt x="44570" y="92362"/>
                      </a:lnTo>
                      <a:lnTo>
                        <a:pt x="45650" y="90628"/>
                      </a:lnTo>
                      <a:lnTo>
                        <a:pt x="44774" y="89692"/>
                      </a:lnTo>
                      <a:lnTo>
                        <a:pt x="45438" y="88165"/>
                      </a:lnTo>
                      <a:lnTo>
                        <a:pt x="44433" y="87702"/>
                      </a:lnTo>
                      <a:lnTo>
                        <a:pt x="43218" y="87100"/>
                      </a:lnTo>
                      <a:lnTo>
                        <a:pt x="42050" y="85245"/>
                      </a:lnTo>
                      <a:lnTo>
                        <a:pt x="40696" y="83264"/>
                      </a:lnTo>
                      <a:lnTo>
                        <a:pt x="40032" y="80646"/>
                      </a:lnTo>
                      <a:lnTo>
                        <a:pt x="41375" y="77929"/>
                      </a:lnTo>
                      <a:lnTo>
                        <a:pt x="45555" y="77846"/>
                      </a:lnTo>
                      <a:lnTo>
                        <a:pt x="49721" y="79262"/>
                      </a:lnTo>
                      <a:lnTo>
                        <a:pt x="52536" y="80150"/>
                      </a:lnTo>
                      <a:lnTo>
                        <a:pt x="54057" y="82850"/>
                      </a:lnTo>
                      <a:lnTo>
                        <a:pt x="55383" y="83475"/>
                      </a:lnTo>
                      <a:lnTo>
                        <a:pt x="57778" y="82248"/>
                      </a:lnTo>
                      <a:lnTo>
                        <a:pt x="59875" y="83299"/>
                      </a:lnTo>
                      <a:lnTo>
                        <a:pt x="64112" y="87475"/>
                      </a:lnTo>
                      <a:lnTo>
                        <a:pt x="71602" y="94289"/>
                      </a:lnTo>
                      <a:lnTo>
                        <a:pt x="77736" y="99185"/>
                      </a:lnTo>
                      <a:lnTo>
                        <a:pt x="83708" y="102141"/>
                      </a:lnTo>
                      <a:lnTo>
                        <a:pt x="84646" y="102973"/>
                      </a:lnTo>
                      <a:lnTo>
                        <a:pt x="89017" y="106266"/>
                      </a:lnTo>
                      <a:lnTo>
                        <a:pt x="91617" y="107383"/>
                      </a:lnTo>
                      <a:lnTo>
                        <a:pt x="94949" y="106743"/>
                      </a:lnTo>
                      <a:lnTo>
                        <a:pt x="97668" y="107850"/>
                      </a:lnTo>
                      <a:lnTo>
                        <a:pt x="104840" y="113324"/>
                      </a:lnTo>
                      <a:lnTo>
                        <a:pt x="110065" y="116933"/>
                      </a:lnTo>
                      <a:lnTo>
                        <a:pt x="110628" y="119754"/>
                      </a:lnTo>
                      <a:lnTo>
                        <a:pt x="115636" y="124490"/>
                      </a:lnTo>
                      <a:lnTo>
                        <a:pt x="122208" y="126089"/>
                      </a:lnTo>
                      <a:lnTo>
                        <a:pt x="125147" y="127703"/>
                      </a:lnTo>
                      <a:lnTo>
                        <a:pt x="128632" y="128129"/>
                      </a:lnTo>
                      <a:lnTo>
                        <a:pt x="131676" y="129072"/>
                      </a:lnTo>
                      <a:lnTo>
                        <a:pt x="137490" y="129892"/>
                      </a:lnTo>
                      <a:lnTo>
                        <a:pt x="138672" y="130951"/>
                      </a:lnTo>
                      <a:lnTo>
                        <a:pt x="144551" y="130868"/>
                      </a:lnTo>
                      <a:lnTo>
                        <a:pt x="147899" y="132623"/>
                      </a:lnTo>
                      <a:lnTo>
                        <a:pt x="154349" y="132180"/>
                      </a:lnTo>
                      <a:lnTo>
                        <a:pt x="160024" y="131961"/>
                      </a:lnTo>
                      <a:lnTo>
                        <a:pt x="166786" y="135198"/>
                      </a:lnTo>
                      <a:lnTo>
                        <a:pt x="167221" y="136982"/>
                      </a:lnTo>
                      <a:lnTo>
                        <a:pt x="173231" y="138760"/>
                      </a:lnTo>
                      <a:lnTo>
                        <a:pt x="176177" y="137057"/>
                      </a:lnTo>
                      <a:lnTo>
                        <a:pt x="178329" y="136522"/>
                      </a:lnTo>
                      <a:lnTo>
                        <a:pt x="180226" y="137793"/>
                      </a:lnTo>
                      <a:lnTo>
                        <a:pt x="181092" y="139737"/>
                      </a:lnTo>
                      <a:lnTo>
                        <a:pt x="183291" y="140432"/>
                      </a:lnTo>
                      <a:lnTo>
                        <a:pt x="187209" y="140717"/>
                      </a:lnTo>
                      <a:lnTo>
                        <a:pt x="192856" y="139812"/>
                      </a:lnTo>
                      <a:lnTo>
                        <a:pt x="195099" y="140091"/>
                      </a:lnTo>
                      <a:lnTo>
                        <a:pt x="196648" y="140859"/>
                      </a:lnTo>
                      <a:lnTo>
                        <a:pt x="193792" y="140848"/>
                      </a:lnTo>
                      <a:lnTo>
                        <a:pt x="191730" y="141165"/>
                      </a:lnTo>
                      <a:lnTo>
                        <a:pt x="189955" y="141403"/>
                      </a:lnTo>
                      <a:lnTo>
                        <a:pt x="190066" y="142561"/>
                      </a:lnTo>
                      <a:lnTo>
                        <a:pt x="193250" y="144227"/>
                      </a:lnTo>
                      <a:lnTo>
                        <a:pt x="201469" y="145254"/>
                      </a:lnTo>
                      <a:lnTo>
                        <a:pt x="205920" y="146270"/>
                      </a:lnTo>
                      <a:lnTo>
                        <a:pt x="210640" y="146176"/>
                      </a:lnTo>
                      <a:lnTo>
                        <a:pt x="215717" y="147275"/>
                      </a:lnTo>
                      <a:lnTo>
                        <a:pt x="219119" y="146481"/>
                      </a:lnTo>
                      <a:lnTo>
                        <a:pt x="228434" y="140033"/>
                      </a:lnTo>
                      <a:lnTo>
                        <a:pt x="231831" y="138165"/>
                      </a:lnTo>
                      <a:lnTo>
                        <a:pt x="237624" y="137636"/>
                      </a:lnTo>
                      <a:lnTo>
                        <a:pt x="236104" y="138247"/>
                      </a:lnTo>
                      <a:lnTo>
                        <a:pt x="234132" y="139031"/>
                      </a:lnTo>
                      <a:lnTo>
                        <a:pt x="231764" y="140570"/>
                      </a:lnTo>
                      <a:lnTo>
                        <a:pt x="228918" y="142300"/>
                      </a:lnTo>
                      <a:lnTo>
                        <a:pt x="230894" y="142643"/>
                      </a:lnTo>
                      <a:lnTo>
                        <a:pt x="235151" y="143531"/>
                      </a:lnTo>
                      <a:lnTo>
                        <a:pt x="236893" y="147379"/>
                      </a:lnTo>
                      <a:lnTo>
                        <a:pt x="239650" y="149627"/>
                      </a:lnTo>
                      <a:lnTo>
                        <a:pt x="240702" y="155516"/>
                      </a:lnTo>
                      <a:lnTo>
                        <a:pt x="238614" y="159785"/>
                      </a:lnTo>
                      <a:lnTo>
                        <a:pt x="239801" y="162493"/>
                      </a:lnTo>
                      <a:lnTo>
                        <a:pt x="242246" y="163957"/>
                      </a:lnTo>
                      <a:lnTo>
                        <a:pt x="243685" y="164106"/>
                      </a:lnTo>
                      <a:lnTo>
                        <a:pt x="244831" y="157130"/>
                      </a:lnTo>
                      <a:lnTo>
                        <a:pt x="246436" y="154994"/>
                      </a:lnTo>
                      <a:lnTo>
                        <a:pt x="252233" y="154638"/>
                      </a:lnTo>
                      <a:lnTo>
                        <a:pt x="254312" y="154803"/>
                      </a:lnTo>
                      <a:lnTo>
                        <a:pt x="255914" y="155476"/>
                      </a:lnTo>
                      <a:lnTo>
                        <a:pt x="256142" y="157098"/>
                      </a:lnTo>
                      <a:lnTo>
                        <a:pt x="255616" y="159862"/>
                      </a:lnTo>
                      <a:lnTo>
                        <a:pt x="256414" y="160682"/>
                      </a:lnTo>
                      <a:lnTo>
                        <a:pt x="257856" y="160824"/>
                      </a:lnTo>
                      <a:lnTo>
                        <a:pt x="259302" y="161638"/>
                      </a:lnTo>
                      <a:lnTo>
                        <a:pt x="260437" y="164042"/>
                      </a:lnTo>
                      <a:lnTo>
                        <a:pt x="261261" y="167724"/>
                      </a:lnTo>
                      <a:lnTo>
                        <a:pt x="260678" y="171045"/>
                      </a:lnTo>
                      <a:lnTo>
                        <a:pt x="257564" y="172345"/>
                      </a:lnTo>
                      <a:lnTo>
                        <a:pt x="257141" y="173611"/>
                      </a:lnTo>
                      <a:lnTo>
                        <a:pt x="259685" y="173626"/>
                      </a:lnTo>
                      <a:lnTo>
                        <a:pt x="261959" y="172056"/>
                      </a:lnTo>
                      <a:lnTo>
                        <a:pt x="265795" y="167227"/>
                      </a:lnTo>
                      <a:lnTo>
                        <a:pt x="265068" y="164545"/>
                      </a:lnTo>
                      <a:lnTo>
                        <a:pt x="261563" y="158863"/>
                      </a:lnTo>
                      <a:lnTo>
                        <a:pt x="261659" y="156729"/>
                      </a:lnTo>
                      <a:lnTo>
                        <a:pt x="263017" y="154241"/>
                      </a:lnTo>
                      <a:lnTo>
                        <a:pt x="264965" y="152218"/>
                      </a:lnTo>
                      <a:lnTo>
                        <a:pt x="266828" y="151491"/>
                      </a:lnTo>
                      <a:lnTo>
                        <a:pt x="271401" y="150856"/>
                      </a:lnTo>
                      <a:lnTo>
                        <a:pt x="275726" y="149557"/>
                      </a:lnTo>
                      <a:lnTo>
                        <a:pt x="278927" y="149935"/>
                      </a:lnTo>
                      <a:lnTo>
                        <a:pt x="280125" y="154313"/>
                      </a:lnTo>
                      <a:lnTo>
                        <a:pt x="278613" y="155022"/>
                      </a:lnTo>
                      <a:lnTo>
                        <a:pt x="274887" y="156246"/>
                      </a:lnTo>
                      <a:lnTo>
                        <a:pt x="273648" y="157203"/>
                      </a:lnTo>
                      <a:lnTo>
                        <a:pt x="272780" y="159558"/>
                      </a:lnTo>
                      <a:lnTo>
                        <a:pt x="273190" y="161351"/>
                      </a:lnTo>
                      <a:lnTo>
                        <a:pt x="273944" y="162764"/>
                      </a:lnTo>
                      <a:lnTo>
                        <a:pt x="274159" y="163929"/>
                      </a:lnTo>
                      <a:lnTo>
                        <a:pt x="274144" y="166504"/>
                      </a:lnTo>
                      <a:lnTo>
                        <a:pt x="276723" y="175824"/>
                      </a:lnTo>
                      <a:lnTo>
                        <a:pt x="277413" y="177050"/>
                      </a:lnTo>
                      <a:lnTo>
                        <a:pt x="279406" y="178747"/>
                      </a:lnTo>
                      <a:lnTo>
                        <a:pt x="279994" y="179831"/>
                      </a:lnTo>
                      <a:lnTo>
                        <a:pt x="279901" y="181206"/>
                      </a:lnTo>
                      <a:lnTo>
                        <a:pt x="279100" y="184899"/>
                      </a:lnTo>
                      <a:lnTo>
                        <a:pt x="279202" y="186397"/>
                      </a:lnTo>
                      <a:lnTo>
                        <a:pt x="283342" y="195046"/>
                      </a:lnTo>
                      <a:lnTo>
                        <a:pt x="283464" y="197175"/>
                      </a:lnTo>
                      <a:lnTo>
                        <a:pt x="282173" y="197759"/>
                      </a:lnTo>
                      <a:lnTo>
                        <a:pt x="278232" y="197498"/>
                      </a:lnTo>
                      <a:lnTo>
                        <a:pt x="276864" y="197648"/>
                      </a:lnTo>
                      <a:lnTo>
                        <a:pt x="275257" y="199006"/>
                      </a:lnTo>
                      <a:lnTo>
                        <a:pt x="273213" y="202134"/>
                      </a:lnTo>
                      <a:lnTo>
                        <a:pt x="271553" y="203833"/>
                      </a:lnTo>
                      <a:lnTo>
                        <a:pt x="263617" y="209717"/>
                      </a:lnTo>
                      <a:lnTo>
                        <a:pt x="260669" y="212911"/>
                      </a:lnTo>
                      <a:lnTo>
                        <a:pt x="256218" y="218905"/>
                      </a:lnTo>
                      <a:lnTo>
                        <a:pt x="254280" y="222091"/>
                      </a:lnTo>
                      <a:lnTo>
                        <a:pt x="253035" y="224842"/>
                      </a:lnTo>
                      <a:lnTo>
                        <a:pt x="252002" y="226590"/>
                      </a:lnTo>
                      <a:lnTo>
                        <a:pt x="250503" y="227758"/>
                      </a:lnTo>
                      <a:lnTo>
                        <a:pt x="248797" y="228391"/>
                      </a:lnTo>
                      <a:lnTo>
                        <a:pt x="247208" y="228480"/>
                      </a:lnTo>
                      <a:lnTo>
                        <a:pt x="245313" y="227414"/>
                      </a:lnTo>
                      <a:lnTo>
                        <a:pt x="245835" y="225536"/>
                      </a:lnTo>
                      <a:lnTo>
                        <a:pt x="248373" y="222439"/>
                      </a:lnTo>
                      <a:lnTo>
                        <a:pt x="254385" y="211720"/>
                      </a:lnTo>
                      <a:lnTo>
                        <a:pt x="256165" y="206697"/>
                      </a:lnTo>
                      <a:lnTo>
                        <a:pt x="257375" y="200311"/>
                      </a:lnTo>
                      <a:lnTo>
                        <a:pt x="255112" y="202396"/>
                      </a:lnTo>
                      <a:lnTo>
                        <a:pt x="253856" y="205701"/>
                      </a:lnTo>
                      <a:lnTo>
                        <a:pt x="252403" y="208809"/>
                      </a:lnTo>
                      <a:lnTo>
                        <a:pt x="249524" y="210328"/>
                      </a:lnTo>
                      <a:lnTo>
                        <a:pt x="250516" y="206841"/>
                      </a:lnTo>
                      <a:lnTo>
                        <a:pt x="250705" y="203670"/>
                      </a:lnTo>
                      <a:lnTo>
                        <a:pt x="249778" y="202539"/>
                      </a:lnTo>
                      <a:lnTo>
                        <a:pt x="247435" y="205258"/>
                      </a:lnTo>
                      <a:lnTo>
                        <a:pt x="246635" y="207964"/>
                      </a:lnTo>
                      <a:lnTo>
                        <a:pt x="246663" y="211176"/>
                      </a:lnTo>
                      <a:lnTo>
                        <a:pt x="247515" y="216388"/>
                      </a:lnTo>
                      <a:lnTo>
                        <a:pt x="243794" y="218333"/>
                      </a:lnTo>
                      <a:lnTo>
                        <a:pt x="240616" y="222094"/>
                      </a:lnTo>
                      <a:lnTo>
                        <a:pt x="238008" y="225711"/>
                      </a:lnTo>
                      <a:lnTo>
                        <a:pt x="234896" y="228020"/>
                      </a:lnTo>
                      <a:lnTo>
                        <a:pt x="232795" y="231883"/>
                      </a:lnTo>
                      <a:lnTo>
                        <a:pt x="231452" y="232664"/>
                      </a:lnTo>
                      <a:lnTo>
                        <a:pt x="229685" y="232972"/>
                      </a:lnTo>
                      <a:lnTo>
                        <a:pt x="227790" y="234016"/>
                      </a:lnTo>
                      <a:lnTo>
                        <a:pt x="213497" y="244714"/>
                      </a:lnTo>
                      <a:lnTo>
                        <a:pt x="211053" y="247223"/>
                      </a:lnTo>
                      <a:lnTo>
                        <a:pt x="203631" y="256451"/>
                      </a:lnTo>
                      <a:lnTo>
                        <a:pt x="200780" y="258720"/>
                      </a:lnTo>
                      <a:lnTo>
                        <a:pt x="197294" y="260736"/>
                      </a:lnTo>
                      <a:lnTo>
                        <a:pt x="194034" y="263169"/>
                      </a:lnTo>
                      <a:lnTo>
                        <a:pt x="190083" y="269347"/>
                      </a:lnTo>
                      <a:lnTo>
                        <a:pt x="184509" y="275879"/>
                      </a:lnTo>
                      <a:lnTo>
                        <a:pt x="183270" y="278447"/>
                      </a:lnTo>
                      <a:lnTo>
                        <a:pt x="186418" y="281685"/>
                      </a:lnTo>
                      <a:lnTo>
                        <a:pt x="194000" y="281831"/>
                      </a:lnTo>
                      <a:lnTo>
                        <a:pt x="218998" y="275684"/>
                      </a:lnTo>
                      <a:lnTo>
                        <a:pt x="224237" y="273623"/>
                      </a:lnTo>
                      <a:lnTo>
                        <a:pt x="229727" y="270308"/>
                      </a:lnTo>
                      <a:lnTo>
                        <a:pt x="226228" y="269151"/>
                      </a:lnTo>
                      <a:lnTo>
                        <a:pt x="220376" y="270709"/>
                      </a:lnTo>
                      <a:lnTo>
                        <a:pt x="209448" y="275316"/>
                      </a:lnTo>
                      <a:lnTo>
                        <a:pt x="198138" y="278314"/>
                      </a:lnTo>
                      <a:lnTo>
                        <a:pt x="192966" y="277667"/>
                      </a:lnTo>
                      <a:lnTo>
                        <a:pt x="191472" y="273291"/>
                      </a:lnTo>
                      <a:lnTo>
                        <a:pt x="192667" y="270920"/>
                      </a:lnTo>
                      <a:lnTo>
                        <a:pt x="194969" y="268545"/>
                      </a:lnTo>
                      <a:lnTo>
                        <a:pt x="199932" y="264545"/>
                      </a:lnTo>
                      <a:lnTo>
                        <a:pt x="201782" y="262763"/>
                      </a:lnTo>
                      <a:lnTo>
                        <a:pt x="210864" y="252020"/>
                      </a:lnTo>
                      <a:lnTo>
                        <a:pt x="224691" y="240392"/>
                      </a:lnTo>
                      <a:lnTo>
                        <a:pt x="226794" y="239602"/>
                      </a:lnTo>
                      <a:lnTo>
                        <a:pt x="236519" y="235664"/>
                      </a:lnTo>
                      <a:lnTo>
                        <a:pt x="247483" y="233252"/>
                      </a:lnTo>
                      <a:lnTo>
                        <a:pt x="250974" y="232039"/>
                      </a:lnTo>
                      <a:lnTo>
                        <a:pt x="252996" y="230770"/>
                      </a:lnTo>
                      <a:lnTo>
                        <a:pt x="254585" y="228606"/>
                      </a:lnTo>
                      <a:lnTo>
                        <a:pt x="258965" y="221185"/>
                      </a:lnTo>
                      <a:lnTo>
                        <a:pt x="261031" y="218629"/>
                      </a:lnTo>
                      <a:lnTo>
                        <a:pt x="279399" y="203454"/>
                      </a:lnTo>
                      <a:lnTo>
                        <a:pt x="281284" y="202338"/>
                      </a:lnTo>
                      <a:lnTo>
                        <a:pt x="282823" y="201953"/>
                      </a:lnTo>
                      <a:lnTo>
                        <a:pt x="284929" y="202730"/>
                      </a:lnTo>
                      <a:lnTo>
                        <a:pt x="284712" y="204026"/>
                      </a:lnTo>
                      <a:lnTo>
                        <a:pt x="283830" y="205538"/>
                      </a:lnTo>
                      <a:lnTo>
                        <a:pt x="284025" y="206931"/>
                      </a:lnTo>
                      <a:lnTo>
                        <a:pt x="286607" y="207789"/>
                      </a:lnTo>
                      <a:lnTo>
                        <a:pt x="288011" y="205341"/>
                      </a:lnTo>
                      <a:lnTo>
                        <a:pt x="288643" y="201398"/>
                      </a:lnTo>
                      <a:lnTo>
                        <a:pt x="289118" y="193051"/>
                      </a:lnTo>
                      <a:lnTo>
                        <a:pt x="289028" y="191742"/>
                      </a:lnTo>
                      <a:lnTo>
                        <a:pt x="287944" y="187326"/>
                      </a:lnTo>
                      <a:lnTo>
                        <a:pt x="288222" y="185590"/>
                      </a:lnTo>
                      <a:lnTo>
                        <a:pt x="294586" y="190753"/>
                      </a:lnTo>
                      <a:lnTo>
                        <a:pt x="297015" y="193745"/>
                      </a:lnTo>
                      <a:lnTo>
                        <a:pt x="296991" y="198078"/>
                      </a:lnTo>
                      <a:lnTo>
                        <a:pt x="296324" y="200609"/>
                      </a:lnTo>
                      <a:lnTo>
                        <a:pt x="295239" y="206477"/>
                      </a:lnTo>
                      <a:lnTo>
                        <a:pt x="295456" y="208298"/>
                      </a:lnTo>
                      <a:lnTo>
                        <a:pt x="296346" y="209891"/>
                      </a:lnTo>
                      <a:lnTo>
                        <a:pt x="296259" y="211685"/>
                      </a:lnTo>
                      <a:lnTo>
                        <a:pt x="293562" y="214157"/>
                      </a:lnTo>
                      <a:lnTo>
                        <a:pt x="294617" y="214650"/>
                      </a:lnTo>
                      <a:lnTo>
                        <a:pt x="295763" y="215484"/>
                      </a:lnTo>
                      <a:lnTo>
                        <a:pt x="296644" y="216657"/>
                      </a:lnTo>
                      <a:lnTo>
                        <a:pt x="296989" y="218059"/>
                      </a:lnTo>
                      <a:lnTo>
                        <a:pt x="296437" y="220098"/>
                      </a:lnTo>
                      <a:lnTo>
                        <a:pt x="295298" y="221481"/>
                      </a:lnTo>
                      <a:lnTo>
                        <a:pt x="294136" y="222441"/>
                      </a:lnTo>
                      <a:lnTo>
                        <a:pt x="293448" y="223231"/>
                      </a:lnTo>
                      <a:lnTo>
                        <a:pt x="292044" y="223386"/>
                      </a:lnTo>
                      <a:lnTo>
                        <a:pt x="286183" y="221385"/>
                      </a:lnTo>
                      <a:lnTo>
                        <a:pt x="283841" y="221558"/>
                      </a:lnTo>
                      <a:lnTo>
                        <a:pt x="283470" y="223596"/>
                      </a:lnTo>
                      <a:lnTo>
                        <a:pt x="281401" y="226232"/>
                      </a:lnTo>
                      <a:lnTo>
                        <a:pt x="278635" y="228473"/>
                      </a:lnTo>
                      <a:lnTo>
                        <a:pt x="276176" y="229305"/>
                      </a:lnTo>
                      <a:lnTo>
                        <a:pt x="271182" y="221541"/>
                      </a:lnTo>
                      <a:lnTo>
                        <a:pt x="269832" y="221766"/>
                      </a:lnTo>
                      <a:lnTo>
                        <a:pt x="269511" y="223947"/>
                      </a:lnTo>
                      <a:lnTo>
                        <a:pt x="270071" y="225173"/>
                      </a:lnTo>
                      <a:lnTo>
                        <a:pt x="270990" y="226113"/>
                      </a:lnTo>
                      <a:lnTo>
                        <a:pt x="271730" y="227481"/>
                      </a:lnTo>
                      <a:lnTo>
                        <a:pt x="271980" y="228664"/>
                      </a:lnTo>
                      <a:lnTo>
                        <a:pt x="271338" y="245610"/>
                      </a:lnTo>
                      <a:lnTo>
                        <a:pt x="269982" y="246673"/>
                      </a:lnTo>
                      <a:lnTo>
                        <a:pt x="270536" y="248064"/>
                      </a:lnTo>
                      <a:lnTo>
                        <a:pt x="266811" y="249181"/>
                      </a:lnTo>
                      <a:lnTo>
                        <a:pt x="264517" y="245069"/>
                      </a:lnTo>
                      <a:lnTo>
                        <a:pt x="262725" y="234957"/>
                      </a:lnTo>
                      <a:lnTo>
                        <a:pt x="261262" y="236239"/>
                      </a:lnTo>
                      <a:lnTo>
                        <a:pt x="260029" y="237777"/>
                      </a:lnTo>
                      <a:lnTo>
                        <a:pt x="259103" y="239624"/>
                      </a:lnTo>
                      <a:lnTo>
                        <a:pt x="258516" y="241879"/>
                      </a:lnTo>
                      <a:lnTo>
                        <a:pt x="258517" y="244263"/>
                      </a:lnTo>
                      <a:lnTo>
                        <a:pt x="259281" y="245432"/>
                      </a:lnTo>
                      <a:lnTo>
                        <a:pt x="263059" y="248259"/>
                      </a:lnTo>
                      <a:lnTo>
                        <a:pt x="264069" y="248357"/>
                      </a:lnTo>
                      <a:lnTo>
                        <a:pt x="263963" y="248749"/>
                      </a:lnTo>
                      <a:lnTo>
                        <a:pt x="262168" y="250761"/>
                      </a:lnTo>
                      <a:lnTo>
                        <a:pt x="260329" y="252435"/>
                      </a:lnTo>
                      <a:lnTo>
                        <a:pt x="257047" y="254570"/>
                      </a:lnTo>
                      <a:lnTo>
                        <a:pt x="255749" y="256225"/>
                      </a:lnTo>
                      <a:lnTo>
                        <a:pt x="263409" y="254085"/>
                      </a:lnTo>
                      <a:lnTo>
                        <a:pt x="267061" y="252518"/>
                      </a:lnTo>
                      <a:lnTo>
                        <a:pt x="270585" y="250496"/>
                      </a:lnTo>
                      <a:lnTo>
                        <a:pt x="275678" y="248518"/>
                      </a:lnTo>
                      <a:lnTo>
                        <a:pt x="276049" y="251506"/>
                      </a:lnTo>
                      <a:lnTo>
                        <a:pt x="274813" y="255956"/>
                      </a:lnTo>
                      <a:lnTo>
                        <a:pt x="275050" y="258366"/>
                      </a:lnTo>
                      <a:lnTo>
                        <a:pt x="278074" y="259979"/>
                      </a:lnTo>
                      <a:lnTo>
                        <a:pt x="276886" y="262939"/>
                      </a:lnTo>
                      <a:lnTo>
                        <a:pt x="273989" y="266376"/>
                      </a:lnTo>
                      <a:lnTo>
                        <a:pt x="271897" y="269483"/>
                      </a:lnTo>
                      <a:lnTo>
                        <a:pt x="269474" y="273738"/>
                      </a:lnTo>
                      <a:lnTo>
                        <a:pt x="266421" y="277571"/>
                      </a:lnTo>
                      <a:lnTo>
                        <a:pt x="264592" y="281279"/>
                      </a:lnTo>
                      <a:lnTo>
                        <a:pt x="265856" y="285227"/>
                      </a:lnTo>
                      <a:lnTo>
                        <a:pt x="264077" y="287539"/>
                      </a:lnTo>
                      <a:lnTo>
                        <a:pt x="262196" y="289073"/>
                      </a:lnTo>
                      <a:lnTo>
                        <a:pt x="260073" y="289989"/>
                      </a:lnTo>
                      <a:lnTo>
                        <a:pt x="257595" y="290388"/>
                      </a:lnTo>
                      <a:lnTo>
                        <a:pt x="258966" y="296763"/>
                      </a:lnTo>
                      <a:lnTo>
                        <a:pt x="258518" y="299685"/>
                      </a:lnTo>
                      <a:lnTo>
                        <a:pt x="255863" y="303044"/>
                      </a:lnTo>
                      <a:lnTo>
                        <a:pt x="253903" y="302799"/>
                      </a:lnTo>
                      <a:lnTo>
                        <a:pt x="245027" y="297612"/>
                      </a:lnTo>
                      <a:lnTo>
                        <a:pt x="242455" y="294962"/>
                      </a:lnTo>
                      <a:lnTo>
                        <a:pt x="243335" y="293433"/>
                      </a:lnTo>
                      <a:lnTo>
                        <a:pt x="245678" y="292072"/>
                      </a:lnTo>
                      <a:lnTo>
                        <a:pt x="247520" y="289947"/>
                      </a:lnTo>
                      <a:lnTo>
                        <a:pt x="249441" y="287209"/>
                      </a:lnTo>
                      <a:lnTo>
                        <a:pt x="252180" y="285018"/>
                      </a:lnTo>
                      <a:lnTo>
                        <a:pt x="254512" y="282305"/>
                      </a:lnTo>
                      <a:lnTo>
                        <a:pt x="255206" y="278001"/>
                      </a:lnTo>
                      <a:lnTo>
                        <a:pt x="253182" y="281088"/>
                      </a:lnTo>
                      <a:lnTo>
                        <a:pt x="250947" y="282518"/>
                      </a:lnTo>
                      <a:lnTo>
                        <a:pt x="245709" y="284107"/>
                      </a:lnTo>
                      <a:lnTo>
                        <a:pt x="244363" y="284998"/>
                      </a:lnTo>
                      <a:lnTo>
                        <a:pt x="243049" y="286140"/>
                      </a:lnTo>
                      <a:lnTo>
                        <a:pt x="241737" y="287072"/>
                      </a:lnTo>
                      <a:lnTo>
                        <a:pt x="240424" y="287382"/>
                      </a:lnTo>
                      <a:lnTo>
                        <a:pt x="239361" y="287893"/>
                      </a:lnTo>
                      <a:lnTo>
                        <a:pt x="238628" y="289309"/>
                      </a:lnTo>
                      <a:lnTo>
                        <a:pt x="237919" y="291009"/>
                      </a:lnTo>
                      <a:lnTo>
                        <a:pt x="236942" y="292355"/>
                      </a:lnTo>
                      <a:lnTo>
                        <a:pt x="233940" y="295060"/>
                      </a:lnTo>
                      <a:lnTo>
                        <a:pt x="232559" y="297425"/>
                      </a:lnTo>
                      <a:lnTo>
                        <a:pt x="232497" y="299892"/>
                      </a:lnTo>
                      <a:lnTo>
                        <a:pt x="234086" y="305190"/>
                      </a:lnTo>
                      <a:lnTo>
                        <a:pt x="233603" y="306179"/>
                      </a:lnTo>
                      <a:lnTo>
                        <a:pt x="232506" y="306875"/>
                      </a:lnTo>
                      <a:lnTo>
                        <a:pt x="231270" y="308221"/>
                      </a:lnTo>
                      <a:lnTo>
                        <a:pt x="231516" y="307380"/>
                      </a:lnTo>
                      <a:lnTo>
                        <a:pt x="230796" y="307698"/>
                      </a:lnTo>
                      <a:lnTo>
                        <a:pt x="229760" y="308531"/>
                      </a:lnTo>
                      <a:lnTo>
                        <a:pt x="229090" y="309195"/>
                      </a:lnTo>
                      <a:lnTo>
                        <a:pt x="229199" y="309591"/>
                      </a:lnTo>
                      <a:lnTo>
                        <a:pt x="229326" y="310618"/>
                      </a:lnTo>
                      <a:lnTo>
                        <a:pt x="229283" y="311872"/>
                      </a:lnTo>
                      <a:lnTo>
                        <a:pt x="228885" y="312928"/>
                      </a:lnTo>
                      <a:lnTo>
                        <a:pt x="223925" y="315693"/>
                      </a:lnTo>
                      <a:lnTo>
                        <a:pt x="222298" y="309839"/>
                      </a:lnTo>
                      <a:lnTo>
                        <a:pt x="222745" y="301726"/>
                      </a:lnTo>
                      <a:lnTo>
                        <a:pt x="224049" y="297702"/>
                      </a:lnTo>
                      <a:lnTo>
                        <a:pt x="226949" y="296896"/>
                      </a:lnTo>
                      <a:lnTo>
                        <a:pt x="228989" y="294380"/>
                      </a:lnTo>
                      <a:lnTo>
                        <a:pt x="230406" y="291130"/>
                      </a:lnTo>
                      <a:lnTo>
                        <a:pt x="231878" y="286405"/>
                      </a:lnTo>
                      <a:lnTo>
                        <a:pt x="232110" y="285069"/>
                      </a:lnTo>
                      <a:lnTo>
                        <a:pt x="232191" y="282605"/>
                      </a:lnTo>
                      <a:lnTo>
                        <a:pt x="231713" y="281279"/>
                      </a:lnTo>
                      <a:lnTo>
                        <a:pt x="230876" y="280288"/>
                      </a:lnTo>
                      <a:lnTo>
                        <a:pt x="230696" y="278981"/>
                      </a:lnTo>
                      <a:lnTo>
                        <a:pt x="232197" y="276660"/>
                      </a:lnTo>
                      <a:lnTo>
                        <a:pt x="229484" y="278933"/>
                      </a:lnTo>
                      <a:lnTo>
                        <a:pt x="224574" y="287095"/>
                      </a:lnTo>
                      <a:lnTo>
                        <a:pt x="222299" y="290119"/>
                      </a:lnTo>
                      <a:lnTo>
                        <a:pt x="218214" y="292617"/>
                      </a:lnTo>
                      <a:lnTo>
                        <a:pt x="215717" y="293749"/>
                      </a:lnTo>
                      <a:lnTo>
                        <a:pt x="213965" y="294161"/>
                      </a:lnTo>
                      <a:lnTo>
                        <a:pt x="211735" y="294376"/>
                      </a:lnTo>
                      <a:lnTo>
                        <a:pt x="210395" y="295521"/>
                      </a:lnTo>
                      <a:lnTo>
                        <a:pt x="202284" y="308089"/>
                      </a:lnTo>
                      <a:lnTo>
                        <a:pt x="199081" y="311497"/>
                      </a:lnTo>
                      <a:lnTo>
                        <a:pt x="194814" y="313889"/>
                      </a:lnTo>
                      <a:lnTo>
                        <a:pt x="187294" y="314930"/>
                      </a:lnTo>
                      <a:lnTo>
                        <a:pt x="183517" y="316022"/>
                      </a:lnTo>
                      <a:lnTo>
                        <a:pt x="181263" y="318558"/>
                      </a:lnTo>
                      <a:lnTo>
                        <a:pt x="183608" y="317604"/>
                      </a:lnTo>
                      <a:lnTo>
                        <a:pt x="187028" y="316719"/>
                      </a:lnTo>
                      <a:lnTo>
                        <a:pt x="189577" y="316968"/>
                      </a:lnTo>
                      <a:lnTo>
                        <a:pt x="189266" y="319454"/>
                      </a:lnTo>
                      <a:lnTo>
                        <a:pt x="187263" y="320788"/>
                      </a:lnTo>
                      <a:lnTo>
                        <a:pt x="184514" y="321067"/>
                      </a:lnTo>
                      <a:lnTo>
                        <a:pt x="181662" y="321770"/>
                      </a:lnTo>
                      <a:lnTo>
                        <a:pt x="179337" y="324422"/>
                      </a:lnTo>
                      <a:lnTo>
                        <a:pt x="182309" y="323588"/>
                      </a:lnTo>
                      <a:lnTo>
                        <a:pt x="195887" y="317318"/>
                      </a:lnTo>
                      <a:lnTo>
                        <a:pt x="196697" y="317184"/>
                      </a:lnTo>
                      <a:lnTo>
                        <a:pt x="197415" y="316684"/>
                      </a:lnTo>
                      <a:lnTo>
                        <a:pt x="201915" y="312363"/>
                      </a:lnTo>
                      <a:lnTo>
                        <a:pt x="203287" y="313154"/>
                      </a:lnTo>
                      <a:lnTo>
                        <a:pt x="201889" y="315576"/>
                      </a:lnTo>
                      <a:lnTo>
                        <a:pt x="192762" y="324966"/>
                      </a:lnTo>
                      <a:lnTo>
                        <a:pt x="190391" y="326592"/>
                      </a:lnTo>
                      <a:lnTo>
                        <a:pt x="187557" y="327769"/>
                      </a:lnTo>
                      <a:lnTo>
                        <a:pt x="190506" y="328366"/>
                      </a:lnTo>
                      <a:lnTo>
                        <a:pt x="194022" y="327156"/>
                      </a:lnTo>
                      <a:lnTo>
                        <a:pt x="197451" y="324482"/>
                      </a:lnTo>
                      <a:lnTo>
                        <a:pt x="200124" y="320666"/>
                      </a:lnTo>
                      <a:lnTo>
                        <a:pt x="200375" y="322446"/>
                      </a:lnTo>
                      <a:lnTo>
                        <a:pt x="200042" y="324299"/>
                      </a:lnTo>
                      <a:lnTo>
                        <a:pt x="199188" y="326081"/>
                      </a:lnTo>
                      <a:lnTo>
                        <a:pt x="197825" y="327703"/>
                      </a:lnTo>
                      <a:lnTo>
                        <a:pt x="198495" y="329733"/>
                      </a:lnTo>
                      <a:lnTo>
                        <a:pt x="198233" y="333652"/>
                      </a:lnTo>
                      <a:lnTo>
                        <a:pt x="199131" y="335142"/>
                      </a:lnTo>
                      <a:lnTo>
                        <a:pt x="201018" y="335540"/>
                      </a:lnTo>
                      <a:lnTo>
                        <a:pt x="201626" y="333812"/>
                      </a:lnTo>
                      <a:lnTo>
                        <a:pt x="201465" y="331273"/>
                      </a:lnTo>
                      <a:lnTo>
                        <a:pt x="201045" y="329271"/>
                      </a:lnTo>
                      <a:lnTo>
                        <a:pt x="203224" y="327717"/>
                      </a:lnTo>
                      <a:lnTo>
                        <a:pt x="203828" y="325590"/>
                      </a:lnTo>
                      <a:lnTo>
                        <a:pt x="203933" y="323298"/>
                      </a:lnTo>
                      <a:lnTo>
                        <a:pt x="204623" y="321166"/>
                      </a:lnTo>
                      <a:lnTo>
                        <a:pt x="206447" y="319270"/>
                      </a:lnTo>
                      <a:lnTo>
                        <a:pt x="212938" y="315908"/>
                      </a:lnTo>
                      <a:lnTo>
                        <a:pt x="213106" y="317671"/>
                      </a:lnTo>
                      <a:lnTo>
                        <a:pt x="212518" y="319235"/>
                      </a:lnTo>
                      <a:lnTo>
                        <a:pt x="211443" y="320592"/>
                      </a:lnTo>
                      <a:lnTo>
                        <a:pt x="210092" y="321775"/>
                      </a:lnTo>
                      <a:lnTo>
                        <a:pt x="212038" y="321730"/>
                      </a:lnTo>
                      <a:lnTo>
                        <a:pt x="214259" y="321078"/>
                      </a:lnTo>
                      <a:lnTo>
                        <a:pt x="215851" y="320314"/>
                      </a:lnTo>
                      <a:lnTo>
                        <a:pt x="215917" y="319872"/>
                      </a:lnTo>
                      <a:lnTo>
                        <a:pt x="216635" y="317194"/>
                      </a:lnTo>
                      <a:lnTo>
                        <a:pt x="217677" y="316310"/>
                      </a:lnTo>
                      <a:lnTo>
                        <a:pt x="219714" y="317977"/>
                      </a:lnTo>
                      <a:lnTo>
                        <a:pt x="220305" y="319555"/>
                      </a:lnTo>
                      <a:lnTo>
                        <a:pt x="220732" y="321622"/>
                      </a:lnTo>
                      <a:lnTo>
                        <a:pt x="221394" y="323476"/>
                      </a:lnTo>
                      <a:lnTo>
                        <a:pt x="224205" y="325162"/>
                      </a:lnTo>
                      <a:lnTo>
                        <a:pt x="225363" y="326810"/>
                      </a:lnTo>
                      <a:lnTo>
                        <a:pt x="225975" y="328845"/>
                      </a:lnTo>
                      <a:lnTo>
                        <a:pt x="225877" y="330811"/>
                      </a:lnTo>
                      <a:lnTo>
                        <a:pt x="231537" y="328750"/>
                      </a:lnTo>
                      <a:lnTo>
                        <a:pt x="237276" y="325171"/>
                      </a:lnTo>
                      <a:lnTo>
                        <a:pt x="252416" y="312398"/>
                      </a:lnTo>
                      <a:lnTo>
                        <a:pt x="257065" y="307037"/>
                      </a:lnTo>
                      <a:lnTo>
                        <a:pt x="260797" y="301013"/>
                      </a:lnTo>
                      <a:lnTo>
                        <a:pt x="262816" y="294606"/>
                      </a:lnTo>
                      <a:lnTo>
                        <a:pt x="264490" y="296633"/>
                      </a:lnTo>
                      <a:lnTo>
                        <a:pt x="268240" y="299755"/>
                      </a:lnTo>
                      <a:lnTo>
                        <a:pt x="271893" y="304022"/>
                      </a:lnTo>
                      <a:lnTo>
                        <a:pt x="273718" y="304858"/>
                      </a:lnTo>
                      <a:lnTo>
                        <a:pt x="275878" y="304277"/>
                      </a:lnTo>
                      <a:lnTo>
                        <a:pt x="278916" y="302550"/>
                      </a:lnTo>
                      <a:lnTo>
                        <a:pt x="277110" y="300900"/>
                      </a:lnTo>
                      <a:lnTo>
                        <a:pt x="276191" y="299506"/>
                      </a:lnTo>
                      <a:lnTo>
                        <a:pt x="276395" y="298047"/>
                      </a:lnTo>
                      <a:lnTo>
                        <a:pt x="277993" y="296271"/>
                      </a:lnTo>
                      <a:lnTo>
                        <a:pt x="280157" y="294883"/>
                      </a:lnTo>
                      <a:lnTo>
                        <a:pt x="283021" y="293657"/>
                      </a:lnTo>
                      <a:lnTo>
                        <a:pt x="285886" y="292843"/>
                      </a:lnTo>
                      <a:lnTo>
                        <a:pt x="290541" y="292189"/>
                      </a:lnTo>
                      <a:lnTo>
                        <a:pt x="292566" y="290539"/>
                      </a:lnTo>
                      <a:lnTo>
                        <a:pt x="294058" y="287965"/>
                      </a:lnTo>
                      <a:lnTo>
                        <a:pt x="294859" y="284774"/>
                      </a:lnTo>
                      <a:lnTo>
                        <a:pt x="294482" y="282407"/>
                      </a:lnTo>
                      <a:lnTo>
                        <a:pt x="292328" y="277579"/>
                      </a:lnTo>
                      <a:lnTo>
                        <a:pt x="292235" y="275402"/>
                      </a:lnTo>
                      <a:lnTo>
                        <a:pt x="294639" y="268012"/>
                      </a:lnTo>
                      <a:lnTo>
                        <a:pt x="294829" y="265939"/>
                      </a:lnTo>
                      <a:lnTo>
                        <a:pt x="294087" y="263539"/>
                      </a:lnTo>
                      <a:lnTo>
                        <a:pt x="293758" y="261619"/>
                      </a:lnTo>
                      <a:lnTo>
                        <a:pt x="293767" y="253592"/>
                      </a:lnTo>
                      <a:lnTo>
                        <a:pt x="294062" y="252051"/>
                      </a:lnTo>
                      <a:lnTo>
                        <a:pt x="295152" y="250921"/>
                      </a:lnTo>
                      <a:lnTo>
                        <a:pt x="297540" y="249105"/>
                      </a:lnTo>
                      <a:lnTo>
                        <a:pt x="299318" y="248860"/>
                      </a:lnTo>
                      <a:lnTo>
                        <a:pt x="300216" y="250821"/>
                      </a:lnTo>
                      <a:lnTo>
                        <a:pt x="300795" y="253440"/>
                      </a:lnTo>
                      <a:lnTo>
                        <a:pt x="301648" y="255122"/>
                      </a:lnTo>
                      <a:lnTo>
                        <a:pt x="303409" y="251655"/>
                      </a:lnTo>
                      <a:lnTo>
                        <a:pt x="304435" y="248932"/>
                      </a:lnTo>
                      <a:lnTo>
                        <a:pt x="304476" y="246627"/>
                      </a:lnTo>
                      <a:lnTo>
                        <a:pt x="303276" y="244409"/>
                      </a:lnTo>
                      <a:lnTo>
                        <a:pt x="298193" y="241425"/>
                      </a:lnTo>
                      <a:lnTo>
                        <a:pt x="297196" y="240556"/>
                      </a:lnTo>
                      <a:lnTo>
                        <a:pt x="296432" y="238805"/>
                      </a:lnTo>
                      <a:lnTo>
                        <a:pt x="296239" y="237131"/>
                      </a:lnTo>
                      <a:lnTo>
                        <a:pt x="296954" y="236437"/>
                      </a:lnTo>
                      <a:lnTo>
                        <a:pt x="298606" y="236136"/>
                      </a:lnTo>
                      <a:lnTo>
                        <a:pt x="299566" y="235015"/>
                      </a:lnTo>
                      <a:lnTo>
                        <a:pt x="300388" y="233525"/>
                      </a:lnTo>
                      <a:lnTo>
                        <a:pt x="301710" y="232134"/>
                      </a:lnTo>
                      <a:lnTo>
                        <a:pt x="304711" y="229449"/>
                      </a:lnTo>
                      <a:lnTo>
                        <a:pt x="305802" y="227584"/>
                      </a:lnTo>
                      <a:lnTo>
                        <a:pt x="306358" y="224709"/>
                      </a:lnTo>
                      <a:lnTo>
                        <a:pt x="306751" y="221982"/>
                      </a:lnTo>
                      <a:lnTo>
                        <a:pt x="305934" y="220016"/>
                      </a:lnTo>
                      <a:lnTo>
                        <a:pt x="305756" y="217341"/>
                      </a:lnTo>
                      <a:lnTo>
                        <a:pt x="307085" y="213997"/>
                      </a:lnTo>
                      <a:lnTo>
                        <a:pt x="308635" y="211268"/>
                      </a:lnTo>
                      <a:lnTo>
                        <a:pt x="310384" y="209045"/>
                      </a:lnTo>
                      <a:lnTo>
                        <a:pt x="312293" y="207222"/>
                      </a:lnTo>
                      <a:lnTo>
                        <a:pt x="317111" y="204704"/>
                      </a:lnTo>
                      <a:lnTo>
                        <a:pt x="319714" y="202064"/>
                      </a:lnTo>
                      <a:lnTo>
                        <a:pt x="321301" y="198331"/>
                      </a:lnTo>
                      <a:lnTo>
                        <a:pt x="322534" y="195698"/>
                      </a:lnTo>
                      <a:lnTo>
                        <a:pt x="324567" y="193457"/>
                      </a:lnTo>
                      <a:lnTo>
                        <a:pt x="325118" y="191788"/>
                      </a:lnTo>
                      <a:lnTo>
                        <a:pt x="326096" y="190490"/>
                      </a:lnTo>
                      <a:lnTo>
                        <a:pt x="327394" y="189726"/>
                      </a:lnTo>
                      <a:lnTo>
                        <a:pt x="330555" y="188280"/>
                      </a:lnTo>
                      <a:lnTo>
                        <a:pt x="331773" y="187442"/>
                      </a:lnTo>
                      <a:lnTo>
                        <a:pt x="333142" y="186778"/>
                      </a:lnTo>
                      <a:lnTo>
                        <a:pt x="338070" y="186371"/>
                      </a:lnTo>
                      <a:lnTo>
                        <a:pt x="339516" y="185536"/>
                      </a:lnTo>
                      <a:lnTo>
                        <a:pt x="342599" y="184392"/>
                      </a:lnTo>
                      <a:lnTo>
                        <a:pt x="343794" y="182239"/>
                      </a:lnTo>
                      <a:lnTo>
                        <a:pt x="344845" y="179755"/>
                      </a:lnTo>
                      <a:lnTo>
                        <a:pt x="345948" y="179061"/>
                      </a:lnTo>
                      <a:lnTo>
                        <a:pt x="346745" y="178501"/>
                      </a:lnTo>
                      <a:lnTo>
                        <a:pt x="347542" y="177940"/>
                      </a:lnTo>
                      <a:lnTo>
                        <a:pt x="347567" y="177122"/>
                      </a:lnTo>
                      <a:lnTo>
                        <a:pt x="346645" y="176538"/>
                      </a:lnTo>
                      <a:lnTo>
                        <a:pt x="346114" y="175795"/>
                      </a:lnTo>
                      <a:lnTo>
                        <a:pt x="344318" y="175489"/>
                      </a:lnTo>
                      <a:lnTo>
                        <a:pt x="341510" y="177275"/>
                      </a:lnTo>
                      <a:lnTo>
                        <a:pt x="334643" y="169598"/>
                      </a:lnTo>
                      <a:lnTo>
                        <a:pt x="331813" y="164917"/>
                      </a:lnTo>
                      <a:lnTo>
                        <a:pt x="330762" y="159050"/>
                      </a:lnTo>
                      <a:lnTo>
                        <a:pt x="332141" y="152632"/>
                      </a:lnTo>
                      <a:lnTo>
                        <a:pt x="334147" y="147372"/>
                      </a:lnTo>
                      <a:lnTo>
                        <a:pt x="334139" y="143365"/>
                      </a:lnTo>
                      <a:lnTo>
                        <a:pt x="329489" y="140663"/>
                      </a:lnTo>
                      <a:lnTo>
                        <a:pt x="328978" y="140174"/>
                      </a:lnTo>
                      <a:lnTo>
                        <a:pt x="328369" y="139371"/>
                      </a:lnTo>
                      <a:lnTo>
                        <a:pt x="327529" y="138837"/>
                      </a:lnTo>
                      <a:lnTo>
                        <a:pt x="326333" y="139099"/>
                      </a:lnTo>
                      <a:lnTo>
                        <a:pt x="325178" y="140656"/>
                      </a:lnTo>
                      <a:lnTo>
                        <a:pt x="324383" y="144221"/>
                      </a:lnTo>
                      <a:lnTo>
                        <a:pt x="321151" y="145661"/>
                      </a:lnTo>
                      <a:lnTo>
                        <a:pt x="319935" y="148177"/>
                      </a:lnTo>
                      <a:lnTo>
                        <a:pt x="319405" y="151303"/>
                      </a:lnTo>
                      <a:lnTo>
                        <a:pt x="319551" y="154059"/>
                      </a:lnTo>
                      <a:lnTo>
                        <a:pt x="320291" y="155814"/>
                      </a:lnTo>
                      <a:lnTo>
                        <a:pt x="321699" y="158047"/>
                      </a:lnTo>
                      <a:lnTo>
                        <a:pt x="323409" y="160003"/>
                      </a:lnTo>
                      <a:lnTo>
                        <a:pt x="325090" y="160947"/>
                      </a:lnTo>
                      <a:lnTo>
                        <a:pt x="326750" y="162329"/>
                      </a:lnTo>
                      <a:lnTo>
                        <a:pt x="327806" y="165243"/>
                      </a:lnTo>
                      <a:lnTo>
                        <a:pt x="328787" y="170915"/>
                      </a:lnTo>
                      <a:lnTo>
                        <a:pt x="326425" y="170718"/>
                      </a:lnTo>
                      <a:lnTo>
                        <a:pt x="325300" y="169469"/>
                      </a:lnTo>
                      <a:lnTo>
                        <a:pt x="324033" y="165558"/>
                      </a:lnTo>
                      <a:lnTo>
                        <a:pt x="323186" y="164354"/>
                      </a:lnTo>
                      <a:lnTo>
                        <a:pt x="314685" y="155850"/>
                      </a:lnTo>
                      <a:lnTo>
                        <a:pt x="312960" y="152644"/>
                      </a:lnTo>
                      <a:lnTo>
                        <a:pt x="312249" y="148397"/>
                      </a:lnTo>
                      <a:lnTo>
                        <a:pt x="312745" y="143997"/>
                      </a:lnTo>
                      <a:lnTo>
                        <a:pt x="314355" y="139969"/>
                      </a:lnTo>
                      <a:lnTo>
                        <a:pt x="315693" y="134841"/>
                      </a:lnTo>
                      <a:lnTo>
                        <a:pt x="320418" y="134804"/>
                      </a:lnTo>
                      <a:lnTo>
                        <a:pt x="325180" y="134085"/>
                      </a:lnTo>
                      <a:lnTo>
                        <a:pt x="327733" y="134176"/>
                      </a:lnTo>
                      <a:lnTo>
                        <a:pt x="329692" y="134742"/>
                      </a:lnTo>
                      <a:lnTo>
                        <a:pt x="330761" y="136202"/>
                      </a:lnTo>
                      <a:lnTo>
                        <a:pt x="331317" y="138058"/>
                      </a:lnTo>
                      <a:lnTo>
                        <a:pt x="332119" y="139235"/>
                      </a:lnTo>
                      <a:lnTo>
                        <a:pt x="333905" y="138627"/>
                      </a:lnTo>
                      <a:lnTo>
                        <a:pt x="333867" y="136823"/>
                      </a:lnTo>
                      <a:lnTo>
                        <a:pt x="334843" y="135123"/>
                      </a:lnTo>
                      <a:lnTo>
                        <a:pt x="337984" y="131837"/>
                      </a:lnTo>
                      <a:lnTo>
                        <a:pt x="337750" y="130889"/>
                      </a:lnTo>
                      <a:lnTo>
                        <a:pt x="338047" y="128999"/>
                      </a:lnTo>
                      <a:lnTo>
                        <a:pt x="337919" y="127753"/>
                      </a:lnTo>
                      <a:lnTo>
                        <a:pt x="337494" y="126646"/>
                      </a:lnTo>
                      <a:lnTo>
                        <a:pt x="334304" y="122666"/>
                      </a:lnTo>
                      <a:lnTo>
                        <a:pt x="331147" y="120144"/>
                      </a:lnTo>
                      <a:lnTo>
                        <a:pt x="329094" y="116844"/>
                      </a:lnTo>
                      <a:lnTo>
                        <a:pt x="327746" y="115764"/>
                      </a:lnTo>
                      <a:lnTo>
                        <a:pt x="325994" y="115047"/>
                      </a:lnTo>
                      <a:lnTo>
                        <a:pt x="323920" y="114641"/>
                      </a:lnTo>
                      <a:lnTo>
                        <a:pt x="322815" y="113508"/>
                      </a:lnTo>
                      <a:lnTo>
                        <a:pt x="321778" y="108671"/>
                      </a:lnTo>
                      <a:lnTo>
                        <a:pt x="320523" y="107010"/>
                      </a:lnTo>
                      <a:lnTo>
                        <a:pt x="320950" y="105732"/>
                      </a:lnTo>
                      <a:lnTo>
                        <a:pt x="323480" y="104159"/>
                      </a:lnTo>
                      <a:lnTo>
                        <a:pt x="322943" y="103011"/>
                      </a:lnTo>
                      <a:lnTo>
                        <a:pt x="321148" y="102267"/>
                      </a:lnTo>
                      <a:lnTo>
                        <a:pt x="319867" y="101993"/>
                      </a:lnTo>
                      <a:lnTo>
                        <a:pt x="318719" y="102526"/>
                      </a:lnTo>
                      <a:lnTo>
                        <a:pt x="315614" y="105374"/>
                      </a:lnTo>
                      <a:lnTo>
                        <a:pt x="314263" y="106301"/>
                      </a:lnTo>
                      <a:lnTo>
                        <a:pt x="312091" y="106862"/>
                      </a:lnTo>
                      <a:lnTo>
                        <a:pt x="309905" y="106896"/>
                      </a:lnTo>
                      <a:lnTo>
                        <a:pt x="308089" y="106250"/>
                      </a:lnTo>
                      <a:lnTo>
                        <a:pt x="306989" y="104813"/>
                      </a:lnTo>
                      <a:lnTo>
                        <a:pt x="306659" y="101850"/>
                      </a:lnTo>
                      <a:lnTo>
                        <a:pt x="307788" y="100436"/>
                      </a:lnTo>
                      <a:lnTo>
                        <a:pt x="309419" y="99489"/>
                      </a:lnTo>
                      <a:lnTo>
                        <a:pt x="310673" y="97924"/>
                      </a:lnTo>
                      <a:lnTo>
                        <a:pt x="310922" y="94782"/>
                      </a:lnTo>
                      <a:lnTo>
                        <a:pt x="309537" y="93493"/>
                      </a:lnTo>
                      <a:lnTo>
                        <a:pt x="307845" y="92919"/>
                      </a:lnTo>
                      <a:lnTo>
                        <a:pt x="307112" y="91963"/>
                      </a:lnTo>
                      <a:lnTo>
                        <a:pt x="308108" y="90001"/>
                      </a:lnTo>
                      <a:lnTo>
                        <a:pt x="309927" y="89884"/>
                      </a:lnTo>
                      <a:lnTo>
                        <a:pt x="312017" y="90273"/>
                      </a:lnTo>
                      <a:lnTo>
                        <a:pt x="313868" y="89770"/>
                      </a:lnTo>
                      <a:lnTo>
                        <a:pt x="318087" y="87901"/>
                      </a:lnTo>
                      <a:lnTo>
                        <a:pt x="319723" y="90910"/>
                      </a:lnTo>
                      <a:lnTo>
                        <a:pt x="320343" y="95541"/>
                      </a:lnTo>
                      <a:lnTo>
                        <a:pt x="321520" y="98549"/>
                      </a:lnTo>
                      <a:lnTo>
                        <a:pt x="322995" y="94077"/>
                      </a:lnTo>
                      <a:lnTo>
                        <a:pt x="324893" y="93414"/>
                      </a:lnTo>
                      <a:lnTo>
                        <a:pt x="326673" y="95026"/>
                      </a:lnTo>
                      <a:lnTo>
                        <a:pt x="328537" y="98982"/>
                      </a:lnTo>
                      <a:lnTo>
                        <a:pt x="329798" y="100392"/>
                      </a:lnTo>
                      <a:lnTo>
                        <a:pt x="331404" y="101064"/>
                      </a:lnTo>
                      <a:lnTo>
                        <a:pt x="333171" y="100470"/>
                      </a:lnTo>
                      <a:lnTo>
                        <a:pt x="334733" y="99020"/>
                      </a:lnTo>
                      <a:lnTo>
                        <a:pt x="335175" y="97974"/>
                      </a:lnTo>
                      <a:lnTo>
                        <a:pt x="335182" y="96873"/>
                      </a:lnTo>
                      <a:lnTo>
                        <a:pt x="335434" y="95173"/>
                      </a:lnTo>
                      <a:lnTo>
                        <a:pt x="336536" y="90582"/>
                      </a:lnTo>
                      <a:lnTo>
                        <a:pt x="336717" y="87693"/>
                      </a:lnTo>
                      <a:lnTo>
                        <a:pt x="336336" y="85122"/>
                      </a:lnTo>
                      <a:lnTo>
                        <a:pt x="335544" y="82564"/>
                      </a:lnTo>
                      <a:lnTo>
                        <a:pt x="331458" y="78738"/>
                      </a:lnTo>
                      <a:lnTo>
                        <a:pt x="330544" y="77086"/>
                      </a:lnTo>
                      <a:lnTo>
                        <a:pt x="333359" y="76815"/>
                      </a:lnTo>
                      <a:lnTo>
                        <a:pt x="335810" y="78065"/>
                      </a:lnTo>
                      <a:lnTo>
                        <a:pt x="339599" y="82633"/>
                      </a:lnTo>
                      <a:lnTo>
                        <a:pt x="341521" y="83786"/>
                      </a:lnTo>
                      <a:lnTo>
                        <a:pt x="344592" y="82779"/>
                      </a:lnTo>
                      <a:lnTo>
                        <a:pt x="346591" y="79723"/>
                      </a:lnTo>
                      <a:lnTo>
                        <a:pt x="347356" y="75822"/>
                      </a:lnTo>
                      <a:lnTo>
                        <a:pt x="346762" y="72185"/>
                      </a:lnTo>
                      <a:lnTo>
                        <a:pt x="345960" y="71158"/>
                      </a:lnTo>
                      <a:lnTo>
                        <a:pt x="344962" y="70599"/>
                      </a:lnTo>
                      <a:lnTo>
                        <a:pt x="344031" y="69875"/>
                      </a:lnTo>
                      <a:lnTo>
                        <a:pt x="343429" y="68302"/>
                      </a:lnTo>
                      <a:lnTo>
                        <a:pt x="343431" y="66482"/>
                      </a:lnTo>
                      <a:lnTo>
                        <a:pt x="344163" y="61951"/>
                      </a:lnTo>
                      <a:lnTo>
                        <a:pt x="344525" y="61063"/>
                      </a:lnTo>
                      <a:lnTo>
                        <a:pt x="342047" y="59472"/>
                      </a:lnTo>
                      <a:lnTo>
                        <a:pt x="343525" y="56675"/>
                      </a:lnTo>
                      <a:lnTo>
                        <a:pt x="348126" y="51815"/>
                      </a:lnTo>
                      <a:lnTo>
                        <a:pt x="347800" y="48914"/>
                      </a:lnTo>
                      <a:lnTo>
                        <a:pt x="345804" y="46399"/>
                      </a:lnTo>
                      <a:lnTo>
                        <a:pt x="343130" y="44555"/>
                      </a:lnTo>
                      <a:lnTo>
                        <a:pt x="340763" y="43730"/>
                      </a:lnTo>
                      <a:lnTo>
                        <a:pt x="337949" y="44532"/>
                      </a:lnTo>
                      <a:lnTo>
                        <a:pt x="334986" y="46936"/>
                      </a:lnTo>
                      <a:lnTo>
                        <a:pt x="329060" y="52666"/>
                      </a:lnTo>
                      <a:lnTo>
                        <a:pt x="327447" y="53231"/>
                      </a:lnTo>
                      <a:lnTo>
                        <a:pt x="326446" y="52340"/>
                      </a:lnTo>
                      <a:lnTo>
                        <a:pt x="326059" y="50646"/>
                      </a:lnTo>
                      <a:lnTo>
                        <a:pt x="326334" y="48726"/>
                      </a:lnTo>
                      <a:lnTo>
                        <a:pt x="327052" y="47887"/>
                      </a:lnTo>
                      <a:lnTo>
                        <a:pt x="329434" y="46359"/>
                      </a:lnTo>
                      <a:lnTo>
                        <a:pt x="330160" y="45493"/>
                      </a:lnTo>
                      <a:lnTo>
                        <a:pt x="329852" y="43038"/>
                      </a:lnTo>
                      <a:lnTo>
                        <a:pt x="328371" y="40018"/>
                      </a:lnTo>
                      <a:lnTo>
                        <a:pt x="326363" y="38492"/>
                      </a:lnTo>
                      <a:lnTo>
                        <a:pt x="324474" y="40550"/>
                      </a:lnTo>
                      <a:lnTo>
                        <a:pt x="326426" y="36484"/>
                      </a:lnTo>
                      <a:lnTo>
                        <a:pt x="326888" y="33844"/>
                      </a:lnTo>
                      <a:lnTo>
                        <a:pt x="326185" y="31848"/>
                      </a:lnTo>
                      <a:lnTo>
                        <a:pt x="322144" y="26776"/>
                      </a:lnTo>
                      <a:lnTo>
                        <a:pt x="321346" y="24956"/>
                      </a:lnTo>
                      <a:lnTo>
                        <a:pt x="321521" y="22759"/>
                      </a:lnTo>
                      <a:lnTo>
                        <a:pt x="322682" y="20970"/>
                      </a:lnTo>
                      <a:lnTo>
                        <a:pt x="324359" y="19652"/>
                      </a:lnTo>
                      <a:lnTo>
                        <a:pt x="325923" y="18666"/>
                      </a:lnTo>
                      <a:lnTo>
                        <a:pt x="326741" y="17853"/>
                      </a:lnTo>
                      <a:lnTo>
                        <a:pt x="326137" y="14553"/>
                      </a:lnTo>
                      <a:lnTo>
                        <a:pt x="319759" y="14068"/>
                      </a:lnTo>
                      <a:lnTo>
                        <a:pt x="320068" y="11044"/>
                      </a:lnTo>
                      <a:lnTo>
                        <a:pt x="322280" y="9443"/>
                      </a:lnTo>
                      <a:lnTo>
                        <a:pt x="325430" y="9367"/>
                      </a:lnTo>
                      <a:lnTo>
                        <a:pt x="330977" y="10994"/>
                      </a:lnTo>
                      <a:lnTo>
                        <a:pt x="330776" y="7861"/>
                      </a:lnTo>
                      <a:lnTo>
                        <a:pt x="330171" y="5014"/>
                      </a:lnTo>
                      <a:close/>
                      <a:moveTo>
                        <a:pt x="287088" y="0"/>
                      </a:moveTo>
                      <a:lnTo>
                        <a:pt x="294128" y="824"/>
                      </a:lnTo>
                      <a:lnTo>
                        <a:pt x="294131" y="824"/>
                      </a:lnTo>
                      <a:lnTo>
                        <a:pt x="294127" y="826"/>
                      </a:lnTo>
                      <a:lnTo>
                        <a:pt x="292377" y="2063"/>
                      </a:lnTo>
                      <a:lnTo>
                        <a:pt x="286149" y="3481"/>
                      </a:lnTo>
                      <a:lnTo>
                        <a:pt x="286966" y="788"/>
                      </a:lnTo>
                      <a:lnTo>
                        <a:pt x="287087" y="2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7" name="Freeform 29">
                  <a:extLst>
                    <a:ext uri="{FF2B5EF4-FFF2-40B4-BE49-F238E27FC236}">
                      <a16:creationId xmlns:a16="http://schemas.microsoft.com/office/drawing/2014/main" id="{672CF6F8-1CAC-4C21-AA51-0CE639619C8F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1202707" y="4629567"/>
                  <a:ext cx="688901" cy="7082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18931" h="1047582">
                      <a:moveTo>
                        <a:pt x="1018930" y="36894"/>
                      </a:moveTo>
                      <a:lnTo>
                        <a:pt x="1015184" y="68199"/>
                      </a:lnTo>
                      <a:lnTo>
                        <a:pt x="1011460" y="99519"/>
                      </a:lnTo>
                      <a:lnTo>
                        <a:pt x="1007745" y="130867"/>
                      </a:lnTo>
                      <a:lnTo>
                        <a:pt x="1004052" y="162217"/>
                      </a:lnTo>
                      <a:lnTo>
                        <a:pt x="1000384" y="193585"/>
                      </a:lnTo>
                      <a:lnTo>
                        <a:pt x="996730" y="224978"/>
                      </a:lnTo>
                      <a:lnTo>
                        <a:pt x="993095" y="256383"/>
                      </a:lnTo>
                      <a:lnTo>
                        <a:pt x="989482" y="287804"/>
                      </a:lnTo>
                      <a:lnTo>
                        <a:pt x="985882" y="319238"/>
                      </a:lnTo>
                      <a:lnTo>
                        <a:pt x="982300" y="350691"/>
                      </a:lnTo>
                      <a:lnTo>
                        <a:pt x="978743" y="382166"/>
                      </a:lnTo>
                      <a:lnTo>
                        <a:pt x="975196" y="413653"/>
                      </a:lnTo>
                      <a:lnTo>
                        <a:pt x="971677" y="445151"/>
                      </a:lnTo>
                      <a:lnTo>
                        <a:pt x="968175" y="476678"/>
                      </a:lnTo>
                      <a:lnTo>
                        <a:pt x="964682" y="508212"/>
                      </a:lnTo>
                      <a:lnTo>
                        <a:pt x="961210" y="539758"/>
                      </a:lnTo>
                      <a:lnTo>
                        <a:pt x="957764" y="571324"/>
                      </a:lnTo>
                      <a:lnTo>
                        <a:pt x="954334" y="602902"/>
                      </a:lnTo>
                      <a:lnTo>
                        <a:pt x="950921" y="634503"/>
                      </a:lnTo>
                      <a:lnTo>
                        <a:pt x="947532" y="666112"/>
                      </a:lnTo>
                      <a:lnTo>
                        <a:pt x="944152" y="697739"/>
                      </a:lnTo>
                      <a:lnTo>
                        <a:pt x="940791" y="729387"/>
                      </a:lnTo>
                      <a:lnTo>
                        <a:pt x="937456" y="761045"/>
                      </a:lnTo>
                      <a:lnTo>
                        <a:pt x="934136" y="792720"/>
                      </a:lnTo>
                      <a:lnTo>
                        <a:pt x="930834" y="824409"/>
                      </a:lnTo>
                      <a:lnTo>
                        <a:pt x="927555" y="856108"/>
                      </a:lnTo>
                      <a:lnTo>
                        <a:pt x="924281" y="887835"/>
                      </a:lnTo>
                      <a:lnTo>
                        <a:pt x="921031" y="919564"/>
                      </a:lnTo>
                      <a:lnTo>
                        <a:pt x="917807" y="951313"/>
                      </a:lnTo>
                      <a:lnTo>
                        <a:pt x="914601" y="983081"/>
                      </a:lnTo>
                      <a:lnTo>
                        <a:pt x="911404" y="1014858"/>
                      </a:lnTo>
                      <a:lnTo>
                        <a:pt x="908235" y="1046651"/>
                      </a:lnTo>
                      <a:lnTo>
                        <a:pt x="908233" y="1046677"/>
                      </a:lnTo>
                      <a:lnTo>
                        <a:pt x="908230" y="1046703"/>
                      </a:lnTo>
                      <a:lnTo>
                        <a:pt x="908227" y="1046730"/>
                      </a:lnTo>
                      <a:lnTo>
                        <a:pt x="908224" y="1046760"/>
                      </a:lnTo>
                      <a:lnTo>
                        <a:pt x="908222" y="1046787"/>
                      </a:lnTo>
                      <a:lnTo>
                        <a:pt x="908219" y="1046817"/>
                      </a:lnTo>
                      <a:lnTo>
                        <a:pt x="908216" y="1046843"/>
                      </a:lnTo>
                      <a:lnTo>
                        <a:pt x="908213" y="1046870"/>
                      </a:lnTo>
                      <a:lnTo>
                        <a:pt x="908210" y="1046901"/>
                      </a:lnTo>
                      <a:lnTo>
                        <a:pt x="908208" y="1046927"/>
                      </a:lnTo>
                      <a:lnTo>
                        <a:pt x="908205" y="1046957"/>
                      </a:lnTo>
                      <a:lnTo>
                        <a:pt x="908202" y="1046984"/>
                      </a:lnTo>
                      <a:lnTo>
                        <a:pt x="908199" y="1047010"/>
                      </a:lnTo>
                      <a:lnTo>
                        <a:pt x="908197" y="1047036"/>
                      </a:lnTo>
                      <a:lnTo>
                        <a:pt x="908194" y="1047067"/>
                      </a:lnTo>
                      <a:lnTo>
                        <a:pt x="908191" y="1047093"/>
                      </a:lnTo>
                      <a:lnTo>
                        <a:pt x="908188" y="1047124"/>
                      </a:lnTo>
                      <a:lnTo>
                        <a:pt x="908186" y="1047151"/>
                      </a:lnTo>
                      <a:lnTo>
                        <a:pt x="908183" y="1047177"/>
                      </a:lnTo>
                      <a:lnTo>
                        <a:pt x="908180" y="1047203"/>
                      </a:lnTo>
                      <a:lnTo>
                        <a:pt x="908177" y="1047234"/>
                      </a:lnTo>
                      <a:lnTo>
                        <a:pt x="908174" y="1047260"/>
                      </a:lnTo>
                      <a:lnTo>
                        <a:pt x="908172" y="1047291"/>
                      </a:lnTo>
                      <a:lnTo>
                        <a:pt x="908169" y="1047317"/>
                      </a:lnTo>
                      <a:lnTo>
                        <a:pt x="908166" y="1047344"/>
                      </a:lnTo>
                      <a:lnTo>
                        <a:pt x="908163" y="1047374"/>
                      </a:lnTo>
                      <a:lnTo>
                        <a:pt x="908160" y="1047405"/>
                      </a:lnTo>
                      <a:lnTo>
                        <a:pt x="908158" y="1047427"/>
                      </a:lnTo>
                      <a:lnTo>
                        <a:pt x="908155" y="1047457"/>
                      </a:lnTo>
                      <a:lnTo>
                        <a:pt x="908152" y="1047488"/>
                      </a:lnTo>
                      <a:lnTo>
                        <a:pt x="908150" y="1047510"/>
                      </a:lnTo>
                      <a:lnTo>
                        <a:pt x="908148" y="1047528"/>
                      </a:lnTo>
                      <a:lnTo>
                        <a:pt x="908143" y="1047581"/>
                      </a:lnTo>
                      <a:lnTo>
                        <a:pt x="904588" y="1047464"/>
                      </a:lnTo>
                      <a:lnTo>
                        <a:pt x="897616" y="1047234"/>
                      </a:lnTo>
                      <a:lnTo>
                        <a:pt x="890648" y="1047002"/>
                      </a:lnTo>
                      <a:lnTo>
                        <a:pt x="883667" y="1046770"/>
                      </a:lnTo>
                      <a:lnTo>
                        <a:pt x="876695" y="1046546"/>
                      </a:lnTo>
                      <a:lnTo>
                        <a:pt x="869725" y="1046312"/>
                      </a:lnTo>
                      <a:lnTo>
                        <a:pt x="862751" y="1046078"/>
                      </a:lnTo>
                      <a:lnTo>
                        <a:pt x="855780" y="1045843"/>
                      </a:lnTo>
                      <a:lnTo>
                        <a:pt x="848815" y="1045607"/>
                      </a:lnTo>
                      <a:lnTo>
                        <a:pt x="841841" y="1045370"/>
                      </a:lnTo>
                      <a:lnTo>
                        <a:pt x="834868" y="1045132"/>
                      </a:lnTo>
                      <a:lnTo>
                        <a:pt x="827904" y="1044895"/>
                      </a:lnTo>
                      <a:lnTo>
                        <a:pt x="820931" y="1044655"/>
                      </a:lnTo>
                      <a:lnTo>
                        <a:pt x="813968" y="1044416"/>
                      </a:lnTo>
                      <a:lnTo>
                        <a:pt x="807004" y="1044175"/>
                      </a:lnTo>
                      <a:lnTo>
                        <a:pt x="800024" y="1043934"/>
                      </a:lnTo>
                      <a:lnTo>
                        <a:pt x="793063" y="1043692"/>
                      </a:lnTo>
                      <a:lnTo>
                        <a:pt x="786100" y="1043449"/>
                      </a:lnTo>
                      <a:lnTo>
                        <a:pt x="779122" y="1043205"/>
                      </a:lnTo>
                      <a:lnTo>
                        <a:pt x="772161" y="1042962"/>
                      </a:lnTo>
                      <a:lnTo>
                        <a:pt x="765181" y="1042725"/>
                      </a:lnTo>
                      <a:lnTo>
                        <a:pt x="758221" y="1042489"/>
                      </a:lnTo>
                      <a:lnTo>
                        <a:pt x="751260" y="1042242"/>
                      </a:lnTo>
                      <a:lnTo>
                        <a:pt x="744292" y="1041995"/>
                      </a:lnTo>
                      <a:lnTo>
                        <a:pt x="737334" y="1041746"/>
                      </a:lnTo>
                      <a:lnTo>
                        <a:pt x="730374" y="1041498"/>
                      </a:lnTo>
                      <a:lnTo>
                        <a:pt x="723407" y="1041248"/>
                      </a:lnTo>
                      <a:lnTo>
                        <a:pt x="716441" y="1040998"/>
                      </a:lnTo>
                      <a:lnTo>
                        <a:pt x="709483" y="1040747"/>
                      </a:lnTo>
                      <a:lnTo>
                        <a:pt x="702510" y="1040494"/>
                      </a:lnTo>
                      <a:lnTo>
                        <a:pt x="695544" y="1040242"/>
                      </a:lnTo>
                      <a:lnTo>
                        <a:pt x="688580" y="1039988"/>
                      </a:lnTo>
                      <a:lnTo>
                        <a:pt x="681624" y="1039734"/>
                      </a:lnTo>
                      <a:lnTo>
                        <a:pt x="674668" y="1039479"/>
                      </a:lnTo>
                      <a:lnTo>
                        <a:pt x="667703" y="1039224"/>
                      </a:lnTo>
                      <a:lnTo>
                        <a:pt x="660750" y="1038967"/>
                      </a:lnTo>
                      <a:lnTo>
                        <a:pt x="653795" y="1038711"/>
                      </a:lnTo>
                      <a:lnTo>
                        <a:pt x="646829" y="1038452"/>
                      </a:lnTo>
                      <a:lnTo>
                        <a:pt x="639871" y="1038194"/>
                      </a:lnTo>
                      <a:lnTo>
                        <a:pt x="632905" y="1037934"/>
                      </a:lnTo>
                      <a:lnTo>
                        <a:pt x="625953" y="1037673"/>
                      </a:lnTo>
                      <a:lnTo>
                        <a:pt x="618996" y="1037413"/>
                      </a:lnTo>
                      <a:lnTo>
                        <a:pt x="612032" y="1037151"/>
                      </a:lnTo>
                      <a:lnTo>
                        <a:pt x="605076" y="1036888"/>
                      </a:lnTo>
                      <a:lnTo>
                        <a:pt x="598124" y="1036634"/>
                      </a:lnTo>
                      <a:lnTo>
                        <a:pt x="588758" y="1036279"/>
                      </a:lnTo>
                      <a:lnTo>
                        <a:pt x="578985" y="1034739"/>
                      </a:lnTo>
                      <a:lnTo>
                        <a:pt x="574718" y="1032969"/>
                      </a:lnTo>
                      <a:lnTo>
                        <a:pt x="566681" y="1029674"/>
                      </a:lnTo>
                      <a:lnTo>
                        <a:pt x="558639" y="1026386"/>
                      </a:lnTo>
                      <a:lnTo>
                        <a:pt x="550620" y="1023079"/>
                      </a:lnTo>
                      <a:lnTo>
                        <a:pt x="542594" y="1019770"/>
                      </a:lnTo>
                      <a:lnTo>
                        <a:pt x="534571" y="1016460"/>
                      </a:lnTo>
                      <a:lnTo>
                        <a:pt x="526548" y="1013158"/>
                      </a:lnTo>
                      <a:lnTo>
                        <a:pt x="518530" y="1009864"/>
                      </a:lnTo>
                      <a:lnTo>
                        <a:pt x="510517" y="1006540"/>
                      </a:lnTo>
                      <a:lnTo>
                        <a:pt x="446803" y="981125"/>
                      </a:lnTo>
                      <a:lnTo>
                        <a:pt x="383282" y="955611"/>
                      </a:lnTo>
                      <a:lnTo>
                        <a:pt x="319958" y="930017"/>
                      </a:lnTo>
                      <a:lnTo>
                        <a:pt x="256832" y="904350"/>
                      </a:lnTo>
                      <a:lnTo>
                        <a:pt x="193912" y="878591"/>
                      </a:lnTo>
                      <a:lnTo>
                        <a:pt x="131191" y="852753"/>
                      </a:lnTo>
                      <a:lnTo>
                        <a:pt x="68680" y="826828"/>
                      </a:lnTo>
                      <a:lnTo>
                        <a:pt x="6376" y="800818"/>
                      </a:lnTo>
                      <a:lnTo>
                        <a:pt x="806" y="798492"/>
                      </a:lnTo>
                      <a:lnTo>
                        <a:pt x="414" y="798322"/>
                      </a:lnTo>
                      <a:lnTo>
                        <a:pt x="0" y="798142"/>
                      </a:lnTo>
                      <a:lnTo>
                        <a:pt x="2323" y="796249"/>
                      </a:lnTo>
                      <a:lnTo>
                        <a:pt x="5639" y="789002"/>
                      </a:lnTo>
                      <a:lnTo>
                        <a:pt x="6438" y="785076"/>
                      </a:lnTo>
                      <a:lnTo>
                        <a:pt x="5625" y="781340"/>
                      </a:lnTo>
                      <a:lnTo>
                        <a:pt x="8874" y="776695"/>
                      </a:lnTo>
                      <a:lnTo>
                        <a:pt x="9905" y="775474"/>
                      </a:lnTo>
                      <a:lnTo>
                        <a:pt x="13990" y="772640"/>
                      </a:lnTo>
                      <a:lnTo>
                        <a:pt x="15411" y="771372"/>
                      </a:lnTo>
                      <a:lnTo>
                        <a:pt x="17729" y="768436"/>
                      </a:lnTo>
                      <a:lnTo>
                        <a:pt x="19521" y="765343"/>
                      </a:lnTo>
                      <a:lnTo>
                        <a:pt x="21358" y="760928"/>
                      </a:lnTo>
                      <a:lnTo>
                        <a:pt x="21328" y="760688"/>
                      </a:lnTo>
                      <a:lnTo>
                        <a:pt x="22198" y="758607"/>
                      </a:lnTo>
                      <a:lnTo>
                        <a:pt x="28880" y="754679"/>
                      </a:lnTo>
                      <a:lnTo>
                        <a:pt x="45149" y="758756"/>
                      </a:lnTo>
                      <a:lnTo>
                        <a:pt x="52136" y="757627"/>
                      </a:lnTo>
                      <a:lnTo>
                        <a:pt x="54079" y="755005"/>
                      </a:lnTo>
                      <a:lnTo>
                        <a:pt x="54727" y="751801"/>
                      </a:lnTo>
                      <a:lnTo>
                        <a:pt x="55083" y="748451"/>
                      </a:lnTo>
                      <a:lnTo>
                        <a:pt x="56145" y="745352"/>
                      </a:lnTo>
                      <a:lnTo>
                        <a:pt x="58563" y="743082"/>
                      </a:lnTo>
                      <a:lnTo>
                        <a:pt x="65075" y="739480"/>
                      </a:lnTo>
                      <a:lnTo>
                        <a:pt x="67230" y="737254"/>
                      </a:lnTo>
                      <a:lnTo>
                        <a:pt x="68244" y="733358"/>
                      </a:lnTo>
                      <a:lnTo>
                        <a:pt x="67421" y="721759"/>
                      </a:lnTo>
                      <a:lnTo>
                        <a:pt x="67956" y="719518"/>
                      </a:lnTo>
                      <a:lnTo>
                        <a:pt x="68573" y="717787"/>
                      </a:lnTo>
                      <a:lnTo>
                        <a:pt x="68902" y="716036"/>
                      </a:lnTo>
                      <a:lnTo>
                        <a:pt x="68607" y="713733"/>
                      </a:lnTo>
                      <a:lnTo>
                        <a:pt x="65051" y="707374"/>
                      </a:lnTo>
                      <a:lnTo>
                        <a:pt x="59922" y="704228"/>
                      </a:lnTo>
                      <a:lnTo>
                        <a:pt x="45591" y="702499"/>
                      </a:lnTo>
                      <a:lnTo>
                        <a:pt x="39651" y="699808"/>
                      </a:lnTo>
                      <a:lnTo>
                        <a:pt x="35828" y="693243"/>
                      </a:lnTo>
                      <a:lnTo>
                        <a:pt x="37302" y="687030"/>
                      </a:lnTo>
                      <a:lnTo>
                        <a:pt x="40727" y="680413"/>
                      </a:lnTo>
                      <a:lnTo>
                        <a:pt x="42730" y="672670"/>
                      </a:lnTo>
                      <a:lnTo>
                        <a:pt x="42677" y="662212"/>
                      </a:lnTo>
                      <a:lnTo>
                        <a:pt x="41947" y="659715"/>
                      </a:lnTo>
                      <a:lnTo>
                        <a:pt x="37789" y="654088"/>
                      </a:lnTo>
                      <a:lnTo>
                        <a:pt x="37849" y="651388"/>
                      </a:lnTo>
                      <a:lnTo>
                        <a:pt x="40118" y="646487"/>
                      </a:lnTo>
                      <a:lnTo>
                        <a:pt x="42331" y="644640"/>
                      </a:lnTo>
                      <a:lnTo>
                        <a:pt x="43166" y="643129"/>
                      </a:lnTo>
                      <a:lnTo>
                        <a:pt x="42517" y="641162"/>
                      </a:lnTo>
                      <a:lnTo>
                        <a:pt x="41457" y="639667"/>
                      </a:lnTo>
                      <a:lnTo>
                        <a:pt x="40163" y="637304"/>
                      </a:lnTo>
                      <a:lnTo>
                        <a:pt x="39768" y="635165"/>
                      </a:lnTo>
                      <a:lnTo>
                        <a:pt x="41421" y="634322"/>
                      </a:lnTo>
                      <a:lnTo>
                        <a:pt x="49299" y="634174"/>
                      </a:lnTo>
                      <a:lnTo>
                        <a:pt x="53375" y="633275"/>
                      </a:lnTo>
                      <a:lnTo>
                        <a:pt x="56524" y="631384"/>
                      </a:lnTo>
                      <a:lnTo>
                        <a:pt x="63997" y="621212"/>
                      </a:lnTo>
                      <a:lnTo>
                        <a:pt x="66166" y="616874"/>
                      </a:lnTo>
                      <a:lnTo>
                        <a:pt x="68040" y="615100"/>
                      </a:lnTo>
                      <a:lnTo>
                        <a:pt x="71636" y="612296"/>
                      </a:lnTo>
                      <a:lnTo>
                        <a:pt x="74203" y="609739"/>
                      </a:lnTo>
                      <a:lnTo>
                        <a:pt x="74900" y="608566"/>
                      </a:lnTo>
                      <a:lnTo>
                        <a:pt x="75830" y="606235"/>
                      </a:lnTo>
                      <a:lnTo>
                        <a:pt x="75550" y="602281"/>
                      </a:lnTo>
                      <a:lnTo>
                        <a:pt x="75911" y="599899"/>
                      </a:lnTo>
                      <a:lnTo>
                        <a:pt x="77486" y="598913"/>
                      </a:lnTo>
                      <a:lnTo>
                        <a:pt x="78121" y="598067"/>
                      </a:lnTo>
                      <a:lnTo>
                        <a:pt x="78566" y="596060"/>
                      </a:lnTo>
                      <a:lnTo>
                        <a:pt x="79045" y="592207"/>
                      </a:lnTo>
                      <a:lnTo>
                        <a:pt x="80486" y="587857"/>
                      </a:lnTo>
                      <a:lnTo>
                        <a:pt x="82619" y="585369"/>
                      </a:lnTo>
                      <a:lnTo>
                        <a:pt x="84766" y="583450"/>
                      </a:lnTo>
                      <a:lnTo>
                        <a:pt x="86222" y="580856"/>
                      </a:lnTo>
                      <a:lnTo>
                        <a:pt x="84984" y="577524"/>
                      </a:lnTo>
                      <a:lnTo>
                        <a:pt x="84612" y="575507"/>
                      </a:lnTo>
                      <a:lnTo>
                        <a:pt x="85579" y="574657"/>
                      </a:lnTo>
                      <a:lnTo>
                        <a:pt x="86271" y="573727"/>
                      </a:lnTo>
                      <a:lnTo>
                        <a:pt x="86772" y="571636"/>
                      </a:lnTo>
                      <a:lnTo>
                        <a:pt x="86910" y="569526"/>
                      </a:lnTo>
                      <a:lnTo>
                        <a:pt x="86510" y="568540"/>
                      </a:lnTo>
                      <a:lnTo>
                        <a:pt x="84854" y="566515"/>
                      </a:lnTo>
                      <a:lnTo>
                        <a:pt x="84938" y="562150"/>
                      </a:lnTo>
                      <a:lnTo>
                        <a:pt x="85618" y="557546"/>
                      </a:lnTo>
                      <a:lnTo>
                        <a:pt x="85726" y="554822"/>
                      </a:lnTo>
                      <a:lnTo>
                        <a:pt x="88946" y="552762"/>
                      </a:lnTo>
                      <a:lnTo>
                        <a:pt x="90463" y="551192"/>
                      </a:lnTo>
                      <a:lnTo>
                        <a:pt x="90491" y="549575"/>
                      </a:lnTo>
                      <a:lnTo>
                        <a:pt x="87917" y="545981"/>
                      </a:lnTo>
                      <a:lnTo>
                        <a:pt x="86935" y="543925"/>
                      </a:lnTo>
                      <a:lnTo>
                        <a:pt x="86725" y="541816"/>
                      </a:lnTo>
                      <a:lnTo>
                        <a:pt x="88322" y="537892"/>
                      </a:lnTo>
                      <a:lnTo>
                        <a:pt x="91171" y="535530"/>
                      </a:lnTo>
                      <a:lnTo>
                        <a:pt x="98034" y="531923"/>
                      </a:lnTo>
                      <a:lnTo>
                        <a:pt x="101010" y="529639"/>
                      </a:lnTo>
                      <a:lnTo>
                        <a:pt x="103929" y="526881"/>
                      </a:lnTo>
                      <a:lnTo>
                        <a:pt x="106301" y="523504"/>
                      </a:lnTo>
                      <a:lnTo>
                        <a:pt x="108779" y="515940"/>
                      </a:lnTo>
                      <a:lnTo>
                        <a:pt x="110933" y="512685"/>
                      </a:lnTo>
                      <a:lnTo>
                        <a:pt x="113857" y="510315"/>
                      </a:lnTo>
                      <a:lnTo>
                        <a:pt x="119847" y="508910"/>
                      </a:lnTo>
                      <a:lnTo>
                        <a:pt x="137611" y="498908"/>
                      </a:lnTo>
                      <a:lnTo>
                        <a:pt x="140823" y="498285"/>
                      </a:lnTo>
                      <a:lnTo>
                        <a:pt x="146750" y="492429"/>
                      </a:lnTo>
                      <a:lnTo>
                        <a:pt x="152783" y="487816"/>
                      </a:lnTo>
                      <a:lnTo>
                        <a:pt x="158331" y="484467"/>
                      </a:lnTo>
                      <a:lnTo>
                        <a:pt x="160011" y="482110"/>
                      </a:lnTo>
                      <a:lnTo>
                        <a:pt x="159651" y="478320"/>
                      </a:lnTo>
                      <a:lnTo>
                        <a:pt x="159992" y="475878"/>
                      </a:lnTo>
                      <a:lnTo>
                        <a:pt x="155428" y="472528"/>
                      </a:lnTo>
                      <a:lnTo>
                        <a:pt x="153879" y="470499"/>
                      </a:lnTo>
                      <a:lnTo>
                        <a:pt x="152543" y="469204"/>
                      </a:lnTo>
                      <a:lnTo>
                        <a:pt x="150060" y="467685"/>
                      </a:lnTo>
                      <a:lnTo>
                        <a:pt x="138295" y="458004"/>
                      </a:lnTo>
                      <a:lnTo>
                        <a:pt x="136347" y="455245"/>
                      </a:lnTo>
                      <a:lnTo>
                        <a:pt x="135660" y="454567"/>
                      </a:lnTo>
                      <a:lnTo>
                        <a:pt x="132816" y="452470"/>
                      </a:lnTo>
                      <a:lnTo>
                        <a:pt x="132147" y="451806"/>
                      </a:lnTo>
                      <a:lnTo>
                        <a:pt x="131126" y="450454"/>
                      </a:lnTo>
                      <a:lnTo>
                        <a:pt x="130561" y="449928"/>
                      </a:lnTo>
                      <a:lnTo>
                        <a:pt x="129956" y="449677"/>
                      </a:lnTo>
                      <a:lnTo>
                        <a:pt x="129226" y="449533"/>
                      </a:lnTo>
                      <a:lnTo>
                        <a:pt x="127190" y="449343"/>
                      </a:lnTo>
                      <a:lnTo>
                        <a:pt x="126197" y="449032"/>
                      </a:lnTo>
                      <a:lnTo>
                        <a:pt x="125505" y="448187"/>
                      </a:lnTo>
                      <a:lnTo>
                        <a:pt x="125061" y="446975"/>
                      </a:lnTo>
                      <a:lnTo>
                        <a:pt x="124908" y="444802"/>
                      </a:lnTo>
                      <a:lnTo>
                        <a:pt x="124993" y="443081"/>
                      </a:lnTo>
                      <a:lnTo>
                        <a:pt x="125028" y="442960"/>
                      </a:lnTo>
                      <a:lnTo>
                        <a:pt x="126294" y="440305"/>
                      </a:lnTo>
                      <a:lnTo>
                        <a:pt x="127404" y="437723"/>
                      </a:lnTo>
                      <a:lnTo>
                        <a:pt x="126119" y="435861"/>
                      </a:lnTo>
                      <a:lnTo>
                        <a:pt x="125871" y="435738"/>
                      </a:lnTo>
                      <a:lnTo>
                        <a:pt x="125671" y="432057"/>
                      </a:lnTo>
                      <a:lnTo>
                        <a:pt x="124244" y="430200"/>
                      </a:lnTo>
                      <a:lnTo>
                        <a:pt x="122402" y="428556"/>
                      </a:lnTo>
                      <a:lnTo>
                        <a:pt x="120965" y="425523"/>
                      </a:lnTo>
                      <a:lnTo>
                        <a:pt x="120935" y="424324"/>
                      </a:lnTo>
                      <a:lnTo>
                        <a:pt x="121811" y="420085"/>
                      </a:lnTo>
                      <a:lnTo>
                        <a:pt x="121817" y="418659"/>
                      </a:lnTo>
                      <a:lnTo>
                        <a:pt x="121416" y="417838"/>
                      </a:lnTo>
                      <a:lnTo>
                        <a:pt x="120833" y="417055"/>
                      </a:lnTo>
                      <a:lnTo>
                        <a:pt x="113663" y="396730"/>
                      </a:lnTo>
                      <a:lnTo>
                        <a:pt x="109512" y="395899"/>
                      </a:lnTo>
                      <a:lnTo>
                        <a:pt x="106515" y="393777"/>
                      </a:lnTo>
                      <a:lnTo>
                        <a:pt x="105061" y="390260"/>
                      </a:lnTo>
                      <a:lnTo>
                        <a:pt x="105553" y="385227"/>
                      </a:lnTo>
                      <a:lnTo>
                        <a:pt x="105313" y="383032"/>
                      </a:lnTo>
                      <a:lnTo>
                        <a:pt x="104514" y="380126"/>
                      </a:lnTo>
                      <a:lnTo>
                        <a:pt x="103117" y="377558"/>
                      </a:lnTo>
                      <a:lnTo>
                        <a:pt x="101065" y="376375"/>
                      </a:lnTo>
                      <a:lnTo>
                        <a:pt x="98718" y="375405"/>
                      </a:lnTo>
                      <a:lnTo>
                        <a:pt x="97960" y="373245"/>
                      </a:lnTo>
                      <a:lnTo>
                        <a:pt x="99624" y="352204"/>
                      </a:lnTo>
                      <a:lnTo>
                        <a:pt x="99728" y="350953"/>
                      </a:lnTo>
                      <a:lnTo>
                        <a:pt x="99892" y="348833"/>
                      </a:lnTo>
                      <a:lnTo>
                        <a:pt x="99323" y="342962"/>
                      </a:lnTo>
                      <a:lnTo>
                        <a:pt x="103717" y="338635"/>
                      </a:lnTo>
                      <a:lnTo>
                        <a:pt x="104582" y="336984"/>
                      </a:lnTo>
                      <a:lnTo>
                        <a:pt x="104368" y="334471"/>
                      </a:lnTo>
                      <a:lnTo>
                        <a:pt x="101938" y="331139"/>
                      </a:lnTo>
                      <a:lnTo>
                        <a:pt x="101486" y="329440"/>
                      </a:lnTo>
                      <a:lnTo>
                        <a:pt x="102400" y="327032"/>
                      </a:lnTo>
                      <a:lnTo>
                        <a:pt x="104084" y="326441"/>
                      </a:lnTo>
                      <a:lnTo>
                        <a:pt x="106204" y="326547"/>
                      </a:lnTo>
                      <a:lnTo>
                        <a:pt x="108456" y="326242"/>
                      </a:lnTo>
                      <a:lnTo>
                        <a:pt x="110443" y="325465"/>
                      </a:lnTo>
                      <a:lnTo>
                        <a:pt x="111203" y="324956"/>
                      </a:lnTo>
                      <a:lnTo>
                        <a:pt x="113776" y="317913"/>
                      </a:lnTo>
                      <a:lnTo>
                        <a:pt x="114491" y="314115"/>
                      </a:lnTo>
                      <a:lnTo>
                        <a:pt x="114879" y="306920"/>
                      </a:lnTo>
                      <a:lnTo>
                        <a:pt x="114210" y="298271"/>
                      </a:lnTo>
                      <a:lnTo>
                        <a:pt x="114562" y="293708"/>
                      </a:lnTo>
                      <a:lnTo>
                        <a:pt x="115552" y="288915"/>
                      </a:lnTo>
                      <a:lnTo>
                        <a:pt x="114716" y="284591"/>
                      </a:lnTo>
                      <a:lnTo>
                        <a:pt x="111273" y="275034"/>
                      </a:lnTo>
                      <a:lnTo>
                        <a:pt x="109817" y="266270"/>
                      </a:lnTo>
                      <a:lnTo>
                        <a:pt x="108324" y="258984"/>
                      </a:lnTo>
                      <a:lnTo>
                        <a:pt x="113017" y="250527"/>
                      </a:lnTo>
                      <a:lnTo>
                        <a:pt x="113310" y="242736"/>
                      </a:lnTo>
                      <a:lnTo>
                        <a:pt x="115130" y="238923"/>
                      </a:lnTo>
                      <a:lnTo>
                        <a:pt x="114577" y="235995"/>
                      </a:lnTo>
                      <a:lnTo>
                        <a:pt x="111244" y="222751"/>
                      </a:lnTo>
                      <a:lnTo>
                        <a:pt x="111067" y="219106"/>
                      </a:lnTo>
                      <a:lnTo>
                        <a:pt x="111410" y="214186"/>
                      </a:lnTo>
                      <a:lnTo>
                        <a:pt x="113196" y="204334"/>
                      </a:lnTo>
                      <a:lnTo>
                        <a:pt x="114460" y="201740"/>
                      </a:lnTo>
                      <a:lnTo>
                        <a:pt x="117932" y="197341"/>
                      </a:lnTo>
                      <a:lnTo>
                        <a:pt x="118842" y="195386"/>
                      </a:lnTo>
                      <a:lnTo>
                        <a:pt x="118848" y="193328"/>
                      </a:lnTo>
                      <a:lnTo>
                        <a:pt x="118123" y="191696"/>
                      </a:lnTo>
                      <a:lnTo>
                        <a:pt x="113243" y="183891"/>
                      </a:lnTo>
                      <a:lnTo>
                        <a:pt x="111666" y="179653"/>
                      </a:lnTo>
                      <a:lnTo>
                        <a:pt x="110843" y="174837"/>
                      </a:lnTo>
                      <a:lnTo>
                        <a:pt x="111399" y="169866"/>
                      </a:lnTo>
                      <a:lnTo>
                        <a:pt x="114438" y="167474"/>
                      </a:lnTo>
                      <a:lnTo>
                        <a:pt x="115450" y="165555"/>
                      </a:lnTo>
                      <a:lnTo>
                        <a:pt x="115866" y="163548"/>
                      </a:lnTo>
                      <a:lnTo>
                        <a:pt x="116028" y="159443"/>
                      </a:lnTo>
                      <a:lnTo>
                        <a:pt x="116368" y="157444"/>
                      </a:lnTo>
                      <a:lnTo>
                        <a:pt x="116847" y="155957"/>
                      </a:lnTo>
                      <a:lnTo>
                        <a:pt x="117464" y="155158"/>
                      </a:lnTo>
                      <a:lnTo>
                        <a:pt x="118793" y="153798"/>
                      </a:lnTo>
                      <a:lnTo>
                        <a:pt x="119497" y="153210"/>
                      </a:lnTo>
                      <a:lnTo>
                        <a:pt x="120257" y="152673"/>
                      </a:lnTo>
                      <a:lnTo>
                        <a:pt x="125819" y="150694"/>
                      </a:lnTo>
                      <a:lnTo>
                        <a:pt x="131340" y="148037"/>
                      </a:lnTo>
                      <a:lnTo>
                        <a:pt x="140682" y="146345"/>
                      </a:lnTo>
                      <a:lnTo>
                        <a:pt x="143249" y="145562"/>
                      </a:lnTo>
                      <a:lnTo>
                        <a:pt x="144608" y="145322"/>
                      </a:lnTo>
                      <a:lnTo>
                        <a:pt x="146027" y="145550"/>
                      </a:lnTo>
                      <a:lnTo>
                        <a:pt x="153934" y="148288"/>
                      </a:lnTo>
                      <a:lnTo>
                        <a:pt x="154477" y="148554"/>
                      </a:lnTo>
                      <a:lnTo>
                        <a:pt x="155236" y="149069"/>
                      </a:lnTo>
                      <a:lnTo>
                        <a:pt x="156385" y="150111"/>
                      </a:lnTo>
                      <a:lnTo>
                        <a:pt x="157834" y="151163"/>
                      </a:lnTo>
                      <a:lnTo>
                        <a:pt x="159793" y="151920"/>
                      </a:lnTo>
                      <a:lnTo>
                        <a:pt x="160969" y="152120"/>
                      </a:lnTo>
                      <a:lnTo>
                        <a:pt x="162119" y="152179"/>
                      </a:lnTo>
                      <a:lnTo>
                        <a:pt x="163199" y="152089"/>
                      </a:lnTo>
                      <a:lnTo>
                        <a:pt x="164151" y="151822"/>
                      </a:lnTo>
                      <a:lnTo>
                        <a:pt x="168488" y="149797"/>
                      </a:lnTo>
                      <a:lnTo>
                        <a:pt x="169390" y="149479"/>
                      </a:lnTo>
                      <a:lnTo>
                        <a:pt x="170353" y="149260"/>
                      </a:lnTo>
                      <a:lnTo>
                        <a:pt x="171410" y="149160"/>
                      </a:lnTo>
                      <a:lnTo>
                        <a:pt x="172493" y="149167"/>
                      </a:lnTo>
                      <a:lnTo>
                        <a:pt x="173504" y="149305"/>
                      </a:lnTo>
                      <a:lnTo>
                        <a:pt x="174851" y="149892"/>
                      </a:lnTo>
                      <a:lnTo>
                        <a:pt x="176099" y="150776"/>
                      </a:lnTo>
                      <a:lnTo>
                        <a:pt x="177519" y="152483"/>
                      </a:lnTo>
                      <a:lnTo>
                        <a:pt x="178718" y="154337"/>
                      </a:lnTo>
                      <a:lnTo>
                        <a:pt x="179592" y="156120"/>
                      </a:lnTo>
                      <a:lnTo>
                        <a:pt x="181892" y="163530"/>
                      </a:lnTo>
                      <a:lnTo>
                        <a:pt x="183003" y="165816"/>
                      </a:lnTo>
                      <a:lnTo>
                        <a:pt x="184567" y="168137"/>
                      </a:lnTo>
                      <a:lnTo>
                        <a:pt x="187099" y="170645"/>
                      </a:lnTo>
                      <a:lnTo>
                        <a:pt x="190420" y="172267"/>
                      </a:lnTo>
                      <a:lnTo>
                        <a:pt x="194403" y="172697"/>
                      </a:lnTo>
                      <a:lnTo>
                        <a:pt x="202202" y="171948"/>
                      </a:lnTo>
                      <a:lnTo>
                        <a:pt x="208056" y="169371"/>
                      </a:lnTo>
                      <a:lnTo>
                        <a:pt x="211710" y="161738"/>
                      </a:lnTo>
                      <a:lnTo>
                        <a:pt x="214812" y="155259"/>
                      </a:lnTo>
                      <a:lnTo>
                        <a:pt x="217406" y="149826"/>
                      </a:lnTo>
                      <a:lnTo>
                        <a:pt x="220896" y="146323"/>
                      </a:lnTo>
                      <a:lnTo>
                        <a:pt x="224662" y="142518"/>
                      </a:lnTo>
                      <a:lnTo>
                        <a:pt x="225317" y="140793"/>
                      </a:lnTo>
                      <a:lnTo>
                        <a:pt x="225716" y="139115"/>
                      </a:lnTo>
                      <a:lnTo>
                        <a:pt x="226953" y="131589"/>
                      </a:lnTo>
                      <a:lnTo>
                        <a:pt x="227200" y="130096"/>
                      </a:lnTo>
                      <a:lnTo>
                        <a:pt x="227877" y="125920"/>
                      </a:lnTo>
                      <a:lnTo>
                        <a:pt x="228935" y="119423"/>
                      </a:lnTo>
                      <a:lnTo>
                        <a:pt x="230309" y="111005"/>
                      </a:lnTo>
                      <a:lnTo>
                        <a:pt x="231942" y="101048"/>
                      </a:lnTo>
                      <a:lnTo>
                        <a:pt x="233763" y="89918"/>
                      </a:lnTo>
                      <a:lnTo>
                        <a:pt x="235716" y="78026"/>
                      </a:lnTo>
                      <a:lnTo>
                        <a:pt x="237739" y="65756"/>
                      </a:lnTo>
                      <a:lnTo>
                        <a:pt x="239761" y="53488"/>
                      </a:lnTo>
                      <a:lnTo>
                        <a:pt x="241724" y="41604"/>
                      </a:lnTo>
                      <a:lnTo>
                        <a:pt x="243563" y="30485"/>
                      </a:lnTo>
                      <a:lnTo>
                        <a:pt x="245209" y="20542"/>
                      </a:lnTo>
                      <a:lnTo>
                        <a:pt x="246609" y="12130"/>
                      </a:lnTo>
                      <a:lnTo>
                        <a:pt x="247688" y="5647"/>
                      </a:lnTo>
                      <a:lnTo>
                        <a:pt x="248382" y="1467"/>
                      </a:lnTo>
                      <a:lnTo>
                        <a:pt x="248631" y="0"/>
                      </a:lnTo>
                      <a:lnTo>
                        <a:pt x="272604" y="1336"/>
                      </a:lnTo>
                      <a:lnTo>
                        <a:pt x="296579" y="2655"/>
                      </a:lnTo>
                      <a:lnTo>
                        <a:pt x="320570" y="3964"/>
                      </a:lnTo>
                      <a:lnTo>
                        <a:pt x="344562" y="5264"/>
                      </a:lnTo>
                      <a:lnTo>
                        <a:pt x="368555" y="6550"/>
                      </a:lnTo>
                      <a:lnTo>
                        <a:pt x="392562" y="7822"/>
                      </a:lnTo>
                      <a:lnTo>
                        <a:pt x="416577" y="9084"/>
                      </a:lnTo>
                      <a:lnTo>
                        <a:pt x="440597" y="10333"/>
                      </a:lnTo>
                      <a:lnTo>
                        <a:pt x="464621" y="11571"/>
                      </a:lnTo>
                      <a:lnTo>
                        <a:pt x="488658" y="12803"/>
                      </a:lnTo>
                      <a:lnTo>
                        <a:pt x="512698" y="14018"/>
                      </a:lnTo>
                      <a:lnTo>
                        <a:pt x="536738" y="15221"/>
                      </a:lnTo>
                      <a:lnTo>
                        <a:pt x="560791" y="16417"/>
                      </a:lnTo>
                      <a:lnTo>
                        <a:pt x="584854" y="17599"/>
                      </a:lnTo>
                      <a:lnTo>
                        <a:pt x="608918" y="18766"/>
                      </a:lnTo>
                      <a:lnTo>
                        <a:pt x="632989" y="19924"/>
                      </a:lnTo>
                      <a:lnTo>
                        <a:pt x="657072" y="21070"/>
                      </a:lnTo>
                      <a:lnTo>
                        <a:pt x="681152" y="22208"/>
                      </a:lnTo>
                      <a:lnTo>
                        <a:pt x="705242" y="23331"/>
                      </a:lnTo>
                      <a:lnTo>
                        <a:pt x="729339" y="24442"/>
                      </a:lnTo>
                      <a:lnTo>
                        <a:pt x="753437" y="25546"/>
                      </a:lnTo>
                      <a:lnTo>
                        <a:pt x="777545" y="26634"/>
                      </a:lnTo>
                      <a:lnTo>
                        <a:pt x="801664" y="27711"/>
                      </a:lnTo>
                      <a:lnTo>
                        <a:pt x="825779" y="28777"/>
                      </a:lnTo>
                      <a:lnTo>
                        <a:pt x="849901" y="29830"/>
                      </a:lnTo>
                      <a:lnTo>
                        <a:pt x="874033" y="30872"/>
                      </a:lnTo>
                      <a:lnTo>
                        <a:pt x="898173" y="31908"/>
                      </a:lnTo>
                      <a:lnTo>
                        <a:pt x="922307" y="32926"/>
                      </a:lnTo>
                      <a:lnTo>
                        <a:pt x="946456" y="33934"/>
                      </a:lnTo>
                      <a:lnTo>
                        <a:pt x="970611" y="34935"/>
                      </a:lnTo>
                      <a:lnTo>
                        <a:pt x="994765" y="3592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Freeform 30">
                  <a:extLst>
                    <a:ext uri="{FF2B5EF4-FFF2-40B4-BE49-F238E27FC236}">
                      <a16:creationId xmlns:a16="http://schemas.microsoft.com/office/drawing/2014/main" id="{B8CA4F6A-E9B2-44AB-9742-54BFFB784712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416991" y="3953862"/>
                  <a:ext cx="893900" cy="11981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2137" h="1772206">
                      <a:moveTo>
                        <a:pt x="577178" y="1667452"/>
                      </a:moveTo>
                      <a:lnTo>
                        <a:pt x="577927" y="1668468"/>
                      </a:lnTo>
                      <a:lnTo>
                        <a:pt x="580016" y="1668144"/>
                      </a:lnTo>
                      <a:lnTo>
                        <a:pt x="581758" y="1669839"/>
                      </a:lnTo>
                      <a:lnTo>
                        <a:pt x="581410" y="1670794"/>
                      </a:lnTo>
                      <a:lnTo>
                        <a:pt x="581855" y="1673025"/>
                      </a:lnTo>
                      <a:lnTo>
                        <a:pt x="583345" y="1673986"/>
                      </a:lnTo>
                      <a:lnTo>
                        <a:pt x="583577" y="1676912"/>
                      </a:lnTo>
                      <a:lnTo>
                        <a:pt x="587284" y="1682150"/>
                      </a:lnTo>
                      <a:lnTo>
                        <a:pt x="588576" y="1685302"/>
                      </a:lnTo>
                      <a:lnTo>
                        <a:pt x="591242" y="1689066"/>
                      </a:lnTo>
                      <a:lnTo>
                        <a:pt x="593689" y="1690454"/>
                      </a:lnTo>
                      <a:lnTo>
                        <a:pt x="595682" y="1693714"/>
                      </a:lnTo>
                      <a:lnTo>
                        <a:pt x="601511" y="1700161"/>
                      </a:lnTo>
                      <a:lnTo>
                        <a:pt x="604962" y="1703399"/>
                      </a:lnTo>
                      <a:lnTo>
                        <a:pt x="608008" y="1707204"/>
                      </a:lnTo>
                      <a:lnTo>
                        <a:pt x="608956" y="1708933"/>
                      </a:lnTo>
                      <a:lnTo>
                        <a:pt x="606891" y="1709141"/>
                      </a:lnTo>
                      <a:lnTo>
                        <a:pt x="603868" y="1707579"/>
                      </a:lnTo>
                      <a:lnTo>
                        <a:pt x="600984" y="1708206"/>
                      </a:lnTo>
                      <a:lnTo>
                        <a:pt x="600315" y="1709548"/>
                      </a:lnTo>
                      <a:lnTo>
                        <a:pt x="599089" y="1709949"/>
                      </a:lnTo>
                      <a:lnTo>
                        <a:pt x="596690" y="1711149"/>
                      </a:lnTo>
                      <a:lnTo>
                        <a:pt x="596064" y="1711028"/>
                      </a:lnTo>
                      <a:lnTo>
                        <a:pt x="595036" y="1708402"/>
                      </a:lnTo>
                      <a:lnTo>
                        <a:pt x="593267" y="1707947"/>
                      </a:lnTo>
                      <a:lnTo>
                        <a:pt x="590027" y="1704225"/>
                      </a:lnTo>
                      <a:lnTo>
                        <a:pt x="587767" y="1702849"/>
                      </a:lnTo>
                      <a:lnTo>
                        <a:pt x="586485" y="1701725"/>
                      </a:lnTo>
                      <a:lnTo>
                        <a:pt x="585748" y="1699011"/>
                      </a:lnTo>
                      <a:lnTo>
                        <a:pt x="585821" y="1696968"/>
                      </a:lnTo>
                      <a:lnTo>
                        <a:pt x="584281" y="1695231"/>
                      </a:lnTo>
                      <a:lnTo>
                        <a:pt x="583104" y="1691884"/>
                      </a:lnTo>
                      <a:lnTo>
                        <a:pt x="582173" y="1691399"/>
                      </a:lnTo>
                      <a:lnTo>
                        <a:pt x="581116" y="1688961"/>
                      </a:lnTo>
                      <a:lnTo>
                        <a:pt x="581512" y="1685621"/>
                      </a:lnTo>
                      <a:lnTo>
                        <a:pt x="581221" y="1684102"/>
                      </a:lnTo>
                      <a:lnTo>
                        <a:pt x="580364" y="1682645"/>
                      </a:lnTo>
                      <a:lnTo>
                        <a:pt x="578212" y="1679610"/>
                      </a:lnTo>
                      <a:lnTo>
                        <a:pt x="578131" y="1676180"/>
                      </a:lnTo>
                      <a:lnTo>
                        <a:pt x="577552" y="1673306"/>
                      </a:lnTo>
                      <a:lnTo>
                        <a:pt x="576789" y="1671321"/>
                      </a:lnTo>
                      <a:lnTo>
                        <a:pt x="574511" y="1671101"/>
                      </a:lnTo>
                      <a:lnTo>
                        <a:pt x="575210" y="1668137"/>
                      </a:lnTo>
                      <a:close/>
                      <a:moveTo>
                        <a:pt x="437748" y="1612713"/>
                      </a:moveTo>
                      <a:lnTo>
                        <a:pt x="440369" y="1614680"/>
                      </a:lnTo>
                      <a:lnTo>
                        <a:pt x="442456" y="1616704"/>
                      </a:lnTo>
                      <a:lnTo>
                        <a:pt x="443949" y="1616608"/>
                      </a:lnTo>
                      <a:lnTo>
                        <a:pt x="444784" y="1617317"/>
                      </a:lnTo>
                      <a:lnTo>
                        <a:pt x="447745" y="1618800"/>
                      </a:lnTo>
                      <a:lnTo>
                        <a:pt x="450221" y="1621589"/>
                      </a:lnTo>
                      <a:lnTo>
                        <a:pt x="451259" y="1623640"/>
                      </a:lnTo>
                      <a:lnTo>
                        <a:pt x="451032" y="1624960"/>
                      </a:lnTo>
                      <a:lnTo>
                        <a:pt x="450126" y="1625663"/>
                      </a:lnTo>
                      <a:lnTo>
                        <a:pt x="448904" y="1625683"/>
                      </a:lnTo>
                      <a:lnTo>
                        <a:pt x="447253" y="1626182"/>
                      </a:lnTo>
                      <a:lnTo>
                        <a:pt x="445369" y="1626002"/>
                      </a:lnTo>
                      <a:lnTo>
                        <a:pt x="444652" y="1626132"/>
                      </a:lnTo>
                      <a:lnTo>
                        <a:pt x="442494" y="1625523"/>
                      </a:lnTo>
                      <a:lnTo>
                        <a:pt x="441920" y="1625327"/>
                      </a:lnTo>
                      <a:lnTo>
                        <a:pt x="441186" y="1625540"/>
                      </a:lnTo>
                      <a:lnTo>
                        <a:pt x="440180" y="1624823"/>
                      </a:lnTo>
                      <a:lnTo>
                        <a:pt x="438239" y="1624474"/>
                      </a:lnTo>
                      <a:lnTo>
                        <a:pt x="437132" y="1623337"/>
                      </a:lnTo>
                      <a:lnTo>
                        <a:pt x="433969" y="1622510"/>
                      </a:lnTo>
                      <a:lnTo>
                        <a:pt x="430941" y="1619360"/>
                      </a:lnTo>
                      <a:lnTo>
                        <a:pt x="431099" y="1618452"/>
                      </a:lnTo>
                      <a:lnTo>
                        <a:pt x="430176" y="1617239"/>
                      </a:lnTo>
                      <a:lnTo>
                        <a:pt x="430620" y="1616179"/>
                      </a:lnTo>
                      <a:lnTo>
                        <a:pt x="430027" y="1614067"/>
                      </a:lnTo>
                      <a:lnTo>
                        <a:pt x="430299" y="1613498"/>
                      </a:lnTo>
                      <a:lnTo>
                        <a:pt x="432473" y="1615024"/>
                      </a:lnTo>
                      <a:lnTo>
                        <a:pt x="434628" y="1613635"/>
                      </a:lnTo>
                      <a:lnTo>
                        <a:pt x="435843" y="1613703"/>
                      </a:lnTo>
                      <a:close/>
                      <a:moveTo>
                        <a:pt x="590338" y="1587790"/>
                      </a:moveTo>
                      <a:lnTo>
                        <a:pt x="591460" y="1587791"/>
                      </a:lnTo>
                      <a:lnTo>
                        <a:pt x="593004" y="1588145"/>
                      </a:lnTo>
                      <a:lnTo>
                        <a:pt x="594412" y="1588091"/>
                      </a:lnTo>
                      <a:lnTo>
                        <a:pt x="595672" y="1588501"/>
                      </a:lnTo>
                      <a:lnTo>
                        <a:pt x="596611" y="1588762"/>
                      </a:lnTo>
                      <a:lnTo>
                        <a:pt x="599421" y="1588647"/>
                      </a:lnTo>
                      <a:lnTo>
                        <a:pt x="600275" y="1588564"/>
                      </a:lnTo>
                      <a:lnTo>
                        <a:pt x="601083" y="1588342"/>
                      </a:lnTo>
                      <a:lnTo>
                        <a:pt x="601749" y="1589715"/>
                      </a:lnTo>
                      <a:lnTo>
                        <a:pt x="602545" y="1590359"/>
                      </a:lnTo>
                      <a:lnTo>
                        <a:pt x="603362" y="1591674"/>
                      </a:lnTo>
                      <a:lnTo>
                        <a:pt x="604722" y="1592689"/>
                      </a:lnTo>
                      <a:lnTo>
                        <a:pt x="605944" y="1593288"/>
                      </a:lnTo>
                      <a:lnTo>
                        <a:pt x="605828" y="1593948"/>
                      </a:lnTo>
                      <a:lnTo>
                        <a:pt x="605791" y="1594946"/>
                      </a:lnTo>
                      <a:lnTo>
                        <a:pt x="606656" y="1595196"/>
                      </a:lnTo>
                      <a:lnTo>
                        <a:pt x="607129" y="1594892"/>
                      </a:lnTo>
                      <a:lnTo>
                        <a:pt x="607934" y="1594677"/>
                      </a:lnTo>
                      <a:lnTo>
                        <a:pt x="608213" y="1594291"/>
                      </a:lnTo>
                      <a:lnTo>
                        <a:pt x="609395" y="1594301"/>
                      </a:lnTo>
                      <a:lnTo>
                        <a:pt x="609910" y="1595332"/>
                      </a:lnTo>
                      <a:lnTo>
                        <a:pt x="610621" y="1595295"/>
                      </a:lnTo>
                      <a:lnTo>
                        <a:pt x="611365" y="1595810"/>
                      </a:lnTo>
                      <a:lnTo>
                        <a:pt x="612043" y="1596714"/>
                      </a:lnTo>
                      <a:lnTo>
                        <a:pt x="613116" y="1597374"/>
                      </a:lnTo>
                      <a:lnTo>
                        <a:pt x="613839" y="1598016"/>
                      </a:lnTo>
                      <a:lnTo>
                        <a:pt x="615045" y="1597949"/>
                      </a:lnTo>
                      <a:lnTo>
                        <a:pt x="615517" y="1598382"/>
                      </a:lnTo>
                      <a:lnTo>
                        <a:pt x="616250" y="1598222"/>
                      </a:lnTo>
                      <a:lnTo>
                        <a:pt x="617551" y="1598364"/>
                      </a:lnTo>
                      <a:lnTo>
                        <a:pt x="621366" y="1600786"/>
                      </a:lnTo>
                      <a:lnTo>
                        <a:pt x="622258" y="1600569"/>
                      </a:lnTo>
                      <a:lnTo>
                        <a:pt x="623057" y="1601882"/>
                      </a:lnTo>
                      <a:lnTo>
                        <a:pt x="623555" y="1601975"/>
                      </a:lnTo>
                      <a:lnTo>
                        <a:pt x="624398" y="1602024"/>
                      </a:lnTo>
                      <a:lnTo>
                        <a:pt x="625099" y="1602398"/>
                      </a:lnTo>
                      <a:lnTo>
                        <a:pt x="625135" y="1603000"/>
                      </a:lnTo>
                      <a:lnTo>
                        <a:pt x="625153" y="1604134"/>
                      </a:lnTo>
                      <a:lnTo>
                        <a:pt x="624599" y="1604835"/>
                      </a:lnTo>
                      <a:lnTo>
                        <a:pt x="624613" y="1605901"/>
                      </a:lnTo>
                      <a:lnTo>
                        <a:pt x="625365" y="1606080"/>
                      </a:lnTo>
                      <a:lnTo>
                        <a:pt x="626309" y="1608131"/>
                      </a:lnTo>
                      <a:lnTo>
                        <a:pt x="627780" y="1610150"/>
                      </a:lnTo>
                      <a:lnTo>
                        <a:pt x="629405" y="1611646"/>
                      </a:lnTo>
                      <a:lnTo>
                        <a:pt x="629900" y="1613538"/>
                      </a:lnTo>
                      <a:lnTo>
                        <a:pt x="629788" y="1614312"/>
                      </a:lnTo>
                      <a:lnTo>
                        <a:pt x="630306" y="1614614"/>
                      </a:lnTo>
                      <a:lnTo>
                        <a:pt x="631185" y="1614614"/>
                      </a:lnTo>
                      <a:lnTo>
                        <a:pt x="632313" y="1615961"/>
                      </a:lnTo>
                      <a:lnTo>
                        <a:pt x="632439" y="1619094"/>
                      </a:lnTo>
                      <a:lnTo>
                        <a:pt x="631868" y="1619157"/>
                      </a:lnTo>
                      <a:lnTo>
                        <a:pt x="631291" y="1619941"/>
                      </a:lnTo>
                      <a:lnTo>
                        <a:pt x="632109" y="1620938"/>
                      </a:lnTo>
                      <a:lnTo>
                        <a:pt x="630766" y="1621492"/>
                      </a:lnTo>
                      <a:lnTo>
                        <a:pt x="630231" y="1622173"/>
                      </a:lnTo>
                      <a:lnTo>
                        <a:pt x="628346" y="1622602"/>
                      </a:lnTo>
                      <a:lnTo>
                        <a:pt x="625405" y="1621216"/>
                      </a:lnTo>
                      <a:lnTo>
                        <a:pt x="624245" y="1619739"/>
                      </a:lnTo>
                      <a:lnTo>
                        <a:pt x="622884" y="1619272"/>
                      </a:lnTo>
                      <a:lnTo>
                        <a:pt x="621326" y="1618361"/>
                      </a:lnTo>
                      <a:lnTo>
                        <a:pt x="617982" y="1618047"/>
                      </a:lnTo>
                      <a:lnTo>
                        <a:pt x="615723" y="1617856"/>
                      </a:lnTo>
                      <a:lnTo>
                        <a:pt x="613677" y="1618411"/>
                      </a:lnTo>
                      <a:lnTo>
                        <a:pt x="610406" y="1617807"/>
                      </a:lnTo>
                      <a:lnTo>
                        <a:pt x="607442" y="1616768"/>
                      </a:lnTo>
                      <a:lnTo>
                        <a:pt x="606300" y="1614978"/>
                      </a:lnTo>
                      <a:lnTo>
                        <a:pt x="604918" y="1612498"/>
                      </a:lnTo>
                      <a:lnTo>
                        <a:pt x="604483" y="1610206"/>
                      </a:lnTo>
                      <a:lnTo>
                        <a:pt x="605625" y="1608470"/>
                      </a:lnTo>
                      <a:lnTo>
                        <a:pt x="605477" y="1607728"/>
                      </a:lnTo>
                      <a:lnTo>
                        <a:pt x="606691" y="1606399"/>
                      </a:lnTo>
                      <a:lnTo>
                        <a:pt x="607585" y="1606048"/>
                      </a:lnTo>
                      <a:lnTo>
                        <a:pt x="607025" y="1605215"/>
                      </a:lnTo>
                      <a:lnTo>
                        <a:pt x="606304" y="1602242"/>
                      </a:lnTo>
                      <a:lnTo>
                        <a:pt x="606816" y="1601806"/>
                      </a:lnTo>
                      <a:lnTo>
                        <a:pt x="606496" y="1601254"/>
                      </a:lnTo>
                      <a:lnTo>
                        <a:pt x="606875" y="1599880"/>
                      </a:lnTo>
                      <a:lnTo>
                        <a:pt x="606302" y="1599178"/>
                      </a:lnTo>
                      <a:lnTo>
                        <a:pt x="605254" y="1598782"/>
                      </a:lnTo>
                      <a:lnTo>
                        <a:pt x="604344" y="1598398"/>
                      </a:lnTo>
                      <a:lnTo>
                        <a:pt x="603328" y="1598205"/>
                      </a:lnTo>
                      <a:lnTo>
                        <a:pt x="602484" y="1598322"/>
                      </a:lnTo>
                      <a:lnTo>
                        <a:pt x="601823" y="1597459"/>
                      </a:lnTo>
                      <a:lnTo>
                        <a:pt x="600300" y="1597169"/>
                      </a:lnTo>
                      <a:lnTo>
                        <a:pt x="599628" y="1596993"/>
                      </a:lnTo>
                      <a:lnTo>
                        <a:pt x="598500" y="1596265"/>
                      </a:lnTo>
                      <a:lnTo>
                        <a:pt x="597267" y="1596126"/>
                      </a:lnTo>
                      <a:lnTo>
                        <a:pt x="595939" y="1596116"/>
                      </a:lnTo>
                      <a:lnTo>
                        <a:pt x="594888" y="1595321"/>
                      </a:lnTo>
                      <a:lnTo>
                        <a:pt x="593958" y="1595070"/>
                      </a:lnTo>
                      <a:lnTo>
                        <a:pt x="593903" y="1594602"/>
                      </a:lnTo>
                      <a:lnTo>
                        <a:pt x="594045" y="1593489"/>
                      </a:lnTo>
                      <a:lnTo>
                        <a:pt x="593329" y="1593104"/>
                      </a:lnTo>
                      <a:lnTo>
                        <a:pt x="592634" y="1592260"/>
                      </a:lnTo>
                      <a:lnTo>
                        <a:pt x="592048" y="1590906"/>
                      </a:lnTo>
                      <a:lnTo>
                        <a:pt x="591278" y="1589652"/>
                      </a:lnTo>
                      <a:lnTo>
                        <a:pt x="590452" y="1588731"/>
                      </a:lnTo>
                      <a:close/>
                      <a:moveTo>
                        <a:pt x="659222" y="1539500"/>
                      </a:moveTo>
                      <a:lnTo>
                        <a:pt x="659334" y="1541214"/>
                      </a:lnTo>
                      <a:lnTo>
                        <a:pt x="656023" y="1541958"/>
                      </a:lnTo>
                      <a:lnTo>
                        <a:pt x="656463" y="1546135"/>
                      </a:lnTo>
                      <a:lnTo>
                        <a:pt x="654148" y="1546797"/>
                      </a:lnTo>
                      <a:lnTo>
                        <a:pt x="654580" y="1548415"/>
                      </a:lnTo>
                      <a:lnTo>
                        <a:pt x="652738" y="1547994"/>
                      </a:lnTo>
                      <a:lnTo>
                        <a:pt x="652433" y="1546438"/>
                      </a:lnTo>
                      <a:lnTo>
                        <a:pt x="652924" y="1545666"/>
                      </a:lnTo>
                      <a:lnTo>
                        <a:pt x="655412" y="1544933"/>
                      </a:lnTo>
                      <a:lnTo>
                        <a:pt x="655173" y="1542162"/>
                      </a:lnTo>
                      <a:lnTo>
                        <a:pt x="654303" y="1542692"/>
                      </a:lnTo>
                      <a:lnTo>
                        <a:pt x="654410" y="1544509"/>
                      </a:lnTo>
                      <a:lnTo>
                        <a:pt x="652831" y="1544923"/>
                      </a:lnTo>
                      <a:lnTo>
                        <a:pt x="651415" y="1545658"/>
                      </a:lnTo>
                      <a:lnTo>
                        <a:pt x="651413" y="1543709"/>
                      </a:lnTo>
                      <a:lnTo>
                        <a:pt x="652182" y="1542412"/>
                      </a:lnTo>
                      <a:lnTo>
                        <a:pt x="654513" y="1540546"/>
                      </a:lnTo>
                      <a:lnTo>
                        <a:pt x="655230" y="1540686"/>
                      </a:lnTo>
                      <a:lnTo>
                        <a:pt x="656051" y="1540350"/>
                      </a:lnTo>
                      <a:lnTo>
                        <a:pt x="657874" y="1539833"/>
                      </a:lnTo>
                      <a:close/>
                      <a:moveTo>
                        <a:pt x="381546" y="1471619"/>
                      </a:moveTo>
                      <a:lnTo>
                        <a:pt x="383674" y="1471858"/>
                      </a:lnTo>
                      <a:lnTo>
                        <a:pt x="383628" y="1473535"/>
                      </a:lnTo>
                      <a:lnTo>
                        <a:pt x="381995" y="1475702"/>
                      </a:lnTo>
                      <a:lnTo>
                        <a:pt x="382031" y="1477859"/>
                      </a:lnTo>
                      <a:lnTo>
                        <a:pt x="383561" y="1480564"/>
                      </a:lnTo>
                      <a:lnTo>
                        <a:pt x="387190" y="1482741"/>
                      </a:lnTo>
                      <a:lnTo>
                        <a:pt x="391713" y="1482239"/>
                      </a:lnTo>
                      <a:lnTo>
                        <a:pt x="391111" y="1486600"/>
                      </a:lnTo>
                      <a:lnTo>
                        <a:pt x="392146" y="1487847"/>
                      </a:lnTo>
                      <a:lnTo>
                        <a:pt x="392018" y="1489997"/>
                      </a:lnTo>
                      <a:lnTo>
                        <a:pt x="387217" y="1489603"/>
                      </a:lnTo>
                      <a:lnTo>
                        <a:pt x="383935" y="1490716"/>
                      </a:lnTo>
                      <a:lnTo>
                        <a:pt x="378440" y="1493880"/>
                      </a:lnTo>
                      <a:lnTo>
                        <a:pt x="374956" y="1494189"/>
                      </a:lnTo>
                      <a:lnTo>
                        <a:pt x="373303" y="1495065"/>
                      </a:lnTo>
                      <a:lnTo>
                        <a:pt x="370090" y="1494750"/>
                      </a:lnTo>
                      <a:lnTo>
                        <a:pt x="368629" y="1495956"/>
                      </a:lnTo>
                      <a:lnTo>
                        <a:pt x="368255" y="1497137"/>
                      </a:lnTo>
                      <a:lnTo>
                        <a:pt x="366087" y="1496632"/>
                      </a:lnTo>
                      <a:lnTo>
                        <a:pt x="364925" y="1495138"/>
                      </a:lnTo>
                      <a:lnTo>
                        <a:pt x="362235" y="1493333"/>
                      </a:lnTo>
                      <a:lnTo>
                        <a:pt x="359020" y="1491184"/>
                      </a:lnTo>
                      <a:lnTo>
                        <a:pt x="358180" y="1488348"/>
                      </a:lnTo>
                      <a:lnTo>
                        <a:pt x="357669" y="1486965"/>
                      </a:lnTo>
                      <a:lnTo>
                        <a:pt x="356579" y="1485555"/>
                      </a:lnTo>
                      <a:lnTo>
                        <a:pt x="355410" y="1481748"/>
                      </a:lnTo>
                      <a:lnTo>
                        <a:pt x="354137" y="1480886"/>
                      </a:lnTo>
                      <a:lnTo>
                        <a:pt x="353601" y="1478704"/>
                      </a:lnTo>
                      <a:lnTo>
                        <a:pt x="351893" y="1477991"/>
                      </a:lnTo>
                      <a:lnTo>
                        <a:pt x="350460" y="1476171"/>
                      </a:lnTo>
                      <a:lnTo>
                        <a:pt x="352603" y="1474916"/>
                      </a:lnTo>
                      <a:lnTo>
                        <a:pt x="355625" y="1474808"/>
                      </a:lnTo>
                      <a:lnTo>
                        <a:pt x="358000" y="1476041"/>
                      </a:lnTo>
                      <a:lnTo>
                        <a:pt x="360531" y="1475444"/>
                      </a:lnTo>
                      <a:lnTo>
                        <a:pt x="362798" y="1475875"/>
                      </a:lnTo>
                      <a:lnTo>
                        <a:pt x="365052" y="1474471"/>
                      </a:lnTo>
                      <a:lnTo>
                        <a:pt x="367390" y="1473071"/>
                      </a:lnTo>
                      <a:lnTo>
                        <a:pt x="368863" y="1473131"/>
                      </a:lnTo>
                      <a:lnTo>
                        <a:pt x="374776" y="1474793"/>
                      </a:lnTo>
                      <a:lnTo>
                        <a:pt x="378805" y="1473785"/>
                      </a:lnTo>
                      <a:close/>
                      <a:moveTo>
                        <a:pt x="404975" y="1465731"/>
                      </a:moveTo>
                      <a:lnTo>
                        <a:pt x="406781" y="1466680"/>
                      </a:lnTo>
                      <a:lnTo>
                        <a:pt x="409527" y="1466868"/>
                      </a:lnTo>
                      <a:lnTo>
                        <a:pt x="414178" y="1467870"/>
                      </a:lnTo>
                      <a:lnTo>
                        <a:pt x="417252" y="1469351"/>
                      </a:lnTo>
                      <a:lnTo>
                        <a:pt x="418636" y="1470998"/>
                      </a:lnTo>
                      <a:lnTo>
                        <a:pt x="421239" y="1471747"/>
                      </a:lnTo>
                      <a:lnTo>
                        <a:pt x="424398" y="1471189"/>
                      </a:lnTo>
                      <a:lnTo>
                        <a:pt x="425931" y="1471352"/>
                      </a:lnTo>
                      <a:lnTo>
                        <a:pt x="428835" y="1471559"/>
                      </a:lnTo>
                      <a:lnTo>
                        <a:pt x="429715" y="1472263"/>
                      </a:lnTo>
                      <a:lnTo>
                        <a:pt x="431045" y="1472377"/>
                      </a:lnTo>
                      <a:lnTo>
                        <a:pt x="431982" y="1473484"/>
                      </a:lnTo>
                      <a:lnTo>
                        <a:pt x="432816" y="1473152"/>
                      </a:lnTo>
                      <a:lnTo>
                        <a:pt x="435768" y="1474503"/>
                      </a:lnTo>
                      <a:lnTo>
                        <a:pt x="436755" y="1475974"/>
                      </a:lnTo>
                      <a:lnTo>
                        <a:pt x="438316" y="1477236"/>
                      </a:lnTo>
                      <a:lnTo>
                        <a:pt x="439120" y="1478816"/>
                      </a:lnTo>
                      <a:lnTo>
                        <a:pt x="440454" y="1478744"/>
                      </a:lnTo>
                      <a:lnTo>
                        <a:pt x="441938" y="1479573"/>
                      </a:lnTo>
                      <a:lnTo>
                        <a:pt x="443933" y="1479284"/>
                      </a:lnTo>
                      <a:lnTo>
                        <a:pt x="447058" y="1480490"/>
                      </a:lnTo>
                      <a:lnTo>
                        <a:pt x="450010" y="1479610"/>
                      </a:lnTo>
                      <a:lnTo>
                        <a:pt x="451562" y="1477903"/>
                      </a:lnTo>
                      <a:lnTo>
                        <a:pt x="451584" y="1476047"/>
                      </a:lnTo>
                      <a:lnTo>
                        <a:pt x="455288" y="1474460"/>
                      </a:lnTo>
                      <a:lnTo>
                        <a:pt x="457390" y="1474425"/>
                      </a:lnTo>
                      <a:lnTo>
                        <a:pt x="459191" y="1473699"/>
                      </a:lnTo>
                      <a:lnTo>
                        <a:pt x="463772" y="1476543"/>
                      </a:lnTo>
                      <a:lnTo>
                        <a:pt x="465248" y="1477943"/>
                      </a:lnTo>
                      <a:lnTo>
                        <a:pt x="463691" y="1479488"/>
                      </a:lnTo>
                      <a:lnTo>
                        <a:pt x="461443" y="1480265"/>
                      </a:lnTo>
                      <a:lnTo>
                        <a:pt x="460923" y="1481425"/>
                      </a:lnTo>
                      <a:lnTo>
                        <a:pt x="460064" y="1483150"/>
                      </a:lnTo>
                      <a:lnTo>
                        <a:pt x="457903" y="1484746"/>
                      </a:lnTo>
                      <a:lnTo>
                        <a:pt x="454624" y="1484658"/>
                      </a:lnTo>
                      <a:lnTo>
                        <a:pt x="453028" y="1485386"/>
                      </a:lnTo>
                      <a:lnTo>
                        <a:pt x="447444" y="1485319"/>
                      </a:lnTo>
                      <a:lnTo>
                        <a:pt x="444178" y="1485300"/>
                      </a:lnTo>
                      <a:lnTo>
                        <a:pt x="442260" y="1485199"/>
                      </a:lnTo>
                      <a:lnTo>
                        <a:pt x="440691" y="1485642"/>
                      </a:lnTo>
                      <a:lnTo>
                        <a:pt x="439542" y="1486469"/>
                      </a:lnTo>
                      <a:lnTo>
                        <a:pt x="438098" y="1486693"/>
                      </a:lnTo>
                      <a:lnTo>
                        <a:pt x="437569" y="1487107"/>
                      </a:lnTo>
                      <a:lnTo>
                        <a:pt x="435007" y="1487871"/>
                      </a:lnTo>
                      <a:lnTo>
                        <a:pt x="434018" y="1487816"/>
                      </a:lnTo>
                      <a:lnTo>
                        <a:pt x="432800" y="1489012"/>
                      </a:lnTo>
                      <a:lnTo>
                        <a:pt x="431644" y="1489398"/>
                      </a:lnTo>
                      <a:lnTo>
                        <a:pt x="428211" y="1488561"/>
                      </a:lnTo>
                      <a:lnTo>
                        <a:pt x="426444" y="1488468"/>
                      </a:lnTo>
                      <a:lnTo>
                        <a:pt x="425368" y="1489301"/>
                      </a:lnTo>
                      <a:lnTo>
                        <a:pt x="423444" y="1488758"/>
                      </a:lnTo>
                      <a:lnTo>
                        <a:pt x="420915" y="1488557"/>
                      </a:lnTo>
                      <a:lnTo>
                        <a:pt x="418954" y="1487795"/>
                      </a:lnTo>
                      <a:lnTo>
                        <a:pt x="416372" y="1488326"/>
                      </a:lnTo>
                      <a:lnTo>
                        <a:pt x="415377" y="1486945"/>
                      </a:lnTo>
                      <a:lnTo>
                        <a:pt x="413090" y="1486235"/>
                      </a:lnTo>
                      <a:lnTo>
                        <a:pt x="411408" y="1486520"/>
                      </a:lnTo>
                      <a:lnTo>
                        <a:pt x="409324" y="1484269"/>
                      </a:lnTo>
                      <a:lnTo>
                        <a:pt x="408207" y="1483990"/>
                      </a:lnTo>
                      <a:lnTo>
                        <a:pt x="407489" y="1481877"/>
                      </a:lnTo>
                      <a:lnTo>
                        <a:pt x="407375" y="1479953"/>
                      </a:lnTo>
                      <a:lnTo>
                        <a:pt x="407199" y="1478674"/>
                      </a:lnTo>
                      <a:lnTo>
                        <a:pt x="409313" y="1475968"/>
                      </a:lnTo>
                      <a:lnTo>
                        <a:pt x="409578" y="1474508"/>
                      </a:lnTo>
                      <a:lnTo>
                        <a:pt x="408366" y="1473397"/>
                      </a:lnTo>
                      <a:lnTo>
                        <a:pt x="406755" y="1471189"/>
                      </a:lnTo>
                      <a:lnTo>
                        <a:pt x="404730" y="1469901"/>
                      </a:lnTo>
                      <a:lnTo>
                        <a:pt x="403922" y="1469546"/>
                      </a:lnTo>
                      <a:lnTo>
                        <a:pt x="403441" y="1470034"/>
                      </a:lnTo>
                      <a:lnTo>
                        <a:pt x="402400" y="1469759"/>
                      </a:lnTo>
                      <a:lnTo>
                        <a:pt x="401846" y="1468912"/>
                      </a:lnTo>
                      <a:lnTo>
                        <a:pt x="403445" y="1467811"/>
                      </a:lnTo>
                      <a:lnTo>
                        <a:pt x="404190" y="1466659"/>
                      </a:lnTo>
                      <a:close/>
                      <a:moveTo>
                        <a:pt x="334357" y="1461322"/>
                      </a:moveTo>
                      <a:lnTo>
                        <a:pt x="335262" y="1462216"/>
                      </a:lnTo>
                      <a:lnTo>
                        <a:pt x="335526" y="1463461"/>
                      </a:lnTo>
                      <a:lnTo>
                        <a:pt x="335713" y="1464655"/>
                      </a:lnTo>
                      <a:lnTo>
                        <a:pt x="334827" y="1465583"/>
                      </a:lnTo>
                      <a:lnTo>
                        <a:pt x="335338" y="1466718"/>
                      </a:lnTo>
                      <a:lnTo>
                        <a:pt x="337101" y="1466949"/>
                      </a:lnTo>
                      <a:lnTo>
                        <a:pt x="338556" y="1466647"/>
                      </a:lnTo>
                      <a:lnTo>
                        <a:pt x="339354" y="1466982"/>
                      </a:lnTo>
                      <a:lnTo>
                        <a:pt x="340965" y="1468395"/>
                      </a:lnTo>
                      <a:lnTo>
                        <a:pt x="341859" y="1469477"/>
                      </a:lnTo>
                      <a:lnTo>
                        <a:pt x="342310" y="1470986"/>
                      </a:lnTo>
                      <a:lnTo>
                        <a:pt x="341741" y="1472444"/>
                      </a:lnTo>
                      <a:lnTo>
                        <a:pt x="338431" y="1472135"/>
                      </a:lnTo>
                      <a:lnTo>
                        <a:pt x="335070" y="1471830"/>
                      </a:lnTo>
                      <a:lnTo>
                        <a:pt x="333479" y="1472498"/>
                      </a:lnTo>
                      <a:lnTo>
                        <a:pt x="331498" y="1471811"/>
                      </a:lnTo>
                      <a:lnTo>
                        <a:pt x="330392" y="1470570"/>
                      </a:lnTo>
                      <a:lnTo>
                        <a:pt x="328837" y="1470125"/>
                      </a:lnTo>
                      <a:lnTo>
                        <a:pt x="326936" y="1468996"/>
                      </a:lnTo>
                      <a:lnTo>
                        <a:pt x="325575" y="1468709"/>
                      </a:lnTo>
                      <a:lnTo>
                        <a:pt x="323964" y="1469972"/>
                      </a:lnTo>
                      <a:lnTo>
                        <a:pt x="321880" y="1468982"/>
                      </a:lnTo>
                      <a:lnTo>
                        <a:pt x="320672" y="1468778"/>
                      </a:lnTo>
                      <a:lnTo>
                        <a:pt x="320391" y="1467725"/>
                      </a:lnTo>
                      <a:lnTo>
                        <a:pt x="322240" y="1467365"/>
                      </a:lnTo>
                      <a:lnTo>
                        <a:pt x="326360" y="1464736"/>
                      </a:lnTo>
                      <a:lnTo>
                        <a:pt x="328102" y="1465413"/>
                      </a:lnTo>
                      <a:lnTo>
                        <a:pt x="329629" y="1465186"/>
                      </a:lnTo>
                      <a:lnTo>
                        <a:pt x="332094" y="1463967"/>
                      </a:lnTo>
                      <a:lnTo>
                        <a:pt x="334192" y="1462209"/>
                      </a:lnTo>
                      <a:close/>
                      <a:moveTo>
                        <a:pt x="110104" y="0"/>
                      </a:moveTo>
                      <a:lnTo>
                        <a:pt x="114163" y="419"/>
                      </a:lnTo>
                      <a:lnTo>
                        <a:pt x="151091" y="4213"/>
                      </a:lnTo>
                      <a:lnTo>
                        <a:pt x="188043" y="7969"/>
                      </a:lnTo>
                      <a:lnTo>
                        <a:pt x="225035" y="11687"/>
                      </a:lnTo>
                      <a:lnTo>
                        <a:pt x="262057" y="15368"/>
                      </a:lnTo>
                      <a:lnTo>
                        <a:pt x="299111" y="19012"/>
                      </a:lnTo>
                      <a:lnTo>
                        <a:pt x="336187" y="22617"/>
                      </a:lnTo>
                      <a:lnTo>
                        <a:pt x="373301" y="26186"/>
                      </a:lnTo>
                      <a:lnTo>
                        <a:pt x="410446" y="29717"/>
                      </a:lnTo>
                      <a:lnTo>
                        <a:pt x="447618" y="33211"/>
                      </a:lnTo>
                      <a:lnTo>
                        <a:pt x="484821" y="36668"/>
                      </a:lnTo>
                      <a:lnTo>
                        <a:pt x="522047" y="40087"/>
                      </a:lnTo>
                      <a:lnTo>
                        <a:pt x="559311" y="43471"/>
                      </a:lnTo>
                      <a:lnTo>
                        <a:pt x="596599" y="46816"/>
                      </a:lnTo>
                      <a:lnTo>
                        <a:pt x="633914" y="50126"/>
                      </a:lnTo>
                      <a:lnTo>
                        <a:pt x="671255" y="53397"/>
                      </a:lnTo>
                      <a:lnTo>
                        <a:pt x="708631" y="56633"/>
                      </a:lnTo>
                      <a:lnTo>
                        <a:pt x="700534" y="88743"/>
                      </a:lnTo>
                      <a:lnTo>
                        <a:pt x="692481" y="120872"/>
                      </a:lnTo>
                      <a:lnTo>
                        <a:pt x="684463" y="153025"/>
                      </a:lnTo>
                      <a:lnTo>
                        <a:pt x="676476" y="185204"/>
                      </a:lnTo>
                      <a:lnTo>
                        <a:pt x="668529" y="217398"/>
                      </a:lnTo>
                      <a:lnTo>
                        <a:pt x="660622" y="249619"/>
                      </a:lnTo>
                      <a:lnTo>
                        <a:pt x="652751" y="281863"/>
                      </a:lnTo>
                      <a:lnTo>
                        <a:pt x="644915" y="314134"/>
                      </a:lnTo>
                      <a:lnTo>
                        <a:pt x="637111" y="346423"/>
                      </a:lnTo>
                      <a:lnTo>
                        <a:pt x="629356" y="378730"/>
                      </a:lnTo>
                      <a:lnTo>
                        <a:pt x="621631" y="411069"/>
                      </a:lnTo>
                      <a:lnTo>
                        <a:pt x="613942" y="443425"/>
                      </a:lnTo>
                      <a:lnTo>
                        <a:pt x="606289" y="475802"/>
                      </a:lnTo>
                      <a:lnTo>
                        <a:pt x="598677" y="508199"/>
                      </a:lnTo>
                      <a:lnTo>
                        <a:pt x="591101" y="540625"/>
                      </a:lnTo>
                      <a:lnTo>
                        <a:pt x="583557" y="573069"/>
                      </a:lnTo>
                      <a:lnTo>
                        <a:pt x="581283" y="582885"/>
                      </a:lnTo>
                      <a:lnTo>
                        <a:pt x="580722" y="585370"/>
                      </a:lnTo>
                      <a:lnTo>
                        <a:pt x="608833" y="617085"/>
                      </a:lnTo>
                      <a:lnTo>
                        <a:pt x="637125" y="648774"/>
                      </a:lnTo>
                      <a:lnTo>
                        <a:pt x="665597" y="680441"/>
                      </a:lnTo>
                      <a:lnTo>
                        <a:pt x="694246" y="712084"/>
                      </a:lnTo>
                      <a:lnTo>
                        <a:pt x="723069" y="743697"/>
                      </a:lnTo>
                      <a:lnTo>
                        <a:pt x="752072" y="775284"/>
                      </a:lnTo>
                      <a:lnTo>
                        <a:pt x="781250" y="806850"/>
                      </a:lnTo>
                      <a:lnTo>
                        <a:pt x="810603" y="838387"/>
                      </a:lnTo>
                      <a:lnTo>
                        <a:pt x="833342" y="864801"/>
                      </a:lnTo>
                      <a:lnTo>
                        <a:pt x="856198" y="891201"/>
                      </a:lnTo>
                      <a:lnTo>
                        <a:pt x="879167" y="917591"/>
                      </a:lnTo>
                      <a:lnTo>
                        <a:pt x="902241" y="943962"/>
                      </a:lnTo>
                      <a:lnTo>
                        <a:pt x="925431" y="970319"/>
                      </a:lnTo>
                      <a:lnTo>
                        <a:pt x="948736" y="996670"/>
                      </a:lnTo>
                      <a:lnTo>
                        <a:pt x="972152" y="1022997"/>
                      </a:lnTo>
                      <a:lnTo>
                        <a:pt x="995675" y="1049310"/>
                      </a:lnTo>
                      <a:lnTo>
                        <a:pt x="1016201" y="1073323"/>
                      </a:lnTo>
                      <a:lnTo>
                        <a:pt x="1036815" y="1097320"/>
                      </a:lnTo>
                      <a:lnTo>
                        <a:pt x="1057519" y="1121311"/>
                      </a:lnTo>
                      <a:lnTo>
                        <a:pt x="1078310" y="1145292"/>
                      </a:lnTo>
                      <a:lnTo>
                        <a:pt x="1099184" y="1169261"/>
                      </a:lnTo>
                      <a:lnTo>
                        <a:pt x="1120148" y="1193221"/>
                      </a:lnTo>
                      <a:lnTo>
                        <a:pt x="1141198" y="1217175"/>
                      </a:lnTo>
                      <a:lnTo>
                        <a:pt x="1162332" y="1241113"/>
                      </a:lnTo>
                      <a:lnTo>
                        <a:pt x="1186173" y="1267984"/>
                      </a:lnTo>
                      <a:lnTo>
                        <a:pt x="1211990" y="1296222"/>
                      </a:lnTo>
                      <a:lnTo>
                        <a:pt x="1236849" y="1323278"/>
                      </a:lnTo>
                      <a:lnTo>
                        <a:pt x="1261854" y="1350365"/>
                      </a:lnTo>
                      <a:lnTo>
                        <a:pt x="1261750" y="1351616"/>
                      </a:lnTo>
                      <a:lnTo>
                        <a:pt x="1260086" y="1372657"/>
                      </a:lnTo>
                      <a:lnTo>
                        <a:pt x="1260844" y="1374817"/>
                      </a:lnTo>
                      <a:lnTo>
                        <a:pt x="1263191" y="1375787"/>
                      </a:lnTo>
                      <a:lnTo>
                        <a:pt x="1265243" y="1376970"/>
                      </a:lnTo>
                      <a:lnTo>
                        <a:pt x="1266640" y="1379538"/>
                      </a:lnTo>
                      <a:lnTo>
                        <a:pt x="1267439" y="1382444"/>
                      </a:lnTo>
                      <a:lnTo>
                        <a:pt x="1267679" y="1384639"/>
                      </a:lnTo>
                      <a:lnTo>
                        <a:pt x="1267187" y="1389672"/>
                      </a:lnTo>
                      <a:lnTo>
                        <a:pt x="1268641" y="1393189"/>
                      </a:lnTo>
                      <a:lnTo>
                        <a:pt x="1271638" y="1395311"/>
                      </a:lnTo>
                      <a:lnTo>
                        <a:pt x="1275789" y="1396142"/>
                      </a:lnTo>
                      <a:lnTo>
                        <a:pt x="1282959" y="1416467"/>
                      </a:lnTo>
                      <a:lnTo>
                        <a:pt x="1283542" y="1417250"/>
                      </a:lnTo>
                      <a:lnTo>
                        <a:pt x="1283943" y="1418071"/>
                      </a:lnTo>
                      <a:lnTo>
                        <a:pt x="1283937" y="1419497"/>
                      </a:lnTo>
                      <a:lnTo>
                        <a:pt x="1283061" y="1423736"/>
                      </a:lnTo>
                      <a:lnTo>
                        <a:pt x="1283091" y="1424935"/>
                      </a:lnTo>
                      <a:lnTo>
                        <a:pt x="1284528" y="1427968"/>
                      </a:lnTo>
                      <a:lnTo>
                        <a:pt x="1286370" y="1429612"/>
                      </a:lnTo>
                      <a:lnTo>
                        <a:pt x="1287797" y="1431469"/>
                      </a:lnTo>
                      <a:lnTo>
                        <a:pt x="1287997" y="1435150"/>
                      </a:lnTo>
                      <a:lnTo>
                        <a:pt x="1288245" y="1435273"/>
                      </a:lnTo>
                      <a:lnTo>
                        <a:pt x="1289530" y="1437135"/>
                      </a:lnTo>
                      <a:lnTo>
                        <a:pt x="1288420" y="1439717"/>
                      </a:lnTo>
                      <a:lnTo>
                        <a:pt x="1287154" y="1442372"/>
                      </a:lnTo>
                      <a:lnTo>
                        <a:pt x="1287119" y="1442493"/>
                      </a:lnTo>
                      <a:lnTo>
                        <a:pt x="1287034" y="1444214"/>
                      </a:lnTo>
                      <a:lnTo>
                        <a:pt x="1287187" y="1446387"/>
                      </a:lnTo>
                      <a:lnTo>
                        <a:pt x="1287631" y="1447599"/>
                      </a:lnTo>
                      <a:lnTo>
                        <a:pt x="1288323" y="1448444"/>
                      </a:lnTo>
                      <a:lnTo>
                        <a:pt x="1289316" y="1448755"/>
                      </a:lnTo>
                      <a:lnTo>
                        <a:pt x="1291352" y="1448945"/>
                      </a:lnTo>
                      <a:lnTo>
                        <a:pt x="1292082" y="1449089"/>
                      </a:lnTo>
                      <a:lnTo>
                        <a:pt x="1292687" y="1449340"/>
                      </a:lnTo>
                      <a:lnTo>
                        <a:pt x="1293252" y="1449866"/>
                      </a:lnTo>
                      <a:lnTo>
                        <a:pt x="1294273" y="1451218"/>
                      </a:lnTo>
                      <a:lnTo>
                        <a:pt x="1294942" y="1451882"/>
                      </a:lnTo>
                      <a:lnTo>
                        <a:pt x="1297786" y="1453979"/>
                      </a:lnTo>
                      <a:lnTo>
                        <a:pt x="1298473" y="1454657"/>
                      </a:lnTo>
                      <a:lnTo>
                        <a:pt x="1300421" y="1457416"/>
                      </a:lnTo>
                      <a:lnTo>
                        <a:pt x="1312186" y="1467097"/>
                      </a:lnTo>
                      <a:lnTo>
                        <a:pt x="1314669" y="1468616"/>
                      </a:lnTo>
                      <a:lnTo>
                        <a:pt x="1316005" y="1469911"/>
                      </a:lnTo>
                      <a:lnTo>
                        <a:pt x="1317554" y="1471940"/>
                      </a:lnTo>
                      <a:lnTo>
                        <a:pt x="1322118" y="1475290"/>
                      </a:lnTo>
                      <a:lnTo>
                        <a:pt x="1321777" y="1477732"/>
                      </a:lnTo>
                      <a:lnTo>
                        <a:pt x="1322137" y="1481522"/>
                      </a:lnTo>
                      <a:lnTo>
                        <a:pt x="1320457" y="1483879"/>
                      </a:lnTo>
                      <a:lnTo>
                        <a:pt x="1314909" y="1487228"/>
                      </a:lnTo>
                      <a:lnTo>
                        <a:pt x="1308876" y="1491841"/>
                      </a:lnTo>
                      <a:lnTo>
                        <a:pt x="1302949" y="1497697"/>
                      </a:lnTo>
                      <a:lnTo>
                        <a:pt x="1299737" y="1498320"/>
                      </a:lnTo>
                      <a:lnTo>
                        <a:pt x="1281973" y="1508322"/>
                      </a:lnTo>
                      <a:lnTo>
                        <a:pt x="1275983" y="1509727"/>
                      </a:lnTo>
                      <a:lnTo>
                        <a:pt x="1273059" y="1512097"/>
                      </a:lnTo>
                      <a:lnTo>
                        <a:pt x="1270905" y="1515352"/>
                      </a:lnTo>
                      <a:lnTo>
                        <a:pt x="1268427" y="1522916"/>
                      </a:lnTo>
                      <a:lnTo>
                        <a:pt x="1266055" y="1526293"/>
                      </a:lnTo>
                      <a:lnTo>
                        <a:pt x="1263136" y="1529051"/>
                      </a:lnTo>
                      <a:lnTo>
                        <a:pt x="1260160" y="1531335"/>
                      </a:lnTo>
                      <a:lnTo>
                        <a:pt x="1253297" y="1534942"/>
                      </a:lnTo>
                      <a:lnTo>
                        <a:pt x="1250448" y="1537304"/>
                      </a:lnTo>
                      <a:lnTo>
                        <a:pt x="1248851" y="1541228"/>
                      </a:lnTo>
                      <a:lnTo>
                        <a:pt x="1249061" y="1543337"/>
                      </a:lnTo>
                      <a:lnTo>
                        <a:pt x="1250043" y="1545393"/>
                      </a:lnTo>
                      <a:lnTo>
                        <a:pt x="1252617" y="1548987"/>
                      </a:lnTo>
                      <a:lnTo>
                        <a:pt x="1252589" y="1550604"/>
                      </a:lnTo>
                      <a:lnTo>
                        <a:pt x="1251072" y="1552174"/>
                      </a:lnTo>
                      <a:lnTo>
                        <a:pt x="1247852" y="1554234"/>
                      </a:lnTo>
                      <a:lnTo>
                        <a:pt x="1247744" y="1556958"/>
                      </a:lnTo>
                      <a:lnTo>
                        <a:pt x="1247064" y="1561562"/>
                      </a:lnTo>
                      <a:lnTo>
                        <a:pt x="1246980" y="1565927"/>
                      </a:lnTo>
                      <a:lnTo>
                        <a:pt x="1248636" y="1567952"/>
                      </a:lnTo>
                      <a:lnTo>
                        <a:pt x="1249036" y="1568938"/>
                      </a:lnTo>
                      <a:lnTo>
                        <a:pt x="1248898" y="1571048"/>
                      </a:lnTo>
                      <a:lnTo>
                        <a:pt x="1248397" y="1573139"/>
                      </a:lnTo>
                      <a:lnTo>
                        <a:pt x="1247705" y="1574069"/>
                      </a:lnTo>
                      <a:lnTo>
                        <a:pt x="1246738" y="1574919"/>
                      </a:lnTo>
                      <a:lnTo>
                        <a:pt x="1247110" y="1576936"/>
                      </a:lnTo>
                      <a:lnTo>
                        <a:pt x="1248348" y="1580268"/>
                      </a:lnTo>
                      <a:lnTo>
                        <a:pt x="1246892" y="1582862"/>
                      </a:lnTo>
                      <a:lnTo>
                        <a:pt x="1244745" y="1584781"/>
                      </a:lnTo>
                      <a:lnTo>
                        <a:pt x="1242612" y="1587269"/>
                      </a:lnTo>
                      <a:lnTo>
                        <a:pt x="1241171" y="1591619"/>
                      </a:lnTo>
                      <a:lnTo>
                        <a:pt x="1240692" y="1595472"/>
                      </a:lnTo>
                      <a:lnTo>
                        <a:pt x="1240247" y="1597479"/>
                      </a:lnTo>
                      <a:lnTo>
                        <a:pt x="1239612" y="1598325"/>
                      </a:lnTo>
                      <a:lnTo>
                        <a:pt x="1238037" y="1599311"/>
                      </a:lnTo>
                      <a:lnTo>
                        <a:pt x="1237676" y="1601693"/>
                      </a:lnTo>
                      <a:lnTo>
                        <a:pt x="1237956" y="1605647"/>
                      </a:lnTo>
                      <a:lnTo>
                        <a:pt x="1237026" y="1607978"/>
                      </a:lnTo>
                      <a:lnTo>
                        <a:pt x="1236329" y="1609151"/>
                      </a:lnTo>
                      <a:lnTo>
                        <a:pt x="1233762" y="1611708"/>
                      </a:lnTo>
                      <a:lnTo>
                        <a:pt x="1230166" y="1614512"/>
                      </a:lnTo>
                      <a:lnTo>
                        <a:pt x="1228292" y="1616286"/>
                      </a:lnTo>
                      <a:lnTo>
                        <a:pt x="1226123" y="1620624"/>
                      </a:lnTo>
                      <a:lnTo>
                        <a:pt x="1218650" y="1630796"/>
                      </a:lnTo>
                      <a:lnTo>
                        <a:pt x="1215501" y="1632687"/>
                      </a:lnTo>
                      <a:lnTo>
                        <a:pt x="1211425" y="1633586"/>
                      </a:lnTo>
                      <a:lnTo>
                        <a:pt x="1203547" y="1633734"/>
                      </a:lnTo>
                      <a:lnTo>
                        <a:pt x="1201894" y="1634577"/>
                      </a:lnTo>
                      <a:lnTo>
                        <a:pt x="1202289" y="1636716"/>
                      </a:lnTo>
                      <a:lnTo>
                        <a:pt x="1203583" y="1639079"/>
                      </a:lnTo>
                      <a:lnTo>
                        <a:pt x="1204643" y="1640574"/>
                      </a:lnTo>
                      <a:lnTo>
                        <a:pt x="1205292" y="1642541"/>
                      </a:lnTo>
                      <a:lnTo>
                        <a:pt x="1204457" y="1644052"/>
                      </a:lnTo>
                      <a:lnTo>
                        <a:pt x="1202244" y="1645899"/>
                      </a:lnTo>
                      <a:lnTo>
                        <a:pt x="1199975" y="1650800"/>
                      </a:lnTo>
                      <a:lnTo>
                        <a:pt x="1199915" y="1653500"/>
                      </a:lnTo>
                      <a:lnTo>
                        <a:pt x="1204073" y="1659127"/>
                      </a:lnTo>
                      <a:lnTo>
                        <a:pt x="1204803" y="1661624"/>
                      </a:lnTo>
                      <a:lnTo>
                        <a:pt x="1204856" y="1672082"/>
                      </a:lnTo>
                      <a:lnTo>
                        <a:pt x="1202853" y="1679825"/>
                      </a:lnTo>
                      <a:lnTo>
                        <a:pt x="1199428" y="1686442"/>
                      </a:lnTo>
                      <a:lnTo>
                        <a:pt x="1197954" y="1692655"/>
                      </a:lnTo>
                      <a:lnTo>
                        <a:pt x="1201777" y="1699220"/>
                      </a:lnTo>
                      <a:lnTo>
                        <a:pt x="1207717" y="1701911"/>
                      </a:lnTo>
                      <a:lnTo>
                        <a:pt x="1222048" y="1703640"/>
                      </a:lnTo>
                      <a:lnTo>
                        <a:pt x="1227177" y="1706786"/>
                      </a:lnTo>
                      <a:lnTo>
                        <a:pt x="1230733" y="1713145"/>
                      </a:lnTo>
                      <a:lnTo>
                        <a:pt x="1231028" y="1715448"/>
                      </a:lnTo>
                      <a:lnTo>
                        <a:pt x="1230699" y="1717199"/>
                      </a:lnTo>
                      <a:lnTo>
                        <a:pt x="1230082" y="1718930"/>
                      </a:lnTo>
                      <a:lnTo>
                        <a:pt x="1229547" y="1721171"/>
                      </a:lnTo>
                      <a:lnTo>
                        <a:pt x="1230370" y="1732770"/>
                      </a:lnTo>
                      <a:lnTo>
                        <a:pt x="1229356" y="1736666"/>
                      </a:lnTo>
                      <a:lnTo>
                        <a:pt x="1227201" y="1738892"/>
                      </a:lnTo>
                      <a:lnTo>
                        <a:pt x="1220689" y="1742494"/>
                      </a:lnTo>
                      <a:lnTo>
                        <a:pt x="1218271" y="1744764"/>
                      </a:lnTo>
                      <a:lnTo>
                        <a:pt x="1217209" y="1747863"/>
                      </a:lnTo>
                      <a:lnTo>
                        <a:pt x="1216853" y="1751213"/>
                      </a:lnTo>
                      <a:lnTo>
                        <a:pt x="1216205" y="1754417"/>
                      </a:lnTo>
                      <a:lnTo>
                        <a:pt x="1214262" y="1757039"/>
                      </a:lnTo>
                      <a:lnTo>
                        <a:pt x="1207275" y="1758168"/>
                      </a:lnTo>
                      <a:lnTo>
                        <a:pt x="1191006" y="1754091"/>
                      </a:lnTo>
                      <a:lnTo>
                        <a:pt x="1184324" y="1758019"/>
                      </a:lnTo>
                      <a:lnTo>
                        <a:pt x="1183454" y="1760100"/>
                      </a:lnTo>
                      <a:lnTo>
                        <a:pt x="1183454" y="1760099"/>
                      </a:lnTo>
                      <a:lnTo>
                        <a:pt x="1176936" y="1760315"/>
                      </a:lnTo>
                      <a:lnTo>
                        <a:pt x="1165027" y="1760735"/>
                      </a:lnTo>
                      <a:lnTo>
                        <a:pt x="1153121" y="1761128"/>
                      </a:lnTo>
                      <a:lnTo>
                        <a:pt x="1141206" y="1761534"/>
                      </a:lnTo>
                      <a:lnTo>
                        <a:pt x="1129301" y="1761934"/>
                      </a:lnTo>
                      <a:lnTo>
                        <a:pt x="1117395" y="1762336"/>
                      </a:lnTo>
                      <a:lnTo>
                        <a:pt x="1105491" y="1762725"/>
                      </a:lnTo>
                      <a:lnTo>
                        <a:pt x="1093593" y="1763132"/>
                      </a:lnTo>
                      <a:lnTo>
                        <a:pt x="1081687" y="1763508"/>
                      </a:lnTo>
                      <a:lnTo>
                        <a:pt x="1069784" y="1763901"/>
                      </a:lnTo>
                      <a:lnTo>
                        <a:pt x="1057881" y="1764287"/>
                      </a:lnTo>
                      <a:lnTo>
                        <a:pt x="1045967" y="1764669"/>
                      </a:lnTo>
                      <a:lnTo>
                        <a:pt x="1034073" y="1765056"/>
                      </a:lnTo>
                      <a:lnTo>
                        <a:pt x="1022176" y="1765435"/>
                      </a:lnTo>
                      <a:lnTo>
                        <a:pt x="1010275" y="1765813"/>
                      </a:lnTo>
                      <a:lnTo>
                        <a:pt x="998375" y="1766188"/>
                      </a:lnTo>
                      <a:lnTo>
                        <a:pt x="986463" y="1766564"/>
                      </a:lnTo>
                      <a:lnTo>
                        <a:pt x="974565" y="1766934"/>
                      </a:lnTo>
                      <a:lnTo>
                        <a:pt x="962673" y="1767312"/>
                      </a:lnTo>
                      <a:lnTo>
                        <a:pt x="950781" y="1767669"/>
                      </a:lnTo>
                      <a:lnTo>
                        <a:pt x="938875" y="1768042"/>
                      </a:lnTo>
                      <a:lnTo>
                        <a:pt x="926975" y="1768398"/>
                      </a:lnTo>
                      <a:lnTo>
                        <a:pt x="915080" y="1768757"/>
                      </a:lnTo>
                      <a:lnTo>
                        <a:pt x="903183" y="1769118"/>
                      </a:lnTo>
                      <a:lnTo>
                        <a:pt x="891293" y="1769475"/>
                      </a:lnTo>
                      <a:lnTo>
                        <a:pt x="879400" y="1769822"/>
                      </a:lnTo>
                      <a:lnTo>
                        <a:pt x="867506" y="1770177"/>
                      </a:lnTo>
                      <a:lnTo>
                        <a:pt x="855609" y="1770525"/>
                      </a:lnTo>
                      <a:lnTo>
                        <a:pt x="843716" y="1770876"/>
                      </a:lnTo>
                      <a:lnTo>
                        <a:pt x="831821" y="1771219"/>
                      </a:lnTo>
                      <a:lnTo>
                        <a:pt x="819931" y="1771561"/>
                      </a:lnTo>
                      <a:lnTo>
                        <a:pt x="808049" y="1771900"/>
                      </a:lnTo>
                      <a:lnTo>
                        <a:pt x="794979" y="1772206"/>
                      </a:lnTo>
                      <a:lnTo>
                        <a:pt x="795053" y="1770784"/>
                      </a:lnTo>
                      <a:lnTo>
                        <a:pt x="794942" y="1765577"/>
                      </a:lnTo>
                      <a:lnTo>
                        <a:pt x="795408" y="1761082"/>
                      </a:lnTo>
                      <a:lnTo>
                        <a:pt x="795607" y="1756931"/>
                      </a:lnTo>
                      <a:lnTo>
                        <a:pt x="794486" y="1751305"/>
                      </a:lnTo>
                      <a:lnTo>
                        <a:pt x="792547" y="1746972"/>
                      </a:lnTo>
                      <a:lnTo>
                        <a:pt x="789440" y="1744394"/>
                      </a:lnTo>
                      <a:lnTo>
                        <a:pt x="783837" y="1743703"/>
                      </a:lnTo>
                      <a:lnTo>
                        <a:pt x="783863" y="1741429"/>
                      </a:lnTo>
                      <a:lnTo>
                        <a:pt x="785126" y="1739794"/>
                      </a:lnTo>
                      <a:lnTo>
                        <a:pt x="787595" y="1738696"/>
                      </a:lnTo>
                      <a:lnTo>
                        <a:pt x="789968" y="1738778"/>
                      </a:lnTo>
                      <a:lnTo>
                        <a:pt x="790226" y="1740206"/>
                      </a:lnTo>
                      <a:lnTo>
                        <a:pt x="793162" y="1741672"/>
                      </a:lnTo>
                      <a:lnTo>
                        <a:pt x="793327" y="1744416"/>
                      </a:lnTo>
                      <a:lnTo>
                        <a:pt x="794308" y="1746551"/>
                      </a:lnTo>
                      <a:lnTo>
                        <a:pt x="795807" y="1750141"/>
                      </a:lnTo>
                      <a:lnTo>
                        <a:pt x="796977" y="1754236"/>
                      </a:lnTo>
                      <a:lnTo>
                        <a:pt x="797395" y="1758670"/>
                      </a:lnTo>
                      <a:lnTo>
                        <a:pt x="798633" y="1759925"/>
                      </a:lnTo>
                      <a:lnTo>
                        <a:pt x="800694" y="1758850"/>
                      </a:lnTo>
                      <a:lnTo>
                        <a:pt x="801275" y="1756397"/>
                      </a:lnTo>
                      <a:lnTo>
                        <a:pt x="799441" y="1750437"/>
                      </a:lnTo>
                      <a:lnTo>
                        <a:pt x="800120" y="1747203"/>
                      </a:lnTo>
                      <a:lnTo>
                        <a:pt x="798439" y="1743605"/>
                      </a:lnTo>
                      <a:lnTo>
                        <a:pt x="796485" y="1742689"/>
                      </a:lnTo>
                      <a:lnTo>
                        <a:pt x="793639" y="1740250"/>
                      </a:lnTo>
                      <a:lnTo>
                        <a:pt x="792174" y="1738662"/>
                      </a:lnTo>
                      <a:lnTo>
                        <a:pt x="792958" y="1736577"/>
                      </a:lnTo>
                      <a:lnTo>
                        <a:pt x="787311" y="1736517"/>
                      </a:lnTo>
                      <a:lnTo>
                        <a:pt x="784820" y="1737583"/>
                      </a:lnTo>
                      <a:lnTo>
                        <a:pt x="782313" y="1739518"/>
                      </a:lnTo>
                      <a:lnTo>
                        <a:pt x="781377" y="1746309"/>
                      </a:lnTo>
                      <a:lnTo>
                        <a:pt x="780140" y="1745335"/>
                      </a:lnTo>
                      <a:lnTo>
                        <a:pt x="779057" y="1742213"/>
                      </a:lnTo>
                      <a:lnTo>
                        <a:pt x="779020" y="1740328"/>
                      </a:lnTo>
                      <a:lnTo>
                        <a:pt x="780813" y="1732289"/>
                      </a:lnTo>
                      <a:lnTo>
                        <a:pt x="781466" y="1729220"/>
                      </a:lnTo>
                      <a:lnTo>
                        <a:pt x="781511" y="1725449"/>
                      </a:lnTo>
                      <a:lnTo>
                        <a:pt x="779306" y="1718301"/>
                      </a:lnTo>
                      <a:lnTo>
                        <a:pt x="778995" y="1715582"/>
                      </a:lnTo>
                      <a:lnTo>
                        <a:pt x="780965" y="1713240"/>
                      </a:lnTo>
                      <a:lnTo>
                        <a:pt x="782071" y="1714052"/>
                      </a:lnTo>
                      <a:lnTo>
                        <a:pt x="783265" y="1712842"/>
                      </a:lnTo>
                      <a:lnTo>
                        <a:pt x="785200" y="1707308"/>
                      </a:lnTo>
                      <a:lnTo>
                        <a:pt x="785225" y="1702960"/>
                      </a:lnTo>
                      <a:lnTo>
                        <a:pt x="785153" y="1687581"/>
                      </a:lnTo>
                      <a:lnTo>
                        <a:pt x="784813" y="1685059"/>
                      </a:lnTo>
                      <a:lnTo>
                        <a:pt x="784295" y="1682000"/>
                      </a:lnTo>
                      <a:lnTo>
                        <a:pt x="782755" y="1679721"/>
                      </a:lnTo>
                      <a:lnTo>
                        <a:pt x="781166" y="1666420"/>
                      </a:lnTo>
                      <a:lnTo>
                        <a:pt x="776636" y="1655704"/>
                      </a:lnTo>
                      <a:lnTo>
                        <a:pt x="758640" y="1623849"/>
                      </a:lnTo>
                      <a:lnTo>
                        <a:pt x="746546" y="1613078"/>
                      </a:lnTo>
                      <a:lnTo>
                        <a:pt x="738997" y="1603254"/>
                      </a:lnTo>
                      <a:lnTo>
                        <a:pt x="736740" y="1601238"/>
                      </a:lnTo>
                      <a:lnTo>
                        <a:pt x="730431" y="1596757"/>
                      </a:lnTo>
                      <a:lnTo>
                        <a:pt x="727586" y="1594779"/>
                      </a:lnTo>
                      <a:lnTo>
                        <a:pt x="722487" y="1586356"/>
                      </a:lnTo>
                      <a:lnTo>
                        <a:pt x="715937" y="1580080"/>
                      </a:lnTo>
                      <a:lnTo>
                        <a:pt x="708159" y="1573928"/>
                      </a:lnTo>
                      <a:lnTo>
                        <a:pt x="700765" y="1570739"/>
                      </a:lnTo>
                      <a:lnTo>
                        <a:pt x="694060" y="1565223"/>
                      </a:lnTo>
                      <a:lnTo>
                        <a:pt x="679497" y="1547035"/>
                      </a:lnTo>
                      <a:lnTo>
                        <a:pt x="675684" y="1544500"/>
                      </a:lnTo>
                      <a:lnTo>
                        <a:pt x="670642" y="1541428"/>
                      </a:lnTo>
                      <a:lnTo>
                        <a:pt x="667477" y="1540409"/>
                      </a:lnTo>
                      <a:lnTo>
                        <a:pt x="665418" y="1541331"/>
                      </a:lnTo>
                      <a:lnTo>
                        <a:pt x="663518" y="1540025"/>
                      </a:lnTo>
                      <a:lnTo>
                        <a:pt x="662216" y="1539981"/>
                      </a:lnTo>
                      <a:lnTo>
                        <a:pt x="664152" y="1542199"/>
                      </a:lnTo>
                      <a:lnTo>
                        <a:pt x="664724" y="1544204"/>
                      </a:lnTo>
                      <a:lnTo>
                        <a:pt x="664651" y="1545858"/>
                      </a:lnTo>
                      <a:lnTo>
                        <a:pt x="663423" y="1545899"/>
                      </a:lnTo>
                      <a:lnTo>
                        <a:pt x="662157" y="1544448"/>
                      </a:lnTo>
                      <a:lnTo>
                        <a:pt x="662353" y="1543130"/>
                      </a:lnTo>
                      <a:lnTo>
                        <a:pt x="661114" y="1543833"/>
                      </a:lnTo>
                      <a:lnTo>
                        <a:pt x="660691" y="1542577"/>
                      </a:lnTo>
                      <a:lnTo>
                        <a:pt x="660199" y="1538568"/>
                      </a:lnTo>
                      <a:lnTo>
                        <a:pt x="658693" y="1538799"/>
                      </a:lnTo>
                      <a:lnTo>
                        <a:pt x="657129" y="1538980"/>
                      </a:lnTo>
                      <a:lnTo>
                        <a:pt x="655467" y="1539586"/>
                      </a:lnTo>
                      <a:lnTo>
                        <a:pt x="654821" y="1539233"/>
                      </a:lnTo>
                      <a:lnTo>
                        <a:pt x="653744" y="1540075"/>
                      </a:lnTo>
                      <a:lnTo>
                        <a:pt x="652082" y="1541210"/>
                      </a:lnTo>
                      <a:lnTo>
                        <a:pt x="651040" y="1540596"/>
                      </a:lnTo>
                      <a:lnTo>
                        <a:pt x="651302" y="1541763"/>
                      </a:lnTo>
                      <a:lnTo>
                        <a:pt x="650210" y="1543796"/>
                      </a:lnTo>
                      <a:lnTo>
                        <a:pt x="650324" y="1546532"/>
                      </a:lnTo>
                      <a:lnTo>
                        <a:pt x="650403" y="1548081"/>
                      </a:lnTo>
                      <a:lnTo>
                        <a:pt x="648825" y="1547808"/>
                      </a:lnTo>
                      <a:lnTo>
                        <a:pt x="648788" y="1548635"/>
                      </a:lnTo>
                      <a:lnTo>
                        <a:pt x="649545" y="1549405"/>
                      </a:lnTo>
                      <a:lnTo>
                        <a:pt x="648515" y="1549288"/>
                      </a:lnTo>
                      <a:lnTo>
                        <a:pt x="647003" y="1550066"/>
                      </a:lnTo>
                      <a:lnTo>
                        <a:pt x="645715" y="1548775"/>
                      </a:lnTo>
                      <a:lnTo>
                        <a:pt x="643233" y="1547866"/>
                      </a:lnTo>
                      <a:lnTo>
                        <a:pt x="641239" y="1546638"/>
                      </a:lnTo>
                      <a:lnTo>
                        <a:pt x="637770" y="1545289"/>
                      </a:lnTo>
                      <a:lnTo>
                        <a:pt x="636905" y="1543519"/>
                      </a:lnTo>
                      <a:lnTo>
                        <a:pt x="634785" y="1543118"/>
                      </a:lnTo>
                      <a:lnTo>
                        <a:pt x="633479" y="1542497"/>
                      </a:lnTo>
                      <a:lnTo>
                        <a:pt x="631922" y="1543023"/>
                      </a:lnTo>
                      <a:lnTo>
                        <a:pt x="630757" y="1543155"/>
                      </a:lnTo>
                      <a:lnTo>
                        <a:pt x="630363" y="1542313"/>
                      </a:lnTo>
                      <a:lnTo>
                        <a:pt x="629280" y="1541948"/>
                      </a:lnTo>
                      <a:lnTo>
                        <a:pt x="629201" y="1539624"/>
                      </a:lnTo>
                      <a:lnTo>
                        <a:pt x="628321" y="1537859"/>
                      </a:lnTo>
                      <a:lnTo>
                        <a:pt x="627897" y="1536024"/>
                      </a:lnTo>
                      <a:lnTo>
                        <a:pt x="629137" y="1534243"/>
                      </a:lnTo>
                      <a:lnTo>
                        <a:pt x="631342" y="1533074"/>
                      </a:lnTo>
                      <a:lnTo>
                        <a:pt x="631674" y="1531842"/>
                      </a:lnTo>
                      <a:lnTo>
                        <a:pt x="633957" y="1530594"/>
                      </a:lnTo>
                      <a:lnTo>
                        <a:pt x="634968" y="1528474"/>
                      </a:lnTo>
                      <a:lnTo>
                        <a:pt x="635637" y="1525186"/>
                      </a:lnTo>
                      <a:lnTo>
                        <a:pt x="634990" y="1523673"/>
                      </a:lnTo>
                      <a:lnTo>
                        <a:pt x="634842" y="1522346"/>
                      </a:lnTo>
                      <a:lnTo>
                        <a:pt x="633966" y="1518257"/>
                      </a:lnTo>
                      <a:lnTo>
                        <a:pt x="632671" y="1512332"/>
                      </a:lnTo>
                      <a:lnTo>
                        <a:pt x="631036" y="1504238"/>
                      </a:lnTo>
                      <a:lnTo>
                        <a:pt x="626725" y="1494936"/>
                      </a:lnTo>
                      <a:lnTo>
                        <a:pt x="622573" y="1490456"/>
                      </a:lnTo>
                      <a:lnTo>
                        <a:pt x="618431" y="1487147"/>
                      </a:lnTo>
                      <a:lnTo>
                        <a:pt x="616321" y="1487194"/>
                      </a:lnTo>
                      <a:lnTo>
                        <a:pt x="614342" y="1486481"/>
                      </a:lnTo>
                      <a:lnTo>
                        <a:pt x="612307" y="1487183"/>
                      </a:lnTo>
                      <a:lnTo>
                        <a:pt x="611122" y="1486641"/>
                      </a:lnTo>
                      <a:lnTo>
                        <a:pt x="609129" y="1486563"/>
                      </a:lnTo>
                      <a:lnTo>
                        <a:pt x="608103" y="1487073"/>
                      </a:lnTo>
                      <a:lnTo>
                        <a:pt x="603791" y="1486661"/>
                      </a:lnTo>
                      <a:lnTo>
                        <a:pt x="599231" y="1485903"/>
                      </a:lnTo>
                      <a:lnTo>
                        <a:pt x="597781" y="1485960"/>
                      </a:lnTo>
                      <a:lnTo>
                        <a:pt x="597213" y="1486850"/>
                      </a:lnTo>
                      <a:lnTo>
                        <a:pt x="596818" y="1487316"/>
                      </a:lnTo>
                      <a:lnTo>
                        <a:pt x="594830" y="1486905"/>
                      </a:lnTo>
                      <a:lnTo>
                        <a:pt x="592613" y="1487210"/>
                      </a:lnTo>
                      <a:lnTo>
                        <a:pt x="588997" y="1486409"/>
                      </a:lnTo>
                      <a:lnTo>
                        <a:pt x="586177" y="1486346"/>
                      </a:lnTo>
                      <a:lnTo>
                        <a:pt x="584754" y="1487377"/>
                      </a:lnTo>
                      <a:lnTo>
                        <a:pt x="582044" y="1487558"/>
                      </a:lnTo>
                      <a:lnTo>
                        <a:pt x="580352" y="1487799"/>
                      </a:lnTo>
                      <a:lnTo>
                        <a:pt x="579570" y="1488145"/>
                      </a:lnTo>
                      <a:lnTo>
                        <a:pt x="579196" y="1489050"/>
                      </a:lnTo>
                      <a:lnTo>
                        <a:pt x="578540" y="1489553"/>
                      </a:lnTo>
                      <a:lnTo>
                        <a:pt x="578245" y="1490317"/>
                      </a:lnTo>
                      <a:lnTo>
                        <a:pt x="577770" y="1490389"/>
                      </a:lnTo>
                      <a:lnTo>
                        <a:pt x="576741" y="1490670"/>
                      </a:lnTo>
                      <a:lnTo>
                        <a:pt x="576411" y="1491333"/>
                      </a:lnTo>
                      <a:lnTo>
                        <a:pt x="575901" y="1491597"/>
                      </a:lnTo>
                      <a:lnTo>
                        <a:pt x="573047" y="1487510"/>
                      </a:lnTo>
                      <a:lnTo>
                        <a:pt x="569912" y="1484969"/>
                      </a:lnTo>
                      <a:lnTo>
                        <a:pt x="568362" y="1484727"/>
                      </a:lnTo>
                      <a:lnTo>
                        <a:pt x="566424" y="1484033"/>
                      </a:lnTo>
                      <a:lnTo>
                        <a:pt x="563560" y="1483663"/>
                      </a:lnTo>
                      <a:lnTo>
                        <a:pt x="562290" y="1483291"/>
                      </a:lnTo>
                      <a:lnTo>
                        <a:pt x="560424" y="1483080"/>
                      </a:lnTo>
                      <a:lnTo>
                        <a:pt x="559576" y="1482358"/>
                      </a:lnTo>
                      <a:lnTo>
                        <a:pt x="558205" y="1481977"/>
                      </a:lnTo>
                      <a:lnTo>
                        <a:pt x="557049" y="1482393"/>
                      </a:lnTo>
                      <a:lnTo>
                        <a:pt x="554511" y="1481379"/>
                      </a:lnTo>
                      <a:lnTo>
                        <a:pt x="551236" y="1479032"/>
                      </a:lnTo>
                      <a:lnTo>
                        <a:pt x="548334" y="1477732"/>
                      </a:lnTo>
                      <a:lnTo>
                        <a:pt x="546673" y="1477539"/>
                      </a:lnTo>
                      <a:lnTo>
                        <a:pt x="542549" y="1474076"/>
                      </a:lnTo>
                      <a:lnTo>
                        <a:pt x="539070" y="1473503"/>
                      </a:lnTo>
                      <a:lnTo>
                        <a:pt x="535078" y="1470515"/>
                      </a:lnTo>
                      <a:lnTo>
                        <a:pt x="533522" y="1469989"/>
                      </a:lnTo>
                      <a:lnTo>
                        <a:pt x="531004" y="1469165"/>
                      </a:lnTo>
                      <a:lnTo>
                        <a:pt x="530567" y="1469188"/>
                      </a:lnTo>
                      <a:lnTo>
                        <a:pt x="530514" y="1469620"/>
                      </a:lnTo>
                      <a:lnTo>
                        <a:pt x="531271" y="1470026"/>
                      </a:lnTo>
                      <a:lnTo>
                        <a:pt x="533312" y="1470675"/>
                      </a:lnTo>
                      <a:lnTo>
                        <a:pt x="532246" y="1471425"/>
                      </a:lnTo>
                      <a:lnTo>
                        <a:pt x="528987" y="1470102"/>
                      </a:lnTo>
                      <a:lnTo>
                        <a:pt x="525604" y="1467002"/>
                      </a:lnTo>
                      <a:lnTo>
                        <a:pt x="520234" y="1462015"/>
                      </a:lnTo>
                      <a:lnTo>
                        <a:pt x="518647" y="1461481"/>
                      </a:lnTo>
                      <a:lnTo>
                        <a:pt x="518490" y="1461168"/>
                      </a:lnTo>
                      <a:lnTo>
                        <a:pt x="518824" y="1460705"/>
                      </a:lnTo>
                      <a:lnTo>
                        <a:pt x="518790" y="1460498"/>
                      </a:lnTo>
                      <a:lnTo>
                        <a:pt x="518315" y="1459959"/>
                      </a:lnTo>
                      <a:lnTo>
                        <a:pt x="518030" y="1459942"/>
                      </a:lnTo>
                      <a:lnTo>
                        <a:pt x="517747" y="1460712"/>
                      </a:lnTo>
                      <a:lnTo>
                        <a:pt x="517070" y="1461083"/>
                      </a:lnTo>
                      <a:lnTo>
                        <a:pt x="516708" y="1461096"/>
                      </a:lnTo>
                      <a:lnTo>
                        <a:pt x="516393" y="1459678"/>
                      </a:lnTo>
                      <a:lnTo>
                        <a:pt x="515919" y="1458934"/>
                      </a:lnTo>
                      <a:lnTo>
                        <a:pt x="515774" y="1458550"/>
                      </a:lnTo>
                      <a:lnTo>
                        <a:pt x="515264" y="1457019"/>
                      </a:lnTo>
                      <a:lnTo>
                        <a:pt x="514655" y="1455243"/>
                      </a:lnTo>
                      <a:lnTo>
                        <a:pt x="514052" y="1452792"/>
                      </a:lnTo>
                      <a:lnTo>
                        <a:pt x="513170" y="1450212"/>
                      </a:lnTo>
                      <a:lnTo>
                        <a:pt x="512454" y="1447758"/>
                      </a:lnTo>
                      <a:lnTo>
                        <a:pt x="512288" y="1446024"/>
                      </a:lnTo>
                      <a:lnTo>
                        <a:pt x="513227" y="1444852"/>
                      </a:lnTo>
                      <a:lnTo>
                        <a:pt x="512497" y="1444493"/>
                      </a:lnTo>
                      <a:lnTo>
                        <a:pt x="512319" y="1442754"/>
                      </a:lnTo>
                      <a:lnTo>
                        <a:pt x="512347" y="1440856"/>
                      </a:lnTo>
                      <a:lnTo>
                        <a:pt x="510974" y="1438259"/>
                      </a:lnTo>
                      <a:lnTo>
                        <a:pt x="509811" y="1437111"/>
                      </a:lnTo>
                      <a:lnTo>
                        <a:pt x="508848" y="1437093"/>
                      </a:lnTo>
                      <a:lnTo>
                        <a:pt x="507470" y="1437358"/>
                      </a:lnTo>
                      <a:lnTo>
                        <a:pt x="506235" y="1436406"/>
                      </a:lnTo>
                      <a:lnTo>
                        <a:pt x="505287" y="1435339"/>
                      </a:lnTo>
                      <a:lnTo>
                        <a:pt x="504088" y="1434659"/>
                      </a:lnTo>
                      <a:lnTo>
                        <a:pt x="502768" y="1433741"/>
                      </a:lnTo>
                      <a:lnTo>
                        <a:pt x="501542" y="1431181"/>
                      </a:lnTo>
                      <a:lnTo>
                        <a:pt x="500304" y="1430000"/>
                      </a:lnTo>
                      <a:lnTo>
                        <a:pt x="499576" y="1428925"/>
                      </a:lnTo>
                      <a:lnTo>
                        <a:pt x="498754" y="1428150"/>
                      </a:lnTo>
                      <a:lnTo>
                        <a:pt x="498099" y="1427997"/>
                      </a:lnTo>
                      <a:lnTo>
                        <a:pt x="496995" y="1428087"/>
                      </a:lnTo>
                      <a:lnTo>
                        <a:pt x="496197" y="1428272"/>
                      </a:lnTo>
                      <a:lnTo>
                        <a:pt x="495494" y="1428155"/>
                      </a:lnTo>
                      <a:lnTo>
                        <a:pt x="495230" y="1427380"/>
                      </a:lnTo>
                      <a:lnTo>
                        <a:pt x="494421" y="1425873"/>
                      </a:lnTo>
                      <a:lnTo>
                        <a:pt x="493254" y="1424772"/>
                      </a:lnTo>
                      <a:lnTo>
                        <a:pt x="492146" y="1423567"/>
                      </a:lnTo>
                      <a:lnTo>
                        <a:pt x="490721" y="1421449"/>
                      </a:lnTo>
                      <a:lnTo>
                        <a:pt x="489762" y="1420973"/>
                      </a:lnTo>
                      <a:lnTo>
                        <a:pt x="488697" y="1421067"/>
                      </a:lnTo>
                      <a:lnTo>
                        <a:pt x="487647" y="1418520"/>
                      </a:lnTo>
                      <a:lnTo>
                        <a:pt x="486724" y="1417430"/>
                      </a:lnTo>
                      <a:lnTo>
                        <a:pt x="485823" y="1417190"/>
                      </a:lnTo>
                      <a:lnTo>
                        <a:pt x="485231" y="1417005"/>
                      </a:lnTo>
                      <a:lnTo>
                        <a:pt x="484732" y="1417323"/>
                      </a:lnTo>
                      <a:lnTo>
                        <a:pt x="484325" y="1417567"/>
                      </a:lnTo>
                      <a:lnTo>
                        <a:pt x="483933" y="1417508"/>
                      </a:lnTo>
                      <a:lnTo>
                        <a:pt x="483715" y="1417150"/>
                      </a:lnTo>
                      <a:lnTo>
                        <a:pt x="483256" y="1416359"/>
                      </a:lnTo>
                      <a:lnTo>
                        <a:pt x="482618" y="1415863"/>
                      </a:lnTo>
                      <a:lnTo>
                        <a:pt x="481675" y="1415273"/>
                      </a:lnTo>
                      <a:lnTo>
                        <a:pt x="480495" y="1415130"/>
                      </a:lnTo>
                      <a:lnTo>
                        <a:pt x="478359" y="1414513"/>
                      </a:lnTo>
                      <a:lnTo>
                        <a:pt x="477886" y="1413797"/>
                      </a:lnTo>
                      <a:lnTo>
                        <a:pt x="476670" y="1412962"/>
                      </a:lnTo>
                      <a:lnTo>
                        <a:pt x="475542" y="1412746"/>
                      </a:lnTo>
                      <a:lnTo>
                        <a:pt x="473130" y="1409871"/>
                      </a:lnTo>
                      <a:lnTo>
                        <a:pt x="472119" y="1409010"/>
                      </a:lnTo>
                      <a:lnTo>
                        <a:pt x="471334" y="1409120"/>
                      </a:lnTo>
                      <a:lnTo>
                        <a:pt x="470540" y="1409267"/>
                      </a:lnTo>
                      <a:lnTo>
                        <a:pt x="470034" y="1409392"/>
                      </a:lnTo>
                      <a:lnTo>
                        <a:pt x="469143" y="1409190"/>
                      </a:lnTo>
                      <a:lnTo>
                        <a:pt x="467171" y="1407934"/>
                      </a:lnTo>
                      <a:lnTo>
                        <a:pt x="463912" y="1407406"/>
                      </a:lnTo>
                      <a:lnTo>
                        <a:pt x="463199" y="1407786"/>
                      </a:lnTo>
                      <a:lnTo>
                        <a:pt x="462002" y="1407722"/>
                      </a:lnTo>
                      <a:lnTo>
                        <a:pt x="460398" y="1408130"/>
                      </a:lnTo>
                      <a:lnTo>
                        <a:pt x="457419" y="1407696"/>
                      </a:lnTo>
                      <a:lnTo>
                        <a:pt x="454207" y="1407863"/>
                      </a:lnTo>
                      <a:lnTo>
                        <a:pt x="452582" y="1408387"/>
                      </a:lnTo>
                      <a:lnTo>
                        <a:pt x="452093" y="1408858"/>
                      </a:lnTo>
                      <a:lnTo>
                        <a:pt x="451763" y="1409337"/>
                      </a:lnTo>
                      <a:lnTo>
                        <a:pt x="451821" y="1409685"/>
                      </a:lnTo>
                      <a:lnTo>
                        <a:pt x="450183" y="1410056"/>
                      </a:lnTo>
                      <a:lnTo>
                        <a:pt x="449894" y="1410537"/>
                      </a:lnTo>
                      <a:lnTo>
                        <a:pt x="448889" y="1410955"/>
                      </a:lnTo>
                      <a:lnTo>
                        <a:pt x="447012" y="1410851"/>
                      </a:lnTo>
                      <a:lnTo>
                        <a:pt x="445056" y="1410323"/>
                      </a:lnTo>
                      <a:lnTo>
                        <a:pt x="443640" y="1409288"/>
                      </a:lnTo>
                      <a:lnTo>
                        <a:pt x="441960" y="1408775"/>
                      </a:lnTo>
                      <a:lnTo>
                        <a:pt x="437241" y="1406185"/>
                      </a:lnTo>
                      <a:lnTo>
                        <a:pt x="434889" y="1405861"/>
                      </a:lnTo>
                      <a:lnTo>
                        <a:pt x="433956" y="1406117"/>
                      </a:lnTo>
                      <a:lnTo>
                        <a:pt x="430296" y="1405879"/>
                      </a:lnTo>
                      <a:lnTo>
                        <a:pt x="429569" y="1406069"/>
                      </a:lnTo>
                      <a:lnTo>
                        <a:pt x="428782" y="1406374"/>
                      </a:lnTo>
                      <a:lnTo>
                        <a:pt x="428687" y="1406905"/>
                      </a:lnTo>
                      <a:lnTo>
                        <a:pt x="428325" y="1407573"/>
                      </a:lnTo>
                      <a:lnTo>
                        <a:pt x="427931" y="1407974"/>
                      </a:lnTo>
                      <a:lnTo>
                        <a:pt x="426498" y="1406979"/>
                      </a:lnTo>
                      <a:lnTo>
                        <a:pt x="424417" y="1406712"/>
                      </a:lnTo>
                      <a:lnTo>
                        <a:pt x="423440" y="1406774"/>
                      </a:lnTo>
                      <a:lnTo>
                        <a:pt x="422695" y="1407116"/>
                      </a:lnTo>
                      <a:lnTo>
                        <a:pt x="421317" y="1404744"/>
                      </a:lnTo>
                      <a:lnTo>
                        <a:pt x="419772" y="1404392"/>
                      </a:lnTo>
                      <a:lnTo>
                        <a:pt x="416980" y="1401833"/>
                      </a:lnTo>
                      <a:lnTo>
                        <a:pt x="414986" y="1401305"/>
                      </a:lnTo>
                      <a:lnTo>
                        <a:pt x="413743" y="1401274"/>
                      </a:lnTo>
                      <a:lnTo>
                        <a:pt x="412599" y="1401364"/>
                      </a:lnTo>
                      <a:lnTo>
                        <a:pt x="411539" y="1401002"/>
                      </a:lnTo>
                      <a:lnTo>
                        <a:pt x="410874" y="1400240"/>
                      </a:lnTo>
                      <a:lnTo>
                        <a:pt x="409012" y="1398762"/>
                      </a:lnTo>
                      <a:lnTo>
                        <a:pt x="407755" y="1398159"/>
                      </a:lnTo>
                      <a:lnTo>
                        <a:pt x="406989" y="1398154"/>
                      </a:lnTo>
                      <a:lnTo>
                        <a:pt x="404215" y="1395909"/>
                      </a:lnTo>
                      <a:lnTo>
                        <a:pt x="402203" y="1396375"/>
                      </a:lnTo>
                      <a:lnTo>
                        <a:pt x="400149" y="1395239"/>
                      </a:lnTo>
                      <a:lnTo>
                        <a:pt x="391465" y="1395423"/>
                      </a:lnTo>
                      <a:lnTo>
                        <a:pt x="385440" y="1392462"/>
                      </a:lnTo>
                      <a:lnTo>
                        <a:pt x="379361" y="1392536"/>
                      </a:lnTo>
                      <a:lnTo>
                        <a:pt x="360444" y="1391481"/>
                      </a:lnTo>
                      <a:lnTo>
                        <a:pt x="339299" y="1393121"/>
                      </a:lnTo>
                      <a:lnTo>
                        <a:pt x="336319" y="1392936"/>
                      </a:lnTo>
                      <a:lnTo>
                        <a:pt x="334494" y="1394336"/>
                      </a:lnTo>
                      <a:lnTo>
                        <a:pt x="331883" y="1392788"/>
                      </a:lnTo>
                      <a:lnTo>
                        <a:pt x="330455" y="1385179"/>
                      </a:lnTo>
                      <a:lnTo>
                        <a:pt x="328709" y="1379571"/>
                      </a:lnTo>
                      <a:lnTo>
                        <a:pt x="325128" y="1376772"/>
                      </a:lnTo>
                      <a:lnTo>
                        <a:pt x="322011" y="1375478"/>
                      </a:lnTo>
                      <a:lnTo>
                        <a:pt x="319351" y="1373025"/>
                      </a:lnTo>
                      <a:lnTo>
                        <a:pt x="316812" y="1372633"/>
                      </a:lnTo>
                      <a:lnTo>
                        <a:pt x="312538" y="1372707"/>
                      </a:lnTo>
                      <a:lnTo>
                        <a:pt x="310590" y="1370689"/>
                      </a:lnTo>
                      <a:lnTo>
                        <a:pt x="309796" y="1368578"/>
                      </a:lnTo>
                      <a:lnTo>
                        <a:pt x="309698" y="1366461"/>
                      </a:lnTo>
                      <a:lnTo>
                        <a:pt x="311158" y="1363762"/>
                      </a:lnTo>
                      <a:lnTo>
                        <a:pt x="313959" y="1358999"/>
                      </a:lnTo>
                      <a:lnTo>
                        <a:pt x="317669" y="1353563"/>
                      </a:lnTo>
                      <a:lnTo>
                        <a:pt x="319664" y="1350063"/>
                      </a:lnTo>
                      <a:lnTo>
                        <a:pt x="321078" y="1345520"/>
                      </a:lnTo>
                      <a:lnTo>
                        <a:pt x="319693" y="1341607"/>
                      </a:lnTo>
                      <a:lnTo>
                        <a:pt x="318719" y="1338282"/>
                      </a:lnTo>
                      <a:lnTo>
                        <a:pt x="317322" y="1335431"/>
                      </a:lnTo>
                      <a:lnTo>
                        <a:pt x="319796" y="1331336"/>
                      </a:lnTo>
                      <a:lnTo>
                        <a:pt x="322849" y="1324749"/>
                      </a:lnTo>
                      <a:lnTo>
                        <a:pt x="324042" y="1320375"/>
                      </a:lnTo>
                      <a:lnTo>
                        <a:pt x="324865" y="1317810"/>
                      </a:lnTo>
                      <a:lnTo>
                        <a:pt x="324190" y="1316064"/>
                      </a:lnTo>
                      <a:lnTo>
                        <a:pt x="322739" y="1315208"/>
                      </a:lnTo>
                      <a:lnTo>
                        <a:pt x="321842" y="1313717"/>
                      </a:lnTo>
                      <a:lnTo>
                        <a:pt x="321765" y="1310809"/>
                      </a:lnTo>
                      <a:lnTo>
                        <a:pt x="320390" y="1309600"/>
                      </a:lnTo>
                      <a:lnTo>
                        <a:pt x="318342" y="1309878"/>
                      </a:lnTo>
                      <a:lnTo>
                        <a:pt x="317866" y="1308260"/>
                      </a:lnTo>
                      <a:lnTo>
                        <a:pt x="319804" y="1303973"/>
                      </a:lnTo>
                      <a:lnTo>
                        <a:pt x="326088" y="1291814"/>
                      </a:lnTo>
                      <a:lnTo>
                        <a:pt x="328717" y="1285757"/>
                      </a:lnTo>
                      <a:lnTo>
                        <a:pt x="330638" y="1278819"/>
                      </a:lnTo>
                      <a:lnTo>
                        <a:pt x="331175" y="1272523"/>
                      </a:lnTo>
                      <a:lnTo>
                        <a:pt x="330927" y="1266884"/>
                      </a:lnTo>
                      <a:lnTo>
                        <a:pt x="329867" y="1265922"/>
                      </a:lnTo>
                      <a:lnTo>
                        <a:pt x="329238" y="1264736"/>
                      </a:lnTo>
                      <a:lnTo>
                        <a:pt x="327284" y="1264639"/>
                      </a:lnTo>
                      <a:lnTo>
                        <a:pt x="326179" y="1264041"/>
                      </a:lnTo>
                      <a:lnTo>
                        <a:pt x="323851" y="1260937"/>
                      </a:lnTo>
                      <a:lnTo>
                        <a:pt x="322764" y="1259929"/>
                      </a:lnTo>
                      <a:lnTo>
                        <a:pt x="320107" y="1259551"/>
                      </a:lnTo>
                      <a:lnTo>
                        <a:pt x="316208" y="1258867"/>
                      </a:lnTo>
                      <a:lnTo>
                        <a:pt x="315084" y="1259785"/>
                      </a:lnTo>
                      <a:lnTo>
                        <a:pt x="314790" y="1261369"/>
                      </a:lnTo>
                      <a:lnTo>
                        <a:pt x="314011" y="1262025"/>
                      </a:lnTo>
                      <a:lnTo>
                        <a:pt x="313110" y="1261771"/>
                      </a:lnTo>
                      <a:lnTo>
                        <a:pt x="309923" y="1258108"/>
                      </a:lnTo>
                      <a:lnTo>
                        <a:pt x="301748" y="1253144"/>
                      </a:lnTo>
                      <a:lnTo>
                        <a:pt x="298402" y="1249084"/>
                      </a:lnTo>
                      <a:lnTo>
                        <a:pt x="297335" y="1247179"/>
                      </a:lnTo>
                      <a:lnTo>
                        <a:pt x="296168" y="1244176"/>
                      </a:lnTo>
                      <a:lnTo>
                        <a:pt x="297396" y="1239932"/>
                      </a:lnTo>
                      <a:lnTo>
                        <a:pt x="299184" y="1237797"/>
                      </a:lnTo>
                      <a:lnTo>
                        <a:pt x="303852" y="1230029"/>
                      </a:lnTo>
                      <a:lnTo>
                        <a:pt x="305921" y="1224431"/>
                      </a:lnTo>
                      <a:lnTo>
                        <a:pt x="306666" y="1227110"/>
                      </a:lnTo>
                      <a:lnTo>
                        <a:pt x="305319" y="1230800"/>
                      </a:lnTo>
                      <a:lnTo>
                        <a:pt x="305396" y="1231763"/>
                      </a:lnTo>
                      <a:lnTo>
                        <a:pt x="307404" y="1231396"/>
                      </a:lnTo>
                      <a:lnTo>
                        <a:pt x="307867" y="1230094"/>
                      </a:lnTo>
                      <a:lnTo>
                        <a:pt x="309675" y="1229422"/>
                      </a:lnTo>
                      <a:lnTo>
                        <a:pt x="309255" y="1228144"/>
                      </a:lnTo>
                      <a:lnTo>
                        <a:pt x="308488" y="1227549"/>
                      </a:lnTo>
                      <a:lnTo>
                        <a:pt x="307683" y="1223623"/>
                      </a:lnTo>
                      <a:lnTo>
                        <a:pt x="306683" y="1222316"/>
                      </a:lnTo>
                      <a:lnTo>
                        <a:pt x="305576" y="1222747"/>
                      </a:lnTo>
                      <a:lnTo>
                        <a:pt x="306228" y="1216533"/>
                      </a:lnTo>
                      <a:lnTo>
                        <a:pt x="305568" y="1213785"/>
                      </a:lnTo>
                      <a:lnTo>
                        <a:pt x="304796" y="1211385"/>
                      </a:lnTo>
                      <a:lnTo>
                        <a:pt x="302179" y="1208396"/>
                      </a:lnTo>
                      <a:lnTo>
                        <a:pt x="296263" y="1208311"/>
                      </a:lnTo>
                      <a:lnTo>
                        <a:pt x="294009" y="1206250"/>
                      </a:lnTo>
                      <a:lnTo>
                        <a:pt x="291172" y="1205429"/>
                      </a:lnTo>
                      <a:lnTo>
                        <a:pt x="287726" y="1205049"/>
                      </a:lnTo>
                      <a:lnTo>
                        <a:pt x="283977" y="1199555"/>
                      </a:lnTo>
                      <a:lnTo>
                        <a:pt x="280279" y="1194045"/>
                      </a:lnTo>
                      <a:lnTo>
                        <a:pt x="276375" y="1187945"/>
                      </a:lnTo>
                      <a:lnTo>
                        <a:pt x="273910" y="1178443"/>
                      </a:lnTo>
                      <a:lnTo>
                        <a:pt x="272178" y="1177520"/>
                      </a:lnTo>
                      <a:lnTo>
                        <a:pt x="270618" y="1173351"/>
                      </a:lnTo>
                      <a:lnTo>
                        <a:pt x="269419" y="1171491"/>
                      </a:lnTo>
                      <a:lnTo>
                        <a:pt x="266861" y="1170384"/>
                      </a:lnTo>
                      <a:lnTo>
                        <a:pt x="265897" y="1170732"/>
                      </a:lnTo>
                      <a:lnTo>
                        <a:pt x="265908" y="1171782"/>
                      </a:lnTo>
                      <a:lnTo>
                        <a:pt x="265311" y="1172016"/>
                      </a:lnTo>
                      <a:lnTo>
                        <a:pt x="262625" y="1168999"/>
                      </a:lnTo>
                      <a:lnTo>
                        <a:pt x="260112" y="1168023"/>
                      </a:lnTo>
                      <a:lnTo>
                        <a:pt x="257565" y="1166851"/>
                      </a:lnTo>
                      <a:lnTo>
                        <a:pt x="255206" y="1165426"/>
                      </a:lnTo>
                      <a:lnTo>
                        <a:pt x="252293" y="1165091"/>
                      </a:lnTo>
                      <a:lnTo>
                        <a:pt x="252924" y="1162103"/>
                      </a:lnTo>
                      <a:lnTo>
                        <a:pt x="252034" y="1159108"/>
                      </a:lnTo>
                      <a:lnTo>
                        <a:pt x="250814" y="1157148"/>
                      </a:lnTo>
                      <a:lnTo>
                        <a:pt x="250198" y="1156004"/>
                      </a:lnTo>
                      <a:lnTo>
                        <a:pt x="250910" y="1146778"/>
                      </a:lnTo>
                      <a:lnTo>
                        <a:pt x="249612" y="1142667"/>
                      </a:lnTo>
                      <a:lnTo>
                        <a:pt x="245851" y="1138026"/>
                      </a:lnTo>
                      <a:lnTo>
                        <a:pt x="243368" y="1135815"/>
                      </a:lnTo>
                      <a:lnTo>
                        <a:pt x="240931" y="1131502"/>
                      </a:lnTo>
                      <a:lnTo>
                        <a:pt x="240682" y="1129525"/>
                      </a:lnTo>
                      <a:lnTo>
                        <a:pt x="238966" y="1128721"/>
                      </a:lnTo>
                      <a:lnTo>
                        <a:pt x="236877" y="1126587"/>
                      </a:lnTo>
                      <a:lnTo>
                        <a:pt x="234339" y="1123194"/>
                      </a:lnTo>
                      <a:lnTo>
                        <a:pt x="235092" y="1120152"/>
                      </a:lnTo>
                      <a:lnTo>
                        <a:pt x="234031" y="1118270"/>
                      </a:lnTo>
                      <a:lnTo>
                        <a:pt x="233814" y="1114964"/>
                      </a:lnTo>
                      <a:lnTo>
                        <a:pt x="233923" y="1111799"/>
                      </a:lnTo>
                      <a:lnTo>
                        <a:pt x="233884" y="1108719"/>
                      </a:lnTo>
                      <a:lnTo>
                        <a:pt x="234072" y="1105736"/>
                      </a:lnTo>
                      <a:lnTo>
                        <a:pt x="232367" y="1101767"/>
                      </a:lnTo>
                      <a:lnTo>
                        <a:pt x="230216" y="1100356"/>
                      </a:lnTo>
                      <a:lnTo>
                        <a:pt x="227590" y="1099249"/>
                      </a:lnTo>
                      <a:lnTo>
                        <a:pt x="223881" y="1098027"/>
                      </a:lnTo>
                      <a:lnTo>
                        <a:pt x="222158" y="1094988"/>
                      </a:lnTo>
                      <a:lnTo>
                        <a:pt x="221156" y="1092254"/>
                      </a:lnTo>
                      <a:lnTo>
                        <a:pt x="221423" y="1089780"/>
                      </a:lnTo>
                      <a:lnTo>
                        <a:pt x="219899" y="1088333"/>
                      </a:lnTo>
                      <a:lnTo>
                        <a:pt x="218626" y="1085873"/>
                      </a:lnTo>
                      <a:lnTo>
                        <a:pt x="217965" y="1080595"/>
                      </a:lnTo>
                      <a:lnTo>
                        <a:pt x="216485" y="1078563"/>
                      </a:lnTo>
                      <a:lnTo>
                        <a:pt x="214958" y="1074957"/>
                      </a:lnTo>
                      <a:lnTo>
                        <a:pt x="212701" y="1071122"/>
                      </a:lnTo>
                      <a:lnTo>
                        <a:pt x="210683" y="1069323"/>
                      </a:lnTo>
                      <a:lnTo>
                        <a:pt x="209543" y="1067305"/>
                      </a:lnTo>
                      <a:lnTo>
                        <a:pt x="206346" y="1064144"/>
                      </a:lnTo>
                      <a:lnTo>
                        <a:pt x="203117" y="1061441"/>
                      </a:lnTo>
                      <a:lnTo>
                        <a:pt x="199538" y="1058458"/>
                      </a:lnTo>
                      <a:lnTo>
                        <a:pt x="197222" y="1056786"/>
                      </a:lnTo>
                      <a:lnTo>
                        <a:pt x="195387" y="1057020"/>
                      </a:lnTo>
                      <a:lnTo>
                        <a:pt x="193460" y="1055624"/>
                      </a:lnTo>
                      <a:lnTo>
                        <a:pt x="192235" y="1053706"/>
                      </a:lnTo>
                      <a:lnTo>
                        <a:pt x="191971" y="1051827"/>
                      </a:lnTo>
                      <a:lnTo>
                        <a:pt x="191694" y="1049421"/>
                      </a:lnTo>
                      <a:lnTo>
                        <a:pt x="190952" y="1048075"/>
                      </a:lnTo>
                      <a:lnTo>
                        <a:pt x="189435" y="1047271"/>
                      </a:lnTo>
                      <a:lnTo>
                        <a:pt x="188133" y="1045918"/>
                      </a:lnTo>
                      <a:lnTo>
                        <a:pt x="187397" y="1044128"/>
                      </a:lnTo>
                      <a:lnTo>
                        <a:pt x="184764" y="1043024"/>
                      </a:lnTo>
                      <a:lnTo>
                        <a:pt x="185768" y="1041364"/>
                      </a:lnTo>
                      <a:lnTo>
                        <a:pt x="186119" y="1038827"/>
                      </a:lnTo>
                      <a:lnTo>
                        <a:pt x="186804" y="1038137"/>
                      </a:lnTo>
                      <a:lnTo>
                        <a:pt x="187092" y="1036971"/>
                      </a:lnTo>
                      <a:lnTo>
                        <a:pt x="186661" y="1035969"/>
                      </a:lnTo>
                      <a:lnTo>
                        <a:pt x="186540" y="1034335"/>
                      </a:lnTo>
                      <a:lnTo>
                        <a:pt x="186533" y="1032626"/>
                      </a:lnTo>
                      <a:lnTo>
                        <a:pt x="186596" y="1030872"/>
                      </a:lnTo>
                      <a:lnTo>
                        <a:pt x="186776" y="1029903"/>
                      </a:lnTo>
                      <a:lnTo>
                        <a:pt x="187378" y="1028601"/>
                      </a:lnTo>
                      <a:lnTo>
                        <a:pt x="187244" y="1027870"/>
                      </a:lnTo>
                      <a:lnTo>
                        <a:pt x="187243" y="1026429"/>
                      </a:lnTo>
                      <a:lnTo>
                        <a:pt x="186583" y="1025160"/>
                      </a:lnTo>
                      <a:lnTo>
                        <a:pt x="186607" y="1022876"/>
                      </a:lnTo>
                      <a:lnTo>
                        <a:pt x="187278" y="1021535"/>
                      </a:lnTo>
                      <a:lnTo>
                        <a:pt x="187114" y="1020219"/>
                      </a:lnTo>
                      <a:lnTo>
                        <a:pt x="186218" y="1016961"/>
                      </a:lnTo>
                      <a:lnTo>
                        <a:pt x="186316" y="1015723"/>
                      </a:lnTo>
                      <a:lnTo>
                        <a:pt x="186470" y="1014197"/>
                      </a:lnTo>
                      <a:lnTo>
                        <a:pt x="185695" y="1013179"/>
                      </a:lnTo>
                      <a:lnTo>
                        <a:pt x="185425" y="1009892"/>
                      </a:lnTo>
                      <a:lnTo>
                        <a:pt x="185419" y="1008844"/>
                      </a:lnTo>
                      <a:lnTo>
                        <a:pt x="186199" y="1008028"/>
                      </a:lnTo>
                      <a:lnTo>
                        <a:pt x="186342" y="1006921"/>
                      </a:lnTo>
                      <a:lnTo>
                        <a:pt x="186305" y="1006395"/>
                      </a:lnTo>
                      <a:lnTo>
                        <a:pt x="186860" y="1005307"/>
                      </a:lnTo>
                      <a:lnTo>
                        <a:pt x="185848" y="1004803"/>
                      </a:lnTo>
                      <a:lnTo>
                        <a:pt x="184874" y="1004104"/>
                      </a:lnTo>
                      <a:lnTo>
                        <a:pt x="185324" y="1003206"/>
                      </a:lnTo>
                      <a:lnTo>
                        <a:pt x="186448" y="1003126"/>
                      </a:lnTo>
                      <a:lnTo>
                        <a:pt x="187647" y="1003378"/>
                      </a:lnTo>
                      <a:lnTo>
                        <a:pt x="189589" y="1003345"/>
                      </a:lnTo>
                      <a:lnTo>
                        <a:pt x="189785" y="1001987"/>
                      </a:lnTo>
                      <a:lnTo>
                        <a:pt x="189803" y="1000808"/>
                      </a:lnTo>
                      <a:lnTo>
                        <a:pt x="189348" y="1000657"/>
                      </a:lnTo>
                      <a:lnTo>
                        <a:pt x="189204" y="999603"/>
                      </a:lnTo>
                      <a:lnTo>
                        <a:pt x="189991" y="999115"/>
                      </a:lnTo>
                      <a:lnTo>
                        <a:pt x="190128" y="997680"/>
                      </a:lnTo>
                      <a:lnTo>
                        <a:pt x="190064" y="996562"/>
                      </a:lnTo>
                      <a:lnTo>
                        <a:pt x="189085" y="996977"/>
                      </a:lnTo>
                      <a:lnTo>
                        <a:pt x="188904" y="996119"/>
                      </a:lnTo>
                      <a:lnTo>
                        <a:pt x="188417" y="995768"/>
                      </a:lnTo>
                      <a:lnTo>
                        <a:pt x="187668" y="996061"/>
                      </a:lnTo>
                      <a:lnTo>
                        <a:pt x="187075" y="996624"/>
                      </a:lnTo>
                      <a:lnTo>
                        <a:pt x="185008" y="994761"/>
                      </a:lnTo>
                      <a:lnTo>
                        <a:pt x="184053" y="993604"/>
                      </a:lnTo>
                      <a:lnTo>
                        <a:pt x="183954" y="991963"/>
                      </a:lnTo>
                      <a:lnTo>
                        <a:pt x="185065" y="991948"/>
                      </a:lnTo>
                      <a:lnTo>
                        <a:pt x="186121" y="991865"/>
                      </a:lnTo>
                      <a:lnTo>
                        <a:pt x="186495" y="990638"/>
                      </a:lnTo>
                      <a:lnTo>
                        <a:pt x="187264" y="989167"/>
                      </a:lnTo>
                      <a:lnTo>
                        <a:pt x="188327" y="987251"/>
                      </a:lnTo>
                      <a:lnTo>
                        <a:pt x="188962" y="986822"/>
                      </a:lnTo>
                      <a:lnTo>
                        <a:pt x="189706" y="987643"/>
                      </a:lnTo>
                      <a:lnTo>
                        <a:pt x="190599" y="986242"/>
                      </a:lnTo>
                      <a:lnTo>
                        <a:pt x="191575" y="984781"/>
                      </a:lnTo>
                      <a:lnTo>
                        <a:pt x="192057" y="983363"/>
                      </a:lnTo>
                      <a:lnTo>
                        <a:pt x="192836" y="982547"/>
                      </a:lnTo>
                      <a:lnTo>
                        <a:pt x="194023" y="982864"/>
                      </a:lnTo>
                      <a:lnTo>
                        <a:pt x="195097" y="983764"/>
                      </a:lnTo>
                      <a:lnTo>
                        <a:pt x="195003" y="984611"/>
                      </a:lnTo>
                      <a:lnTo>
                        <a:pt x="195940" y="985506"/>
                      </a:lnTo>
                      <a:lnTo>
                        <a:pt x="197451" y="986296"/>
                      </a:lnTo>
                      <a:lnTo>
                        <a:pt x="198055" y="987830"/>
                      </a:lnTo>
                      <a:lnTo>
                        <a:pt x="198904" y="989836"/>
                      </a:lnTo>
                      <a:lnTo>
                        <a:pt x="200230" y="989829"/>
                      </a:lnTo>
                      <a:lnTo>
                        <a:pt x="201758" y="989114"/>
                      </a:lnTo>
                      <a:lnTo>
                        <a:pt x="204715" y="987090"/>
                      </a:lnTo>
                      <a:lnTo>
                        <a:pt x="207792" y="984419"/>
                      </a:lnTo>
                      <a:lnTo>
                        <a:pt x="210290" y="980865"/>
                      </a:lnTo>
                      <a:lnTo>
                        <a:pt x="213349" y="976179"/>
                      </a:lnTo>
                      <a:lnTo>
                        <a:pt x="215478" y="969861"/>
                      </a:lnTo>
                      <a:lnTo>
                        <a:pt x="216953" y="966529"/>
                      </a:lnTo>
                      <a:lnTo>
                        <a:pt x="218625" y="967917"/>
                      </a:lnTo>
                      <a:lnTo>
                        <a:pt x="222602" y="969842"/>
                      </a:lnTo>
                      <a:lnTo>
                        <a:pt x="223314" y="968401"/>
                      </a:lnTo>
                      <a:lnTo>
                        <a:pt x="222737" y="967458"/>
                      </a:lnTo>
                      <a:lnTo>
                        <a:pt x="222326" y="966718"/>
                      </a:lnTo>
                      <a:lnTo>
                        <a:pt x="221520" y="966941"/>
                      </a:lnTo>
                      <a:lnTo>
                        <a:pt x="220239" y="966750"/>
                      </a:lnTo>
                      <a:lnTo>
                        <a:pt x="219416" y="965990"/>
                      </a:lnTo>
                      <a:lnTo>
                        <a:pt x="218893" y="965114"/>
                      </a:lnTo>
                      <a:lnTo>
                        <a:pt x="217806" y="964278"/>
                      </a:lnTo>
                      <a:lnTo>
                        <a:pt x="219791" y="959068"/>
                      </a:lnTo>
                      <a:lnTo>
                        <a:pt x="222146" y="954464"/>
                      </a:lnTo>
                      <a:lnTo>
                        <a:pt x="221203" y="948950"/>
                      </a:lnTo>
                      <a:lnTo>
                        <a:pt x="216603" y="931902"/>
                      </a:lnTo>
                      <a:lnTo>
                        <a:pt x="213647" y="926660"/>
                      </a:lnTo>
                      <a:lnTo>
                        <a:pt x="211454" y="923888"/>
                      </a:lnTo>
                      <a:lnTo>
                        <a:pt x="207066" y="921855"/>
                      </a:lnTo>
                      <a:lnTo>
                        <a:pt x="204417" y="922970"/>
                      </a:lnTo>
                      <a:lnTo>
                        <a:pt x="202304" y="924897"/>
                      </a:lnTo>
                      <a:lnTo>
                        <a:pt x="200515" y="925534"/>
                      </a:lnTo>
                      <a:lnTo>
                        <a:pt x="197735" y="924454"/>
                      </a:lnTo>
                      <a:lnTo>
                        <a:pt x="195919" y="923847"/>
                      </a:lnTo>
                      <a:lnTo>
                        <a:pt x="193743" y="923616"/>
                      </a:lnTo>
                      <a:lnTo>
                        <a:pt x="193021" y="924107"/>
                      </a:lnTo>
                      <a:lnTo>
                        <a:pt x="193033" y="924762"/>
                      </a:lnTo>
                      <a:lnTo>
                        <a:pt x="192650" y="925660"/>
                      </a:lnTo>
                      <a:lnTo>
                        <a:pt x="191292" y="925140"/>
                      </a:lnTo>
                      <a:lnTo>
                        <a:pt x="189273" y="925896"/>
                      </a:lnTo>
                      <a:lnTo>
                        <a:pt x="187178" y="925604"/>
                      </a:lnTo>
                      <a:lnTo>
                        <a:pt x="184268" y="924882"/>
                      </a:lnTo>
                      <a:lnTo>
                        <a:pt x="180663" y="923801"/>
                      </a:lnTo>
                      <a:lnTo>
                        <a:pt x="178742" y="922275"/>
                      </a:lnTo>
                      <a:lnTo>
                        <a:pt x="176713" y="921658"/>
                      </a:lnTo>
                      <a:lnTo>
                        <a:pt x="176023" y="919863"/>
                      </a:lnTo>
                      <a:lnTo>
                        <a:pt x="174381" y="919395"/>
                      </a:lnTo>
                      <a:lnTo>
                        <a:pt x="171535" y="915870"/>
                      </a:lnTo>
                      <a:lnTo>
                        <a:pt x="167990" y="911167"/>
                      </a:lnTo>
                      <a:lnTo>
                        <a:pt x="166064" y="910091"/>
                      </a:lnTo>
                      <a:lnTo>
                        <a:pt x="165856" y="907197"/>
                      </a:lnTo>
                      <a:lnTo>
                        <a:pt x="162773" y="903462"/>
                      </a:lnTo>
                      <a:lnTo>
                        <a:pt x="161667" y="900208"/>
                      </a:lnTo>
                      <a:lnTo>
                        <a:pt x="160270" y="896419"/>
                      </a:lnTo>
                      <a:lnTo>
                        <a:pt x="159237" y="894936"/>
                      </a:lnTo>
                      <a:lnTo>
                        <a:pt x="158392" y="893591"/>
                      </a:lnTo>
                      <a:lnTo>
                        <a:pt x="157015" y="892481"/>
                      </a:lnTo>
                      <a:lnTo>
                        <a:pt x="155409" y="892541"/>
                      </a:lnTo>
                      <a:lnTo>
                        <a:pt x="153947" y="892931"/>
                      </a:lnTo>
                      <a:lnTo>
                        <a:pt x="152444" y="891751"/>
                      </a:lnTo>
                      <a:lnTo>
                        <a:pt x="153358" y="888850"/>
                      </a:lnTo>
                      <a:lnTo>
                        <a:pt x="150765" y="885789"/>
                      </a:lnTo>
                      <a:lnTo>
                        <a:pt x="151047" y="883647"/>
                      </a:lnTo>
                      <a:lnTo>
                        <a:pt x="150296" y="881456"/>
                      </a:lnTo>
                      <a:lnTo>
                        <a:pt x="148537" y="879803"/>
                      </a:lnTo>
                      <a:lnTo>
                        <a:pt x="146611" y="879716"/>
                      </a:lnTo>
                      <a:lnTo>
                        <a:pt x="145901" y="877345"/>
                      </a:lnTo>
                      <a:lnTo>
                        <a:pt x="146316" y="873439"/>
                      </a:lnTo>
                      <a:lnTo>
                        <a:pt x="146352" y="871480"/>
                      </a:lnTo>
                      <a:lnTo>
                        <a:pt x="145786" y="870146"/>
                      </a:lnTo>
                      <a:lnTo>
                        <a:pt x="146297" y="866834"/>
                      </a:lnTo>
                      <a:lnTo>
                        <a:pt x="148243" y="863980"/>
                      </a:lnTo>
                      <a:lnTo>
                        <a:pt x="149781" y="859341"/>
                      </a:lnTo>
                      <a:lnTo>
                        <a:pt x="152478" y="851263"/>
                      </a:lnTo>
                      <a:lnTo>
                        <a:pt x="153635" y="847852"/>
                      </a:lnTo>
                      <a:lnTo>
                        <a:pt x="152566" y="846954"/>
                      </a:lnTo>
                      <a:lnTo>
                        <a:pt x="152607" y="844994"/>
                      </a:lnTo>
                      <a:lnTo>
                        <a:pt x="151362" y="838990"/>
                      </a:lnTo>
                      <a:lnTo>
                        <a:pt x="150386" y="833390"/>
                      </a:lnTo>
                      <a:lnTo>
                        <a:pt x="151376" y="826336"/>
                      </a:lnTo>
                      <a:lnTo>
                        <a:pt x="150133" y="822583"/>
                      </a:lnTo>
                      <a:lnTo>
                        <a:pt x="148001" y="821283"/>
                      </a:lnTo>
                      <a:lnTo>
                        <a:pt x="146968" y="821237"/>
                      </a:lnTo>
                      <a:lnTo>
                        <a:pt x="145679" y="821440"/>
                      </a:lnTo>
                      <a:lnTo>
                        <a:pt x="145280" y="822404"/>
                      </a:lnTo>
                      <a:lnTo>
                        <a:pt x="144584" y="822765"/>
                      </a:lnTo>
                      <a:lnTo>
                        <a:pt x="144672" y="821265"/>
                      </a:lnTo>
                      <a:lnTo>
                        <a:pt x="143410" y="819576"/>
                      </a:lnTo>
                      <a:lnTo>
                        <a:pt x="143079" y="815640"/>
                      </a:lnTo>
                      <a:lnTo>
                        <a:pt x="144117" y="813204"/>
                      </a:lnTo>
                      <a:lnTo>
                        <a:pt x="145217" y="810447"/>
                      </a:lnTo>
                      <a:lnTo>
                        <a:pt x="145007" y="808017"/>
                      </a:lnTo>
                      <a:lnTo>
                        <a:pt x="145834" y="805244"/>
                      </a:lnTo>
                      <a:lnTo>
                        <a:pt x="145481" y="804575"/>
                      </a:lnTo>
                      <a:lnTo>
                        <a:pt x="146276" y="804414"/>
                      </a:lnTo>
                      <a:lnTo>
                        <a:pt x="147079" y="803867"/>
                      </a:lnTo>
                      <a:lnTo>
                        <a:pt x="147894" y="803963"/>
                      </a:lnTo>
                      <a:lnTo>
                        <a:pt x="148711" y="803346"/>
                      </a:lnTo>
                      <a:lnTo>
                        <a:pt x="149180" y="802387"/>
                      </a:lnTo>
                      <a:lnTo>
                        <a:pt x="150931" y="798811"/>
                      </a:lnTo>
                      <a:lnTo>
                        <a:pt x="152765" y="792065"/>
                      </a:lnTo>
                      <a:lnTo>
                        <a:pt x="153371" y="785142"/>
                      </a:lnTo>
                      <a:lnTo>
                        <a:pt x="153322" y="781225"/>
                      </a:lnTo>
                      <a:lnTo>
                        <a:pt x="153754" y="776283"/>
                      </a:lnTo>
                      <a:lnTo>
                        <a:pt x="154786" y="771108"/>
                      </a:lnTo>
                      <a:lnTo>
                        <a:pt x="156408" y="770276"/>
                      </a:lnTo>
                      <a:lnTo>
                        <a:pt x="157661" y="770266"/>
                      </a:lnTo>
                      <a:lnTo>
                        <a:pt x="159576" y="769755"/>
                      </a:lnTo>
                      <a:lnTo>
                        <a:pt x="161862" y="766330"/>
                      </a:lnTo>
                      <a:lnTo>
                        <a:pt x="163581" y="767456"/>
                      </a:lnTo>
                      <a:lnTo>
                        <a:pt x="170494" y="766984"/>
                      </a:lnTo>
                      <a:lnTo>
                        <a:pt x="171971" y="767247"/>
                      </a:lnTo>
                      <a:lnTo>
                        <a:pt x="173229" y="768612"/>
                      </a:lnTo>
                      <a:lnTo>
                        <a:pt x="174214" y="770979"/>
                      </a:lnTo>
                      <a:lnTo>
                        <a:pt x="173805" y="773171"/>
                      </a:lnTo>
                      <a:lnTo>
                        <a:pt x="174414" y="774152"/>
                      </a:lnTo>
                      <a:lnTo>
                        <a:pt x="173787" y="775887"/>
                      </a:lnTo>
                      <a:lnTo>
                        <a:pt x="173985" y="777334"/>
                      </a:lnTo>
                      <a:lnTo>
                        <a:pt x="174429" y="778595"/>
                      </a:lnTo>
                      <a:lnTo>
                        <a:pt x="175182" y="780393"/>
                      </a:lnTo>
                      <a:lnTo>
                        <a:pt x="176543" y="782285"/>
                      </a:lnTo>
                      <a:lnTo>
                        <a:pt x="174704" y="784879"/>
                      </a:lnTo>
                      <a:lnTo>
                        <a:pt x="172712" y="784395"/>
                      </a:lnTo>
                      <a:lnTo>
                        <a:pt x="171838" y="785988"/>
                      </a:lnTo>
                      <a:lnTo>
                        <a:pt x="170021" y="785315"/>
                      </a:lnTo>
                      <a:lnTo>
                        <a:pt x="169248" y="791291"/>
                      </a:lnTo>
                      <a:lnTo>
                        <a:pt x="170395" y="791475"/>
                      </a:lnTo>
                      <a:lnTo>
                        <a:pt x="169838" y="793213"/>
                      </a:lnTo>
                      <a:lnTo>
                        <a:pt x="170243" y="795390"/>
                      </a:lnTo>
                      <a:lnTo>
                        <a:pt x="168938" y="796702"/>
                      </a:lnTo>
                      <a:lnTo>
                        <a:pt x="168020" y="798573"/>
                      </a:lnTo>
                      <a:lnTo>
                        <a:pt x="167893" y="799511"/>
                      </a:lnTo>
                      <a:lnTo>
                        <a:pt x="170703" y="800517"/>
                      </a:lnTo>
                      <a:lnTo>
                        <a:pt x="171540" y="803093"/>
                      </a:lnTo>
                      <a:lnTo>
                        <a:pt x="170544" y="803926"/>
                      </a:lnTo>
                      <a:lnTo>
                        <a:pt x="168969" y="802977"/>
                      </a:lnTo>
                      <a:lnTo>
                        <a:pt x="168148" y="804504"/>
                      </a:lnTo>
                      <a:lnTo>
                        <a:pt x="169722" y="805454"/>
                      </a:lnTo>
                      <a:lnTo>
                        <a:pt x="169987" y="806735"/>
                      </a:lnTo>
                      <a:lnTo>
                        <a:pt x="174049" y="807699"/>
                      </a:lnTo>
                      <a:lnTo>
                        <a:pt x="176106" y="807793"/>
                      </a:lnTo>
                      <a:lnTo>
                        <a:pt x="175998" y="808861"/>
                      </a:lnTo>
                      <a:lnTo>
                        <a:pt x="178196" y="810329"/>
                      </a:lnTo>
                      <a:lnTo>
                        <a:pt x="180466" y="810922"/>
                      </a:lnTo>
                      <a:lnTo>
                        <a:pt x="184124" y="811810"/>
                      </a:lnTo>
                      <a:lnTo>
                        <a:pt x="185016" y="812516"/>
                      </a:lnTo>
                      <a:lnTo>
                        <a:pt x="185216" y="815242"/>
                      </a:lnTo>
                      <a:lnTo>
                        <a:pt x="185808" y="816441"/>
                      </a:lnTo>
                      <a:lnTo>
                        <a:pt x="187074" y="816924"/>
                      </a:lnTo>
                      <a:lnTo>
                        <a:pt x="189893" y="818065"/>
                      </a:lnTo>
                      <a:lnTo>
                        <a:pt x="191329" y="819079"/>
                      </a:lnTo>
                      <a:lnTo>
                        <a:pt x="191037" y="820546"/>
                      </a:lnTo>
                      <a:lnTo>
                        <a:pt x="189371" y="822100"/>
                      </a:lnTo>
                      <a:lnTo>
                        <a:pt x="191429" y="822660"/>
                      </a:lnTo>
                      <a:lnTo>
                        <a:pt x="192582" y="824179"/>
                      </a:lnTo>
                      <a:lnTo>
                        <a:pt x="194177" y="825035"/>
                      </a:lnTo>
                      <a:lnTo>
                        <a:pt x="196057" y="825234"/>
                      </a:lnTo>
                      <a:lnTo>
                        <a:pt x="197378" y="826568"/>
                      </a:lnTo>
                      <a:lnTo>
                        <a:pt x="199495" y="826538"/>
                      </a:lnTo>
                      <a:lnTo>
                        <a:pt x="200664" y="828979"/>
                      </a:lnTo>
                      <a:lnTo>
                        <a:pt x="201527" y="832232"/>
                      </a:lnTo>
                      <a:lnTo>
                        <a:pt x="202760" y="834597"/>
                      </a:lnTo>
                      <a:lnTo>
                        <a:pt x="205382" y="835972"/>
                      </a:lnTo>
                      <a:lnTo>
                        <a:pt x="208623" y="836480"/>
                      </a:lnTo>
                      <a:lnTo>
                        <a:pt x="211833" y="836020"/>
                      </a:lnTo>
                      <a:lnTo>
                        <a:pt x="213319" y="833965"/>
                      </a:lnTo>
                      <a:lnTo>
                        <a:pt x="212220" y="833043"/>
                      </a:lnTo>
                      <a:lnTo>
                        <a:pt x="211119" y="832803"/>
                      </a:lnTo>
                      <a:lnTo>
                        <a:pt x="210647" y="832281"/>
                      </a:lnTo>
                      <a:lnTo>
                        <a:pt x="210961" y="831203"/>
                      </a:lnTo>
                      <a:lnTo>
                        <a:pt x="211454" y="829999"/>
                      </a:lnTo>
                      <a:lnTo>
                        <a:pt x="211482" y="829104"/>
                      </a:lnTo>
                      <a:lnTo>
                        <a:pt x="210936" y="827539"/>
                      </a:lnTo>
                      <a:lnTo>
                        <a:pt x="210423" y="826741"/>
                      </a:lnTo>
                      <a:lnTo>
                        <a:pt x="209497" y="826322"/>
                      </a:lnTo>
                      <a:lnTo>
                        <a:pt x="205862" y="826018"/>
                      </a:lnTo>
                      <a:lnTo>
                        <a:pt x="204124" y="823248"/>
                      </a:lnTo>
                      <a:lnTo>
                        <a:pt x="204054" y="818763"/>
                      </a:lnTo>
                      <a:lnTo>
                        <a:pt x="201160" y="811887"/>
                      </a:lnTo>
                      <a:lnTo>
                        <a:pt x="201872" y="805183"/>
                      </a:lnTo>
                      <a:lnTo>
                        <a:pt x="202375" y="796419"/>
                      </a:lnTo>
                      <a:lnTo>
                        <a:pt x="200153" y="791432"/>
                      </a:lnTo>
                      <a:lnTo>
                        <a:pt x="199574" y="789647"/>
                      </a:lnTo>
                      <a:lnTo>
                        <a:pt x="197800" y="787611"/>
                      </a:lnTo>
                      <a:lnTo>
                        <a:pt x="196156" y="789585"/>
                      </a:lnTo>
                      <a:lnTo>
                        <a:pt x="191591" y="784880"/>
                      </a:lnTo>
                      <a:lnTo>
                        <a:pt x="190885" y="781136"/>
                      </a:lnTo>
                      <a:lnTo>
                        <a:pt x="193121" y="780359"/>
                      </a:lnTo>
                      <a:lnTo>
                        <a:pt x="198364" y="781681"/>
                      </a:lnTo>
                      <a:lnTo>
                        <a:pt x="198291" y="778942"/>
                      </a:lnTo>
                      <a:lnTo>
                        <a:pt x="197664" y="778666"/>
                      </a:lnTo>
                      <a:lnTo>
                        <a:pt x="196808" y="779380"/>
                      </a:lnTo>
                      <a:lnTo>
                        <a:pt x="194860" y="779228"/>
                      </a:lnTo>
                      <a:lnTo>
                        <a:pt x="190372" y="777477"/>
                      </a:lnTo>
                      <a:lnTo>
                        <a:pt x="188607" y="777239"/>
                      </a:lnTo>
                      <a:lnTo>
                        <a:pt x="187824" y="776480"/>
                      </a:lnTo>
                      <a:lnTo>
                        <a:pt x="186548" y="775440"/>
                      </a:lnTo>
                      <a:lnTo>
                        <a:pt x="187250" y="774131"/>
                      </a:lnTo>
                      <a:lnTo>
                        <a:pt x="185777" y="773804"/>
                      </a:lnTo>
                      <a:lnTo>
                        <a:pt x="185232" y="774604"/>
                      </a:lnTo>
                      <a:lnTo>
                        <a:pt x="182265" y="773228"/>
                      </a:lnTo>
                      <a:lnTo>
                        <a:pt x="183313" y="770748"/>
                      </a:lnTo>
                      <a:lnTo>
                        <a:pt x="184097" y="769978"/>
                      </a:lnTo>
                      <a:lnTo>
                        <a:pt x="184166" y="769498"/>
                      </a:lnTo>
                      <a:lnTo>
                        <a:pt x="183688" y="769328"/>
                      </a:lnTo>
                      <a:lnTo>
                        <a:pt x="182047" y="769385"/>
                      </a:lnTo>
                      <a:lnTo>
                        <a:pt x="181977" y="768698"/>
                      </a:lnTo>
                      <a:lnTo>
                        <a:pt x="183060" y="767968"/>
                      </a:lnTo>
                      <a:lnTo>
                        <a:pt x="184875" y="768248"/>
                      </a:lnTo>
                      <a:lnTo>
                        <a:pt x="186008" y="767225"/>
                      </a:lnTo>
                      <a:lnTo>
                        <a:pt x="184420" y="766372"/>
                      </a:lnTo>
                      <a:lnTo>
                        <a:pt x="185891" y="765757"/>
                      </a:lnTo>
                      <a:lnTo>
                        <a:pt x="188674" y="765785"/>
                      </a:lnTo>
                      <a:lnTo>
                        <a:pt x="189772" y="764958"/>
                      </a:lnTo>
                      <a:lnTo>
                        <a:pt x="189765" y="763497"/>
                      </a:lnTo>
                      <a:lnTo>
                        <a:pt x="189902" y="759211"/>
                      </a:lnTo>
                      <a:lnTo>
                        <a:pt x="187999" y="759416"/>
                      </a:lnTo>
                      <a:lnTo>
                        <a:pt x="188047" y="758149"/>
                      </a:lnTo>
                      <a:lnTo>
                        <a:pt x="189564" y="757829"/>
                      </a:lnTo>
                      <a:lnTo>
                        <a:pt x="189404" y="754992"/>
                      </a:lnTo>
                      <a:lnTo>
                        <a:pt x="188159" y="750838"/>
                      </a:lnTo>
                      <a:lnTo>
                        <a:pt x="185241" y="750895"/>
                      </a:lnTo>
                      <a:lnTo>
                        <a:pt x="182587" y="751163"/>
                      </a:lnTo>
                      <a:lnTo>
                        <a:pt x="178847" y="750111"/>
                      </a:lnTo>
                      <a:lnTo>
                        <a:pt x="179913" y="747917"/>
                      </a:lnTo>
                      <a:lnTo>
                        <a:pt x="178970" y="746409"/>
                      </a:lnTo>
                      <a:lnTo>
                        <a:pt x="177065" y="745541"/>
                      </a:lnTo>
                      <a:lnTo>
                        <a:pt x="176123" y="742474"/>
                      </a:lnTo>
                      <a:lnTo>
                        <a:pt x="175575" y="739522"/>
                      </a:lnTo>
                      <a:lnTo>
                        <a:pt x="177846" y="740114"/>
                      </a:lnTo>
                      <a:lnTo>
                        <a:pt x="179981" y="741384"/>
                      </a:lnTo>
                      <a:lnTo>
                        <a:pt x="181003" y="738894"/>
                      </a:lnTo>
                      <a:lnTo>
                        <a:pt x="185354" y="737437"/>
                      </a:lnTo>
                      <a:lnTo>
                        <a:pt x="187051" y="736248"/>
                      </a:lnTo>
                      <a:lnTo>
                        <a:pt x="186197" y="733277"/>
                      </a:lnTo>
                      <a:lnTo>
                        <a:pt x="187130" y="731758"/>
                      </a:lnTo>
                      <a:lnTo>
                        <a:pt x="189833" y="733135"/>
                      </a:lnTo>
                      <a:lnTo>
                        <a:pt x="191270" y="733665"/>
                      </a:lnTo>
                      <a:lnTo>
                        <a:pt x="193343" y="733591"/>
                      </a:lnTo>
                      <a:lnTo>
                        <a:pt x="194412" y="732783"/>
                      </a:lnTo>
                      <a:lnTo>
                        <a:pt x="197101" y="732819"/>
                      </a:lnTo>
                      <a:lnTo>
                        <a:pt x="200991" y="730649"/>
                      </a:lnTo>
                      <a:lnTo>
                        <a:pt x="201818" y="728144"/>
                      </a:lnTo>
                      <a:lnTo>
                        <a:pt x="203806" y="727066"/>
                      </a:lnTo>
                      <a:lnTo>
                        <a:pt x="206376" y="725572"/>
                      </a:lnTo>
                      <a:lnTo>
                        <a:pt x="209891" y="725317"/>
                      </a:lnTo>
                      <a:lnTo>
                        <a:pt x="213159" y="726514"/>
                      </a:lnTo>
                      <a:lnTo>
                        <a:pt x="215523" y="727698"/>
                      </a:lnTo>
                      <a:lnTo>
                        <a:pt x="217279" y="731476"/>
                      </a:lnTo>
                      <a:lnTo>
                        <a:pt x="220159" y="732524"/>
                      </a:lnTo>
                      <a:lnTo>
                        <a:pt x="223912" y="731829"/>
                      </a:lnTo>
                      <a:lnTo>
                        <a:pt x="231065" y="729034"/>
                      </a:lnTo>
                      <a:lnTo>
                        <a:pt x="235550" y="728473"/>
                      </a:lnTo>
                      <a:lnTo>
                        <a:pt x="243024" y="728549"/>
                      </a:lnTo>
                      <a:lnTo>
                        <a:pt x="252209" y="731433"/>
                      </a:lnTo>
                      <a:lnTo>
                        <a:pt x="259664" y="732690"/>
                      </a:lnTo>
                      <a:lnTo>
                        <a:pt x="260850" y="734015"/>
                      </a:lnTo>
                      <a:lnTo>
                        <a:pt x="266477" y="736540"/>
                      </a:lnTo>
                      <a:lnTo>
                        <a:pt x="274800" y="738619"/>
                      </a:lnTo>
                      <a:lnTo>
                        <a:pt x="279156" y="738261"/>
                      </a:lnTo>
                      <a:lnTo>
                        <a:pt x="282996" y="740091"/>
                      </a:lnTo>
                      <a:lnTo>
                        <a:pt x="286035" y="740692"/>
                      </a:lnTo>
                      <a:lnTo>
                        <a:pt x="287824" y="740860"/>
                      </a:lnTo>
                      <a:lnTo>
                        <a:pt x="289463" y="739482"/>
                      </a:lnTo>
                      <a:lnTo>
                        <a:pt x="287776" y="738028"/>
                      </a:lnTo>
                      <a:lnTo>
                        <a:pt x="285319" y="738291"/>
                      </a:lnTo>
                      <a:lnTo>
                        <a:pt x="283597" y="737518"/>
                      </a:lnTo>
                      <a:lnTo>
                        <a:pt x="284247" y="736382"/>
                      </a:lnTo>
                      <a:lnTo>
                        <a:pt x="286723" y="736021"/>
                      </a:lnTo>
                      <a:lnTo>
                        <a:pt x="288567" y="734690"/>
                      </a:lnTo>
                      <a:lnTo>
                        <a:pt x="290020" y="734568"/>
                      </a:lnTo>
                      <a:lnTo>
                        <a:pt x="290774" y="733981"/>
                      </a:lnTo>
                      <a:lnTo>
                        <a:pt x="291611" y="732482"/>
                      </a:lnTo>
                      <a:lnTo>
                        <a:pt x="292348" y="730702"/>
                      </a:lnTo>
                      <a:lnTo>
                        <a:pt x="292818" y="729211"/>
                      </a:lnTo>
                      <a:lnTo>
                        <a:pt x="293843" y="727773"/>
                      </a:lnTo>
                      <a:lnTo>
                        <a:pt x="295549" y="727375"/>
                      </a:lnTo>
                      <a:lnTo>
                        <a:pt x="298936" y="727754"/>
                      </a:lnTo>
                      <a:lnTo>
                        <a:pt x="301027" y="727391"/>
                      </a:lnTo>
                      <a:lnTo>
                        <a:pt x="301328" y="726432"/>
                      </a:lnTo>
                      <a:lnTo>
                        <a:pt x="302532" y="725821"/>
                      </a:lnTo>
                      <a:lnTo>
                        <a:pt x="304117" y="725820"/>
                      </a:lnTo>
                      <a:lnTo>
                        <a:pt x="305459" y="726833"/>
                      </a:lnTo>
                      <a:lnTo>
                        <a:pt x="307476" y="727435"/>
                      </a:lnTo>
                      <a:lnTo>
                        <a:pt x="307366" y="728988"/>
                      </a:lnTo>
                      <a:lnTo>
                        <a:pt x="307547" y="730655"/>
                      </a:lnTo>
                      <a:lnTo>
                        <a:pt x="306423" y="731571"/>
                      </a:lnTo>
                      <a:lnTo>
                        <a:pt x="305793" y="732610"/>
                      </a:lnTo>
                      <a:lnTo>
                        <a:pt x="303511" y="733076"/>
                      </a:lnTo>
                      <a:lnTo>
                        <a:pt x="302045" y="732610"/>
                      </a:lnTo>
                      <a:lnTo>
                        <a:pt x="300435" y="732331"/>
                      </a:lnTo>
                      <a:lnTo>
                        <a:pt x="298907" y="734202"/>
                      </a:lnTo>
                      <a:lnTo>
                        <a:pt x="297950" y="735322"/>
                      </a:lnTo>
                      <a:lnTo>
                        <a:pt x="298995" y="736839"/>
                      </a:lnTo>
                      <a:lnTo>
                        <a:pt x="299887" y="739615"/>
                      </a:lnTo>
                      <a:lnTo>
                        <a:pt x="300883" y="740349"/>
                      </a:lnTo>
                      <a:lnTo>
                        <a:pt x="302051" y="739727"/>
                      </a:lnTo>
                      <a:lnTo>
                        <a:pt x="304451" y="738682"/>
                      </a:lnTo>
                      <a:lnTo>
                        <a:pt x="305015" y="737444"/>
                      </a:lnTo>
                      <a:lnTo>
                        <a:pt x="305841" y="735440"/>
                      </a:lnTo>
                      <a:lnTo>
                        <a:pt x="306420" y="733618"/>
                      </a:lnTo>
                      <a:lnTo>
                        <a:pt x="306804" y="732760"/>
                      </a:lnTo>
                      <a:lnTo>
                        <a:pt x="308263" y="732252"/>
                      </a:lnTo>
                      <a:lnTo>
                        <a:pt x="309905" y="733897"/>
                      </a:lnTo>
                      <a:lnTo>
                        <a:pt x="311044" y="734444"/>
                      </a:lnTo>
                      <a:lnTo>
                        <a:pt x="312330" y="735292"/>
                      </a:lnTo>
                      <a:lnTo>
                        <a:pt x="313606" y="737211"/>
                      </a:lnTo>
                      <a:lnTo>
                        <a:pt x="315629" y="737514"/>
                      </a:lnTo>
                      <a:lnTo>
                        <a:pt x="316995" y="739292"/>
                      </a:lnTo>
                      <a:lnTo>
                        <a:pt x="319705" y="741046"/>
                      </a:lnTo>
                      <a:lnTo>
                        <a:pt x="322132" y="744493"/>
                      </a:lnTo>
                      <a:lnTo>
                        <a:pt x="323821" y="746168"/>
                      </a:lnTo>
                      <a:lnTo>
                        <a:pt x="324130" y="744819"/>
                      </a:lnTo>
                      <a:lnTo>
                        <a:pt x="322843" y="741682"/>
                      </a:lnTo>
                      <a:lnTo>
                        <a:pt x="321008" y="738515"/>
                      </a:lnTo>
                      <a:lnTo>
                        <a:pt x="319713" y="737033"/>
                      </a:lnTo>
                      <a:lnTo>
                        <a:pt x="317338" y="735928"/>
                      </a:lnTo>
                      <a:lnTo>
                        <a:pt x="316160" y="734909"/>
                      </a:lnTo>
                      <a:lnTo>
                        <a:pt x="314201" y="734805"/>
                      </a:lnTo>
                      <a:lnTo>
                        <a:pt x="314005" y="733723"/>
                      </a:lnTo>
                      <a:lnTo>
                        <a:pt x="313235" y="732902"/>
                      </a:lnTo>
                      <a:lnTo>
                        <a:pt x="312164" y="733041"/>
                      </a:lnTo>
                      <a:lnTo>
                        <a:pt x="311275" y="732800"/>
                      </a:lnTo>
                      <a:lnTo>
                        <a:pt x="309536" y="729590"/>
                      </a:lnTo>
                      <a:lnTo>
                        <a:pt x="309302" y="726652"/>
                      </a:lnTo>
                      <a:lnTo>
                        <a:pt x="307256" y="725533"/>
                      </a:lnTo>
                      <a:lnTo>
                        <a:pt x="304781" y="724706"/>
                      </a:lnTo>
                      <a:lnTo>
                        <a:pt x="301327" y="724449"/>
                      </a:lnTo>
                      <a:lnTo>
                        <a:pt x="300522" y="724811"/>
                      </a:lnTo>
                      <a:lnTo>
                        <a:pt x="299018" y="726283"/>
                      </a:lnTo>
                      <a:lnTo>
                        <a:pt x="298181" y="726567"/>
                      </a:lnTo>
                      <a:lnTo>
                        <a:pt x="297147" y="726156"/>
                      </a:lnTo>
                      <a:lnTo>
                        <a:pt x="296306" y="725486"/>
                      </a:lnTo>
                      <a:lnTo>
                        <a:pt x="295421" y="725124"/>
                      </a:lnTo>
                      <a:lnTo>
                        <a:pt x="292856" y="726091"/>
                      </a:lnTo>
                      <a:lnTo>
                        <a:pt x="291559" y="727805"/>
                      </a:lnTo>
                      <a:lnTo>
                        <a:pt x="290864" y="729121"/>
                      </a:lnTo>
                      <a:lnTo>
                        <a:pt x="290183" y="731520"/>
                      </a:lnTo>
                      <a:lnTo>
                        <a:pt x="288223" y="733308"/>
                      </a:lnTo>
                      <a:lnTo>
                        <a:pt x="284600" y="734927"/>
                      </a:lnTo>
                      <a:lnTo>
                        <a:pt x="280931" y="736589"/>
                      </a:lnTo>
                      <a:lnTo>
                        <a:pt x="277181" y="736105"/>
                      </a:lnTo>
                      <a:lnTo>
                        <a:pt x="275746" y="734961"/>
                      </a:lnTo>
                      <a:lnTo>
                        <a:pt x="275092" y="733565"/>
                      </a:lnTo>
                      <a:lnTo>
                        <a:pt x="275610" y="732033"/>
                      </a:lnTo>
                      <a:lnTo>
                        <a:pt x="276666" y="730428"/>
                      </a:lnTo>
                      <a:lnTo>
                        <a:pt x="278572" y="729258"/>
                      </a:lnTo>
                      <a:lnTo>
                        <a:pt x="280236" y="728757"/>
                      </a:lnTo>
                      <a:lnTo>
                        <a:pt x="282219" y="728236"/>
                      </a:lnTo>
                      <a:lnTo>
                        <a:pt x="283888" y="727858"/>
                      </a:lnTo>
                      <a:lnTo>
                        <a:pt x="287436" y="725617"/>
                      </a:lnTo>
                      <a:lnTo>
                        <a:pt x="290024" y="723506"/>
                      </a:lnTo>
                      <a:lnTo>
                        <a:pt x="293072" y="720451"/>
                      </a:lnTo>
                      <a:lnTo>
                        <a:pt x="294848" y="716354"/>
                      </a:lnTo>
                      <a:lnTo>
                        <a:pt x="293837" y="716205"/>
                      </a:lnTo>
                      <a:lnTo>
                        <a:pt x="290457" y="720512"/>
                      </a:lnTo>
                      <a:lnTo>
                        <a:pt x="287391" y="722789"/>
                      </a:lnTo>
                      <a:lnTo>
                        <a:pt x="282698" y="726146"/>
                      </a:lnTo>
                      <a:lnTo>
                        <a:pt x="279265" y="727471"/>
                      </a:lnTo>
                      <a:lnTo>
                        <a:pt x="273267" y="729869"/>
                      </a:lnTo>
                      <a:lnTo>
                        <a:pt x="270407" y="728554"/>
                      </a:lnTo>
                      <a:lnTo>
                        <a:pt x="267265" y="727616"/>
                      </a:lnTo>
                      <a:lnTo>
                        <a:pt x="264832" y="727785"/>
                      </a:lnTo>
                      <a:lnTo>
                        <a:pt x="263761" y="728751"/>
                      </a:lnTo>
                      <a:lnTo>
                        <a:pt x="261163" y="729940"/>
                      </a:lnTo>
                      <a:lnTo>
                        <a:pt x="258672" y="730400"/>
                      </a:lnTo>
                      <a:lnTo>
                        <a:pt x="255884" y="730259"/>
                      </a:lnTo>
                      <a:lnTo>
                        <a:pt x="254327" y="729089"/>
                      </a:lnTo>
                      <a:lnTo>
                        <a:pt x="255672" y="728470"/>
                      </a:lnTo>
                      <a:lnTo>
                        <a:pt x="256595" y="727726"/>
                      </a:lnTo>
                      <a:lnTo>
                        <a:pt x="258266" y="725706"/>
                      </a:lnTo>
                      <a:lnTo>
                        <a:pt x="251325" y="725061"/>
                      </a:lnTo>
                      <a:lnTo>
                        <a:pt x="248715" y="725614"/>
                      </a:lnTo>
                      <a:lnTo>
                        <a:pt x="246329" y="724034"/>
                      </a:lnTo>
                      <a:lnTo>
                        <a:pt x="243229" y="720859"/>
                      </a:lnTo>
                      <a:lnTo>
                        <a:pt x="248072" y="719051"/>
                      </a:lnTo>
                      <a:lnTo>
                        <a:pt x="248190" y="716425"/>
                      </a:lnTo>
                      <a:lnTo>
                        <a:pt x="247096" y="714129"/>
                      </a:lnTo>
                      <a:lnTo>
                        <a:pt x="244825" y="713530"/>
                      </a:lnTo>
                      <a:lnTo>
                        <a:pt x="241448" y="713753"/>
                      </a:lnTo>
                      <a:lnTo>
                        <a:pt x="238771" y="714073"/>
                      </a:lnTo>
                      <a:lnTo>
                        <a:pt x="236966" y="715082"/>
                      </a:lnTo>
                      <a:lnTo>
                        <a:pt x="236198" y="716029"/>
                      </a:lnTo>
                      <a:lnTo>
                        <a:pt x="236296" y="717593"/>
                      </a:lnTo>
                      <a:lnTo>
                        <a:pt x="234298" y="719738"/>
                      </a:lnTo>
                      <a:lnTo>
                        <a:pt x="230948" y="722401"/>
                      </a:lnTo>
                      <a:lnTo>
                        <a:pt x="225739" y="726402"/>
                      </a:lnTo>
                      <a:lnTo>
                        <a:pt x="224503" y="728032"/>
                      </a:lnTo>
                      <a:lnTo>
                        <a:pt x="223595" y="729447"/>
                      </a:lnTo>
                      <a:lnTo>
                        <a:pt x="219452" y="728858"/>
                      </a:lnTo>
                      <a:lnTo>
                        <a:pt x="218825" y="726784"/>
                      </a:lnTo>
                      <a:lnTo>
                        <a:pt x="216536" y="724725"/>
                      </a:lnTo>
                      <a:lnTo>
                        <a:pt x="215594" y="725265"/>
                      </a:lnTo>
                      <a:lnTo>
                        <a:pt x="214788" y="725128"/>
                      </a:lnTo>
                      <a:lnTo>
                        <a:pt x="213482" y="724384"/>
                      </a:lnTo>
                      <a:lnTo>
                        <a:pt x="210728" y="724058"/>
                      </a:lnTo>
                      <a:lnTo>
                        <a:pt x="207784" y="722649"/>
                      </a:lnTo>
                      <a:lnTo>
                        <a:pt x="205333" y="722923"/>
                      </a:lnTo>
                      <a:lnTo>
                        <a:pt x="203981" y="721883"/>
                      </a:lnTo>
                      <a:lnTo>
                        <a:pt x="202967" y="719688"/>
                      </a:lnTo>
                      <a:lnTo>
                        <a:pt x="201110" y="715505"/>
                      </a:lnTo>
                      <a:lnTo>
                        <a:pt x="188832" y="706249"/>
                      </a:lnTo>
                      <a:lnTo>
                        <a:pt x="185879" y="709524"/>
                      </a:lnTo>
                      <a:lnTo>
                        <a:pt x="181921" y="711094"/>
                      </a:lnTo>
                      <a:lnTo>
                        <a:pt x="179712" y="710699"/>
                      </a:lnTo>
                      <a:lnTo>
                        <a:pt x="178139" y="711796"/>
                      </a:lnTo>
                      <a:lnTo>
                        <a:pt x="171344" y="711969"/>
                      </a:lnTo>
                      <a:lnTo>
                        <a:pt x="173176" y="713711"/>
                      </a:lnTo>
                      <a:lnTo>
                        <a:pt x="172674" y="718757"/>
                      </a:lnTo>
                      <a:lnTo>
                        <a:pt x="169762" y="723401"/>
                      </a:lnTo>
                      <a:lnTo>
                        <a:pt x="167676" y="726523"/>
                      </a:lnTo>
                      <a:lnTo>
                        <a:pt x="166849" y="728045"/>
                      </a:lnTo>
                      <a:lnTo>
                        <a:pt x="166532" y="729104"/>
                      </a:lnTo>
                      <a:lnTo>
                        <a:pt x="168214" y="730048"/>
                      </a:lnTo>
                      <a:lnTo>
                        <a:pt x="171419" y="731665"/>
                      </a:lnTo>
                      <a:lnTo>
                        <a:pt x="173394" y="733224"/>
                      </a:lnTo>
                      <a:lnTo>
                        <a:pt x="174162" y="735600"/>
                      </a:lnTo>
                      <a:lnTo>
                        <a:pt x="173059" y="736428"/>
                      </a:lnTo>
                      <a:lnTo>
                        <a:pt x="171882" y="736081"/>
                      </a:lnTo>
                      <a:lnTo>
                        <a:pt x="170499" y="735718"/>
                      </a:lnTo>
                      <a:lnTo>
                        <a:pt x="169442" y="736834"/>
                      </a:lnTo>
                      <a:lnTo>
                        <a:pt x="166454" y="737729"/>
                      </a:lnTo>
                      <a:lnTo>
                        <a:pt x="165808" y="739719"/>
                      </a:lnTo>
                      <a:lnTo>
                        <a:pt x="166835" y="741632"/>
                      </a:lnTo>
                      <a:lnTo>
                        <a:pt x="167040" y="742876"/>
                      </a:lnTo>
                      <a:lnTo>
                        <a:pt x="165074" y="743861"/>
                      </a:lnTo>
                      <a:lnTo>
                        <a:pt x="163518" y="742814"/>
                      </a:lnTo>
                      <a:lnTo>
                        <a:pt x="163177" y="743807"/>
                      </a:lnTo>
                      <a:lnTo>
                        <a:pt x="162850" y="745615"/>
                      </a:lnTo>
                      <a:lnTo>
                        <a:pt x="166517" y="747537"/>
                      </a:lnTo>
                      <a:lnTo>
                        <a:pt x="166858" y="748431"/>
                      </a:lnTo>
                      <a:lnTo>
                        <a:pt x="166335" y="749481"/>
                      </a:lnTo>
                      <a:lnTo>
                        <a:pt x="168026" y="751412"/>
                      </a:lnTo>
                      <a:lnTo>
                        <a:pt x="169595" y="751874"/>
                      </a:lnTo>
                      <a:lnTo>
                        <a:pt x="170610" y="754067"/>
                      </a:lnTo>
                      <a:lnTo>
                        <a:pt x="168876" y="755452"/>
                      </a:lnTo>
                      <a:lnTo>
                        <a:pt x="167807" y="755599"/>
                      </a:lnTo>
                      <a:lnTo>
                        <a:pt x="167047" y="755759"/>
                      </a:lnTo>
                      <a:lnTo>
                        <a:pt x="166736" y="757306"/>
                      </a:lnTo>
                      <a:lnTo>
                        <a:pt x="165367" y="756365"/>
                      </a:lnTo>
                      <a:lnTo>
                        <a:pt x="165123" y="754987"/>
                      </a:lnTo>
                      <a:lnTo>
                        <a:pt x="165524" y="754030"/>
                      </a:lnTo>
                      <a:lnTo>
                        <a:pt x="165262" y="752750"/>
                      </a:lnTo>
                      <a:lnTo>
                        <a:pt x="163473" y="751303"/>
                      </a:lnTo>
                      <a:lnTo>
                        <a:pt x="162134" y="751243"/>
                      </a:lnTo>
                      <a:lnTo>
                        <a:pt x="162113" y="752900"/>
                      </a:lnTo>
                      <a:lnTo>
                        <a:pt x="162067" y="754166"/>
                      </a:lnTo>
                      <a:lnTo>
                        <a:pt x="161169" y="755005"/>
                      </a:lnTo>
                      <a:lnTo>
                        <a:pt x="162289" y="756624"/>
                      </a:lnTo>
                      <a:lnTo>
                        <a:pt x="163773" y="757563"/>
                      </a:lnTo>
                      <a:lnTo>
                        <a:pt x="163230" y="758709"/>
                      </a:lnTo>
                      <a:lnTo>
                        <a:pt x="163296" y="760467"/>
                      </a:lnTo>
                      <a:lnTo>
                        <a:pt x="163694" y="762631"/>
                      </a:lnTo>
                      <a:lnTo>
                        <a:pt x="162329" y="763740"/>
                      </a:lnTo>
                      <a:lnTo>
                        <a:pt x="160804" y="763573"/>
                      </a:lnTo>
                      <a:lnTo>
                        <a:pt x="158384" y="764244"/>
                      </a:lnTo>
                      <a:lnTo>
                        <a:pt x="157194" y="763411"/>
                      </a:lnTo>
                      <a:lnTo>
                        <a:pt x="155473" y="763722"/>
                      </a:lnTo>
                      <a:lnTo>
                        <a:pt x="154356" y="764647"/>
                      </a:lnTo>
                      <a:lnTo>
                        <a:pt x="153442" y="762461"/>
                      </a:lnTo>
                      <a:lnTo>
                        <a:pt x="152252" y="761139"/>
                      </a:lnTo>
                      <a:lnTo>
                        <a:pt x="150492" y="758522"/>
                      </a:lnTo>
                      <a:lnTo>
                        <a:pt x="149341" y="757009"/>
                      </a:lnTo>
                      <a:lnTo>
                        <a:pt x="147374" y="755945"/>
                      </a:lnTo>
                      <a:lnTo>
                        <a:pt x="145989" y="753562"/>
                      </a:lnTo>
                      <a:lnTo>
                        <a:pt x="143281" y="752550"/>
                      </a:lnTo>
                      <a:lnTo>
                        <a:pt x="140575" y="748430"/>
                      </a:lnTo>
                      <a:lnTo>
                        <a:pt x="136867" y="746693"/>
                      </a:lnTo>
                      <a:lnTo>
                        <a:pt x="134728" y="746985"/>
                      </a:lnTo>
                      <a:lnTo>
                        <a:pt x="132926" y="747685"/>
                      </a:lnTo>
                      <a:lnTo>
                        <a:pt x="132055" y="748915"/>
                      </a:lnTo>
                      <a:lnTo>
                        <a:pt x="130512" y="747286"/>
                      </a:lnTo>
                      <a:lnTo>
                        <a:pt x="128465" y="746609"/>
                      </a:lnTo>
                      <a:lnTo>
                        <a:pt x="128259" y="743475"/>
                      </a:lnTo>
                      <a:lnTo>
                        <a:pt x="126663" y="741061"/>
                      </a:lnTo>
                      <a:lnTo>
                        <a:pt x="124388" y="739988"/>
                      </a:lnTo>
                      <a:lnTo>
                        <a:pt x="122648" y="737879"/>
                      </a:lnTo>
                      <a:lnTo>
                        <a:pt x="121523" y="732786"/>
                      </a:lnTo>
                      <a:lnTo>
                        <a:pt x="119789" y="730871"/>
                      </a:lnTo>
                      <a:lnTo>
                        <a:pt x="118726" y="728503"/>
                      </a:lnTo>
                      <a:lnTo>
                        <a:pt x="116441" y="726720"/>
                      </a:lnTo>
                      <a:lnTo>
                        <a:pt x="107551" y="721290"/>
                      </a:lnTo>
                      <a:lnTo>
                        <a:pt x="105565" y="720564"/>
                      </a:lnTo>
                      <a:lnTo>
                        <a:pt x="104500" y="717799"/>
                      </a:lnTo>
                      <a:lnTo>
                        <a:pt x="105002" y="716149"/>
                      </a:lnTo>
                      <a:lnTo>
                        <a:pt x="107075" y="715145"/>
                      </a:lnTo>
                      <a:lnTo>
                        <a:pt x="105049" y="713975"/>
                      </a:lnTo>
                      <a:lnTo>
                        <a:pt x="103867" y="714962"/>
                      </a:lnTo>
                      <a:lnTo>
                        <a:pt x="102658" y="715590"/>
                      </a:lnTo>
                      <a:lnTo>
                        <a:pt x="102595" y="716675"/>
                      </a:lnTo>
                      <a:lnTo>
                        <a:pt x="102201" y="718362"/>
                      </a:lnTo>
                      <a:lnTo>
                        <a:pt x="102671" y="719147"/>
                      </a:lnTo>
                      <a:lnTo>
                        <a:pt x="103154" y="721100"/>
                      </a:lnTo>
                      <a:lnTo>
                        <a:pt x="101120" y="721162"/>
                      </a:lnTo>
                      <a:lnTo>
                        <a:pt x="98852" y="721716"/>
                      </a:lnTo>
                      <a:lnTo>
                        <a:pt x="96034" y="723438"/>
                      </a:lnTo>
                      <a:lnTo>
                        <a:pt x="94790" y="725387"/>
                      </a:lnTo>
                      <a:lnTo>
                        <a:pt x="95107" y="726362"/>
                      </a:lnTo>
                      <a:lnTo>
                        <a:pt x="96296" y="726813"/>
                      </a:lnTo>
                      <a:lnTo>
                        <a:pt x="97489" y="727665"/>
                      </a:lnTo>
                      <a:lnTo>
                        <a:pt x="95666" y="727828"/>
                      </a:lnTo>
                      <a:lnTo>
                        <a:pt x="94223" y="727365"/>
                      </a:lnTo>
                      <a:lnTo>
                        <a:pt x="92358" y="726886"/>
                      </a:lnTo>
                      <a:lnTo>
                        <a:pt x="89329" y="726677"/>
                      </a:lnTo>
                      <a:lnTo>
                        <a:pt x="87940" y="726378"/>
                      </a:lnTo>
                      <a:lnTo>
                        <a:pt x="89076" y="725385"/>
                      </a:lnTo>
                      <a:lnTo>
                        <a:pt x="89922" y="725421"/>
                      </a:lnTo>
                      <a:lnTo>
                        <a:pt x="95839" y="717182"/>
                      </a:lnTo>
                      <a:lnTo>
                        <a:pt x="106229" y="700721"/>
                      </a:lnTo>
                      <a:lnTo>
                        <a:pt x="107057" y="697055"/>
                      </a:lnTo>
                      <a:lnTo>
                        <a:pt x="106812" y="694885"/>
                      </a:lnTo>
                      <a:lnTo>
                        <a:pt x="105698" y="693633"/>
                      </a:lnTo>
                      <a:lnTo>
                        <a:pt x="106442" y="690782"/>
                      </a:lnTo>
                      <a:lnTo>
                        <a:pt x="105526" y="688979"/>
                      </a:lnTo>
                      <a:lnTo>
                        <a:pt x="104706" y="686701"/>
                      </a:lnTo>
                      <a:lnTo>
                        <a:pt x="103619" y="684894"/>
                      </a:lnTo>
                      <a:lnTo>
                        <a:pt x="103762" y="682497"/>
                      </a:lnTo>
                      <a:lnTo>
                        <a:pt x="105178" y="683520"/>
                      </a:lnTo>
                      <a:lnTo>
                        <a:pt x="107301" y="687375"/>
                      </a:lnTo>
                      <a:lnTo>
                        <a:pt x="111206" y="695481"/>
                      </a:lnTo>
                      <a:lnTo>
                        <a:pt x="112895" y="699786"/>
                      </a:lnTo>
                      <a:lnTo>
                        <a:pt x="114269" y="703835"/>
                      </a:lnTo>
                      <a:lnTo>
                        <a:pt x="116726" y="707798"/>
                      </a:lnTo>
                      <a:lnTo>
                        <a:pt x="119680" y="711388"/>
                      </a:lnTo>
                      <a:lnTo>
                        <a:pt x="121420" y="715169"/>
                      </a:lnTo>
                      <a:lnTo>
                        <a:pt x="121506" y="710836"/>
                      </a:lnTo>
                      <a:lnTo>
                        <a:pt x="119469" y="707958"/>
                      </a:lnTo>
                      <a:lnTo>
                        <a:pt x="115798" y="699629"/>
                      </a:lnTo>
                      <a:lnTo>
                        <a:pt x="111544" y="688155"/>
                      </a:lnTo>
                      <a:lnTo>
                        <a:pt x="110461" y="687361"/>
                      </a:lnTo>
                      <a:lnTo>
                        <a:pt x="109383" y="687633"/>
                      </a:lnTo>
                      <a:lnTo>
                        <a:pt x="109473" y="685068"/>
                      </a:lnTo>
                      <a:lnTo>
                        <a:pt x="107999" y="684763"/>
                      </a:lnTo>
                      <a:lnTo>
                        <a:pt x="107583" y="683863"/>
                      </a:lnTo>
                      <a:lnTo>
                        <a:pt x="108249" y="681410"/>
                      </a:lnTo>
                      <a:lnTo>
                        <a:pt x="108050" y="678599"/>
                      </a:lnTo>
                      <a:lnTo>
                        <a:pt x="106706" y="676378"/>
                      </a:lnTo>
                      <a:lnTo>
                        <a:pt x="105234" y="673122"/>
                      </a:lnTo>
                      <a:lnTo>
                        <a:pt x="102007" y="669584"/>
                      </a:lnTo>
                      <a:lnTo>
                        <a:pt x="99467" y="669475"/>
                      </a:lnTo>
                      <a:lnTo>
                        <a:pt x="98380" y="670629"/>
                      </a:lnTo>
                      <a:lnTo>
                        <a:pt x="97877" y="671896"/>
                      </a:lnTo>
                      <a:lnTo>
                        <a:pt x="96367" y="672143"/>
                      </a:lnTo>
                      <a:lnTo>
                        <a:pt x="95570" y="667227"/>
                      </a:lnTo>
                      <a:lnTo>
                        <a:pt x="97775" y="663080"/>
                      </a:lnTo>
                      <a:lnTo>
                        <a:pt x="98020" y="660611"/>
                      </a:lnTo>
                      <a:lnTo>
                        <a:pt x="97370" y="658342"/>
                      </a:lnTo>
                      <a:lnTo>
                        <a:pt x="97062" y="654817"/>
                      </a:lnTo>
                      <a:lnTo>
                        <a:pt x="95971" y="653886"/>
                      </a:lnTo>
                      <a:lnTo>
                        <a:pt x="95791" y="650893"/>
                      </a:lnTo>
                      <a:lnTo>
                        <a:pt x="94593" y="649243"/>
                      </a:lnTo>
                      <a:lnTo>
                        <a:pt x="93615" y="646081"/>
                      </a:lnTo>
                      <a:lnTo>
                        <a:pt x="93542" y="643918"/>
                      </a:lnTo>
                      <a:lnTo>
                        <a:pt x="88671" y="638032"/>
                      </a:lnTo>
                      <a:lnTo>
                        <a:pt x="78037" y="631333"/>
                      </a:lnTo>
                      <a:lnTo>
                        <a:pt x="75938" y="627808"/>
                      </a:lnTo>
                      <a:lnTo>
                        <a:pt x="72140" y="623804"/>
                      </a:lnTo>
                      <a:lnTo>
                        <a:pt x="70939" y="622153"/>
                      </a:lnTo>
                      <a:lnTo>
                        <a:pt x="68194" y="620119"/>
                      </a:lnTo>
                      <a:lnTo>
                        <a:pt x="68398" y="616605"/>
                      </a:lnTo>
                      <a:lnTo>
                        <a:pt x="66770" y="614538"/>
                      </a:lnTo>
                      <a:lnTo>
                        <a:pt x="65477" y="613766"/>
                      </a:lnTo>
                      <a:lnTo>
                        <a:pt x="65475" y="611686"/>
                      </a:lnTo>
                      <a:lnTo>
                        <a:pt x="62236" y="605792"/>
                      </a:lnTo>
                      <a:lnTo>
                        <a:pt x="61444" y="601370"/>
                      </a:lnTo>
                      <a:lnTo>
                        <a:pt x="59244" y="599110"/>
                      </a:lnTo>
                      <a:lnTo>
                        <a:pt x="59485" y="597523"/>
                      </a:lnTo>
                      <a:lnTo>
                        <a:pt x="55159" y="590710"/>
                      </a:lnTo>
                      <a:lnTo>
                        <a:pt x="53133" y="587880"/>
                      </a:lnTo>
                      <a:lnTo>
                        <a:pt x="49072" y="585636"/>
                      </a:lnTo>
                      <a:lnTo>
                        <a:pt x="48157" y="580881"/>
                      </a:lnTo>
                      <a:lnTo>
                        <a:pt x="45536" y="578695"/>
                      </a:lnTo>
                      <a:lnTo>
                        <a:pt x="45020" y="576428"/>
                      </a:lnTo>
                      <a:lnTo>
                        <a:pt x="41411" y="574149"/>
                      </a:lnTo>
                      <a:lnTo>
                        <a:pt x="39141" y="570017"/>
                      </a:lnTo>
                      <a:lnTo>
                        <a:pt x="35506" y="565627"/>
                      </a:lnTo>
                      <a:lnTo>
                        <a:pt x="34419" y="561345"/>
                      </a:lnTo>
                      <a:lnTo>
                        <a:pt x="30662" y="555919"/>
                      </a:lnTo>
                      <a:lnTo>
                        <a:pt x="29254" y="553225"/>
                      </a:lnTo>
                      <a:lnTo>
                        <a:pt x="27316" y="552268"/>
                      </a:lnTo>
                      <a:lnTo>
                        <a:pt x="27851" y="549654"/>
                      </a:lnTo>
                      <a:lnTo>
                        <a:pt x="26668" y="545449"/>
                      </a:lnTo>
                      <a:lnTo>
                        <a:pt x="29441" y="544842"/>
                      </a:lnTo>
                      <a:lnTo>
                        <a:pt x="33975" y="539849"/>
                      </a:lnTo>
                      <a:lnTo>
                        <a:pt x="35965" y="536800"/>
                      </a:lnTo>
                      <a:lnTo>
                        <a:pt x="37945" y="533318"/>
                      </a:lnTo>
                      <a:lnTo>
                        <a:pt x="38122" y="531391"/>
                      </a:lnTo>
                      <a:lnTo>
                        <a:pt x="38535" y="527678"/>
                      </a:lnTo>
                      <a:lnTo>
                        <a:pt x="38423" y="523200"/>
                      </a:lnTo>
                      <a:lnTo>
                        <a:pt x="38176" y="519039"/>
                      </a:lnTo>
                      <a:lnTo>
                        <a:pt x="38162" y="514168"/>
                      </a:lnTo>
                      <a:lnTo>
                        <a:pt x="36273" y="512170"/>
                      </a:lnTo>
                      <a:lnTo>
                        <a:pt x="37365" y="509349"/>
                      </a:lnTo>
                      <a:lnTo>
                        <a:pt x="34304" y="502684"/>
                      </a:lnTo>
                      <a:lnTo>
                        <a:pt x="34176" y="497545"/>
                      </a:lnTo>
                      <a:lnTo>
                        <a:pt x="34605" y="488902"/>
                      </a:lnTo>
                      <a:lnTo>
                        <a:pt x="33186" y="487089"/>
                      </a:lnTo>
                      <a:lnTo>
                        <a:pt x="34928" y="483840"/>
                      </a:lnTo>
                      <a:lnTo>
                        <a:pt x="33966" y="482458"/>
                      </a:lnTo>
                      <a:lnTo>
                        <a:pt x="34952" y="479017"/>
                      </a:lnTo>
                      <a:lnTo>
                        <a:pt x="33299" y="474639"/>
                      </a:lnTo>
                      <a:lnTo>
                        <a:pt x="36720" y="464396"/>
                      </a:lnTo>
                      <a:lnTo>
                        <a:pt x="39175" y="457568"/>
                      </a:lnTo>
                      <a:lnTo>
                        <a:pt x="44021" y="449552"/>
                      </a:lnTo>
                      <a:lnTo>
                        <a:pt x="49136" y="442973"/>
                      </a:lnTo>
                      <a:lnTo>
                        <a:pt x="50836" y="440335"/>
                      </a:lnTo>
                      <a:lnTo>
                        <a:pt x="51802" y="436950"/>
                      </a:lnTo>
                      <a:lnTo>
                        <a:pt x="50865" y="430840"/>
                      </a:lnTo>
                      <a:lnTo>
                        <a:pt x="53738" y="420470"/>
                      </a:lnTo>
                      <a:lnTo>
                        <a:pt x="53713" y="418425"/>
                      </a:lnTo>
                      <a:lnTo>
                        <a:pt x="54213" y="416477"/>
                      </a:lnTo>
                      <a:lnTo>
                        <a:pt x="54131" y="413829"/>
                      </a:lnTo>
                      <a:lnTo>
                        <a:pt x="53633" y="411842"/>
                      </a:lnTo>
                      <a:lnTo>
                        <a:pt x="53263" y="410116"/>
                      </a:lnTo>
                      <a:lnTo>
                        <a:pt x="51335" y="408845"/>
                      </a:lnTo>
                      <a:lnTo>
                        <a:pt x="50858" y="407206"/>
                      </a:lnTo>
                      <a:lnTo>
                        <a:pt x="51523" y="404476"/>
                      </a:lnTo>
                      <a:lnTo>
                        <a:pt x="51465" y="400873"/>
                      </a:lnTo>
                      <a:lnTo>
                        <a:pt x="52543" y="397089"/>
                      </a:lnTo>
                      <a:lnTo>
                        <a:pt x="52692" y="392485"/>
                      </a:lnTo>
                      <a:lnTo>
                        <a:pt x="52571" y="387881"/>
                      </a:lnTo>
                      <a:lnTo>
                        <a:pt x="49297" y="385607"/>
                      </a:lnTo>
                      <a:lnTo>
                        <a:pt x="46354" y="381390"/>
                      </a:lnTo>
                      <a:lnTo>
                        <a:pt x="45081" y="373591"/>
                      </a:lnTo>
                      <a:lnTo>
                        <a:pt x="42284" y="370317"/>
                      </a:lnTo>
                      <a:lnTo>
                        <a:pt x="40775" y="363179"/>
                      </a:lnTo>
                      <a:lnTo>
                        <a:pt x="38291" y="360171"/>
                      </a:lnTo>
                      <a:lnTo>
                        <a:pt x="36365" y="355603"/>
                      </a:lnTo>
                      <a:lnTo>
                        <a:pt x="35300" y="353680"/>
                      </a:lnTo>
                      <a:lnTo>
                        <a:pt x="33932" y="352345"/>
                      </a:lnTo>
                      <a:lnTo>
                        <a:pt x="32247" y="351257"/>
                      </a:lnTo>
                      <a:lnTo>
                        <a:pt x="31491" y="351401"/>
                      </a:lnTo>
                      <a:lnTo>
                        <a:pt x="30555" y="351541"/>
                      </a:lnTo>
                      <a:lnTo>
                        <a:pt x="29878" y="350403"/>
                      </a:lnTo>
                      <a:lnTo>
                        <a:pt x="29659" y="348862"/>
                      </a:lnTo>
                      <a:lnTo>
                        <a:pt x="30844" y="344564"/>
                      </a:lnTo>
                      <a:lnTo>
                        <a:pt x="30713" y="341323"/>
                      </a:lnTo>
                      <a:lnTo>
                        <a:pt x="28077" y="335671"/>
                      </a:lnTo>
                      <a:lnTo>
                        <a:pt x="25266" y="333793"/>
                      </a:lnTo>
                      <a:lnTo>
                        <a:pt x="19140" y="330709"/>
                      </a:lnTo>
                      <a:lnTo>
                        <a:pt x="15900" y="323905"/>
                      </a:lnTo>
                      <a:lnTo>
                        <a:pt x="11598" y="319971"/>
                      </a:lnTo>
                      <a:lnTo>
                        <a:pt x="4520" y="311947"/>
                      </a:lnTo>
                      <a:lnTo>
                        <a:pt x="4019" y="309633"/>
                      </a:lnTo>
                      <a:lnTo>
                        <a:pt x="2044" y="308526"/>
                      </a:lnTo>
                      <a:lnTo>
                        <a:pt x="0" y="304780"/>
                      </a:lnTo>
                      <a:lnTo>
                        <a:pt x="1493" y="301269"/>
                      </a:lnTo>
                      <a:lnTo>
                        <a:pt x="5076" y="294821"/>
                      </a:lnTo>
                      <a:lnTo>
                        <a:pt x="3993" y="290018"/>
                      </a:lnTo>
                      <a:lnTo>
                        <a:pt x="5435" y="284192"/>
                      </a:lnTo>
                      <a:lnTo>
                        <a:pt x="2775" y="276934"/>
                      </a:lnTo>
                      <a:lnTo>
                        <a:pt x="2590" y="271818"/>
                      </a:lnTo>
                      <a:lnTo>
                        <a:pt x="5581" y="268193"/>
                      </a:lnTo>
                      <a:lnTo>
                        <a:pt x="7626" y="265131"/>
                      </a:lnTo>
                      <a:lnTo>
                        <a:pt x="9085" y="262216"/>
                      </a:lnTo>
                      <a:lnTo>
                        <a:pt x="9265" y="260520"/>
                      </a:lnTo>
                      <a:lnTo>
                        <a:pt x="12923" y="255901"/>
                      </a:lnTo>
                      <a:lnTo>
                        <a:pt x="15972" y="251441"/>
                      </a:lnTo>
                      <a:lnTo>
                        <a:pt x="17867" y="248949"/>
                      </a:lnTo>
                      <a:lnTo>
                        <a:pt x="23870" y="242342"/>
                      </a:lnTo>
                      <a:lnTo>
                        <a:pt x="24813" y="240385"/>
                      </a:lnTo>
                      <a:lnTo>
                        <a:pt x="25306" y="239813"/>
                      </a:lnTo>
                      <a:lnTo>
                        <a:pt x="25896" y="239412"/>
                      </a:lnTo>
                      <a:lnTo>
                        <a:pt x="26502" y="239311"/>
                      </a:lnTo>
                      <a:lnTo>
                        <a:pt x="27223" y="239034"/>
                      </a:lnTo>
                      <a:lnTo>
                        <a:pt x="27161" y="238265"/>
                      </a:lnTo>
                      <a:lnTo>
                        <a:pt x="26828" y="237387"/>
                      </a:lnTo>
                      <a:lnTo>
                        <a:pt x="27738" y="236278"/>
                      </a:lnTo>
                      <a:lnTo>
                        <a:pt x="31097" y="232246"/>
                      </a:lnTo>
                      <a:lnTo>
                        <a:pt x="34966" y="228407"/>
                      </a:lnTo>
                      <a:lnTo>
                        <a:pt x="39778" y="222572"/>
                      </a:lnTo>
                      <a:lnTo>
                        <a:pt x="42826" y="218522"/>
                      </a:lnTo>
                      <a:lnTo>
                        <a:pt x="43659" y="220175"/>
                      </a:lnTo>
                      <a:lnTo>
                        <a:pt x="40187" y="223860"/>
                      </a:lnTo>
                      <a:lnTo>
                        <a:pt x="37520" y="227420"/>
                      </a:lnTo>
                      <a:lnTo>
                        <a:pt x="36946" y="228904"/>
                      </a:lnTo>
                      <a:lnTo>
                        <a:pt x="38330" y="229979"/>
                      </a:lnTo>
                      <a:lnTo>
                        <a:pt x="40221" y="230416"/>
                      </a:lnTo>
                      <a:lnTo>
                        <a:pt x="41166" y="231561"/>
                      </a:lnTo>
                      <a:lnTo>
                        <a:pt x="41949" y="230914"/>
                      </a:lnTo>
                      <a:lnTo>
                        <a:pt x="41788" y="229972"/>
                      </a:lnTo>
                      <a:lnTo>
                        <a:pt x="42335" y="229569"/>
                      </a:lnTo>
                      <a:lnTo>
                        <a:pt x="43646" y="229030"/>
                      </a:lnTo>
                      <a:lnTo>
                        <a:pt x="44143" y="227604"/>
                      </a:lnTo>
                      <a:lnTo>
                        <a:pt x="43568" y="225196"/>
                      </a:lnTo>
                      <a:lnTo>
                        <a:pt x="44611" y="223793"/>
                      </a:lnTo>
                      <a:lnTo>
                        <a:pt x="44507" y="222596"/>
                      </a:lnTo>
                      <a:lnTo>
                        <a:pt x="45766" y="221883"/>
                      </a:lnTo>
                      <a:lnTo>
                        <a:pt x="47426" y="221442"/>
                      </a:lnTo>
                      <a:lnTo>
                        <a:pt x="48507" y="219870"/>
                      </a:lnTo>
                      <a:lnTo>
                        <a:pt x="48531" y="218508"/>
                      </a:lnTo>
                      <a:lnTo>
                        <a:pt x="49298" y="217291"/>
                      </a:lnTo>
                      <a:lnTo>
                        <a:pt x="50443" y="216714"/>
                      </a:lnTo>
                      <a:lnTo>
                        <a:pt x="51722" y="213616"/>
                      </a:lnTo>
                      <a:lnTo>
                        <a:pt x="53076" y="212055"/>
                      </a:lnTo>
                      <a:lnTo>
                        <a:pt x="54300" y="211512"/>
                      </a:lnTo>
                      <a:lnTo>
                        <a:pt x="56121" y="211166"/>
                      </a:lnTo>
                      <a:lnTo>
                        <a:pt x="58854" y="210860"/>
                      </a:lnTo>
                      <a:lnTo>
                        <a:pt x="60015" y="211424"/>
                      </a:lnTo>
                      <a:lnTo>
                        <a:pt x="62179" y="211604"/>
                      </a:lnTo>
                      <a:lnTo>
                        <a:pt x="64336" y="210589"/>
                      </a:lnTo>
                      <a:lnTo>
                        <a:pt x="68014" y="208955"/>
                      </a:lnTo>
                      <a:lnTo>
                        <a:pt x="69643" y="205783"/>
                      </a:lnTo>
                      <a:lnTo>
                        <a:pt x="69604" y="204893"/>
                      </a:lnTo>
                      <a:lnTo>
                        <a:pt x="68547" y="203767"/>
                      </a:lnTo>
                      <a:lnTo>
                        <a:pt x="67628" y="202865"/>
                      </a:lnTo>
                      <a:lnTo>
                        <a:pt x="66490" y="203412"/>
                      </a:lnTo>
                      <a:lnTo>
                        <a:pt x="64841" y="203768"/>
                      </a:lnTo>
                      <a:lnTo>
                        <a:pt x="63927" y="203303"/>
                      </a:lnTo>
                      <a:lnTo>
                        <a:pt x="63364" y="202512"/>
                      </a:lnTo>
                      <a:lnTo>
                        <a:pt x="62785" y="201381"/>
                      </a:lnTo>
                      <a:lnTo>
                        <a:pt x="60782" y="201294"/>
                      </a:lnTo>
                      <a:lnTo>
                        <a:pt x="60179" y="201523"/>
                      </a:lnTo>
                      <a:lnTo>
                        <a:pt x="59406" y="203363"/>
                      </a:lnTo>
                      <a:lnTo>
                        <a:pt x="57523" y="204816"/>
                      </a:lnTo>
                      <a:lnTo>
                        <a:pt x="56200" y="207484"/>
                      </a:lnTo>
                      <a:lnTo>
                        <a:pt x="53696" y="209251"/>
                      </a:lnTo>
                      <a:lnTo>
                        <a:pt x="51647" y="211463"/>
                      </a:lnTo>
                      <a:lnTo>
                        <a:pt x="49880" y="214473"/>
                      </a:lnTo>
                      <a:lnTo>
                        <a:pt x="45103" y="219044"/>
                      </a:lnTo>
                      <a:lnTo>
                        <a:pt x="44216" y="217217"/>
                      </a:lnTo>
                      <a:lnTo>
                        <a:pt x="47508" y="213949"/>
                      </a:lnTo>
                      <a:lnTo>
                        <a:pt x="56379" y="203683"/>
                      </a:lnTo>
                      <a:lnTo>
                        <a:pt x="66990" y="188630"/>
                      </a:lnTo>
                      <a:lnTo>
                        <a:pt x="71016" y="181298"/>
                      </a:lnTo>
                      <a:lnTo>
                        <a:pt x="74321" y="175033"/>
                      </a:lnTo>
                      <a:lnTo>
                        <a:pt x="75516" y="170354"/>
                      </a:lnTo>
                      <a:lnTo>
                        <a:pt x="75048" y="169110"/>
                      </a:lnTo>
                      <a:lnTo>
                        <a:pt x="73641" y="168736"/>
                      </a:lnTo>
                      <a:lnTo>
                        <a:pt x="72525" y="168911"/>
                      </a:lnTo>
                      <a:lnTo>
                        <a:pt x="71595" y="167876"/>
                      </a:lnTo>
                      <a:lnTo>
                        <a:pt x="71387" y="166577"/>
                      </a:lnTo>
                      <a:lnTo>
                        <a:pt x="71844" y="163752"/>
                      </a:lnTo>
                      <a:lnTo>
                        <a:pt x="71541" y="161750"/>
                      </a:lnTo>
                      <a:lnTo>
                        <a:pt x="71414" y="159459"/>
                      </a:lnTo>
                      <a:lnTo>
                        <a:pt x="72188" y="156954"/>
                      </a:lnTo>
                      <a:lnTo>
                        <a:pt x="72598" y="153605"/>
                      </a:lnTo>
                      <a:lnTo>
                        <a:pt x="73113" y="152410"/>
                      </a:lnTo>
                      <a:lnTo>
                        <a:pt x="74215" y="151927"/>
                      </a:lnTo>
                      <a:lnTo>
                        <a:pt x="75378" y="152299"/>
                      </a:lnTo>
                      <a:lnTo>
                        <a:pt x="76185" y="151646"/>
                      </a:lnTo>
                      <a:lnTo>
                        <a:pt x="80799" y="145422"/>
                      </a:lnTo>
                      <a:lnTo>
                        <a:pt x="84370" y="138632"/>
                      </a:lnTo>
                      <a:lnTo>
                        <a:pt x="91032" y="126904"/>
                      </a:lnTo>
                      <a:lnTo>
                        <a:pt x="94947" y="117798"/>
                      </a:lnTo>
                      <a:lnTo>
                        <a:pt x="99909" y="107926"/>
                      </a:lnTo>
                      <a:lnTo>
                        <a:pt x="102601" y="101491"/>
                      </a:lnTo>
                      <a:lnTo>
                        <a:pt x="103388" y="91752"/>
                      </a:lnTo>
                      <a:lnTo>
                        <a:pt x="104157" y="86114"/>
                      </a:lnTo>
                      <a:lnTo>
                        <a:pt x="107010" y="83177"/>
                      </a:lnTo>
                      <a:lnTo>
                        <a:pt x="105719" y="82300"/>
                      </a:lnTo>
                      <a:lnTo>
                        <a:pt x="104629" y="81141"/>
                      </a:lnTo>
                      <a:lnTo>
                        <a:pt x="103856" y="79667"/>
                      </a:lnTo>
                      <a:lnTo>
                        <a:pt x="103478" y="77864"/>
                      </a:lnTo>
                      <a:lnTo>
                        <a:pt x="103858" y="76167"/>
                      </a:lnTo>
                      <a:lnTo>
                        <a:pt x="105375" y="71515"/>
                      </a:lnTo>
                      <a:lnTo>
                        <a:pt x="105127" y="70493"/>
                      </a:lnTo>
                      <a:lnTo>
                        <a:pt x="104428" y="68649"/>
                      </a:lnTo>
                      <a:lnTo>
                        <a:pt x="103926" y="64567"/>
                      </a:lnTo>
                      <a:lnTo>
                        <a:pt x="103287" y="60109"/>
                      </a:lnTo>
                      <a:lnTo>
                        <a:pt x="104281" y="57405"/>
                      </a:lnTo>
                      <a:lnTo>
                        <a:pt x="104622" y="52608"/>
                      </a:lnTo>
                      <a:lnTo>
                        <a:pt x="104248" y="47074"/>
                      </a:lnTo>
                      <a:lnTo>
                        <a:pt x="102082" y="45596"/>
                      </a:lnTo>
                      <a:lnTo>
                        <a:pt x="100752" y="44844"/>
                      </a:lnTo>
                      <a:lnTo>
                        <a:pt x="99411" y="45243"/>
                      </a:lnTo>
                      <a:lnTo>
                        <a:pt x="98486" y="46007"/>
                      </a:lnTo>
                      <a:lnTo>
                        <a:pt x="95257" y="41490"/>
                      </a:lnTo>
                      <a:lnTo>
                        <a:pt x="91666" y="38569"/>
                      </a:lnTo>
                      <a:lnTo>
                        <a:pt x="92650" y="36428"/>
                      </a:lnTo>
                      <a:lnTo>
                        <a:pt x="94689" y="35714"/>
                      </a:lnTo>
                      <a:lnTo>
                        <a:pt x="97667" y="32514"/>
                      </a:lnTo>
                      <a:lnTo>
                        <a:pt x="101717" y="26255"/>
                      </a:lnTo>
                      <a:lnTo>
                        <a:pt x="104960" y="19151"/>
                      </a:lnTo>
                      <a:lnTo>
                        <a:pt x="109803" y="7066"/>
                      </a:lnTo>
                      <a:lnTo>
                        <a:pt x="110157" y="5148"/>
                      </a:lnTo>
                      <a:lnTo>
                        <a:pt x="110103" y="3268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9" name="Freeform 38">
                  <a:extLst>
                    <a:ext uri="{FF2B5EF4-FFF2-40B4-BE49-F238E27FC236}">
                      <a16:creationId xmlns:a16="http://schemas.microsoft.com/office/drawing/2014/main" id="{80E4B1AD-9376-445B-A845-E609F2389644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1891608" y="4179638"/>
                  <a:ext cx="763799" cy="49602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29710" h="733647">
                      <a:moveTo>
                        <a:pt x="889255" y="27849"/>
                      </a:moveTo>
                      <a:lnTo>
                        <a:pt x="906999" y="28303"/>
                      </a:lnTo>
                      <a:lnTo>
                        <a:pt x="924736" y="28750"/>
                      </a:lnTo>
                      <a:lnTo>
                        <a:pt x="942479" y="29189"/>
                      </a:lnTo>
                      <a:lnTo>
                        <a:pt x="960223" y="29622"/>
                      </a:lnTo>
                      <a:lnTo>
                        <a:pt x="977969" y="30053"/>
                      </a:lnTo>
                      <a:lnTo>
                        <a:pt x="995709" y="30480"/>
                      </a:lnTo>
                      <a:lnTo>
                        <a:pt x="1013467" y="30893"/>
                      </a:lnTo>
                      <a:lnTo>
                        <a:pt x="1031214" y="31298"/>
                      </a:lnTo>
                      <a:lnTo>
                        <a:pt x="1048967" y="31695"/>
                      </a:lnTo>
                      <a:lnTo>
                        <a:pt x="1066717" y="32087"/>
                      </a:lnTo>
                      <a:lnTo>
                        <a:pt x="1084472" y="32479"/>
                      </a:lnTo>
                      <a:lnTo>
                        <a:pt x="1102229" y="32860"/>
                      </a:lnTo>
                      <a:lnTo>
                        <a:pt x="1119989" y="33230"/>
                      </a:lnTo>
                      <a:lnTo>
                        <a:pt x="1129709" y="33431"/>
                      </a:lnTo>
                      <a:lnTo>
                        <a:pt x="1129027" y="44294"/>
                      </a:lnTo>
                      <a:lnTo>
                        <a:pt x="1128339" y="55165"/>
                      </a:lnTo>
                      <a:lnTo>
                        <a:pt x="1127648" y="66029"/>
                      </a:lnTo>
                      <a:lnTo>
                        <a:pt x="1126960" y="76912"/>
                      </a:lnTo>
                      <a:lnTo>
                        <a:pt x="1126279" y="87790"/>
                      </a:lnTo>
                      <a:lnTo>
                        <a:pt x="1125591" y="98665"/>
                      </a:lnTo>
                      <a:lnTo>
                        <a:pt x="1124912" y="109543"/>
                      </a:lnTo>
                      <a:lnTo>
                        <a:pt x="1124230" y="120426"/>
                      </a:lnTo>
                      <a:lnTo>
                        <a:pt x="1123550" y="131309"/>
                      </a:lnTo>
                      <a:lnTo>
                        <a:pt x="1122873" y="142201"/>
                      </a:lnTo>
                      <a:lnTo>
                        <a:pt x="1122202" y="153092"/>
                      </a:lnTo>
                      <a:lnTo>
                        <a:pt x="1121521" y="163985"/>
                      </a:lnTo>
                      <a:lnTo>
                        <a:pt x="1120848" y="174875"/>
                      </a:lnTo>
                      <a:lnTo>
                        <a:pt x="1120176" y="185768"/>
                      </a:lnTo>
                      <a:lnTo>
                        <a:pt x="1119498" y="196668"/>
                      </a:lnTo>
                      <a:lnTo>
                        <a:pt x="1118829" y="207570"/>
                      </a:lnTo>
                      <a:lnTo>
                        <a:pt x="1117867" y="223938"/>
                      </a:lnTo>
                      <a:lnTo>
                        <a:pt x="1116912" y="240302"/>
                      </a:lnTo>
                      <a:lnTo>
                        <a:pt x="1115959" y="256676"/>
                      </a:lnTo>
                      <a:lnTo>
                        <a:pt x="1115004" y="273059"/>
                      </a:lnTo>
                      <a:lnTo>
                        <a:pt x="1114060" y="289442"/>
                      </a:lnTo>
                      <a:lnTo>
                        <a:pt x="1113115" y="305835"/>
                      </a:lnTo>
                      <a:lnTo>
                        <a:pt x="1112164" y="322227"/>
                      </a:lnTo>
                      <a:lnTo>
                        <a:pt x="1111227" y="338634"/>
                      </a:lnTo>
                      <a:lnTo>
                        <a:pt x="1110295" y="355037"/>
                      </a:lnTo>
                      <a:lnTo>
                        <a:pt x="1109356" y="371444"/>
                      </a:lnTo>
                      <a:lnTo>
                        <a:pt x="1108423" y="387861"/>
                      </a:lnTo>
                      <a:lnTo>
                        <a:pt x="1107494" y="404274"/>
                      </a:lnTo>
                      <a:lnTo>
                        <a:pt x="1106571" y="420705"/>
                      </a:lnTo>
                      <a:lnTo>
                        <a:pt x="1105647" y="437132"/>
                      </a:lnTo>
                      <a:lnTo>
                        <a:pt x="1104720" y="453563"/>
                      </a:lnTo>
                      <a:lnTo>
                        <a:pt x="1103806" y="470004"/>
                      </a:lnTo>
                      <a:lnTo>
                        <a:pt x="1102892" y="486449"/>
                      </a:lnTo>
                      <a:lnTo>
                        <a:pt x="1101978" y="502900"/>
                      </a:lnTo>
                      <a:lnTo>
                        <a:pt x="1101059" y="519346"/>
                      </a:lnTo>
                      <a:lnTo>
                        <a:pt x="1100155" y="535810"/>
                      </a:lnTo>
                      <a:lnTo>
                        <a:pt x="1099252" y="552269"/>
                      </a:lnTo>
                      <a:lnTo>
                        <a:pt x="1098348" y="568734"/>
                      </a:lnTo>
                      <a:lnTo>
                        <a:pt x="1097444" y="585199"/>
                      </a:lnTo>
                      <a:lnTo>
                        <a:pt x="1096549" y="601683"/>
                      </a:lnTo>
                      <a:lnTo>
                        <a:pt x="1095657" y="618157"/>
                      </a:lnTo>
                      <a:lnTo>
                        <a:pt x="1094760" y="634640"/>
                      </a:lnTo>
                      <a:lnTo>
                        <a:pt x="1093866" y="651128"/>
                      </a:lnTo>
                      <a:lnTo>
                        <a:pt x="1092981" y="667621"/>
                      </a:lnTo>
                      <a:lnTo>
                        <a:pt x="1092095" y="684122"/>
                      </a:lnTo>
                      <a:lnTo>
                        <a:pt x="1091204" y="700628"/>
                      </a:lnTo>
                      <a:lnTo>
                        <a:pt x="1090329" y="717135"/>
                      </a:lnTo>
                      <a:lnTo>
                        <a:pt x="1089451" y="733646"/>
                      </a:lnTo>
                      <a:lnTo>
                        <a:pt x="1074381" y="733368"/>
                      </a:lnTo>
                      <a:lnTo>
                        <a:pt x="1055116" y="733008"/>
                      </a:lnTo>
                      <a:lnTo>
                        <a:pt x="1035857" y="732640"/>
                      </a:lnTo>
                      <a:lnTo>
                        <a:pt x="1016600" y="732265"/>
                      </a:lnTo>
                      <a:lnTo>
                        <a:pt x="997340" y="731884"/>
                      </a:lnTo>
                      <a:lnTo>
                        <a:pt x="978088" y="731496"/>
                      </a:lnTo>
                      <a:lnTo>
                        <a:pt x="958835" y="731100"/>
                      </a:lnTo>
                      <a:lnTo>
                        <a:pt x="939588" y="730697"/>
                      </a:lnTo>
                      <a:lnTo>
                        <a:pt x="910143" y="730068"/>
                      </a:lnTo>
                      <a:lnTo>
                        <a:pt x="880703" y="729422"/>
                      </a:lnTo>
                      <a:lnTo>
                        <a:pt x="851269" y="728760"/>
                      </a:lnTo>
                      <a:lnTo>
                        <a:pt x="821837" y="728081"/>
                      </a:lnTo>
                      <a:lnTo>
                        <a:pt x="792414" y="727386"/>
                      </a:lnTo>
                      <a:lnTo>
                        <a:pt x="762994" y="726675"/>
                      </a:lnTo>
                      <a:lnTo>
                        <a:pt x="733579" y="725946"/>
                      </a:lnTo>
                      <a:lnTo>
                        <a:pt x="704162" y="725202"/>
                      </a:lnTo>
                      <a:lnTo>
                        <a:pt x="674746" y="724440"/>
                      </a:lnTo>
                      <a:lnTo>
                        <a:pt x="645351" y="723663"/>
                      </a:lnTo>
                      <a:lnTo>
                        <a:pt x="615952" y="722869"/>
                      </a:lnTo>
                      <a:lnTo>
                        <a:pt x="586562" y="722059"/>
                      </a:lnTo>
                      <a:lnTo>
                        <a:pt x="557179" y="721232"/>
                      </a:lnTo>
                      <a:lnTo>
                        <a:pt x="527800" y="720388"/>
                      </a:lnTo>
                      <a:lnTo>
                        <a:pt x="498428" y="719529"/>
                      </a:lnTo>
                      <a:lnTo>
                        <a:pt x="469053" y="718652"/>
                      </a:lnTo>
                      <a:lnTo>
                        <a:pt x="439684" y="717758"/>
                      </a:lnTo>
                      <a:lnTo>
                        <a:pt x="410329" y="716849"/>
                      </a:lnTo>
                      <a:lnTo>
                        <a:pt x="380975" y="715922"/>
                      </a:lnTo>
                      <a:lnTo>
                        <a:pt x="351633" y="714979"/>
                      </a:lnTo>
                      <a:lnTo>
                        <a:pt x="322295" y="714020"/>
                      </a:lnTo>
                      <a:lnTo>
                        <a:pt x="292964" y="713044"/>
                      </a:lnTo>
                      <a:lnTo>
                        <a:pt x="263637" y="712052"/>
                      </a:lnTo>
                      <a:lnTo>
                        <a:pt x="234311" y="711042"/>
                      </a:lnTo>
                      <a:lnTo>
                        <a:pt x="204997" y="710016"/>
                      </a:lnTo>
                      <a:lnTo>
                        <a:pt x="175688" y="708974"/>
                      </a:lnTo>
                      <a:lnTo>
                        <a:pt x="146390" y="707914"/>
                      </a:lnTo>
                      <a:lnTo>
                        <a:pt x="117101" y="706839"/>
                      </a:lnTo>
                      <a:lnTo>
                        <a:pt x="87817" y="705747"/>
                      </a:lnTo>
                      <a:lnTo>
                        <a:pt x="58537" y="704638"/>
                      </a:lnTo>
                      <a:lnTo>
                        <a:pt x="29269" y="703511"/>
                      </a:lnTo>
                      <a:lnTo>
                        <a:pt x="0" y="702369"/>
                      </a:lnTo>
                      <a:lnTo>
                        <a:pt x="2656" y="680288"/>
                      </a:lnTo>
                      <a:lnTo>
                        <a:pt x="5318" y="658216"/>
                      </a:lnTo>
                      <a:lnTo>
                        <a:pt x="7989" y="636148"/>
                      </a:lnTo>
                      <a:lnTo>
                        <a:pt x="10671" y="614079"/>
                      </a:lnTo>
                      <a:lnTo>
                        <a:pt x="13362" y="592024"/>
                      </a:lnTo>
                      <a:lnTo>
                        <a:pt x="16060" y="569991"/>
                      </a:lnTo>
                      <a:lnTo>
                        <a:pt x="18769" y="547952"/>
                      </a:lnTo>
                      <a:lnTo>
                        <a:pt x="21488" y="525927"/>
                      </a:lnTo>
                      <a:lnTo>
                        <a:pt x="24215" y="503911"/>
                      </a:lnTo>
                      <a:lnTo>
                        <a:pt x="26951" y="481908"/>
                      </a:lnTo>
                      <a:lnTo>
                        <a:pt x="29697" y="459913"/>
                      </a:lnTo>
                      <a:lnTo>
                        <a:pt x="32461" y="437915"/>
                      </a:lnTo>
                      <a:lnTo>
                        <a:pt x="35234" y="415931"/>
                      </a:lnTo>
                      <a:lnTo>
                        <a:pt x="38008" y="393957"/>
                      </a:lnTo>
                      <a:lnTo>
                        <a:pt x="40792" y="371994"/>
                      </a:lnTo>
                      <a:lnTo>
                        <a:pt x="43584" y="350043"/>
                      </a:lnTo>
                      <a:lnTo>
                        <a:pt x="46387" y="328098"/>
                      </a:lnTo>
                      <a:lnTo>
                        <a:pt x="49198" y="306162"/>
                      </a:lnTo>
                      <a:lnTo>
                        <a:pt x="52019" y="284238"/>
                      </a:lnTo>
                      <a:lnTo>
                        <a:pt x="54857" y="262315"/>
                      </a:lnTo>
                      <a:lnTo>
                        <a:pt x="57697" y="240406"/>
                      </a:lnTo>
                      <a:lnTo>
                        <a:pt x="60546" y="218505"/>
                      </a:lnTo>
                      <a:lnTo>
                        <a:pt x="63405" y="196609"/>
                      </a:lnTo>
                      <a:lnTo>
                        <a:pt x="66273" y="174727"/>
                      </a:lnTo>
                      <a:lnTo>
                        <a:pt x="69150" y="152857"/>
                      </a:lnTo>
                      <a:lnTo>
                        <a:pt x="72037" y="130998"/>
                      </a:lnTo>
                      <a:lnTo>
                        <a:pt x="74933" y="109138"/>
                      </a:lnTo>
                      <a:lnTo>
                        <a:pt x="77851" y="87290"/>
                      </a:lnTo>
                      <a:lnTo>
                        <a:pt x="80773" y="65449"/>
                      </a:lnTo>
                      <a:lnTo>
                        <a:pt x="83698" y="43627"/>
                      </a:lnTo>
                      <a:lnTo>
                        <a:pt x="86631" y="21813"/>
                      </a:lnTo>
                      <a:lnTo>
                        <a:pt x="89575" y="0"/>
                      </a:lnTo>
                      <a:lnTo>
                        <a:pt x="112828" y="1016"/>
                      </a:lnTo>
                      <a:lnTo>
                        <a:pt x="136095" y="2020"/>
                      </a:lnTo>
                      <a:lnTo>
                        <a:pt x="159359" y="3011"/>
                      </a:lnTo>
                      <a:lnTo>
                        <a:pt x="182628" y="3990"/>
                      </a:lnTo>
                      <a:lnTo>
                        <a:pt x="205898" y="4956"/>
                      </a:lnTo>
                      <a:lnTo>
                        <a:pt x="229186" y="5911"/>
                      </a:lnTo>
                      <a:lnTo>
                        <a:pt x="252473" y="6853"/>
                      </a:lnTo>
                      <a:lnTo>
                        <a:pt x="275766" y="7783"/>
                      </a:lnTo>
                      <a:lnTo>
                        <a:pt x="299063" y="8701"/>
                      </a:lnTo>
                      <a:lnTo>
                        <a:pt x="322366" y="9606"/>
                      </a:lnTo>
                      <a:lnTo>
                        <a:pt x="345672" y="10499"/>
                      </a:lnTo>
                      <a:lnTo>
                        <a:pt x="368980" y="11380"/>
                      </a:lnTo>
                      <a:lnTo>
                        <a:pt x="392288" y="12248"/>
                      </a:lnTo>
                      <a:lnTo>
                        <a:pt x="415613" y="13104"/>
                      </a:lnTo>
                      <a:lnTo>
                        <a:pt x="438937" y="13948"/>
                      </a:lnTo>
                      <a:lnTo>
                        <a:pt x="462267" y="14780"/>
                      </a:lnTo>
                      <a:lnTo>
                        <a:pt x="485600" y="15599"/>
                      </a:lnTo>
                      <a:lnTo>
                        <a:pt x="508937" y="16407"/>
                      </a:lnTo>
                      <a:lnTo>
                        <a:pt x="532279" y="17202"/>
                      </a:lnTo>
                      <a:lnTo>
                        <a:pt x="555621" y="17985"/>
                      </a:lnTo>
                      <a:lnTo>
                        <a:pt x="578964" y="18756"/>
                      </a:lnTo>
                      <a:lnTo>
                        <a:pt x="602322" y="19514"/>
                      </a:lnTo>
                      <a:lnTo>
                        <a:pt x="625679" y="20261"/>
                      </a:lnTo>
                      <a:lnTo>
                        <a:pt x="649040" y="20995"/>
                      </a:lnTo>
                      <a:lnTo>
                        <a:pt x="672406" y="21717"/>
                      </a:lnTo>
                      <a:lnTo>
                        <a:pt x="695772" y="22426"/>
                      </a:lnTo>
                      <a:lnTo>
                        <a:pt x="719137" y="23124"/>
                      </a:lnTo>
                      <a:lnTo>
                        <a:pt x="742513" y="23809"/>
                      </a:lnTo>
                      <a:lnTo>
                        <a:pt x="765897" y="24482"/>
                      </a:lnTo>
                      <a:lnTo>
                        <a:pt x="789280" y="25144"/>
                      </a:lnTo>
                      <a:lnTo>
                        <a:pt x="812667" y="25793"/>
                      </a:lnTo>
                      <a:lnTo>
                        <a:pt x="831264" y="26300"/>
                      </a:lnTo>
                      <a:lnTo>
                        <a:pt x="853787" y="26904"/>
                      </a:lnTo>
                      <a:lnTo>
                        <a:pt x="871515" y="2738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0" name="Freeform 39">
                  <a:extLst>
                    <a:ext uri="{FF2B5EF4-FFF2-40B4-BE49-F238E27FC236}">
                      <a16:creationId xmlns:a16="http://schemas.microsoft.com/office/drawing/2014/main" id="{96B4B881-8C03-4AF3-A172-89F9543DDB25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809619" y="3992152"/>
                  <a:ext cx="666629" cy="87469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85988" h="1293733">
                      <a:moveTo>
                        <a:pt x="830035" y="942779"/>
                      </a:moveTo>
                      <a:lnTo>
                        <a:pt x="829786" y="944246"/>
                      </a:lnTo>
                      <a:lnTo>
                        <a:pt x="829092" y="948426"/>
                      </a:lnTo>
                      <a:lnTo>
                        <a:pt x="828013" y="954909"/>
                      </a:lnTo>
                      <a:lnTo>
                        <a:pt x="826613" y="963321"/>
                      </a:lnTo>
                      <a:lnTo>
                        <a:pt x="824967" y="973264"/>
                      </a:lnTo>
                      <a:lnTo>
                        <a:pt x="823128" y="984383"/>
                      </a:lnTo>
                      <a:lnTo>
                        <a:pt x="821165" y="996267"/>
                      </a:lnTo>
                      <a:lnTo>
                        <a:pt x="819143" y="1008535"/>
                      </a:lnTo>
                      <a:lnTo>
                        <a:pt x="817120" y="1020805"/>
                      </a:lnTo>
                      <a:lnTo>
                        <a:pt x="815167" y="1032697"/>
                      </a:lnTo>
                      <a:lnTo>
                        <a:pt x="813346" y="1043827"/>
                      </a:lnTo>
                      <a:lnTo>
                        <a:pt x="811713" y="1053784"/>
                      </a:lnTo>
                      <a:lnTo>
                        <a:pt x="810339" y="1062202"/>
                      </a:lnTo>
                      <a:lnTo>
                        <a:pt x="809281" y="1068699"/>
                      </a:lnTo>
                      <a:lnTo>
                        <a:pt x="808604" y="1072875"/>
                      </a:lnTo>
                      <a:lnTo>
                        <a:pt x="808357" y="1074368"/>
                      </a:lnTo>
                      <a:lnTo>
                        <a:pt x="807120" y="1081894"/>
                      </a:lnTo>
                      <a:lnTo>
                        <a:pt x="806721" y="1083572"/>
                      </a:lnTo>
                      <a:lnTo>
                        <a:pt x="806066" y="1085297"/>
                      </a:lnTo>
                      <a:lnTo>
                        <a:pt x="802300" y="1089102"/>
                      </a:lnTo>
                      <a:lnTo>
                        <a:pt x="798810" y="1092605"/>
                      </a:lnTo>
                      <a:lnTo>
                        <a:pt x="796216" y="1098038"/>
                      </a:lnTo>
                      <a:lnTo>
                        <a:pt x="793114" y="1104517"/>
                      </a:lnTo>
                      <a:lnTo>
                        <a:pt x="789460" y="1112150"/>
                      </a:lnTo>
                      <a:lnTo>
                        <a:pt x="783606" y="1114727"/>
                      </a:lnTo>
                      <a:lnTo>
                        <a:pt x="775807" y="1115476"/>
                      </a:lnTo>
                      <a:lnTo>
                        <a:pt x="771824" y="1115046"/>
                      </a:lnTo>
                      <a:lnTo>
                        <a:pt x="768503" y="1113424"/>
                      </a:lnTo>
                      <a:lnTo>
                        <a:pt x="765971" y="1110916"/>
                      </a:lnTo>
                      <a:lnTo>
                        <a:pt x="764407" y="1108595"/>
                      </a:lnTo>
                      <a:lnTo>
                        <a:pt x="763296" y="1106309"/>
                      </a:lnTo>
                      <a:lnTo>
                        <a:pt x="760996" y="1098899"/>
                      </a:lnTo>
                      <a:lnTo>
                        <a:pt x="760122" y="1097116"/>
                      </a:lnTo>
                      <a:lnTo>
                        <a:pt x="758923" y="1095262"/>
                      </a:lnTo>
                      <a:lnTo>
                        <a:pt x="757503" y="1093555"/>
                      </a:lnTo>
                      <a:lnTo>
                        <a:pt x="756255" y="1092671"/>
                      </a:lnTo>
                      <a:lnTo>
                        <a:pt x="754908" y="1092084"/>
                      </a:lnTo>
                      <a:lnTo>
                        <a:pt x="753897" y="1091946"/>
                      </a:lnTo>
                      <a:lnTo>
                        <a:pt x="752814" y="1091939"/>
                      </a:lnTo>
                      <a:lnTo>
                        <a:pt x="751757" y="1092039"/>
                      </a:lnTo>
                      <a:lnTo>
                        <a:pt x="750794" y="1092258"/>
                      </a:lnTo>
                      <a:lnTo>
                        <a:pt x="749892" y="1092576"/>
                      </a:lnTo>
                      <a:lnTo>
                        <a:pt x="745555" y="1094601"/>
                      </a:lnTo>
                      <a:lnTo>
                        <a:pt x="744603" y="1094868"/>
                      </a:lnTo>
                      <a:lnTo>
                        <a:pt x="743523" y="1094958"/>
                      </a:lnTo>
                      <a:lnTo>
                        <a:pt x="742373" y="1094899"/>
                      </a:lnTo>
                      <a:lnTo>
                        <a:pt x="741197" y="1094699"/>
                      </a:lnTo>
                      <a:lnTo>
                        <a:pt x="739238" y="1093942"/>
                      </a:lnTo>
                      <a:lnTo>
                        <a:pt x="737789" y="1092890"/>
                      </a:lnTo>
                      <a:lnTo>
                        <a:pt x="736640" y="1091848"/>
                      </a:lnTo>
                      <a:lnTo>
                        <a:pt x="735881" y="1091333"/>
                      </a:lnTo>
                      <a:lnTo>
                        <a:pt x="735338" y="1091067"/>
                      </a:lnTo>
                      <a:lnTo>
                        <a:pt x="727431" y="1088329"/>
                      </a:lnTo>
                      <a:lnTo>
                        <a:pt x="726012" y="1088101"/>
                      </a:lnTo>
                      <a:lnTo>
                        <a:pt x="724653" y="1088341"/>
                      </a:lnTo>
                      <a:lnTo>
                        <a:pt x="722086" y="1089124"/>
                      </a:lnTo>
                      <a:lnTo>
                        <a:pt x="712744" y="1090816"/>
                      </a:lnTo>
                      <a:lnTo>
                        <a:pt x="707223" y="1093473"/>
                      </a:lnTo>
                      <a:lnTo>
                        <a:pt x="701661" y="1095452"/>
                      </a:lnTo>
                      <a:lnTo>
                        <a:pt x="700901" y="1095989"/>
                      </a:lnTo>
                      <a:lnTo>
                        <a:pt x="700197" y="1096577"/>
                      </a:lnTo>
                      <a:lnTo>
                        <a:pt x="698868" y="1097937"/>
                      </a:lnTo>
                      <a:lnTo>
                        <a:pt x="698251" y="1098736"/>
                      </a:lnTo>
                      <a:lnTo>
                        <a:pt x="697772" y="1100223"/>
                      </a:lnTo>
                      <a:lnTo>
                        <a:pt x="697432" y="1102222"/>
                      </a:lnTo>
                      <a:lnTo>
                        <a:pt x="697270" y="1106327"/>
                      </a:lnTo>
                      <a:lnTo>
                        <a:pt x="696854" y="1108334"/>
                      </a:lnTo>
                      <a:lnTo>
                        <a:pt x="695842" y="1110253"/>
                      </a:lnTo>
                      <a:lnTo>
                        <a:pt x="692803" y="1112645"/>
                      </a:lnTo>
                      <a:lnTo>
                        <a:pt x="692247" y="1117616"/>
                      </a:lnTo>
                      <a:lnTo>
                        <a:pt x="693070" y="1122432"/>
                      </a:lnTo>
                      <a:lnTo>
                        <a:pt x="694647" y="1126670"/>
                      </a:lnTo>
                      <a:lnTo>
                        <a:pt x="699527" y="1134475"/>
                      </a:lnTo>
                      <a:lnTo>
                        <a:pt x="700252" y="1136107"/>
                      </a:lnTo>
                      <a:lnTo>
                        <a:pt x="700246" y="1138165"/>
                      </a:lnTo>
                      <a:lnTo>
                        <a:pt x="699336" y="1140120"/>
                      </a:lnTo>
                      <a:lnTo>
                        <a:pt x="695864" y="1144519"/>
                      </a:lnTo>
                      <a:lnTo>
                        <a:pt x="694600" y="1147113"/>
                      </a:lnTo>
                      <a:lnTo>
                        <a:pt x="692814" y="1156965"/>
                      </a:lnTo>
                      <a:lnTo>
                        <a:pt x="692471" y="1161885"/>
                      </a:lnTo>
                      <a:lnTo>
                        <a:pt x="692648" y="1165530"/>
                      </a:lnTo>
                      <a:lnTo>
                        <a:pt x="695981" y="1178774"/>
                      </a:lnTo>
                      <a:lnTo>
                        <a:pt x="696534" y="1181702"/>
                      </a:lnTo>
                      <a:lnTo>
                        <a:pt x="694714" y="1185515"/>
                      </a:lnTo>
                      <a:lnTo>
                        <a:pt x="694421" y="1193306"/>
                      </a:lnTo>
                      <a:lnTo>
                        <a:pt x="689728" y="1201763"/>
                      </a:lnTo>
                      <a:lnTo>
                        <a:pt x="691221" y="1209049"/>
                      </a:lnTo>
                      <a:lnTo>
                        <a:pt x="692677" y="1217813"/>
                      </a:lnTo>
                      <a:lnTo>
                        <a:pt x="696120" y="1227370"/>
                      </a:lnTo>
                      <a:lnTo>
                        <a:pt x="696956" y="1231694"/>
                      </a:lnTo>
                      <a:lnTo>
                        <a:pt x="695966" y="1236487"/>
                      </a:lnTo>
                      <a:lnTo>
                        <a:pt x="695614" y="1241050"/>
                      </a:lnTo>
                      <a:lnTo>
                        <a:pt x="696283" y="1249699"/>
                      </a:lnTo>
                      <a:lnTo>
                        <a:pt x="695895" y="1256894"/>
                      </a:lnTo>
                      <a:lnTo>
                        <a:pt x="695180" y="1260692"/>
                      </a:lnTo>
                      <a:lnTo>
                        <a:pt x="692607" y="1267735"/>
                      </a:lnTo>
                      <a:lnTo>
                        <a:pt x="691847" y="1268244"/>
                      </a:lnTo>
                      <a:lnTo>
                        <a:pt x="689860" y="1269021"/>
                      </a:lnTo>
                      <a:lnTo>
                        <a:pt x="687608" y="1269326"/>
                      </a:lnTo>
                      <a:lnTo>
                        <a:pt x="685488" y="1269220"/>
                      </a:lnTo>
                      <a:lnTo>
                        <a:pt x="683804" y="1269811"/>
                      </a:lnTo>
                      <a:lnTo>
                        <a:pt x="682890" y="1272219"/>
                      </a:lnTo>
                      <a:lnTo>
                        <a:pt x="683342" y="1273918"/>
                      </a:lnTo>
                      <a:lnTo>
                        <a:pt x="685772" y="1277250"/>
                      </a:lnTo>
                      <a:lnTo>
                        <a:pt x="685986" y="1279763"/>
                      </a:lnTo>
                      <a:lnTo>
                        <a:pt x="685121" y="1281414"/>
                      </a:lnTo>
                      <a:lnTo>
                        <a:pt x="680727" y="1285741"/>
                      </a:lnTo>
                      <a:lnTo>
                        <a:pt x="681296" y="1291612"/>
                      </a:lnTo>
                      <a:lnTo>
                        <a:pt x="681132" y="1293732"/>
                      </a:lnTo>
                      <a:lnTo>
                        <a:pt x="656127" y="1266645"/>
                      </a:lnTo>
                      <a:lnTo>
                        <a:pt x="631268" y="1239589"/>
                      </a:lnTo>
                      <a:lnTo>
                        <a:pt x="605451" y="1211351"/>
                      </a:lnTo>
                      <a:lnTo>
                        <a:pt x="581610" y="1184480"/>
                      </a:lnTo>
                      <a:lnTo>
                        <a:pt x="560476" y="1160542"/>
                      </a:lnTo>
                      <a:lnTo>
                        <a:pt x="539426" y="1136588"/>
                      </a:lnTo>
                      <a:lnTo>
                        <a:pt x="518462" y="1112628"/>
                      </a:lnTo>
                      <a:lnTo>
                        <a:pt x="497588" y="1088659"/>
                      </a:lnTo>
                      <a:lnTo>
                        <a:pt x="476797" y="1064678"/>
                      </a:lnTo>
                      <a:lnTo>
                        <a:pt x="456093" y="1040687"/>
                      </a:lnTo>
                      <a:lnTo>
                        <a:pt x="435479" y="1016690"/>
                      </a:lnTo>
                      <a:lnTo>
                        <a:pt x="414953" y="992677"/>
                      </a:lnTo>
                      <a:lnTo>
                        <a:pt x="391430" y="966364"/>
                      </a:lnTo>
                      <a:lnTo>
                        <a:pt x="368014" y="940037"/>
                      </a:lnTo>
                      <a:lnTo>
                        <a:pt x="344709" y="913686"/>
                      </a:lnTo>
                      <a:lnTo>
                        <a:pt x="321519" y="887329"/>
                      </a:lnTo>
                      <a:lnTo>
                        <a:pt x="298445" y="860958"/>
                      </a:lnTo>
                      <a:lnTo>
                        <a:pt x="275476" y="834568"/>
                      </a:lnTo>
                      <a:lnTo>
                        <a:pt x="252620" y="808168"/>
                      </a:lnTo>
                      <a:lnTo>
                        <a:pt x="229881" y="781754"/>
                      </a:lnTo>
                      <a:lnTo>
                        <a:pt x="200528" y="750217"/>
                      </a:lnTo>
                      <a:lnTo>
                        <a:pt x="171350" y="718651"/>
                      </a:lnTo>
                      <a:lnTo>
                        <a:pt x="142347" y="687064"/>
                      </a:lnTo>
                      <a:lnTo>
                        <a:pt x="113524" y="655451"/>
                      </a:lnTo>
                      <a:lnTo>
                        <a:pt x="84875" y="623808"/>
                      </a:lnTo>
                      <a:lnTo>
                        <a:pt x="56403" y="592141"/>
                      </a:lnTo>
                      <a:lnTo>
                        <a:pt x="28111" y="560452"/>
                      </a:lnTo>
                      <a:lnTo>
                        <a:pt x="0" y="528737"/>
                      </a:lnTo>
                      <a:lnTo>
                        <a:pt x="561" y="526252"/>
                      </a:lnTo>
                      <a:lnTo>
                        <a:pt x="2835" y="516436"/>
                      </a:lnTo>
                      <a:lnTo>
                        <a:pt x="10379" y="483992"/>
                      </a:lnTo>
                      <a:lnTo>
                        <a:pt x="17955" y="451566"/>
                      </a:lnTo>
                      <a:lnTo>
                        <a:pt x="25567" y="419169"/>
                      </a:lnTo>
                      <a:lnTo>
                        <a:pt x="33220" y="386792"/>
                      </a:lnTo>
                      <a:lnTo>
                        <a:pt x="40909" y="354436"/>
                      </a:lnTo>
                      <a:lnTo>
                        <a:pt x="48634" y="322097"/>
                      </a:lnTo>
                      <a:lnTo>
                        <a:pt x="56389" y="289790"/>
                      </a:lnTo>
                      <a:lnTo>
                        <a:pt x="64193" y="257501"/>
                      </a:lnTo>
                      <a:lnTo>
                        <a:pt x="72029" y="225230"/>
                      </a:lnTo>
                      <a:lnTo>
                        <a:pt x="79900" y="192986"/>
                      </a:lnTo>
                      <a:lnTo>
                        <a:pt x="87807" y="160765"/>
                      </a:lnTo>
                      <a:lnTo>
                        <a:pt x="95754" y="128571"/>
                      </a:lnTo>
                      <a:lnTo>
                        <a:pt x="103741" y="96392"/>
                      </a:lnTo>
                      <a:lnTo>
                        <a:pt x="111759" y="64239"/>
                      </a:lnTo>
                      <a:lnTo>
                        <a:pt x="119812" y="32110"/>
                      </a:lnTo>
                      <a:lnTo>
                        <a:pt x="127909" y="0"/>
                      </a:lnTo>
                      <a:lnTo>
                        <a:pt x="154673" y="2293"/>
                      </a:lnTo>
                      <a:lnTo>
                        <a:pt x="181353" y="4559"/>
                      </a:lnTo>
                      <a:lnTo>
                        <a:pt x="208040" y="6806"/>
                      </a:lnTo>
                      <a:lnTo>
                        <a:pt x="234730" y="9034"/>
                      </a:lnTo>
                      <a:lnTo>
                        <a:pt x="261440" y="11243"/>
                      </a:lnTo>
                      <a:lnTo>
                        <a:pt x="288167" y="13435"/>
                      </a:lnTo>
                      <a:lnTo>
                        <a:pt x="314906" y="15607"/>
                      </a:lnTo>
                      <a:lnTo>
                        <a:pt x="341657" y="17761"/>
                      </a:lnTo>
                      <a:lnTo>
                        <a:pt x="368419" y="19896"/>
                      </a:lnTo>
                      <a:lnTo>
                        <a:pt x="395198" y="22013"/>
                      </a:lnTo>
                      <a:lnTo>
                        <a:pt x="421989" y="24112"/>
                      </a:lnTo>
                      <a:lnTo>
                        <a:pt x="448791" y="26192"/>
                      </a:lnTo>
                      <a:lnTo>
                        <a:pt x="475600" y="28254"/>
                      </a:lnTo>
                      <a:lnTo>
                        <a:pt x="502430" y="30297"/>
                      </a:lnTo>
                      <a:lnTo>
                        <a:pt x="529274" y="32323"/>
                      </a:lnTo>
                      <a:lnTo>
                        <a:pt x="556122" y="34330"/>
                      </a:lnTo>
                      <a:lnTo>
                        <a:pt x="582903" y="36307"/>
                      </a:lnTo>
                      <a:lnTo>
                        <a:pt x="609695" y="38263"/>
                      </a:lnTo>
                      <a:lnTo>
                        <a:pt x="636499" y="40201"/>
                      </a:lnTo>
                      <a:lnTo>
                        <a:pt x="663316" y="42124"/>
                      </a:lnTo>
                      <a:lnTo>
                        <a:pt x="690148" y="44030"/>
                      </a:lnTo>
                      <a:lnTo>
                        <a:pt x="716984" y="45913"/>
                      </a:lnTo>
                      <a:lnTo>
                        <a:pt x="743830" y="47786"/>
                      </a:lnTo>
                      <a:lnTo>
                        <a:pt x="770695" y="49633"/>
                      </a:lnTo>
                      <a:lnTo>
                        <a:pt x="797572" y="51467"/>
                      </a:lnTo>
                      <a:lnTo>
                        <a:pt x="824450" y="53286"/>
                      </a:lnTo>
                      <a:lnTo>
                        <a:pt x="851342" y="55083"/>
                      </a:lnTo>
                      <a:lnTo>
                        <a:pt x="878250" y="56858"/>
                      </a:lnTo>
                      <a:lnTo>
                        <a:pt x="905169" y="58616"/>
                      </a:lnTo>
                      <a:lnTo>
                        <a:pt x="932102" y="60354"/>
                      </a:lnTo>
                      <a:lnTo>
                        <a:pt x="959044" y="62080"/>
                      </a:lnTo>
                      <a:lnTo>
                        <a:pt x="985987" y="63783"/>
                      </a:lnTo>
                      <a:lnTo>
                        <a:pt x="980791" y="91021"/>
                      </a:lnTo>
                      <a:lnTo>
                        <a:pt x="975633" y="118263"/>
                      </a:lnTo>
                      <a:lnTo>
                        <a:pt x="970481" y="145541"/>
                      </a:lnTo>
                      <a:lnTo>
                        <a:pt x="965360" y="172813"/>
                      </a:lnTo>
                      <a:lnTo>
                        <a:pt x="960250" y="200110"/>
                      </a:lnTo>
                      <a:lnTo>
                        <a:pt x="955167" y="227427"/>
                      </a:lnTo>
                      <a:lnTo>
                        <a:pt x="950098" y="254749"/>
                      </a:lnTo>
                      <a:lnTo>
                        <a:pt x="945056" y="282097"/>
                      </a:lnTo>
                      <a:lnTo>
                        <a:pt x="940032" y="309454"/>
                      </a:lnTo>
                      <a:lnTo>
                        <a:pt x="935029" y="336833"/>
                      </a:lnTo>
                      <a:lnTo>
                        <a:pt x="930044" y="364212"/>
                      </a:lnTo>
                      <a:lnTo>
                        <a:pt x="925082" y="391624"/>
                      </a:lnTo>
                      <a:lnTo>
                        <a:pt x="920135" y="419038"/>
                      </a:lnTo>
                      <a:lnTo>
                        <a:pt x="915219" y="446472"/>
                      </a:lnTo>
                      <a:lnTo>
                        <a:pt x="910311" y="473925"/>
                      </a:lnTo>
                      <a:lnTo>
                        <a:pt x="905425" y="501388"/>
                      </a:lnTo>
                      <a:lnTo>
                        <a:pt x="900559" y="528862"/>
                      </a:lnTo>
                      <a:lnTo>
                        <a:pt x="895712" y="556358"/>
                      </a:lnTo>
                      <a:lnTo>
                        <a:pt x="890892" y="583871"/>
                      </a:lnTo>
                      <a:lnTo>
                        <a:pt x="886088" y="611384"/>
                      </a:lnTo>
                      <a:lnTo>
                        <a:pt x="881312" y="638930"/>
                      </a:lnTo>
                      <a:lnTo>
                        <a:pt x="876547" y="666476"/>
                      </a:lnTo>
                      <a:lnTo>
                        <a:pt x="871808" y="694047"/>
                      </a:lnTo>
                      <a:lnTo>
                        <a:pt x="867082" y="721627"/>
                      </a:lnTo>
                      <a:lnTo>
                        <a:pt x="862384" y="749221"/>
                      </a:lnTo>
                      <a:lnTo>
                        <a:pt x="857704" y="776826"/>
                      </a:lnTo>
                      <a:lnTo>
                        <a:pt x="853046" y="804453"/>
                      </a:lnTo>
                      <a:lnTo>
                        <a:pt x="848401" y="832090"/>
                      </a:lnTo>
                      <a:lnTo>
                        <a:pt x="843784" y="859738"/>
                      </a:lnTo>
                      <a:lnTo>
                        <a:pt x="839176" y="887415"/>
                      </a:lnTo>
                      <a:lnTo>
                        <a:pt x="834601" y="915086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1" name="Freeform 40">
                  <a:extLst>
                    <a:ext uri="{FF2B5EF4-FFF2-40B4-BE49-F238E27FC236}">
                      <a16:creationId xmlns:a16="http://schemas.microsoft.com/office/drawing/2014/main" id="{465CFC5C-7B6D-4D95-850D-9237A12D4CE3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816705" y="4654511"/>
                  <a:ext cx="710162" cy="68625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50376" h="1015016">
                      <a:moveTo>
                        <a:pt x="1044760" y="116419"/>
                      </a:moveTo>
                      <a:lnTo>
                        <a:pt x="1038194" y="116390"/>
                      </a:lnTo>
                      <a:lnTo>
                        <a:pt x="1038082" y="119559"/>
                      </a:lnTo>
                      <a:lnTo>
                        <a:pt x="1037693" y="125098"/>
                      </a:lnTo>
                      <a:lnTo>
                        <a:pt x="1035999" y="149633"/>
                      </a:lnTo>
                      <a:lnTo>
                        <a:pt x="1034311" y="174178"/>
                      </a:lnTo>
                      <a:lnTo>
                        <a:pt x="1032621" y="198728"/>
                      </a:lnTo>
                      <a:lnTo>
                        <a:pt x="1030940" y="223297"/>
                      </a:lnTo>
                      <a:lnTo>
                        <a:pt x="1029269" y="247875"/>
                      </a:lnTo>
                      <a:lnTo>
                        <a:pt x="1027598" y="272455"/>
                      </a:lnTo>
                      <a:lnTo>
                        <a:pt x="1025939" y="297048"/>
                      </a:lnTo>
                      <a:lnTo>
                        <a:pt x="1024290" y="321652"/>
                      </a:lnTo>
                      <a:lnTo>
                        <a:pt x="1022640" y="346269"/>
                      </a:lnTo>
                      <a:lnTo>
                        <a:pt x="1020996" y="370888"/>
                      </a:lnTo>
                      <a:lnTo>
                        <a:pt x="1019353" y="395516"/>
                      </a:lnTo>
                      <a:lnTo>
                        <a:pt x="1017728" y="420166"/>
                      </a:lnTo>
                      <a:lnTo>
                        <a:pt x="1016100" y="444817"/>
                      </a:lnTo>
                      <a:lnTo>
                        <a:pt x="1014475" y="469487"/>
                      </a:lnTo>
                      <a:lnTo>
                        <a:pt x="1012868" y="494153"/>
                      </a:lnTo>
                      <a:lnTo>
                        <a:pt x="1011260" y="518833"/>
                      </a:lnTo>
                      <a:lnTo>
                        <a:pt x="1009661" y="543522"/>
                      </a:lnTo>
                      <a:lnTo>
                        <a:pt x="1008067" y="568221"/>
                      </a:lnTo>
                      <a:lnTo>
                        <a:pt x="1006472" y="592937"/>
                      </a:lnTo>
                      <a:lnTo>
                        <a:pt x="1004891" y="617654"/>
                      </a:lnTo>
                      <a:lnTo>
                        <a:pt x="1003315" y="642385"/>
                      </a:lnTo>
                      <a:lnTo>
                        <a:pt x="1001737" y="667115"/>
                      </a:lnTo>
                      <a:lnTo>
                        <a:pt x="1000174" y="691856"/>
                      </a:lnTo>
                      <a:lnTo>
                        <a:pt x="998616" y="716613"/>
                      </a:lnTo>
                      <a:lnTo>
                        <a:pt x="997061" y="741381"/>
                      </a:lnTo>
                      <a:lnTo>
                        <a:pt x="995515" y="766153"/>
                      </a:lnTo>
                      <a:lnTo>
                        <a:pt x="993979" y="790929"/>
                      </a:lnTo>
                      <a:lnTo>
                        <a:pt x="992441" y="815719"/>
                      </a:lnTo>
                      <a:lnTo>
                        <a:pt x="990909" y="840526"/>
                      </a:lnTo>
                      <a:lnTo>
                        <a:pt x="989391" y="865325"/>
                      </a:lnTo>
                      <a:lnTo>
                        <a:pt x="987868" y="890142"/>
                      </a:lnTo>
                      <a:lnTo>
                        <a:pt x="986352" y="914971"/>
                      </a:lnTo>
                      <a:lnTo>
                        <a:pt x="950082" y="914313"/>
                      </a:lnTo>
                      <a:lnTo>
                        <a:pt x="913816" y="913633"/>
                      </a:lnTo>
                      <a:lnTo>
                        <a:pt x="877559" y="912933"/>
                      </a:lnTo>
                      <a:lnTo>
                        <a:pt x="841305" y="912222"/>
                      </a:lnTo>
                      <a:lnTo>
                        <a:pt x="805061" y="911490"/>
                      </a:lnTo>
                      <a:lnTo>
                        <a:pt x="768820" y="910729"/>
                      </a:lnTo>
                      <a:lnTo>
                        <a:pt x="732594" y="909947"/>
                      </a:lnTo>
                      <a:lnTo>
                        <a:pt x="696361" y="909150"/>
                      </a:lnTo>
                      <a:lnTo>
                        <a:pt x="660148" y="908328"/>
                      </a:lnTo>
                      <a:lnTo>
                        <a:pt x="623929" y="907484"/>
                      </a:lnTo>
                      <a:lnTo>
                        <a:pt x="587731" y="906622"/>
                      </a:lnTo>
                      <a:lnTo>
                        <a:pt x="551524" y="905737"/>
                      </a:lnTo>
                      <a:lnTo>
                        <a:pt x="515332" y="904837"/>
                      </a:lnTo>
                      <a:lnTo>
                        <a:pt x="479148" y="903908"/>
                      </a:lnTo>
                      <a:lnTo>
                        <a:pt x="442974" y="902967"/>
                      </a:lnTo>
                      <a:lnTo>
                        <a:pt x="406807" y="902004"/>
                      </a:lnTo>
                      <a:lnTo>
                        <a:pt x="402597" y="901898"/>
                      </a:lnTo>
                      <a:lnTo>
                        <a:pt x="399902" y="901824"/>
                      </a:lnTo>
                      <a:lnTo>
                        <a:pt x="399773" y="904851"/>
                      </a:lnTo>
                      <a:lnTo>
                        <a:pt x="402650" y="911407"/>
                      </a:lnTo>
                      <a:lnTo>
                        <a:pt x="403208" y="915232"/>
                      </a:lnTo>
                      <a:lnTo>
                        <a:pt x="403309" y="919348"/>
                      </a:lnTo>
                      <a:lnTo>
                        <a:pt x="404254" y="922527"/>
                      </a:lnTo>
                      <a:lnTo>
                        <a:pt x="407816" y="928109"/>
                      </a:lnTo>
                      <a:lnTo>
                        <a:pt x="406492" y="929408"/>
                      </a:lnTo>
                      <a:lnTo>
                        <a:pt x="407471" y="931516"/>
                      </a:lnTo>
                      <a:lnTo>
                        <a:pt x="408846" y="933122"/>
                      </a:lnTo>
                      <a:lnTo>
                        <a:pt x="410635" y="934169"/>
                      </a:lnTo>
                      <a:lnTo>
                        <a:pt x="412862" y="934592"/>
                      </a:lnTo>
                      <a:lnTo>
                        <a:pt x="412846" y="934592"/>
                      </a:lnTo>
                      <a:lnTo>
                        <a:pt x="414890" y="935979"/>
                      </a:lnTo>
                      <a:lnTo>
                        <a:pt x="421944" y="943693"/>
                      </a:lnTo>
                      <a:lnTo>
                        <a:pt x="420180" y="943005"/>
                      </a:lnTo>
                      <a:lnTo>
                        <a:pt x="413366" y="942812"/>
                      </a:lnTo>
                      <a:lnTo>
                        <a:pt x="409143" y="942689"/>
                      </a:lnTo>
                      <a:lnTo>
                        <a:pt x="404930" y="942566"/>
                      </a:lnTo>
                      <a:lnTo>
                        <a:pt x="400708" y="942432"/>
                      </a:lnTo>
                      <a:lnTo>
                        <a:pt x="396487" y="942308"/>
                      </a:lnTo>
                      <a:lnTo>
                        <a:pt x="392274" y="942175"/>
                      </a:lnTo>
                      <a:lnTo>
                        <a:pt x="388052" y="942059"/>
                      </a:lnTo>
                      <a:lnTo>
                        <a:pt x="383830" y="941934"/>
                      </a:lnTo>
                      <a:lnTo>
                        <a:pt x="379619" y="941799"/>
                      </a:lnTo>
                      <a:lnTo>
                        <a:pt x="375397" y="941674"/>
                      </a:lnTo>
                      <a:lnTo>
                        <a:pt x="371176" y="941548"/>
                      </a:lnTo>
                      <a:lnTo>
                        <a:pt x="366955" y="941422"/>
                      </a:lnTo>
                      <a:lnTo>
                        <a:pt x="362743" y="941296"/>
                      </a:lnTo>
                      <a:lnTo>
                        <a:pt x="358523" y="941159"/>
                      </a:lnTo>
                      <a:lnTo>
                        <a:pt x="354302" y="941042"/>
                      </a:lnTo>
                      <a:lnTo>
                        <a:pt x="350080" y="940914"/>
                      </a:lnTo>
                      <a:lnTo>
                        <a:pt x="345861" y="940778"/>
                      </a:lnTo>
                      <a:lnTo>
                        <a:pt x="341640" y="940649"/>
                      </a:lnTo>
                      <a:lnTo>
                        <a:pt x="337421" y="940521"/>
                      </a:lnTo>
                      <a:lnTo>
                        <a:pt x="333201" y="940392"/>
                      </a:lnTo>
                      <a:lnTo>
                        <a:pt x="328989" y="940265"/>
                      </a:lnTo>
                      <a:lnTo>
                        <a:pt x="324770" y="940127"/>
                      </a:lnTo>
                      <a:lnTo>
                        <a:pt x="320550" y="940006"/>
                      </a:lnTo>
                      <a:lnTo>
                        <a:pt x="316338" y="939877"/>
                      </a:lnTo>
                      <a:lnTo>
                        <a:pt x="312121" y="939729"/>
                      </a:lnTo>
                      <a:lnTo>
                        <a:pt x="307900" y="939608"/>
                      </a:lnTo>
                      <a:lnTo>
                        <a:pt x="303682" y="939477"/>
                      </a:lnTo>
                      <a:lnTo>
                        <a:pt x="299471" y="939346"/>
                      </a:lnTo>
                      <a:lnTo>
                        <a:pt x="295252" y="939216"/>
                      </a:lnTo>
                      <a:lnTo>
                        <a:pt x="291034" y="939075"/>
                      </a:lnTo>
                      <a:lnTo>
                        <a:pt x="286824" y="938944"/>
                      </a:lnTo>
                      <a:lnTo>
                        <a:pt x="282606" y="938803"/>
                      </a:lnTo>
                      <a:lnTo>
                        <a:pt x="278387" y="938681"/>
                      </a:lnTo>
                      <a:lnTo>
                        <a:pt x="274173" y="938548"/>
                      </a:lnTo>
                      <a:lnTo>
                        <a:pt x="269955" y="938406"/>
                      </a:lnTo>
                      <a:lnTo>
                        <a:pt x="265738" y="938273"/>
                      </a:lnTo>
                      <a:lnTo>
                        <a:pt x="261521" y="938130"/>
                      </a:lnTo>
                      <a:lnTo>
                        <a:pt x="257311" y="937997"/>
                      </a:lnTo>
                      <a:lnTo>
                        <a:pt x="253093" y="937864"/>
                      </a:lnTo>
                      <a:lnTo>
                        <a:pt x="248876" y="937730"/>
                      </a:lnTo>
                      <a:lnTo>
                        <a:pt x="244659" y="937595"/>
                      </a:lnTo>
                      <a:lnTo>
                        <a:pt x="240442" y="937452"/>
                      </a:lnTo>
                      <a:lnTo>
                        <a:pt x="236225" y="937317"/>
                      </a:lnTo>
                      <a:lnTo>
                        <a:pt x="232007" y="937191"/>
                      </a:lnTo>
                      <a:lnTo>
                        <a:pt x="227791" y="937046"/>
                      </a:lnTo>
                      <a:lnTo>
                        <a:pt x="223582" y="936910"/>
                      </a:lnTo>
                      <a:lnTo>
                        <a:pt x="219366" y="936774"/>
                      </a:lnTo>
                      <a:lnTo>
                        <a:pt x="215149" y="936638"/>
                      </a:lnTo>
                      <a:lnTo>
                        <a:pt x="210933" y="936502"/>
                      </a:lnTo>
                      <a:lnTo>
                        <a:pt x="206726" y="936356"/>
                      </a:lnTo>
                      <a:lnTo>
                        <a:pt x="202510" y="936219"/>
                      </a:lnTo>
                      <a:lnTo>
                        <a:pt x="198293" y="936090"/>
                      </a:lnTo>
                      <a:lnTo>
                        <a:pt x="194087" y="935944"/>
                      </a:lnTo>
                      <a:lnTo>
                        <a:pt x="189870" y="935806"/>
                      </a:lnTo>
                      <a:lnTo>
                        <a:pt x="185655" y="935668"/>
                      </a:lnTo>
                      <a:lnTo>
                        <a:pt x="181448" y="935530"/>
                      </a:lnTo>
                      <a:lnTo>
                        <a:pt x="177233" y="935391"/>
                      </a:lnTo>
                      <a:lnTo>
                        <a:pt x="173018" y="935243"/>
                      </a:lnTo>
                      <a:lnTo>
                        <a:pt x="168804" y="935103"/>
                      </a:lnTo>
                      <a:lnTo>
                        <a:pt x="164596" y="934973"/>
                      </a:lnTo>
                      <a:lnTo>
                        <a:pt x="160383" y="934815"/>
                      </a:lnTo>
                      <a:lnTo>
                        <a:pt x="156167" y="934684"/>
                      </a:lnTo>
                      <a:lnTo>
                        <a:pt x="151963" y="934534"/>
                      </a:lnTo>
                      <a:lnTo>
                        <a:pt x="147739" y="934393"/>
                      </a:lnTo>
                      <a:lnTo>
                        <a:pt x="143534" y="934252"/>
                      </a:lnTo>
                      <a:lnTo>
                        <a:pt x="143414" y="935512"/>
                      </a:lnTo>
                      <a:lnTo>
                        <a:pt x="143295" y="936773"/>
                      </a:lnTo>
                      <a:lnTo>
                        <a:pt x="143176" y="938031"/>
                      </a:lnTo>
                      <a:lnTo>
                        <a:pt x="143057" y="939292"/>
                      </a:lnTo>
                      <a:lnTo>
                        <a:pt x="142937" y="940561"/>
                      </a:lnTo>
                      <a:lnTo>
                        <a:pt x="142819" y="941811"/>
                      </a:lnTo>
                      <a:lnTo>
                        <a:pt x="142700" y="943071"/>
                      </a:lnTo>
                      <a:lnTo>
                        <a:pt x="142580" y="944340"/>
                      </a:lnTo>
                      <a:lnTo>
                        <a:pt x="142460" y="945610"/>
                      </a:lnTo>
                      <a:lnTo>
                        <a:pt x="142342" y="946860"/>
                      </a:lnTo>
                      <a:lnTo>
                        <a:pt x="142223" y="948120"/>
                      </a:lnTo>
                      <a:lnTo>
                        <a:pt x="142103" y="949390"/>
                      </a:lnTo>
                      <a:lnTo>
                        <a:pt x="141984" y="950649"/>
                      </a:lnTo>
                      <a:lnTo>
                        <a:pt x="141865" y="951909"/>
                      </a:lnTo>
                      <a:lnTo>
                        <a:pt x="141746" y="953179"/>
                      </a:lnTo>
                      <a:lnTo>
                        <a:pt x="141634" y="954439"/>
                      </a:lnTo>
                      <a:lnTo>
                        <a:pt x="141525" y="955690"/>
                      </a:lnTo>
                      <a:lnTo>
                        <a:pt x="141406" y="956960"/>
                      </a:lnTo>
                      <a:lnTo>
                        <a:pt x="141287" y="958220"/>
                      </a:lnTo>
                      <a:lnTo>
                        <a:pt x="141168" y="959480"/>
                      </a:lnTo>
                      <a:lnTo>
                        <a:pt x="141050" y="960740"/>
                      </a:lnTo>
                      <a:lnTo>
                        <a:pt x="140931" y="962000"/>
                      </a:lnTo>
                      <a:lnTo>
                        <a:pt x="140812" y="963261"/>
                      </a:lnTo>
                      <a:lnTo>
                        <a:pt x="140693" y="964530"/>
                      </a:lnTo>
                      <a:lnTo>
                        <a:pt x="140574" y="965791"/>
                      </a:lnTo>
                      <a:lnTo>
                        <a:pt x="140456" y="967051"/>
                      </a:lnTo>
                      <a:lnTo>
                        <a:pt x="140337" y="968311"/>
                      </a:lnTo>
                      <a:lnTo>
                        <a:pt x="140219" y="969571"/>
                      </a:lnTo>
                      <a:lnTo>
                        <a:pt x="140100" y="970831"/>
                      </a:lnTo>
                      <a:lnTo>
                        <a:pt x="139981" y="972101"/>
                      </a:lnTo>
                      <a:lnTo>
                        <a:pt x="139863" y="973362"/>
                      </a:lnTo>
                      <a:lnTo>
                        <a:pt x="139753" y="974622"/>
                      </a:lnTo>
                      <a:lnTo>
                        <a:pt x="139635" y="975883"/>
                      </a:lnTo>
                      <a:lnTo>
                        <a:pt x="139516" y="977153"/>
                      </a:lnTo>
                      <a:lnTo>
                        <a:pt x="139397" y="978413"/>
                      </a:lnTo>
                      <a:lnTo>
                        <a:pt x="139280" y="979664"/>
                      </a:lnTo>
                      <a:lnTo>
                        <a:pt x="139161" y="980934"/>
                      </a:lnTo>
                      <a:lnTo>
                        <a:pt x="139043" y="982195"/>
                      </a:lnTo>
                      <a:lnTo>
                        <a:pt x="138926" y="983446"/>
                      </a:lnTo>
                      <a:lnTo>
                        <a:pt x="138806" y="984716"/>
                      </a:lnTo>
                      <a:lnTo>
                        <a:pt x="138688" y="985986"/>
                      </a:lnTo>
                      <a:lnTo>
                        <a:pt x="138569" y="987246"/>
                      </a:lnTo>
                      <a:lnTo>
                        <a:pt x="138452" y="988498"/>
                      </a:lnTo>
                      <a:lnTo>
                        <a:pt x="138333" y="989768"/>
                      </a:lnTo>
                      <a:lnTo>
                        <a:pt x="138215" y="991029"/>
                      </a:lnTo>
                      <a:lnTo>
                        <a:pt x="138097" y="992290"/>
                      </a:lnTo>
                      <a:lnTo>
                        <a:pt x="137979" y="993550"/>
                      </a:lnTo>
                      <a:lnTo>
                        <a:pt x="137870" y="994811"/>
                      </a:lnTo>
                      <a:lnTo>
                        <a:pt x="137759" y="996082"/>
                      </a:lnTo>
                      <a:lnTo>
                        <a:pt x="137641" y="997343"/>
                      </a:lnTo>
                      <a:lnTo>
                        <a:pt x="137523" y="998603"/>
                      </a:lnTo>
                      <a:lnTo>
                        <a:pt x="137405" y="999864"/>
                      </a:lnTo>
                      <a:lnTo>
                        <a:pt x="137287" y="1001135"/>
                      </a:lnTo>
                      <a:lnTo>
                        <a:pt x="137170" y="1002386"/>
                      </a:lnTo>
                      <a:lnTo>
                        <a:pt x="137052" y="1003647"/>
                      </a:lnTo>
                      <a:lnTo>
                        <a:pt x="136934" y="1004917"/>
                      </a:lnTo>
                      <a:lnTo>
                        <a:pt x="136815" y="1006188"/>
                      </a:lnTo>
                      <a:lnTo>
                        <a:pt x="136698" y="1007439"/>
                      </a:lnTo>
                      <a:lnTo>
                        <a:pt x="136580" y="1008700"/>
                      </a:lnTo>
                      <a:lnTo>
                        <a:pt x="136462" y="1009971"/>
                      </a:lnTo>
                      <a:lnTo>
                        <a:pt x="136344" y="1011232"/>
                      </a:lnTo>
                      <a:lnTo>
                        <a:pt x="136228" y="1012484"/>
                      </a:lnTo>
                      <a:lnTo>
                        <a:pt x="136110" y="1013754"/>
                      </a:lnTo>
                      <a:lnTo>
                        <a:pt x="136001" y="1015015"/>
                      </a:lnTo>
                      <a:lnTo>
                        <a:pt x="129012" y="1014809"/>
                      </a:lnTo>
                      <a:lnTo>
                        <a:pt x="122024" y="1014593"/>
                      </a:lnTo>
                      <a:lnTo>
                        <a:pt x="115050" y="1014376"/>
                      </a:lnTo>
                      <a:lnTo>
                        <a:pt x="108070" y="1014158"/>
                      </a:lnTo>
                      <a:lnTo>
                        <a:pt x="101092" y="1013940"/>
                      </a:lnTo>
                      <a:lnTo>
                        <a:pt x="94114" y="1013720"/>
                      </a:lnTo>
                      <a:lnTo>
                        <a:pt x="87141" y="1013500"/>
                      </a:lnTo>
                      <a:lnTo>
                        <a:pt x="80164" y="1013279"/>
                      </a:lnTo>
                      <a:lnTo>
                        <a:pt x="73179" y="1013057"/>
                      </a:lnTo>
                      <a:lnTo>
                        <a:pt x="66202" y="1012835"/>
                      </a:lnTo>
                      <a:lnTo>
                        <a:pt x="59223" y="1012612"/>
                      </a:lnTo>
                      <a:lnTo>
                        <a:pt x="52246" y="1012388"/>
                      </a:lnTo>
                      <a:lnTo>
                        <a:pt x="45271" y="1012163"/>
                      </a:lnTo>
                      <a:lnTo>
                        <a:pt x="38292" y="1011938"/>
                      </a:lnTo>
                      <a:lnTo>
                        <a:pt x="31318" y="1011712"/>
                      </a:lnTo>
                      <a:lnTo>
                        <a:pt x="24342" y="1011485"/>
                      </a:lnTo>
                      <a:lnTo>
                        <a:pt x="17369" y="1011257"/>
                      </a:lnTo>
                      <a:lnTo>
                        <a:pt x="12922" y="1011112"/>
                      </a:lnTo>
                      <a:lnTo>
                        <a:pt x="10399" y="1011029"/>
                      </a:lnTo>
                      <a:lnTo>
                        <a:pt x="3419" y="1010800"/>
                      </a:lnTo>
                      <a:lnTo>
                        <a:pt x="0" y="1010687"/>
                      </a:lnTo>
                      <a:lnTo>
                        <a:pt x="5" y="1010634"/>
                      </a:lnTo>
                      <a:lnTo>
                        <a:pt x="7" y="1010616"/>
                      </a:lnTo>
                      <a:lnTo>
                        <a:pt x="9" y="1010594"/>
                      </a:lnTo>
                      <a:lnTo>
                        <a:pt x="12" y="1010563"/>
                      </a:lnTo>
                      <a:lnTo>
                        <a:pt x="15" y="1010533"/>
                      </a:lnTo>
                      <a:lnTo>
                        <a:pt x="17" y="1010511"/>
                      </a:lnTo>
                      <a:lnTo>
                        <a:pt x="20" y="1010480"/>
                      </a:lnTo>
                      <a:lnTo>
                        <a:pt x="23" y="1010450"/>
                      </a:lnTo>
                      <a:lnTo>
                        <a:pt x="26" y="1010423"/>
                      </a:lnTo>
                      <a:lnTo>
                        <a:pt x="29" y="1010397"/>
                      </a:lnTo>
                      <a:lnTo>
                        <a:pt x="31" y="1010366"/>
                      </a:lnTo>
                      <a:lnTo>
                        <a:pt x="34" y="1010340"/>
                      </a:lnTo>
                      <a:lnTo>
                        <a:pt x="37" y="1010309"/>
                      </a:lnTo>
                      <a:lnTo>
                        <a:pt x="40" y="1010283"/>
                      </a:lnTo>
                      <a:lnTo>
                        <a:pt x="43" y="1010257"/>
                      </a:lnTo>
                      <a:lnTo>
                        <a:pt x="45" y="1010230"/>
                      </a:lnTo>
                      <a:lnTo>
                        <a:pt x="48" y="1010199"/>
                      </a:lnTo>
                      <a:lnTo>
                        <a:pt x="51" y="1010173"/>
                      </a:lnTo>
                      <a:lnTo>
                        <a:pt x="54" y="1010142"/>
                      </a:lnTo>
                      <a:lnTo>
                        <a:pt x="56" y="1010116"/>
                      </a:lnTo>
                      <a:lnTo>
                        <a:pt x="59" y="1010090"/>
                      </a:lnTo>
                      <a:lnTo>
                        <a:pt x="62" y="1010063"/>
                      </a:lnTo>
                      <a:lnTo>
                        <a:pt x="65" y="1010033"/>
                      </a:lnTo>
                      <a:lnTo>
                        <a:pt x="67" y="1010007"/>
                      </a:lnTo>
                      <a:lnTo>
                        <a:pt x="70" y="1009976"/>
                      </a:lnTo>
                      <a:lnTo>
                        <a:pt x="73" y="1009949"/>
                      </a:lnTo>
                      <a:lnTo>
                        <a:pt x="76" y="1009923"/>
                      </a:lnTo>
                      <a:lnTo>
                        <a:pt x="79" y="1009893"/>
                      </a:lnTo>
                      <a:lnTo>
                        <a:pt x="81" y="1009866"/>
                      </a:lnTo>
                      <a:lnTo>
                        <a:pt x="84" y="1009836"/>
                      </a:lnTo>
                      <a:lnTo>
                        <a:pt x="87" y="1009809"/>
                      </a:lnTo>
                      <a:lnTo>
                        <a:pt x="90" y="1009783"/>
                      </a:lnTo>
                      <a:lnTo>
                        <a:pt x="92" y="1009757"/>
                      </a:lnTo>
                      <a:lnTo>
                        <a:pt x="3261" y="977964"/>
                      </a:lnTo>
                      <a:lnTo>
                        <a:pt x="6458" y="946187"/>
                      </a:lnTo>
                      <a:lnTo>
                        <a:pt x="9664" y="914419"/>
                      </a:lnTo>
                      <a:lnTo>
                        <a:pt x="12888" y="882670"/>
                      </a:lnTo>
                      <a:lnTo>
                        <a:pt x="16138" y="850941"/>
                      </a:lnTo>
                      <a:lnTo>
                        <a:pt x="19412" y="819214"/>
                      </a:lnTo>
                      <a:lnTo>
                        <a:pt x="22691" y="787515"/>
                      </a:lnTo>
                      <a:lnTo>
                        <a:pt x="25993" y="755826"/>
                      </a:lnTo>
                      <a:lnTo>
                        <a:pt x="29313" y="724151"/>
                      </a:lnTo>
                      <a:lnTo>
                        <a:pt x="32648" y="692493"/>
                      </a:lnTo>
                      <a:lnTo>
                        <a:pt x="36009" y="660845"/>
                      </a:lnTo>
                      <a:lnTo>
                        <a:pt x="39389" y="629218"/>
                      </a:lnTo>
                      <a:lnTo>
                        <a:pt x="42778" y="597609"/>
                      </a:lnTo>
                      <a:lnTo>
                        <a:pt x="46191" y="566008"/>
                      </a:lnTo>
                      <a:lnTo>
                        <a:pt x="49621" y="534430"/>
                      </a:lnTo>
                      <a:lnTo>
                        <a:pt x="53067" y="502864"/>
                      </a:lnTo>
                      <a:lnTo>
                        <a:pt x="56539" y="471318"/>
                      </a:lnTo>
                      <a:lnTo>
                        <a:pt x="60032" y="439784"/>
                      </a:lnTo>
                      <a:lnTo>
                        <a:pt x="63534" y="408257"/>
                      </a:lnTo>
                      <a:lnTo>
                        <a:pt x="67053" y="376759"/>
                      </a:lnTo>
                      <a:lnTo>
                        <a:pt x="70600" y="345272"/>
                      </a:lnTo>
                      <a:lnTo>
                        <a:pt x="74157" y="313797"/>
                      </a:lnTo>
                      <a:lnTo>
                        <a:pt x="77739" y="282344"/>
                      </a:lnTo>
                      <a:lnTo>
                        <a:pt x="81339" y="250910"/>
                      </a:lnTo>
                      <a:lnTo>
                        <a:pt x="84952" y="219489"/>
                      </a:lnTo>
                      <a:lnTo>
                        <a:pt x="88587" y="188084"/>
                      </a:lnTo>
                      <a:lnTo>
                        <a:pt x="92241" y="156691"/>
                      </a:lnTo>
                      <a:lnTo>
                        <a:pt x="95909" y="125323"/>
                      </a:lnTo>
                      <a:lnTo>
                        <a:pt x="99602" y="93973"/>
                      </a:lnTo>
                      <a:lnTo>
                        <a:pt x="103317" y="62625"/>
                      </a:lnTo>
                      <a:lnTo>
                        <a:pt x="107041" y="31305"/>
                      </a:lnTo>
                      <a:lnTo>
                        <a:pt x="110787" y="0"/>
                      </a:lnTo>
                      <a:lnTo>
                        <a:pt x="140056" y="1142"/>
                      </a:lnTo>
                      <a:lnTo>
                        <a:pt x="169324" y="2269"/>
                      </a:lnTo>
                      <a:lnTo>
                        <a:pt x="198604" y="3378"/>
                      </a:lnTo>
                      <a:lnTo>
                        <a:pt x="227888" y="4470"/>
                      </a:lnTo>
                      <a:lnTo>
                        <a:pt x="257177" y="5545"/>
                      </a:lnTo>
                      <a:lnTo>
                        <a:pt x="286475" y="6605"/>
                      </a:lnTo>
                      <a:lnTo>
                        <a:pt x="315784" y="7647"/>
                      </a:lnTo>
                      <a:lnTo>
                        <a:pt x="345098" y="8673"/>
                      </a:lnTo>
                      <a:lnTo>
                        <a:pt x="374424" y="9683"/>
                      </a:lnTo>
                      <a:lnTo>
                        <a:pt x="403751" y="10675"/>
                      </a:lnTo>
                      <a:lnTo>
                        <a:pt x="433082" y="11651"/>
                      </a:lnTo>
                      <a:lnTo>
                        <a:pt x="462420" y="12610"/>
                      </a:lnTo>
                      <a:lnTo>
                        <a:pt x="491762" y="13553"/>
                      </a:lnTo>
                      <a:lnTo>
                        <a:pt x="521116" y="14480"/>
                      </a:lnTo>
                      <a:lnTo>
                        <a:pt x="550471" y="15389"/>
                      </a:lnTo>
                      <a:lnTo>
                        <a:pt x="579840" y="16283"/>
                      </a:lnTo>
                      <a:lnTo>
                        <a:pt x="609215" y="17160"/>
                      </a:lnTo>
                      <a:lnTo>
                        <a:pt x="638587" y="18019"/>
                      </a:lnTo>
                      <a:lnTo>
                        <a:pt x="667966" y="18863"/>
                      </a:lnTo>
                      <a:lnTo>
                        <a:pt x="697349" y="19690"/>
                      </a:lnTo>
                      <a:lnTo>
                        <a:pt x="726739" y="20500"/>
                      </a:lnTo>
                      <a:lnTo>
                        <a:pt x="756138" y="21294"/>
                      </a:lnTo>
                      <a:lnTo>
                        <a:pt x="785533" y="22071"/>
                      </a:lnTo>
                      <a:lnTo>
                        <a:pt x="814949" y="22833"/>
                      </a:lnTo>
                      <a:lnTo>
                        <a:pt x="844366" y="23577"/>
                      </a:lnTo>
                      <a:lnTo>
                        <a:pt x="873781" y="24306"/>
                      </a:lnTo>
                      <a:lnTo>
                        <a:pt x="903201" y="25017"/>
                      </a:lnTo>
                      <a:lnTo>
                        <a:pt x="932624" y="25712"/>
                      </a:lnTo>
                      <a:lnTo>
                        <a:pt x="962056" y="26391"/>
                      </a:lnTo>
                      <a:lnTo>
                        <a:pt x="991490" y="27053"/>
                      </a:lnTo>
                      <a:lnTo>
                        <a:pt x="1020930" y="27699"/>
                      </a:lnTo>
                      <a:lnTo>
                        <a:pt x="1050375" y="28328"/>
                      </a:lnTo>
                      <a:lnTo>
                        <a:pt x="1048960" y="50344"/>
                      </a:lnTo>
                      <a:lnTo>
                        <a:pt x="1047555" y="72357"/>
                      </a:lnTo>
                      <a:lnTo>
                        <a:pt x="1046159" y="9438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2" name="Freeform 41">
                  <a:extLst>
                    <a:ext uri="{FF2B5EF4-FFF2-40B4-BE49-F238E27FC236}">
                      <a16:creationId xmlns:a16="http://schemas.microsoft.com/office/drawing/2014/main" id="{4EE1E90C-5DAD-4602-B91B-F34E695D2BD6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481431" y="3456557"/>
                  <a:ext cx="855588" cy="558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5471" h="826510">
                      <a:moveTo>
                        <a:pt x="345951" y="4691"/>
                      </a:moveTo>
                      <a:lnTo>
                        <a:pt x="347158" y="5033"/>
                      </a:lnTo>
                      <a:lnTo>
                        <a:pt x="348226" y="6443"/>
                      </a:lnTo>
                      <a:lnTo>
                        <a:pt x="349676" y="8690"/>
                      </a:lnTo>
                      <a:lnTo>
                        <a:pt x="349827" y="11478"/>
                      </a:lnTo>
                      <a:lnTo>
                        <a:pt x="348872" y="12649"/>
                      </a:lnTo>
                      <a:lnTo>
                        <a:pt x="347578" y="11605"/>
                      </a:lnTo>
                      <a:lnTo>
                        <a:pt x="345854" y="10212"/>
                      </a:lnTo>
                      <a:lnTo>
                        <a:pt x="345228" y="8160"/>
                      </a:lnTo>
                      <a:lnTo>
                        <a:pt x="345357" y="5805"/>
                      </a:lnTo>
                      <a:close/>
                      <a:moveTo>
                        <a:pt x="275467" y="0"/>
                      </a:moveTo>
                      <a:lnTo>
                        <a:pt x="276775" y="2128"/>
                      </a:lnTo>
                      <a:lnTo>
                        <a:pt x="275522" y="3137"/>
                      </a:lnTo>
                      <a:lnTo>
                        <a:pt x="276265" y="5035"/>
                      </a:lnTo>
                      <a:lnTo>
                        <a:pt x="278410" y="5200"/>
                      </a:lnTo>
                      <a:lnTo>
                        <a:pt x="280477" y="6428"/>
                      </a:lnTo>
                      <a:lnTo>
                        <a:pt x="283277" y="9306"/>
                      </a:lnTo>
                      <a:lnTo>
                        <a:pt x="283755" y="11174"/>
                      </a:lnTo>
                      <a:lnTo>
                        <a:pt x="284514" y="11096"/>
                      </a:lnTo>
                      <a:lnTo>
                        <a:pt x="285318" y="11437"/>
                      </a:lnTo>
                      <a:lnTo>
                        <a:pt x="285099" y="13471"/>
                      </a:lnTo>
                      <a:lnTo>
                        <a:pt x="287483" y="14571"/>
                      </a:lnTo>
                      <a:lnTo>
                        <a:pt x="289096" y="15492"/>
                      </a:lnTo>
                      <a:lnTo>
                        <a:pt x="293494" y="15519"/>
                      </a:lnTo>
                      <a:lnTo>
                        <a:pt x="294500" y="16625"/>
                      </a:lnTo>
                      <a:lnTo>
                        <a:pt x="294828" y="18392"/>
                      </a:lnTo>
                      <a:lnTo>
                        <a:pt x="294419" y="21843"/>
                      </a:lnTo>
                      <a:lnTo>
                        <a:pt x="293757" y="24202"/>
                      </a:lnTo>
                      <a:lnTo>
                        <a:pt x="294927" y="26432"/>
                      </a:lnTo>
                      <a:lnTo>
                        <a:pt x="295476" y="24104"/>
                      </a:lnTo>
                      <a:lnTo>
                        <a:pt x="296139" y="21594"/>
                      </a:lnTo>
                      <a:lnTo>
                        <a:pt x="297001" y="19305"/>
                      </a:lnTo>
                      <a:lnTo>
                        <a:pt x="299614" y="20746"/>
                      </a:lnTo>
                      <a:lnTo>
                        <a:pt x="299967" y="19671"/>
                      </a:lnTo>
                      <a:lnTo>
                        <a:pt x="299168" y="18474"/>
                      </a:lnTo>
                      <a:lnTo>
                        <a:pt x="297515" y="15067"/>
                      </a:lnTo>
                      <a:lnTo>
                        <a:pt x="296510" y="14276"/>
                      </a:lnTo>
                      <a:lnTo>
                        <a:pt x="295105" y="13987"/>
                      </a:lnTo>
                      <a:lnTo>
                        <a:pt x="292957" y="13561"/>
                      </a:lnTo>
                      <a:lnTo>
                        <a:pt x="292312" y="12745"/>
                      </a:lnTo>
                      <a:lnTo>
                        <a:pt x="291111" y="11945"/>
                      </a:lnTo>
                      <a:lnTo>
                        <a:pt x="290810" y="10922"/>
                      </a:lnTo>
                      <a:lnTo>
                        <a:pt x="292206" y="10589"/>
                      </a:lnTo>
                      <a:lnTo>
                        <a:pt x="294909" y="10739"/>
                      </a:lnTo>
                      <a:lnTo>
                        <a:pt x="296915" y="11055"/>
                      </a:lnTo>
                      <a:lnTo>
                        <a:pt x="300176" y="10713"/>
                      </a:lnTo>
                      <a:lnTo>
                        <a:pt x="303196" y="9652"/>
                      </a:lnTo>
                      <a:lnTo>
                        <a:pt x="304944" y="9362"/>
                      </a:lnTo>
                      <a:lnTo>
                        <a:pt x="306057" y="10975"/>
                      </a:lnTo>
                      <a:lnTo>
                        <a:pt x="307481" y="14290"/>
                      </a:lnTo>
                      <a:lnTo>
                        <a:pt x="308308" y="15770"/>
                      </a:lnTo>
                      <a:lnTo>
                        <a:pt x="311159" y="16021"/>
                      </a:lnTo>
                      <a:lnTo>
                        <a:pt x="324283" y="14692"/>
                      </a:lnTo>
                      <a:lnTo>
                        <a:pt x="326531" y="13983"/>
                      </a:lnTo>
                      <a:lnTo>
                        <a:pt x="324052" y="12846"/>
                      </a:lnTo>
                      <a:lnTo>
                        <a:pt x="324449" y="11428"/>
                      </a:lnTo>
                      <a:lnTo>
                        <a:pt x="326444" y="10895"/>
                      </a:lnTo>
                      <a:lnTo>
                        <a:pt x="329754" y="11709"/>
                      </a:lnTo>
                      <a:lnTo>
                        <a:pt x="332526" y="10234"/>
                      </a:lnTo>
                      <a:lnTo>
                        <a:pt x="336109" y="8918"/>
                      </a:lnTo>
                      <a:lnTo>
                        <a:pt x="337280" y="7650"/>
                      </a:lnTo>
                      <a:lnTo>
                        <a:pt x="339659" y="7685"/>
                      </a:lnTo>
                      <a:lnTo>
                        <a:pt x="342469" y="8437"/>
                      </a:lnTo>
                      <a:lnTo>
                        <a:pt x="343940" y="9096"/>
                      </a:lnTo>
                      <a:lnTo>
                        <a:pt x="344805" y="11438"/>
                      </a:lnTo>
                      <a:lnTo>
                        <a:pt x="346933" y="13511"/>
                      </a:lnTo>
                      <a:lnTo>
                        <a:pt x="348527" y="15280"/>
                      </a:lnTo>
                      <a:lnTo>
                        <a:pt x="348597" y="17262"/>
                      </a:lnTo>
                      <a:lnTo>
                        <a:pt x="348253" y="19111"/>
                      </a:lnTo>
                      <a:lnTo>
                        <a:pt x="349041" y="20555"/>
                      </a:lnTo>
                      <a:lnTo>
                        <a:pt x="350452" y="22658"/>
                      </a:lnTo>
                      <a:lnTo>
                        <a:pt x="352498" y="25042"/>
                      </a:lnTo>
                      <a:lnTo>
                        <a:pt x="360040" y="27182"/>
                      </a:lnTo>
                      <a:lnTo>
                        <a:pt x="363705" y="27211"/>
                      </a:lnTo>
                      <a:lnTo>
                        <a:pt x="366214" y="28748"/>
                      </a:lnTo>
                      <a:lnTo>
                        <a:pt x="369010" y="29168"/>
                      </a:lnTo>
                      <a:lnTo>
                        <a:pt x="372311" y="28846"/>
                      </a:lnTo>
                      <a:lnTo>
                        <a:pt x="374513" y="27278"/>
                      </a:lnTo>
                      <a:lnTo>
                        <a:pt x="377542" y="24515"/>
                      </a:lnTo>
                      <a:lnTo>
                        <a:pt x="379587" y="23362"/>
                      </a:lnTo>
                      <a:lnTo>
                        <a:pt x="381742" y="22389"/>
                      </a:lnTo>
                      <a:lnTo>
                        <a:pt x="382128" y="22417"/>
                      </a:lnTo>
                      <a:lnTo>
                        <a:pt x="382787" y="22608"/>
                      </a:lnTo>
                      <a:lnTo>
                        <a:pt x="391260" y="22118"/>
                      </a:lnTo>
                      <a:lnTo>
                        <a:pt x="393656" y="23052"/>
                      </a:lnTo>
                      <a:lnTo>
                        <a:pt x="394921" y="24865"/>
                      </a:lnTo>
                      <a:lnTo>
                        <a:pt x="398596" y="28567"/>
                      </a:lnTo>
                      <a:lnTo>
                        <a:pt x="400147" y="29700"/>
                      </a:lnTo>
                      <a:lnTo>
                        <a:pt x="404015" y="30811"/>
                      </a:lnTo>
                      <a:lnTo>
                        <a:pt x="407848" y="32990"/>
                      </a:lnTo>
                      <a:lnTo>
                        <a:pt x="411262" y="35763"/>
                      </a:lnTo>
                      <a:lnTo>
                        <a:pt x="413874" y="38618"/>
                      </a:lnTo>
                      <a:lnTo>
                        <a:pt x="415495" y="41544"/>
                      </a:lnTo>
                      <a:lnTo>
                        <a:pt x="416737" y="45339"/>
                      </a:lnTo>
                      <a:lnTo>
                        <a:pt x="417295" y="49383"/>
                      </a:lnTo>
                      <a:lnTo>
                        <a:pt x="416653" y="56126"/>
                      </a:lnTo>
                      <a:lnTo>
                        <a:pt x="417826" y="58236"/>
                      </a:lnTo>
                      <a:lnTo>
                        <a:pt x="419474" y="60122"/>
                      </a:lnTo>
                      <a:lnTo>
                        <a:pt x="420661" y="62516"/>
                      </a:lnTo>
                      <a:lnTo>
                        <a:pt x="420565" y="65461"/>
                      </a:lnTo>
                      <a:lnTo>
                        <a:pt x="419186" y="73389"/>
                      </a:lnTo>
                      <a:lnTo>
                        <a:pt x="419762" y="79693"/>
                      </a:lnTo>
                      <a:lnTo>
                        <a:pt x="418511" y="82858"/>
                      </a:lnTo>
                      <a:lnTo>
                        <a:pt x="416787" y="86283"/>
                      </a:lnTo>
                      <a:lnTo>
                        <a:pt x="415647" y="90232"/>
                      </a:lnTo>
                      <a:lnTo>
                        <a:pt x="417202" y="95343"/>
                      </a:lnTo>
                      <a:lnTo>
                        <a:pt x="417204" y="97104"/>
                      </a:lnTo>
                      <a:lnTo>
                        <a:pt x="416482" y="98989"/>
                      </a:lnTo>
                      <a:lnTo>
                        <a:pt x="414867" y="102253"/>
                      </a:lnTo>
                      <a:lnTo>
                        <a:pt x="414137" y="104154"/>
                      </a:lnTo>
                      <a:lnTo>
                        <a:pt x="412678" y="110984"/>
                      </a:lnTo>
                      <a:lnTo>
                        <a:pt x="412324" y="114946"/>
                      </a:lnTo>
                      <a:lnTo>
                        <a:pt x="412675" y="117962"/>
                      </a:lnTo>
                      <a:lnTo>
                        <a:pt x="414247" y="120624"/>
                      </a:lnTo>
                      <a:lnTo>
                        <a:pt x="416738" y="123248"/>
                      </a:lnTo>
                      <a:lnTo>
                        <a:pt x="419538" y="125321"/>
                      </a:lnTo>
                      <a:lnTo>
                        <a:pt x="429482" y="128394"/>
                      </a:lnTo>
                      <a:lnTo>
                        <a:pt x="435339" y="127618"/>
                      </a:lnTo>
                      <a:lnTo>
                        <a:pt x="437331" y="127894"/>
                      </a:lnTo>
                      <a:lnTo>
                        <a:pt x="441071" y="130416"/>
                      </a:lnTo>
                      <a:lnTo>
                        <a:pt x="447456" y="132818"/>
                      </a:lnTo>
                      <a:lnTo>
                        <a:pt x="450849" y="135332"/>
                      </a:lnTo>
                      <a:lnTo>
                        <a:pt x="462199" y="136718"/>
                      </a:lnTo>
                      <a:lnTo>
                        <a:pt x="471981" y="141447"/>
                      </a:lnTo>
                      <a:lnTo>
                        <a:pt x="474790" y="141077"/>
                      </a:lnTo>
                      <a:lnTo>
                        <a:pt x="477526" y="139950"/>
                      </a:lnTo>
                      <a:lnTo>
                        <a:pt x="488465" y="138235"/>
                      </a:lnTo>
                      <a:lnTo>
                        <a:pt x="515155" y="132366"/>
                      </a:lnTo>
                      <a:lnTo>
                        <a:pt x="521498" y="129856"/>
                      </a:lnTo>
                      <a:lnTo>
                        <a:pt x="532884" y="123777"/>
                      </a:lnTo>
                      <a:lnTo>
                        <a:pt x="539360" y="121473"/>
                      </a:lnTo>
                      <a:lnTo>
                        <a:pt x="543375" y="121185"/>
                      </a:lnTo>
                      <a:lnTo>
                        <a:pt x="552928" y="124188"/>
                      </a:lnTo>
                      <a:lnTo>
                        <a:pt x="573827" y="122857"/>
                      </a:lnTo>
                      <a:lnTo>
                        <a:pt x="613098" y="130494"/>
                      </a:lnTo>
                      <a:lnTo>
                        <a:pt x="618916" y="133176"/>
                      </a:lnTo>
                      <a:lnTo>
                        <a:pt x="621031" y="135522"/>
                      </a:lnTo>
                      <a:lnTo>
                        <a:pt x="621645" y="138182"/>
                      </a:lnTo>
                      <a:lnTo>
                        <a:pt x="621812" y="141328"/>
                      </a:lnTo>
                      <a:lnTo>
                        <a:pt x="622579" y="145123"/>
                      </a:lnTo>
                      <a:lnTo>
                        <a:pt x="624517" y="147017"/>
                      </a:lnTo>
                      <a:lnTo>
                        <a:pt x="627608" y="146981"/>
                      </a:lnTo>
                      <a:lnTo>
                        <a:pt x="641116" y="143205"/>
                      </a:lnTo>
                      <a:lnTo>
                        <a:pt x="641816" y="143205"/>
                      </a:lnTo>
                      <a:lnTo>
                        <a:pt x="644638" y="143611"/>
                      </a:lnTo>
                      <a:lnTo>
                        <a:pt x="646015" y="144141"/>
                      </a:lnTo>
                      <a:lnTo>
                        <a:pt x="646760" y="144279"/>
                      </a:lnTo>
                      <a:lnTo>
                        <a:pt x="651289" y="144492"/>
                      </a:lnTo>
                      <a:lnTo>
                        <a:pt x="652742" y="144830"/>
                      </a:lnTo>
                      <a:lnTo>
                        <a:pt x="654459" y="145820"/>
                      </a:lnTo>
                      <a:lnTo>
                        <a:pt x="660040" y="147050"/>
                      </a:lnTo>
                      <a:lnTo>
                        <a:pt x="666271" y="146079"/>
                      </a:lnTo>
                      <a:lnTo>
                        <a:pt x="668137" y="146145"/>
                      </a:lnTo>
                      <a:lnTo>
                        <a:pt x="668905" y="146008"/>
                      </a:lnTo>
                      <a:lnTo>
                        <a:pt x="676155" y="142314"/>
                      </a:lnTo>
                      <a:lnTo>
                        <a:pt x="677266" y="142029"/>
                      </a:lnTo>
                      <a:lnTo>
                        <a:pt x="687442" y="141190"/>
                      </a:lnTo>
                      <a:lnTo>
                        <a:pt x="694491" y="139490"/>
                      </a:lnTo>
                      <a:lnTo>
                        <a:pt x="695362" y="138263"/>
                      </a:lnTo>
                      <a:lnTo>
                        <a:pt x="696591" y="137352"/>
                      </a:lnTo>
                      <a:lnTo>
                        <a:pt x="700810" y="135549"/>
                      </a:lnTo>
                      <a:lnTo>
                        <a:pt x="702316" y="135375"/>
                      </a:lnTo>
                      <a:lnTo>
                        <a:pt x="721727" y="140933"/>
                      </a:lnTo>
                      <a:lnTo>
                        <a:pt x="723348" y="140942"/>
                      </a:lnTo>
                      <a:lnTo>
                        <a:pt x="727055" y="139789"/>
                      </a:lnTo>
                      <a:lnTo>
                        <a:pt x="728298" y="139661"/>
                      </a:lnTo>
                      <a:lnTo>
                        <a:pt x="734960" y="141493"/>
                      </a:lnTo>
                      <a:lnTo>
                        <a:pt x="736564" y="141457"/>
                      </a:lnTo>
                      <a:lnTo>
                        <a:pt x="739971" y="140620"/>
                      </a:lnTo>
                      <a:lnTo>
                        <a:pt x="746109" y="138267"/>
                      </a:lnTo>
                      <a:lnTo>
                        <a:pt x="747631" y="138058"/>
                      </a:lnTo>
                      <a:lnTo>
                        <a:pt x="749689" y="138294"/>
                      </a:lnTo>
                      <a:lnTo>
                        <a:pt x="753479" y="139405"/>
                      </a:lnTo>
                      <a:lnTo>
                        <a:pt x="755631" y="139416"/>
                      </a:lnTo>
                      <a:lnTo>
                        <a:pt x="759828" y="138264"/>
                      </a:lnTo>
                      <a:lnTo>
                        <a:pt x="764010" y="136323"/>
                      </a:lnTo>
                      <a:lnTo>
                        <a:pt x="769216" y="133005"/>
                      </a:lnTo>
                      <a:lnTo>
                        <a:pt x="772093" y="131771"/>
                      </a:lnTo>
                      <a:lnTo>
                        <a:pt x="778723" y="131394"/>
                      </a:lnTo>
                      <a:lnTo>
                        <a:pt x="800638" y="125826"/>
                      </a:lnTo>
                      <a:lnTo>
                        <a:pt x="839106" y="123449"/>
                      </a:lnTo>
                      <a:lnTo>
                        <a:pt x="845931" y="119882"/>
                      </a:lnTo>
                      <a:lnTo>
                        <a:pt x="851062" y="115846"/>
                      </a:lnTo>
                      <a:lnTo>
                        <a:pt x="853597" y="114943"/>
                      </a:lnTo>
                      <a:lnTo>
                        <a:pt x="857279" y="114906"/>
                      </a:lnTo>
                      <a:lnTo>
                        <a:pt x="866552" y="116177"/>
                      </a:lnTo>
                      <a:lnTo>
                        <a:pt x="873734" y="115634"/>
                      </a:lnTo>
                      <a:lnTo>
                        <a:pt x="886186" y="114683"/>
                      </a:lnTo>
                      <a:lnTo>
                        <a:pt x="919941" y="117302"/>
                      </a:lnTo>
                      <a:lnTo>
                        <a:pt x="927291" y="115210"/>
                      </a:lnTo>
                      <a:lnTo>
                        <a:pt x="934650" y="109697"/>
                      </a:lnTo>
                      <a:lnTo>
                        <a:pt x="935842" y="109805"/>
                      </a:lnTo>
                      <a:lnTo>
                        <a:pt x="942110" y="110361"/>
                      </a:lnTo>
                      <a:lnTo>
                        <a:pt x="959588" y="111916"/>
                      </a:lnTo>
                      <a:lnTo>
                        <a:pt x="977082" y="113455"/>
                      </a:lnTo>
                      <a:lnTo>
                        <a:pt x="994577" y="114998"/>
                      </a:lnTo>
                      <a:lnTo>
                        <a:pt x="1012070" y="116531"/>
                      </a:lnTo>
                      <a:lnTo>
                        <a:pt x="1029578" y="118046"/>
                      </a:lnTo>
                      <a:lnTo>
                        <a:pt x="1047092" y="119556"/>
                      </a:lnTo>
                      <a:lnTo>
                        <a:pt x="1064613" y="121062"/>
                      </a:lnTo>
                      <a:lnTo>
                        <a:pt x="1082134" y="122558"/>
                      </a:lnTo>
                      <a:lnTo>
                        <a:pt x="1099664" y="124037"/>
                      </a:lnTo>
                      <a:lnTo>
                        <a:pt x="1117201" y="125511"/>
                      </a:lnTo>
                      <a:lnTo>
                        <a:pt x="1134747" y="126980"/>
                      </a:lnTo>
                      <a:lnTo>
                        <a:pt x="1152293" y="128435"/>
                      </a:lnTo>
                      <a:lnTo>
                        <a:pt x="1169846" y="129882"/>
                      </a:lnTo>
                      <a:lnTo>
                        <a:pt x="1187406" y="131319"/>
                      </a:lnTo>
                      <a:lnTo>
                        <a:pt x="1204979" y="132752"/>
                      </a:lnTo>
                      <a:lnTo>
                        <a:pt x="1223490" y="134252"/>
                      </a:lnTo>
                      <a:lnTo>
                        <a:pt x="1223615" y="135050"/>
                      </a:lnTo>
                      <a:lnTo>
                        <a:pt x="1223484" y="140457"/>
                      </a:lnTo>
                      <a:lnTo>
                        <a:pt x="1225099" y="150451"/>
                      </a:lnTo>
                      <a:lnTo>
                        <a:pt x="1231427" y="158571"/>
                      </a:lnTo>
                      <a:lnTo>
                        <a:pt x="1232024" y="161360"/>
                      </a:lnTo>
                      <a:lnTo>
                        <a:pt x="1232889" y="163696"/>
                      </a:lnTo>
                      <a:lnTo>
                        <a:pt x="1242209" y="166422"/>
                      </a:lnTo>
                      <a:lnTo>
                        <a:pt x="1243271" y="167586"/>
                      </a:lnTo>
                      <a:lnTo>
                        <a:pt x="1245391" y="170742"/>
                      </a:lnTo>
                      <a:lnTo>
                        <a:pt x="1252266" y="175768"/>
                      </a:lnTo>
                      <a:lnTo>
                        <a:pt x="1257768" y="177249"/>
                      </a:lnTo>
                      <a:lnTo>
                        <a:pt x="1259373" y="179072"/>
                      </a:lnTo>
                      <a:lnTo>
                        <a:pt x="1260657" y="181080"/>
                      </a:lnTo>
                      <a:lnTo>
                        <a:pt x="1261610" y="184607"/>
                      </a:lnTo>
                      <a:lnTo>
                        <a:pt x="1262442" y="191850"/>
                      </a:lnTo>
                      <a:lnTo>
                        <a:pt x="1265251" y="200586"/>
                      </a:lnTo>
                      <a:lnTo>
                        <a:pt x="1265471" y="204201"/>
                      </a:lnTo>
                      <a:lnTo>
                        <a:pt x="1264722" y="207855"/>
                      </a:lnTo>
                      <a:lnTo>
                        <a:pt x="1262852" y="211014"/>
                      </a:lnTo>
                      <a:lnTo>
                        <a:pt x="1260333" y="213517"/>
                      </a:lnTo>
                      <a:lnTo>
                        <a:pt x="1255280" y="217346"/>
                      </a:lnTo>
                      <a:lnTo>
                        <a:pt x="1254229" y="218453"/>
                      </a:lnTo>
                      <a:lnTo>
                        <a:pt x="1250252" y="224048"/>
                      </a:lnTo>
                      <a:lnTo>
                        <a:pt x="1248748" y="227627"/>
                      </a:lnTo>
                      <a:lnTo>
                        <a:pt x="1247804" y="229283"/>
                      </a:lnTo>
                      <a:lnTo>
                        <a:pt x="1239495" y="236163"/>
                      </a:lnTo>
                      <a:lnTo>
                        <a:pt x="1236067" y="241774"/>
                      </a:lnTo>
                      <a:lnTo>
                        <a:pt x="1230105" y="246378"/>
                      </a:lnTo>
                      <a:lnTo>
                        <a:pt x="1227579" y="249367"/>
                      </a:lnTo>
                      <a:lnTo>
                        <a:pt x="1226149" y="252985"/>
                      </a:lnTo>
                      <a:lnTo>
                        <a:pt x="1224014" y="260116"/>
                      </a:lnTo>
                      <a:lnTo>
                        <a:pt x="1221997" y="262821"/>
                      </a:lnTo>
                      <a:lnTo>
                        <a:pt x="1219478" y="265620"/>
                      </a:lnTo>
                      <a:lnTo>
                        <a:pt x="1214470" y="276032"/>
                      </a:lnTo>
                      <a:lnTo>
                        <a:pt x="1210035" y="282443"/>
                      </a:lnTo>
                      <a:lnTo>
                        <a:pt x="1190599" y="301224"/>
                      </a:lnTo>
                      <a:lnTo>
                        <a:pt x="1189067" y="303000"/>
                      </a:lnTo>
                      <a:lnTo>
                        <a:pt x="1188189" y="304722"/>
                      </a:lnTo>
                      <a:lnTo>
                        <a:pt x="1188026" y="306715"/>
                      </a:lnTo>
                      <a:lnTo>
                        <a:pt x="1188376" y="308139"/>
                      </a:lnTo>
                      <a:lnTo>
                        <a:pt x="1188851" y="309057"/>
                      </a:lnTo>
                      <a:lnTo>
                        <a:pt x="1189036" y="309591"/>
                      </a:lnTo>
                      <a:lnTo>
                        <a:pt x="1187946" y="313194"/>
                      </a:lnTo>
                      <a:lnTo>
                        <a:pt x="1184516" y="321136"/>
                      </a:lnTo>
                      <a:lnTo>
                        <a:pt x="1182635" y="324265"/>
                      </a:lnTo>
                      <a:lnTo>
                        <a:pt x="1177980" y="330084"/>
                      </a:lnTo>
                      <a:lnTo>
                        <a:pt x="1167957" y="340468"/>
                      </a:lnTo>
                      <a:lnTo>
                        <a:pt x="1165472" y="342445"/>
                      </a:lnTo>
                      <a:lnTo>
                        <a:pt x="1162402" y="344295"/>
                      </a:lnTo>
                      <a:lnTo>
                        <a:pt x="1152833" y="348529"/>
                      </a:lnTo>
                      <a:lnTo>
                        <a:pt x="1149562" y="351146"/>
                      </a:lnTo>
                      <a:lnTo>
                        <a:pt x="1147481" y="353526"/>
                      </a:lnTo>
                      <a:lnTo>
                        <a:pt x="1141557" y="361989"/>
                      </a:lnTo>
                      <a:lnTo>
                        <a:pt x="1136569" y="367838"/>
                      </a:lnTo>
                      <a:lnTo>
                        <a:pt x="1134151" y="371380"/>
                      </a:lnTo>
                      <a:lnTo>
                        <a:pt x="1131346" y="378033"/>
                      </a:lnTo>
                      <a:lnTo>
                        <a:pt x="1129174" y="381166"/>
                      </a:lnTo>
                      <a:lnTo>
                        <a:pt x="1126622" y="383954"/>
                      </a:lnTo>
                      <a:lnTo>
                        <a:pt x="1124206" y="385879"/>
                      </a:lnTo>
                      <a:lnTo>
                        <a:pt x="1122520" y="386442"/>
                      </a:lnTo>
                      <a:lnTo>
                        <a:pt x="1120880" y="386720"/>
                      </a:lnTo>
                      <a:lnTo>
                        <a:pt x="1119458" y="387532"/>
                      </a:lnTo>
                      <a:lnTo>
                        <a:pt x="1118449" y="389685"/>
                      </a:lnTo>
                      <a:lnTo>
                        <a:pt x="1117581" y="390559"/>
                      </a:lnTo>
                      <a:lnTo>
                        <a:pt x="1116059" y="391471"/>
                      </a:lnTo>
                      <a:lnTo>
                        <a:pt x="1114851" y="392645"/>
                      </a:lnTo>
                      <a:lnTo>
                        <a:pt x="1115163" y="397420"/>
                      </a:lnTo>
                      <a:lnTo>
                        <a:pt x="1113362" y="400445"/>
                      </a:lnTo>
                      <a:lnTo>
                        <a:pt x="1111008" y="403751"/>
                      </a:lnTo>
                      <a:lnTo>
                        <a:pt x="1109595" y="407704"/>
                      </a:lnTo>
                      <a:lnTo>
                        <a:pt x="1109731" y="409752"/>
                      </a:lnTo>
                      <a:lnTo>
                        <a:pt x="1110732" y="413433"/>
                      </a:lnTo>
                      <a:lnTo>
                        <a:pt x="1110592" y="415672"/>
                      </a:lnTo>
                      <a:lnTo>
                        <a:pt x="1110020" y="417457"/>
                      </a:lnTo>
                      <a:lnTo>
                        <a:pt x="1108814" y="419678"/>
                      </a:lnTo>
                      <a:lnTo>
                        <a:pt x="1108241" y="421446"/>
                      </a:lnTo>
                      <a:lnTo>
                        <a:pt x="1108400" y="424733"/>
                      </a:lnTo>
                      <a:lnTo>
                        <a:pt x="1110122" y="427163"/>
                      </a:lnTo>
                      <a:lnTo>
                        <a:pt x="1114680" y="431106"/>
                      </a:lnTo>
                      <a:lnTo>
                        <a:pt x="1116412" y="429782"/>
                      </a:lnTo>
                      <a:lnTo>
                        <a:pt x="1117893" y="428379"/>
                      </a:lnTo>
                      <a:lnTo>
                        <a:pt x="1119491" y="427248"/>
                      </a:lnTo>
                      <a:lnTo>
                        <a:pt x="1121553" y="426725"/>
                      </a:lnTo>
                      <a:lnTo>
                        <a:pt x="1123284" y="427293"/>
                      </a:lnTo>
                      <a:lnTo>
                        <a:pt x="1123975" y="428787"/>
                      </a:lnTo>
                      <a:lnTo>
                        <a:pt x="1124393" y="430547"/>
                      </a:lnTo>
                      <a:lnTo>
                        <a:pt x="1125261" y="431943"/>
                      </a:lnTo>
                      <a:lnTo>
                        <a:pt x="1127930" y="432998"/>
                      </a:lnTo>
                      <a:lnTo>
                        <a:pt x="1130493" y="432631"/>
                      </a:lnTo>
                      <a:lnTo>
                        <a:pt x="1133261" y="431816"/>
                      </a:lnTo>
                      <a:lnTo>
                        <a:pt x="1136539" y="431519"/>
                      </a:lnTo>
                      <a:lnTo>
                        <a:pt x="1138143" y="432273"/>
                      </a:lnTo>
                      <a:lnTo>
                        <a:pt x="1138205" y="433837"/>
                      </a:lnTo>
                      <a:lnTo>
                        <a:pt x="1137670" y="435794"/>
                      </a:lnTo>
                      <a:lnTo>
                        <a:pt x="1137497" y="437731"/>
                      </a:lnTo>
                      <a:lnTo>
                        <a:pt x="1138013" y="440111"/>
                      </a:lnTo>
                      <a:lnTo>
                        <a:pt x="1138557" y="441105"/>
                      </a:lnTo>
                      <a:lnTo>
                        <a:pt x="1141248" y="442836"/>
                      </a:lnTo>
                      <a:lnTo>
                        <a:pt x="1143270" y="444692"/>
                      </a:lnTo>
                      <a:lnTo>
                        <a:pt x="1145483" y="447385"/>
                      </a:lnTo>
                      <a:lnTo>
                        <a:pt x="1145802" y="449037"/>
                      </a:lnTo>
                      <a:lnTo>
                        <a:pt x="1144930" y="450231"/>
                      </a:lnTo>
                      <a:lnTo>
                        <a:pt x="1143708" y="451174"/>
                      </a:lnTo>
                      <a:lnTo>
                        <a:pt x="1142971" y="452064"/>
                      </a:lnTo>
                      <a:lnTo>
                        <a:pt x="1142484" y="454046"/>
                      </a:lnTo>
                      <a:lnTo>
                        <a:pt x="1141808" y="456078"/>
                      </a:lnTo>
                      <a:lnTo>
                        <a:pt x="1140781" y="458005"/>
                      </a:lnTo>
                      <a:lnTo>
                        <a:pt x="1139236" y="459660"/>
                      </a:lnTo>
                      <a:lnTo>
                        <a:pt x="1137571" y="460150"/>
                      </a:lnTo>
                      <a:lnTo>
                        <a:pt x="1135654" y="459966"/>
                      </a:lnTo>
                      <a:lnTo>
                        <a:pt x="1133694" y="460093"/>
                      </a:lnTo>
                      <a:lnTo>
                        <a:pt x="1131896" y="461490"/>
                      </a:lnTo>
                      <a:lnTo>
                        <a:pt x="1131263" y="464345"/>
                      </a:lnTo>
                      <a:lnTo>
                        <a:pt x="1133713" y="470526"/>
                      </a:lnTo>
                      <a:lnTo>
                        <a:pt x="1133865" y="474248"/>
                      </a:lnTo>
                      <a:lnTo>
                        <a:pt x="1133207" y="476227"/>
                      </a:lnTo>
                      <a:lnTo>
                        <a:pt x="1132413" y="477532"/>
                      </a:lnTo>
                      <a:lnTo>
                        <a:pt x="1131485" y="478799"/>
                      </a:lnTo>
                      <a:lnTo>
                        <a:pt x="1130410" y="480659"/>
                      </a:lnTo>
                      <a:lnTo>
                        <a:pt x="1127789" y="487692"/>
                      </a:lnTo>
                      <a:lnTo>
                        <a:pt x="1124697" y="493180"/>
                      </a:lnTo>
                      <a:lnTo>
                        <a:pt x="1123198" y="497284"/>
                      </a:lnTo>
                      <a:lnTo>
                        <a:pt x="1120667" y="501054"/>
                      </a:lnTo>
                      <a:lnTo>
                        <a:pt x="1118566" y="503224"/>
                      </a:lnTo>
                      <a:lnTo>
                        <a:pt x="1114946" y="505214"/>
                      </a:lnTo>
                      <a:lnTo>
                        <a:pt x="1112089" y="507842"/>
                      </a:lnTo>
                      <a:lnTo>
                        <a:pt x="1112258" y="511919"/>
                      </a:lnTo>
                      <a:lnTo>
                        <a:pt x="1111958" y="513202"/>
                      </a:lnTo>
                      <a:lnTo>
                        <a:pt x="1111948" y="513227"/>
                      </a:lnTo>
                      <a:lnTo>
                        <a:pt x="1111899" y="515531"/>
                      </a:lnTo>
                      <a:lnTo>
                        <a:pt x="1108275" y="531147"/>
                      </a:lnTo>
                      <a:lnTo>
                        <a:pt x="1106463" y="538964"/>
                      </a:lnTo>
                      <a:lnTo>
                        <a:pt x="1102332" y="556879"/>
                      </a:lnTo>
                      <a:lnTo>
                        <a:pt x="1098205" y="574801"/>
                      </a:lnTo>
                      <a:lnTo>
                        <a:pt x="1094085" y="592739"/>
                      </a:lnTo>
                      <a:lnTo>
                        <a:pt x="1089982" y="610677"/>
                      </a:lnTo>
                      <a:lnTo>
                        <a:pt x="1085889" y="628625"/>
                      </a:lnTo>
                      <a:lnTo>
                        <a:pt x="1081798" y="646581"/>
                      </a:lnTo>
                      <a:lnTo>
                        <a:pt x="1077731" y="664536"/>
                      </a:lnTo>
                      <a:lnTo>
                        <a:pt x="1073666" y="682506"/>
                      </a:lnTo>
                      <a:lnTo>
                        <a:pt x="1069612" y="700480"/>
                      </a:lnTo>
                      <a:lnTo>
                        <a:pt x="1065570" y="718461"/>
                      </a:lnTo>
                      <a:lnTo>
                        <a:pt x="1061539" y="736457"/>
                      </a:lnTo>
                      <a:lnTo>
                        <a:pt x="1057512" y="754452"/>
                      </a:lnTo>
                      <a:lnTo>
                        <a:pt x="1053503" y="772455"/>
                      </a:lnTo>
                      <a:lnTo>
                        <a:pt x="1049502" y="790473"/>
                      </a:lnTo>
                      <a:lnTo>
                        <a:pt x="1045506" y="808493"/>
                      </a:lnTo>
                      <a:lnTo>
                        <a:pt x="1041534" y="826510"/>
                      </a:lnTo>
                      <a:lnTo>
                        <a:pt x="1014686" y="824503"/>
                      </a:lnTo>
                      <a:lnTo>
                        <a:pt x="987842" y="822477"/>
                      </a:lnTo>
                      <a:lnTo>
                        <a:pt x="961012" y="820434"/>
                      </a:lnTo>
                      <a:lnTo>
                        <a:pt x="934203" y="818372"/>
                      </a:lnTo>
                      <a:lnTo>
                        <a:pt x="907401" y="816292"/>
                      </a:lnTo>
                      <a:lnTo>
                        <a:pt x="880610" y="814193"/>
                      </a:lnTo>
                      <a:lnTo>
                        <a:pt x="853831" y="812076"/>
                      </a:lnTo>
                      <a:lnTo>
                        <a:pt x="827069" y="809941"/>
                      </a:lnTo>
                      <a:lnTo>
                        <a:pt x="800318" y="807787"/>
                      </a:lnTo>
                      <a:lnTo>
                        <a:pt x="773579" y="805615"/>
                      </a:lnTo>
                      <a:lnTo>
                        <a:pt x="746852" y="803423"/>
                      </a:lnTo>
                      <a:lnTo>
                        <a:pt x="720142" y="801214"/>
                      </a:lnTo>
                      <a:lnTo>
                        <a:pt x="693452" y="798986"/>
                      </a:lnTo>
                      <a:lnTo>
                        <a:pt x="666765" y="796739"/>
                      </a:lnTo>
                      <a:lnTo>
                        <a:pt x="640085" y="794473"/>
                      </a:lnTo>
                      <a:lnTo>
                        <a:pt x="613321" y="792180"/>
                      </a:lnTo>
                      <a:lnTo>
                        <a:pt x="575945" y="788944"/>
                      </a:lnTo>
                      <a:lnTo>
                        <a:pt x="538604" y="785673"/>
                      </a:lnTo>
                      <a:lnTo>
                        <a:pt x="501289" y="782363"/>
                      </a:lnTo>
                      <a:lnTo>
                        <a:pt x="464001" y="779018"/>
                      </a:lnTo>
                      <a:lnTo>
                        <a:pt x="426737" y="775634"/>
                      </a:lnTo>
                      <a:lnTo>
                        <a:pt x="389511" y="772215"/>
                      </a:lnTo>
                      <a:lnTo>
                        <a:pt x="352308" y="768758"/>
                      </a:lnTo>
                      <a:lnTo>
                        <a:pt x="315136" y="765264"/>
                      </a:lnTo>
                      <a:lnTo>
                        <a:pt x="277991" y="761733"/>
                      </a:lnTo>
                      <a:lnTo>
                        <a:pt x="240877" y="758164"/>
                      </a:lnTo>
                      <a:lnTo>
                        <a:pt x="203801" y="754559"/>
                      </a:lnTo>
                      <a:lnTo>
                        <a:pt x="166747" y="750915"/>
                      </a:lnTo>
                      <a:lnTo>
                        <a:pt x="129725" y="747234"/>
                      </a:lnTo>
                      <a:lnTo>
                        <a:pt x="92733" y="743516"/>
                      </a:lnTo>
                      <a:lnTo>
                        <a:pt x="55781" y="739760"/>
                      </a:lnTo>
                      <a:lnTo>
                        <a:pt x="18853" y="735966"/>
                      </a:lnTo>
                      <a:lnTo>
                        <a:pt x="14794" y="735547"/>
                      </a:lnTo>
                      <a:lnTo>
                        <a:pt x="14796" y="734343"/>
                      </a:lnTo>
                      <a:lnTo>
                        <a:pt x="12564" y="732058"/>
                      </a:lnTo>
                      <a:lnTo>
                        <a:pt x="10044" y="728842"/>
                      </a:lnTo>
                      <a:lnTo>
                        <a:pt x="8682" y="726599"/>
                      </a:lnTo>
                      <a:lnTo>
                        <a:pt x="6159" y="726140"/>
                      </a:lnTo>
                      <a:lnTo>
                        <a:pt x="2482" y="717591"/>
                      </a:lnTo>
                      <a:lnTo>
                        <a:pt x="778" y="716243"/>
                      </a:lnTo>
                      <a:lnTo>
                        <a:pt x="286" y="713463"/>
                      </a:lnTo>
                      <a:lnTo>
                        <a:pt x="2038" y="710218"/>
                      </a:lnTo>
                      <a:lnTo>
                        <a:pt x="1303" y="706848"/>
                      </a:lnTo>
                      <a:lnTo>
                        <a:pt x="2951" y="702468"/>
                      </a:lnTo>
                      <a:lnTo>
                        <a:pt x="2338" y="698508"/>
                      </a:lnTo>
                      <a:lnTo>
                        <a:pt x="3186" y="694311"/>
                      </a:lnTo>
                      <a:lnTo>
                        <a:pt x="1931" y="690704"/>
                      </a:lnTo>
                      <a:lnTo>
                        <a:pt x="0" y="688782"/>
                      </a:lnTo>
                      <a:lnTo>
                        <a:pt x="833" y="687069"/>
                      </a:lnTo>
                      <a:lnTo>
                        <a:pt x="2924" y="680509"/>
                      </a:lnTo>
                      <a:lnTo>
                        <a:pt x="2115" y="676513"/>
                      </a:lnTo>
                      <a:lnTo>
                        <a:pt x="1592" y="676060"/>
                      </a:lnTo>
                      <a:lnTo>
                        <a:pt x="1392" y="674353"/>
                      </a:lnTo>
                      <a:lnTo>
                        <a:pt x="2767" y="670827"/>
                      </a:lnTo>
                      <a:lnTo>
                        <a:pt x="4060" y="668736"/>
                      </a:lnTo>
                      <a:lnTo>
                        <a:pt x="4819" y="666017"/>
                      </a:lnTo>
                      <a:lnTo>
                        <a:pt x="5727" y="662615"/>
                      </a:lnTo>
                      <a:lnTo>
                        <a:pt x="7291" y="658554"/>
                      </a:lnTo>
                      <a:lnTo>
                        <a:pt x="6240" y="654944"/>
                      </a:lnTo>
                      <a:lnTo>
                        <a:pt x="9309" y="652568"/>
                      </a:lnTo>
                      <a:lnTo>
                        <a:pt x="10208" y="650316"/>
                      </a:lnTo>
                      <a:lnTo>
                        <a:pt x="11670" y="646126"/>
                      </a:lnTo>
                      <a:lnTo>
                        <a:pt x="15196" y="641333"/>
                      </a:lnTo>
                      <a:lnTo>
                        <a:pt x="16397" y="639033"/>
                      </a:lnTo>
                      <a:lnTo>
                        <a:pt x="19360" y="633249"/>
                      </a:lnTo>
                      <a:lnTo>
                        <a:pt x="19846" y="629865"/>
                      </a:lnTo>
                      <a:lnTo>
                        <a:pt x="19621" y="628134"/>
                      </a:lnTo>
                      <a:lnTo>
                        <a:pt x="21213" y="624537"/>
                      </a:lnTo>
                      <a:lnTo>
                        <a:pt x="21564" y="619278"/>
                      </a:lnTo>
                      <a:lnTo>
                        <a:pt x="21654" y="616125"/>
                      </a:lnTo>
                      <a:lnTo>
                        <a:pt x="20515" y="614354"/>
                      </a:lnTo>
                      <a:lnTo>
                        <a:pt x="18803" y="612992"/>
                      </a:lnTo>
                      <a:lnTo>
                        <a:pt x="17390" y="611235"/>
                      </a:lnTo>
                      <a:lnTo>
                        <a:pt x="16497" y="608310"/>
                      </a:lnTo>
                      <a:lnTo>
                        <a:pt x="17126" y="603346"/>
                      </a:lnTo>
                      <a:lnTo>
                        <a:pt x="14888" y="601759"/>
                      </a:lnTo>
                      <a:lnTo>
                        <a:pt x="12914" y="601773"/>
                      </a:lnTo>
                      <a:lnTo>
                        <a:pt x="12240" y="599489"/>
                      </a:lnTo>
                      <a:lnTo>
                        <a:pt x="12827" y="589549"/>
                      </a:lnTo>
                      <a:lnTo>
                        <a:pt x="12535" y="587292"/>
                      </a:lnTo>
                      <a:lnTo>
                        <a:pt x="11574" y="585494"/>
                      </a:lnTo>
                      <a:lnTo>
                        <a:pt x="9603" y="583765"/>
                      </a:lnTo>
                      <a:lnTo>
                        <a:pt x="12875" y="582037"/>
                      </a:lnTo>
                      <a:lnTo>
                        <a:pt x="25118" y="568065"/>
                      </a:lnTo>
                      <a:lnTo>
                        <a:pt x="32527" y="557416"/>
                      </a:lnTo>
                      <a:lnTo>
                        <a:pt x="34820" y="554357"/>
                      </a:lnTo>
                      <a:lnTo>
                        <a:pt x="37131" y="551221"/>
                      </a:lnTo>
                      <a:lnTo>
                        <a:pt x="39571" y="546754"/>
                      </a:lnTo>
                      <a:lnTo>
                        <a:pt x="40969" y="543499"/>
                      </a:lnTo>
                      <a:lnTo>
                        <a:pt x="44786" y="535884"/>
                      </a:lnTo>
                      <a:lnTo>
                        <a:pt x="46272" y="534923"/>
                      </a:lnTo>
                      <a:lnTo>
                        <a:pt x="46847" y="531969"/>
                      </a:lnTo>
                      <a:lnTo>
                        <a:pt x="57804" y="511270"/>
                      </a:lnTo>
                      <a:lnTo>
                        <a:pt x="58624" y="504672"/>
                      </a:lnTo>
                      <a:lnTo>
                        <a:pt x="58309" y="502826"/>
                      </a:lnTo>
                      <a:lnTo>
                        <a:pt x="61605" y="499554"/>
                      </a:lnTo>
                      <a:lnTo>
                        <a:pt x="63379" y="497924"/>
                      </a:lnTo>
                      <a:lnTo>
                        <a:pt x="65794" y="497814"/>
                      </a:lnTo>
                      <a:lnTo>
                        <a:pt x="68783" y="496360"/>
                      </a:lnTo>
                      <a:lnTo>
                        <a:pt x="70361" y="497124"/>
                      </a:lnTo>
                      <a:lnTo>
                        <a:pt x="70294" y="498951"/>
                      </a:lnTo>
                      <a:lnTo>
                        <a:pt x="68806" y="503566"/>
                      </a:lnTo>
                      <a:lnTo>
                        <a:pt x="69507" y="505887"/>
                      </a:lnTo>
                      <a:lnTo>
                        <a:pt x="70507" y="504336"/>
                      </a:lnTo>
                      <a:lnTo>
                        <a:pt x="72162" y="501102"/>
                      </a:lnTo>
                      <a:lnTo>
                        <a:pt x="72254" y="499163"/>
                      </a:lnTo>
                      <a:lnTo>
                        <a:pt x="73564" y="496367"/>
                      </a:lnTo>
                      <a:lnTo>
                        <a:pt x="75165" y="494957"/>
                      </a:lnTo>
                      <a:lnTo>
                        <a:pt x="77369" y="493941"/>
                      </a:lnTo>
                      <a:lnTo>
                        <a:pt x="80176" y="490022"/>
                      </a:lnTo>
                      <a:lnTo>
                        <a:pt x="84691" y="486258"/>
                      </a:lnTo>
                      <a:lnTo>
                        <a:pt x="87800" y="485397"/>
                      </a:lnTo>
                      <a:lnTo>
                        <a:pt x="89322" y="485358"/>
                      </a:lnTo>
                      <a:lnTo>
                        <a:pt x="89444" y="486965"/>
                      </a:lnTo>
                      <a:lnTo>
                        <a:pt x="88587" y="489444"/>
                      </a:lnTo>
                      <a:lnTo>
                        <a:pt x="87774" y="492266"/>
                      </a:lnTo>
                      <a:lnTo>
                        <a:pt x="87904" y="494333"/>
                      </a:lnTo>
                      <a:lnTo>
                        <a:pt x="89596" y="494646"/>
                      </a:lnTo>
                      <a:lnTo>
                        <a:pt x="92468" y="495819"/>
                      </a:lnTo>
                      <a:lnTo>
                        <a:pt x="96077" y="496152"/>
                      </a:lnTo>
                      <a:lnTo>
                        <a:pt x="98030" y="495296"/>
                      </a:lnTo>
                      <a:lnTo>
                        <a:pt x="94157" y="494071"/>
                      </a:lnTo>
                      <a:lnTo>
                        <a:pt x="92431" y="491810"/>
                      </a:lnTo>
                      <a:lnTo>
                        <a:pt x="92660" y="489302"/>
                      </a:lnTo>
                      <a:lnTo>
                        <a:pt x="92916" y="486681"/>
                      </a:lnTo>
                      <a:lnTo>
                        <a:pt x="91529" y="484554"/>
                      </a:lnTo>
                      <a:lnTo>
                        <a:pt x="92412" y="482427"/>
                      </a:lnTo>
                      <a:lnTo>
                        <a:pt x="94210" y="480957"/>
                      </a:lnTo>
                      <a:lnTo>
                        <a:pt x="92664" y="480841"/>
                      </a:lnTo>
                      <a:lnTo>
                        <a:pt x="89015" y="481344"/>
                      </a:lnTo>
                      <a:lnTo>
                        <a:pt x="87465" y="483094"/>
                      </a:lnTo>
                      <a:lnTo>
                        <a:pt x="83851" y="484514"/>
                      </a:lnTo>
                      <a:lnTo>
                        <a:pt x="81547" y="485199"/>
                      </a:lnTo>
                      <a:lnTo>
                        <a:pt x="79666" y="488311"/>
                      </a:lnTo>
                      <a:lnTo>
                        <a:pt x="71681" y="494785"/>
                      </a:lnTo>
                      <a:lnTo>
                        <a:pt x="70454" y="494151"/>
                      </a:lnTo>
                      <a:lnTo>
                        <a:pt x="78450" y="485503"/>
                      </a:lnTo>
                      <a:lnTo>
                        <a:pt x="93758" y="463812"/>
                      </a:lnTo>
                      <a:lnTo>
                        <a:pt x="97882" y="457157"/>
                      </a:lnTo>
                      <a:lnTo>
                        <a:pt x="101175" y="450116"/>
                      </a:lnTo>
                      <a:lnTo>
                        <a:pt x="103576" y="445095"/>
                      </a:lnTo>
                      <a:lnTo>
                        <a:pt x="104943" y="444136"/>
                      </a:lnTo>
                      <a:lnTo>
                        <a:pt x="109307" y="442759"/>
                      </a:lnTo>
                      <a:lnTo>
                        <a:pt x="111930" y="440264"/>
                      </a:lnTo>
                      <a:lnTo>
                        <a:pt x="113478" y="438610"/>
                      </a:lnTo>
                      <a:lnTo>
                        <a:pt x="114913" y="436342"/>
                      </a:lnTo>
                      <a:lnTo>
                        <a:pt x="116472" y="434754"/>
                      </a:lnTo>
                      <a:lnTo>
                        <a:pt x="117374" y="432780"/>
                      </a:lnTo>
                      <a:lnTo>
                        <a:pt x="118420" y="432607"/>
                      </a:lnTo>
                      <a:lnTo>
                        <a:pt x="119007" y="433782"/>
                      </a:lnTo>
                      <a:lnTo>
                        <a:pt x="119376" y="436996"/>
                      </a:lnTo>
                      <a:lnTo>
                        <a:pt x="120159" y="437950"/>
                      </a:lnTo>
                      <a:lnTo>
                        <a:pt x="125121" y="438732"/>
                      </a:lnTo>
                      <a:lnTo>
                        <a:pt x="125810" y="437556"/>
                      </a:lnTo>
                      <a:lnTo>
                        <a:pt x="123765" y="437109"/>
                      </a:lnTo>
                      <a:lnTo>
                        <a:pt x="121906" y="435873"/>
                      </a:lnTo>
                      <a:lnTo>
                        <a:pt x="120891" y="432740"/>
                      </a:lnTo>
                      <a:lnTo>
                        <a:pt x="119795" y="430157"/>
                      </a:lnTo>
                      <a:lnTo>
                        <a:pt x="116919" y="430117"/>
                      </a:lnTo>
                      <a:lnTo>
                        <a:pt x="114723" y="431836"/>
                      </a:lnTo>
                      <a:lnTo>
                        <a:pt x="113557" y="435145"/>
                      </a:lnTo>
                      <a:lnTo>
                        <a:pt x="111077" y="438508"/>
                      </a:lnTo>
                      <a:lnTo>
                        <a:pt x="107704" y="440505"/>
                      </a:lnTo>
                      <a:lnTo>
                        <a:pt x="105830" y="440980"/>
                      </a:lnTo>
                      <a:lnTo>
                        <a:pt x="109363" y="434757"/>
                      </a:lnTo>
                      <a:lnTo>
                        <a:pt x="113978" y="427113"/>
                      </a:lnTo>
                      <a:lnTo>
                        <a:pt x="123903" y="406667"/>
                      </a:lnTo>
                      <a:lnTo>
                        <a:pt x="128115" y="396036"/>
                      </a:lnTo>
                      <a:lnTo>
                        <a:pt x="130898" y="389342"/>
                      </a:lnTo>
                      <a:lnTo>
                        <a:pt x="131726" y="387913"/>
                      </a:lnTo>
                      <a:lnTo>
                        <a:pt x="133821" y="387091"/>
                      </a:lnTo>
                      <a:lnTo>
                        <a:pt x="135040" y="385374"/>
                      </a:lnTo>
                      <a:lnTo>
                        <a:pt x="134515" y="380715"/>
                      </a:lnTo>
                      <a:lnTo>
                        <a:pt x="135167" y="378580"/>
                      </a:lnTo>
                      <a:lnTo>
                        <a:pt x="139205" y="369048"/>
                      </a:lnTo>
                      <a:lnTo>
                        <a:pt x="145855" y="353365"/>
                      </a:lnTo>
                      <a:lnTo>
                        <a:pt x="149038" y="343183"/>
                      </a:lnTo>
                      <a:lnTo>
                        <a:pt x="152020" y="336785"/>
                      </a:lnTo>
                      <a:lnTo>
                        <a:pt x="152229" y="335716"/>
                      </a:lnTo>
                      <a:lnTo>
                        <a:pt x="151982" y="334054"/>
                      </a:lnTo>
                      <a:lnTo>
                        <a:pt x="152240" y="333019"/>
                      </a:lnTo>
                      <a:lnTo>
                        <a:pt x="152922" y="332023"/>
                      </a:lnTo>
                      <a:lnTo>
                        <a:pt x="154564" y="330575"/>
                      </a:lnTo>
                      <a:lnTo>
                        <a:pt x="155204" y="329751"/>
                      </a:lnTo>
                      <a:lnTo>
                        <a:pt x="159979" y="319799"/>
                      </a:lnTo>
                      <a:lnTo>
                        <a:pt x="162024" y="315301"/>
                      </a:lnTo>
                      <a:lnTo>
                        <a:pt x="164294" y="313720"/>
                      </a:lnTo>
                      <a:lnTo>
                        <a:pt x="165615" y="312483"/>
                      </a:lnTo>
                      <a:lnTo>
                        <a:pt x="167411" y="312052"/>
                      </a:lnTo>
                      <a:lnTo>
                        <a:pt x="168123" y="313516"/>
                      </a:lnTo>
                      <a:lnTo>
                        <a:pt x="169024" y="315253"/>
                      </a:lnTo>
                      <a:lnTo>
                        <a:pt x="171010" y="316615"/>
                      </a:lnTo>
                      <a:lnTo>
                        <a:pt x="171295" y="311353"/>
                      </a:lnTo>
                      <a:lnTo>
                        <a:pt x="169927" y="310442"/>
                      </a:lnTo>
                      <a:lnTo>
                        <a:pt x="168813" y="309375"/>
                      </a:lnTo>
                      <a:lnTo>
                        <a:pt x="165676" y="310978"/>
                      </a:lnTo>
                      <a:lnTo>
                        <a:pt x="164355" y="311652"/>
                      </a:lnTo>
                      <a:lnTo>
                        <a:pt x="163044" y="312515"/>
                      </a:lnTo>
                      <a:lnTo>
                        <a:pt x="163858" y="310243"/>
                      </a:lnTo>
                      <a:lnTo>
                        <a:pt x="165221" y="306521"/>
                      </a:lnTo>
                      <a:lnTo>
                        <a:pt x="166790" y="300264"/>
                      </a:lnTo>
                      <a:lnTo>
                        <a:pt x="175820" y="281192"/>
                      </a:lnTo>
                      <a:lnTo>
                        <a:pt x="177742" y="279838"/>
                      </a:lnTo>
                      <a:lnTo>
                        <a:pt x="178869" y="279371"/>
                      </a:lnTo>
                      <a:lnTo>
                        <a:pt x="180652" y="280204"/>
                      </a:lnTo>
                      <a:lnTo>
                        <a:pt x="181367" y="281469"/>
                      </a:lnTo>
                      <a:lnTo>
                        <a:pt x="181525" y="282290"/>
                      </a:lnTo>
                      <a:lnTo>
                        <a:pt x="182257" y="283641"/>
                      </a:lnTo>
                      <a:lnTo>
                        <a:pt x="183131" y="281918"/>
                      </a:lnTo>
                      <a:lnTo>
                        <a:pt x="184153" y="280887"/>
                      </a:lnTo>
                      <a:lnTo>
                        <a:pt x="184302" y="279550"/>
                      </a:lnTo>
                      <a:lnTo>
                        <a:pt x="182826" y="278793"/>
                      </a:lnTo>
                      <a:lnTo>
                        <a:pt x="182019" y="279424"/>
                      </a:lnTo>
                      <a:lnTo>
                        <a:pt x="181440" y="279486"/>
                      </a:lnTo>
                      <a:lnTo>
                        <a:pt x="180543" y="278794"/>
                      </a:lnTo>
                      <a:lnTo>
                        <a:pt x="179121" y="277409"/>
                      </a:lnTo>
                      <a:lnTo>
                        <a:pt x="177761" y="278316"/>
                      </a:lnTo>
                      <a:lnTo>
                        <a:pt x="175601" y="279686"/>
                      </a:lnTo>
                      <a:lnTo>
                        <a:pt x="175398" y="279156"/>
                      </a:lnTo>
                      <a:lnTo>
                        <a:pt x="176486" y="277201"/>
                      </a:lnTo>
                      <a:lnTo>
                        <a:pt x="177584" y="275800"/>
                      </a:lnTo>
                      <a:lnTo>
                        <a:pt x="178689" y="273936"/>
                      </a:lnTo>
                      <a:lnTo>
                        <a:pt x="179534" y="271871"/>
                      </a:lnTo>
                      <a:lnTo>
                        <a:pt x="179317" y="270364"/>
                      </a:lnTo>
                      <a:lnTo>
                        <a:pt x="177753" y="270016"/>
                      </a:lnTo>
                      <a:lnTo>
                        <a:pt x="177419" y="269598"/>
                      </a:lnTo>
                      <a:lnTo>
                        <a:pt x="178406" y="268988"/>
                      </a:lnTo>
                      <a:lnTo>
                        <a:pt x="179711" y="267235"/>
                      </a:lnTo>
                      <a:lnTo>
                        <a:pt x="182916" y="260986"/>
                      </a:lnTo>
                      <a:lnTo>
                        <a:pt x="183890" y="257477"/>
                      </a:lnTo>
                      <a:lnTo>
                        <a:pt x="184066" y="254355"/>
                      </a:lnTo>
                      <a:lnTo>
                        <a:pt x="183737" y="251809"/>
                      </a:lnTo>
                      <a:lnTo>
                        <a:pt x="186209" y="247068"/>
                      </a:lnTo>
                      <a:lnTo>
                        <a:pt x="187382" y="243998"/>
                      </a:lnTo>
                      <a:lnTo>
                        <a:pt x="189802" y="241498"/>
                      </a:lnTo>
                      <a:lnTo>
                        <a:pt x="191864" y="238185"/>
                      </a:lnTo>
                      <a:lnTo>
                        <a:pt x="194598" y="234887"/>
                      </a:lnTo>
                      <a:lnTo>
                        <a:pt x="195899" y="231621"/>
                      </a:lnTo>
                      <a:lnTo>
                        <a:pt x="196431" y="230333"/>
                      </a:lnTo>
                      <a:lnTo>
                        <a:pt x="197701" y="229595"/>
                      </a:lnTo>
                      <a:lnTo>
                        <a:pt x="199001" y="228510"/>
                      </a:lnTo>
                      <a:lnTo>
                        <a:pt x="199538" y="226606"/>
                      </a:lnTo>
                      <a:lnTo>
                        <a:pt x="198983" y="225075"/>
                      </a:lnTo>
                      <a:lnTo>
                        <a:pt x="199595" y="223674"/>
                      </a:lnTo>
                      <a:lnTo>
                        <a:pt x="202206" y="219668"/>
                      </a:lnTo>
                      <a:lnTo>
                        <a:pt x="204369" y="214517"/>
                      </a:lnTo>
                      <a:lnTo>
                        <a:pt x="207805" y="206663"/>
                      </a:lnTo>
                      <a:lnTo>
                        <a:pt x="206931" y="204605"/>
                      </a:lnTo>
                      <a:lnTo>
                        <a:pt x="207694" y="202920"/>
                      </a:lnTo>
                      <a:lnTo>
                        <a:pt x="210058" y="199892"/>
                      </a:lnTo>
                      <a:lnTo>
                        <a:pt x="213987" y="196313"/>
                      </a:lnTo>
                      <a:lnTo>
                        <a:pt x="216327" y="192273"/>
                      </a:lnTo>
                      <a:lnTo>
                        <a:pt x="218499" y="188048"/>
                      </a:lnTo>
                      <a:lnTo>
                        <a:pt x="219325" y="185700"/>
                      </a:lnTo>
                      <a:lnTo>
                        <a:pt x="220562" y="182466"/>
                      </a:lnTo>
                      <a:lnTo>
                        <a:pt x="221642" y="179130"/>
                      </a:lnTo>
                      <a:lnTo>
                        <a:pt x="221293" y="177058"/>
                      </a:lnTo>
                      <a:lnTo>
                        <a:pt x="224270" y="171301"/>
                      </a:lnTo>
                      <a:lnTo>
                        <a:pt x="225105" y="169968"/>
                      </a:lnTo>
                      <a:lnTo>
                        <a:pt x="226729" y="166393"/>
                      </a:lnTo>
                      <a:lnTo>
                        <a:pt x="228113" y="162842"/>
                      </a:lnTo>
                      <a:lnTo>
                        <a:pt x="228314" y="157216"/>
                      </a:lnTo>
                      <a:lnTo>
                        <a:pt x="226467" y="156126"/>
                      </a:lnTo>
                      <a:lnTo>
                        <a:pt x="224635" y="155696"/>
                      </a:lnTo>
                      <a:lnTo>
                        <a:pt x="225018" y="154511"/>
                      </a:lnTo>
                      <a:lnTo>
                        <a:pt x="228102" y="153934"/>
                      </a:lnTo>
                      <a:lnTo>
                        <a:pt x="229910" y="151907"/>
                      </a:lnTo>
                      <a:lnTo>
                        <a:pt x="231185" y="149069"/>
                      </a:lnTo>
                      <a:lnTo>
                        <a:pt x="232242" y="146820"/>
                      </a:lnTo>
                      <a:lnTo>
                        <a:pt x="233298" y="145009"/>
                      </a:lnTo>
                      <a:lnTo>
                        <a:pt x="234113" y="143910"/>
                      </a:lnTo>
                      <a:lnTo>
                        <a:pt x="234883" y="142951"/>
                      </a:lnTo>
                      <a:lnTo>
                        <a:pt x="235402" y="143294"/>
                      </a:lnTo>
                      <a:lnTo>
                        <a:pt x="234885" y="143981"/>
                      </a:lnTo>
                      <a:lnTo>
                        <a:pt x="232451" y="149210"/>
                      </a:lnTo>
                      <a:lnTo>
                        <a:pt x="235283" y="147597"/>
                      </a:lnTo>
                      <a:lnTo>
                        <a:pt x="237839" y="144997"/>
                      </a:lnTo>
                      <a:lnTo>
                        <a:pt x="240343" y="143077"/>
                      </a:lnTo>
                      <a:lnTo>
                        <a:pt x="236309" y="139911"/>
                      </a:lnTo>
                      <a:lnTo>
                        <a:pt x="235178" y="136344"/>
                      </a:lnTo>
                      <a:lnTo>
                        <a:pt x="237640" y="128995"/>
                      </a:lnTo>
                      <a:lnTo>
                        <a:pt x="240456" y="125432"/>
                      </a:lnTo>
                      <a:lnTo>
                        <a:pt x="242847" y="119894"/>
                      </a:lnTo>
                      <a:lnTo>
                        <a:pt x="244086" y="118456"/>
                      </a:lnTo>
                      <a:lnTo>
                        <a:pt x="242737" y="123956"/>
                      </a:lnTo>
                      <a:lnTo>
                        <a:pt x="242154" y="128535"/>
                      </a:lnTo>
                      <a:lnTo>
                        <a:pt x="244201" y="129646"/>
                      </a:lnTo>
                      <a:lnTo>
                        <a:pt x="244769" y="131786"/>
                      </a:lnTo>
                      <a:lnTo>
                        <a:pt x="247336" y="133480"/>
                      </a:lnTo>
                      <a:lnTo>
                        <a:pt x="247222" y="132243"/>
                      </a:lnTo>
                      <a:lnTo>
                        <a:pt x="247921" y="131288"/>
                      </a:lnTo>
                      <a:lnTo>
                        <a:pt x="248864" y="130445"/>
                      </a:lnTo>
                      <a:lnTo>
                        <a:pt x="249689" y="129328"/>
                      </a:lnTo>
                      <a:lnTo>
                        <a:pt x="249816" y="128048"/>
                      </a:lnTo>
                      <a:lnTo>
                        <a:pt x="249986" y="125823"/>
                      </a:lnTo>
                      <a:lnTo>
                        <a:pt x="249155" y="124864"/>
                      </a:lnTo>
                      <a:lnTo>
                        <a:pt x="249525" y="122423"/>
                      </a:lnTo>
                      <a:lnTo>
                        <a:pt x="251345" y="118713"/>
                      </a:lnTo>
                      <a:lnTo>
                        <a:pt x="247092" y="119318"/>
                      </a:lnTo>
                      <a:lnTo>
                        <a:pt x="244844" y="116467"/>
                      </a:lnTo>
                      <a:lnTo>
                        <a:pt x="243932" y="115037"/>
                      </a:lnTo>
                      <a:lnTo>
                        <a:pt x="245527" y="112541"/>
                      </a:lnTo>
                      <a:lnTo>
                        <a:pt x="248260" y="107415"/>
                      </a:lnTo>
                      <a:lnTo>
                        <a:pt x="250152" y="102754"/>
                      </a:lnTo>
                      <a:lnTo>
                        <a:pt x="253786" y="100622"/>
                      </a:lnTo>
                      <a:lnTo>
                        <a:pt x="254856" y="96964"/>
                      </a:lnTo>
                      <a:lnTo>
                        <a:pt x="255637" y="96004"/>
                      </a:lnTo>
                      <a:lnTo>
                        <a:pt x="256796" y="95827"/>
                      </a:lnTo>
                      <a:lnTo>
                        <a:pt x="257739" y="96680"/>
                      </a:lnTo>
                      <a:lnTo>
                        <a:pt x="258644" y="97406"/>
                      </a:lnTo>
                      <a:lnTo>
                        <a:pt x="259393" y="97617"/>
                      </a:lnTo>
                      <a:lnTo>
                        <a:pt x="260652" y="97115"/>
                      </a:lnTo>
                      <a:lnTo>
                        <a:pt x="262428" y="95270"/>
                      </a:lnTo>
                      <a:lnTo>
                        <a:pt x="261508" y="95488"/>
                      </a:lnTo>
                      <a:lnTo>
                        <a:pt x="260872" y="95534"/>
                      </a:lnTo>
                      <a:lnTo>
                        <a:pt x="260224" y="95716"/>
                      </a:lnTo>
                      <a:lnTo>
                        <a:pt x="258789" y="95247"/>
                      </a:lnTo>
                      <a:lnTo>
                        <a:pt x="258239" y="94247"/>
                      </a:lnTo>
                      <a:lnTo>
                        <a:pt x="258060" y="92922"/>
                      </a:lnTo>
                      <a:lnTo>
                        <a:pt x="256583" y="93436"/>
                      </a:lnTo>
                      <a:lnTo>
                        <a:pt x="255690" y="94641"/>
                      </a:lnTo>
                      <a:lnTo>
                        <a:pt x="254230" y="95151"/>
                      </a:lnTo>
                      <a:lnTo>
                        <a:pt x="253297" y="97155"/>
                      </a:lnTo>
                      <a:lnTo>
                        <a:pt x="252549" y="99428"/>
                      </a:lnTo>
                      <a:lnTo>
                        <a:pt x="251369" y="100721"/>
                      </a:lnTo>
                      <a:lnTo>
                        <a:pt x="251569" y="99475"/>
                      </a:lnTo>
                      <a:lnTo>
                        <a:pt x="253594" y="94091"/>
                      </a:lnTo>
                      <a:lnTo>
                        <a:pt x="254600" y="89182"/>
                      </a:lnTo>
                      <a:lnTo>
                        <a:pt x="254317" y="87537"/>
                      </a:lnTo>
                      <a:lnTo>
                        <a:pt x="252574" y="85921"/>
                      </a:lnTo>
                      <a:lnTo>
                        <a:pt x="252367" y="84271"/>
                      </a:lnTo>
                      <a:lnTo>
                        <a:pt x="253023" y="82911"/>
                      </a:lnTo>
                      <a:lnTo>
                        <a:pt x="252521" y="82551"/>
                      </a:lnTo>
                      <a:lnTo>
                        <a:pt x="251196" y="82821"/>
                      </a:lnTo>
                      <a:lnTo>
                        <a:pt x="251483" y="81512"/>
                      </a:lnTo>
                      <a:lnTo>
                        <a:pt x="254109" y="79331"/>
                      </a:lnTo>
                      <a:lnTo>
                        <a:pt x="255151" y="76869"/>
                      </a:lnTo>
                      <a:lnTo>
                        <a:pt x="257273" y="73577"/>
                      </a:lnTo>
                      <a:lnTo>
                        <a:pt x="260869" y="63658"/>
                      </a:lnTo>
                      <a:lnTo>
                        <a:pt x="261818" y="59454"/>
                      </a:lnTo>
                      <a:lnTo>
                        <a:pt x="261689" y="55617"/>
                      </a:lnTo>
                      <a:lnTo>
                        <a:pt x="260003" y="51962"/>
                      </a:lnTo>
                      <a:lnTo>
                        <a:pt x="261676" y="50335"/>
                      </a:lnTo>
                      <a:lnTo>
                        <a:pt x="263200" y="49676"/>
                      </a:lnTo>
                      <a:lnTo>
                        <a:pt x="265156" y="47347"/>
                      </a:lnTo>
                      <a:lnTo>
                        <a:pt x="267221" y="46626"/>
                      </a:lnTo>
                      <a:lnTo>
                        <a:pt x="269925" y="45601"/>
                      </a:lnTo>
                      <a:lnTo>
                        <a:pt x="271395" y="43456"/>
                      </a:lnTo>
                      <a:lnTo>
                        <a:pt x="273294" y="39836"/>
                      </a:lnTo>
                      <a:lnTo>
                        <a:pt x="273938" y="35740"/>
                      </a:lnTo>
                      <a:lnTo>
                        <a:pt x="275346" y="27911"/>
                      </a:lnTo>
                      <a:lnTo>
                        <a:pt x="275681" y="21112"/>
                      </a:lnTo>
                      <a:lnTo>
                        <a:pt x="274969" y="6608"/>
                      </a:lnTo>
                      <a:lnTo>
                        <a:pt x="272422" y="884"/>
                      </a:lnTo>
                      <a:lnTo>
                        <a:pt x="273392" y="173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Freeform 43">
                  <a:extLst>
                    <a:ext uri="{FF2B5EF4-FFF2-40B4-BE49-F238E27FC236}">
                      <a16:creationId xmlns:a16="http://schemas.microsoft.com/office/drawing/2014/main" id="{A633417C-AB51-4E25-B147-4595114BC4AA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1370807" y="4035276"/>
                  <a:ext cx="581363" cy="6192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9875" h="915891">
                      <a:moveTo>
                        <a:pt x="237345" y="5071"/>
                      </a:moveTo>
                      <a:lnTo>
                        <a:pt x="264497" y="6720"/>
                      </a:lnTo>
                      <a:lnTo>
                        <a:pt x="291659" y="8352"/>
                      </a:lnTo>
                      <a:lnTo>
                        <a:pt x="318832" y="9966"/>
                      </a:lnTo>
                      <a:lnTo>
                        <a:pt x="346016" y="11562"/>
                      </a:lnTo>
                      <a:lnTo>
                        <a:pt x="373211" y="13148"/>
                      </a:lnTo>
                      <a:lnTo>
                        <a:pt x="400410" y="14717"/>
                      </a:lnTo>
                      <a:lnTo>
                        <a:pt x="427621" y="16259"/>
                      </a:lnTo>
                      <a:lnTo>
                        <a:pt x="454841" y="17782"/>
                      </a:lnTo>
                      <a:lnTo>
                        <a:pt x="482077" y="19289"/>
                      </a:lnTo>
                      <a:lnTo>
                        <a:pt x="509315" y="20777"/>
                      </a:lnTo>
                      <a:lnTo>
                        <a:pt x="536560" y="22254"/>
                      </a:lnTo>
                      <a:lnTo>
                        <a:pt x="563816" y="23711"/>
                      </a:lnTo>
                      <a:lnTo>
                        <a:pt x="591084" y="25145"/>
                      </a:lnTo>
                      <a:lnTo>
                        <a:pt x="589344" y="36022"/>
                      </a:lnTo>
                      <a:lnTo>
                        <a:pt x="587615" y="46898"/>
                      </a:lnTo>
                      <a:lnTo>
                        <a:pt x="585885" y="57776"/>
                      </a:lnTo>
                      <a:lnTo>
                        <a:pt x="584153" y="68656"/>
                      </a:lnTo>
                      <a:lnTo>
                        <a:pt x="582424" y="79547"/>
                      </a:lnTo>
                      <a:lnTo>
                        <a:pt x="580702" y="90425"/>
                      </a:lnTo>
                      <a:lnTo>
                        <a:pt x="578985" y="101321"/>
                      </a:lnTo>
                      <a:lnTo>
                        <a:pt x="577264" y="112211"/>
                      </a:lnTo>
                      <a:lnTo>
                        <a:pt x="575546" y="123107"/>
                      </a:lnTo>
                      <a:lnTo>
                        <a:pt x="573838" y="134007"/>
                      </a:lnTo>
                      <a:lnTo>
                        <a:pt x="572130" y="144900"/>
                      </a:lnTo>
                      <a:lnTo>
                        <a:pt x="570419" y="155807"/>
                      </a:lnTo>
                      <a:lnTo>
                        <a:pt x="568713" y="166710"/>
                      </a:lnTo>
                      <a:lnTo>
                        <a:pt x="567009" y="177614"/>
                      </a:lnTo>
                      <a:lnTo>
                        <a:pt x="565308" y="188520"/>
                      </a:lnTo>
                      <a:lnTo>
                        <a:pt x="563612" y="199434"/>
                      </a:lnTo>
                      <a:lnTo>
                        <a:pt x="563623" y="199435"/>
                      </a:lnTo>
                      <a:lnTo>
                        <a:pt x="563622" y="199439"/>
                      </a:lnTo>
                      <a:lnTo>
                        <a:pt x="563621" y="199448"/>
                      </a:lnTo>
                      <a:lnTo>
                        <a:pt x="563619" y="199456"/>
                      </a:lnTo>
                      <a:lnTo>
                        <a:pt x="563619" y="199461"/>
                      </a:lnTo>
                      <a:lnTo>
                        <a:pt x="563618" y="199465"/>
                      </a:lnTo>
                      <a:lnTo>
                        <a:pt x="563617" y="199474"/>
                      </a:lnTo>
                      <a:lnTo>
                        <a:pt x="582100" y="200410"/>
                      </a:lnTo>
                      <a:lnTo>
                        <a:pt x="600596" y="201340"/>
                      </a:lnTo>
                      <a:lnTo>
                        <a:pt x="619094" y="202261"/>
                      </a:lnTo>
                      <a:lnTo>
                        <a:pt x="637590" y="203174"/>
                      </a:lnTo>
                      <a:lnTo>
                        <a:pt x="656093" y="204080"/>
                      </a:lnTo>
                      <a:lnTo>
                        <a:pt x="674604" y="204978"/>
                      </a:lnTo>
                      <a:lnTo>
                        <a:pt x="693114" y="205867"/>
                      </a:lnTo>
                      <a:lnTo>
                        <a:pt x="711627" y="206749"/>
                      </a:lnTo>
                      <a:lnTo>
                        <a:pt x="730145" y="207623"/>
                      </a:lnTo>
                      <a:lnTo>
                        <a:pt x="748670" y="208490"/>
                      </a:lnTo>
                      <a:lnTo>
                        <a:pt x="767191" y="209348"/>
                      </a:lnTo>
                      <a:lnTo>
                        <a:pt x="785723" y="210198"/>
                      </a:lnTo>
                      <a:lnTo>
                        <a:pt x="804255" y="211041"/>
                      </a:lnTo>
                      <a:lnTo>
                        <a:pt x="822786" y="211875"/>
                      </a:lnTo>
                      <a:lnTo>
                        <a:pt x="841328" y="212702"/>
                      </a:lnTo>
                      <a:lnTo>
                        <a:pt x="859874" y="213521"/>
                      </a:lnTo>
                      <a:lnTo>
                        <a:pt x="856930" y="235334"/>
                      </a:lnTo>
                      <a:lnTo>
                        <a:pt x="853997" y="257148"/>
                      </a:lnTo>
                      <a:lnTo>
                        <a:pt x="851072" y="278970"/>
                      </a:lnTo>
                      <a:lnTo>
                        <a:pt x="848150" y="300811"/>
                      </a:lnTo>
                      <a:lnTo>
                        <a:pt x="845232" y="322659"/>
                      </a:lnTo>
                      <a:lnTo>
                        <a:pt x="842336" y="344519"/>
                      </a:lnTo>
                      <a:lnTo>
                        <a:pt x="839449" y="366378"/>
                      </a:lnTo>
                      <a:lnTo>
                        <a:pt x="836572" y="388248"/>
                      </a:lnTo>
                      <a:lnTo>
                        <a:pt x="833704" y="410130"/>
                      </a:lnTo>
                      <a:lnTo>
                        <a:pt x="830845" y="432026"/>
                      </a:lnTo>
                      <a:lnTo>
                        <a:pt x="827996" y="453927"/>
                      </a:lnTo>
                      <a:lnTo>
                        <a:pt x="825156" y="475836"/>
                      </a:lnTo>
                      <a:lnTo>
                        <a:pt x="822318" y="497759"/>
                      </a:lnTo>
                      <a:lnTo>
                        <a:pt x="819497" y="519683"/>
                      </a:lnTo>
                      <a:lnTo>
                        <a:pt x="816686" y="541619"/>
                      </a:lnTo>
                      <a:lnTo>
                        <a:pt x="813883" y="563564"/>
                      </a:lnTo>
                      <a:lnTo>
                        <a:pt x="811091" y="585515"/>
                      </a:lnTo>
                      <a:lnTo>
                        <a:pt x="808307" y="607478"/>
                      </a:lnTo>
                      <a:lnTo>
                        <a:pt x="805533" y="629452"/>
                      </a:lnTo>
                      <a:lnTo>
                        <a:pt x="802760" y="651436"/>
                      </a:lnTo>
                      <a:lnTo>
                        <a:pt x="799996" y="673434"/>
                      </a:lnTo>
                      <a:lnTo>
                        <a:pt x="797250" y="695429"/>
                      </a:lnTo>
                      <a:lnTo>
                        <a:pt x="794514" y="717432"/>
                      </a:lnTo>
                      <a:lnTo>
                        <a:pt x="791787" y="739448"/>
                      </a:lnTo>
                      <a:lnTo>
                        <a:pt x="789068" y="761473"/>
                      </a:lnTo>
                      <a:lnTo>
                        <a:pt x="786359" y="783512"/>
                      </a:lnTo>
                      <a:lnTo>
                        <a:pt x="783661" y="805545"/>
                      </a:lnTo>
                      <a:lnTo>
                        <a:pt x="780970" y="827600"/>
                      </a:lnTo>
                      <a:lnTo>
                        <a:pt x="778288" y="849669"/>
                      </a:lnTo>
                      <a:lnTo>
                        <a:pt x="775617" y="871737"/>
                      </a:lnTo>
                      <a:lnTo>
                        <a:pt x="772955" y="893809"/>
                      </a:lnTo>
                      <a:lnTo>
                        <a:pt x="770299" y="915890"/>
                      </a:lnTo>
                      <a:lnTo>
                        <a:pt x="746134" y="914917"/>
                      </a:lnTo>
                      <a:lnTo>
                        <a:pt x="721980" y="913931"/>
                      </a:lnTo>
                      <a:lnTo>
                        <a:pt x="697825" y="912930"/>
                      </a:lnTo>
                      <a:lnTo>
                        <a:pt x="673676" y="911922"/>
                      </a:lnTo>
                      <a:lnTo>
                        <a:pt x="649542" y="910904"/>
                      </a:lnTo>
                      <a:lnTo>
                        <a:pt x="625402" y="909868"/>
                      </a:lnTo>
                      <a:lnTo>
                        <a:pt x="601270" y="908826"/>
                      </a:lnTo>
                      <a:lnTo>
                        <a:pt x="577148" y="907773"/>
                      </a:lnTo>
                      <a:lnTo>
                        <a:pt x="553033" y="906707"/>
                      </a:lnTo>
                      <a:lnTo>
                        <a:pt x="528914" y="905630"/>
                      </a:lnTo>
                      <a:lnTo>
                        <a:pt x="504806" y="904542"/>
                      </a:lnTo>
                      <a:lnTo>
                        <a:pt x="480708" y="903438"/>
                      </a:lnTo>
                      <a:lnTo>
                        <a:pt x="456611" y="902327"/>
                      </a:lnTo>
                      <a:lnTo>
                        <a:pt x="432521" y="901204"/>
                      </a:lnTo>
                      <a:lnTo>
                        <a:pt x="408441" y="900066"/>
                      </a:lnTo>
                      <a:lnTo>
                        <a:pt x="384358" y="898920"/>
                      </a:lnTo>
                      <a:lnTo>
                        <a:pt x="360287" y="897762"/>
                      </a:lnTo>
                      <a:lnTo>
                        <a:pt x="336223" y="896595"/>
                      </a:lnTo>
                      <a:lnTo>
                        <a:pt x="312160" y="895413"/>
                      </a:lnTo>
                      <a:lnTo>
                        <a:pt x="288107" y="894217"/>
                      </a:lnTo>
                      <a:lnTo>
                        <a:pt x="264067" y="893014"/>
                      </a:lnTo>
                      <a:lnTo>
                        <a:pt x="240027" y="891799"/>
                      </a:lnTo>
                      <a:lnTo>
                        <a:pt x="215990" y="890567"/>
                      </a:lnTo>
                      <a:lnTo>
                        <a:pt x="191966" y="889329"/>
                      </a:lnTo>
                      <a:lnTo>
                        <a:pt x="167946" y="888080"/>
                      </a:lnTo>
                      <a:lnTo>
                        <a:pt x="143931" y="886818"/>
                      </a:lnTo>
                      <a:lnTo>
                        <a:pt x="119924" y="885546"/>
                      </a:lnTo>
                      <a:lnTo>
                        <a:pt x="95931" y="884260"/>
                      </a:lnTo>
                      <a:lnTo>
                        <a:pt x="71939" y="882960"/>
                      </a:lnTo>
                      <a:lnTo>
                        <a:pt x="47948" y="881651"/>
                      </a:lnTo>
                      <a:lnTo>
                        <a:pt x="23973" y="880332"/>
                      </a:lnTo>
                      <a:lnTo>
                        <a:pt x="0" y="878996"/>
                      </a:lnTo>
                      <a:lnTo>
                        <a:pt x="4566" y="851303"/>
                      </a:lnTo>
                      <a:lnTo>
                        <a:pt x="9141" y="823632"/>
                      </a:lnTo>
                      <a:lnTo>
                        <a:pt x="13749" y="795955"/>
                      </a:lnTo>
                      <a:lnTo>
                        <a:pt x="18366" y="768307"/>
                      </a:lnTo>
                      <a:lnTo>
                        <a:pt x="23011" y="740670"/>
                      </a:lnTo>
                      <a:lnTo>
                        <a:pt x="27669" y="713043"/>
                      </a:lnTo>
                      <a:lnTo>
                        <a:pt x="32349" y="685438"/>
                      </a:lnTo>
                      <a:lnTo>
                        <a:pt x="37047" y="657844"/>
                      </a:lnTo>
                      <a:lnTo>
                        <a:pt x="41773" y="630264"/>
                      </a:lnTo>
                      <a:lnTo>
                        <a:pt x="46512" y="602693"/>
                      </a:lnTo>
                      <a:lnTo>
                        <a:pt x="51277" y="575147"/>
                      </a:lnTo>
                      <a:lnTo>
                        <a:pt x="56053" y="547601"/>
                      </a:lnTo>
                      <a:lnTo>
                        <a:pt x="60857" y="520088"/>
                      </a:lnTo>
                      <a:lnTo>
                        <a:pt x="65677" y="492575"/>
                      </a:lnTo>
                      <a:lnTo>
                        <a:pt x="70524" y="465079"/>
                      </a:lnTo>
                      <a:lnTo>
                        <a:pt x="75390" y="437605"/>
                      </a:lnTo>
                      <a:lnTo>
                        <a:pt x="80276" y="410142"/>
                      </a:lnTo>
                      <a:lnTo>
                        <a:pt x="85184" y="382689"/>
                      </a:lnTo>
                      <a:lnTo>
                        <a:pt x="90100" y="355255"/>
                      </a:lnTo>
                      <a:lnTo>
                        <a:pt x="95047" y="327841"/>
                      </a:lnTo>
                      <a:lnTo>
                        <a:pt x="100009" y="300429"/>
                      </a:lnTo>
                      <a:lnTo>
                        <a:pt x="104994" y="273050"/>
                      </a:lnTo>
                      <a:lnTo>
                        <a:pt x="109997" y="245671"/>
                      </a:lnTo>
                      <a:lnTo>
                        <a:pt x="115021" y="218314"/>
                      </a:lnTo>
                      <a:lnTo>
                        <a:pt x="120063" y="190966"/>
                      </a:lnTo>
                      <a:lnTo>
                        <a:pt x="125132" y="163644"/>
                      </a:lnTo>
                      <a:lnTo>
                        <a:pt x="130215" y="136327"/>
                      </a:lnTo>
                      <a:lnTo>
                        <a:pt x="135325" y="109030"/>
                      </a:lnTo>
                      <a:lnTo>
                        <a:pt x="140446" y="81758"/>
                      </a:lnTo>
                      <a:lnTo>
                        <a:pt x="145598" y="54480"/>
                      </a:lnTo>
                      <a:lnTo>
                        <a:pt x="150756" y="27238"/>
                      </a:lnTo>
                      <a:lnTo>
                        <a:pt x="155952" y="0"/>
                      </a:lnTo>
                      <a:lnTo>
                        <a:pt x="183073" y="1704"/>
                      </a:lnTo>
                      <a:lnTo>
                        <a:pt x="210204" y="3399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4" name="Freeform 44">
                  <a:extLst>
                    <a:ext uri="{FF2B5EF4-FFF2-40B4-BE49-F238E27FC236}">
                      <a16:creationId xmlns:a16="http://schemas.microsoft.com/office/drawing/2014/main" id="{57A57A58-FFD3-4719-84E7-000FEDA5936A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751866" y="3701244"/>
                  <a:ext cx="743231" cy="49617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99288" h="733878">
                      <a:moveTo>
                        <a:pt x="1068160" y="386873"/>
                      </a:moveTo>
                      <a:lnTo>
                        <a:pt x="1066252" y="408486"/>
                      </a:lnTo>
                      <a:lnTo>
                        <a:pt x="1064358" y="430120"/>
                      </a:lnTo>
                      <a:lnTo>
                        <a:pt x="1062472" y="451752"/>
                      </a:lnTo>
                      <a:lnTo>
                        <a:pt x="1060492" y="473399"/>
                      </a:lnTo>
                      <a:lnTo>
                        <a:pt x="1058632" y="495050"/>
                      </a:lnTo>
                      <a:lnTo>
                        <a:pt x="1056734" y="516718"/>
                      </a:lnTo>
                      <a:lnTo>
                        <a:pt x="1054872" y="538399"/>
                      </a:lnTo>
                      <a:lnTo>
                        <a:pt x="1052973" y="560077"/>
                      </a:lnTo>
                      <a:lnTo>
                        <a:pt x="1051050" y="581771"/>
                      </a:lnTo>
                      <a:lnTo>
                        <a:pt x="1049190" y="603480"/>
                      </a:lnTo>
                      <a:lnTo>
                        <a:pt x="1047313" y="625189"/>
                      </a:lnTo>
                      <a:lnTo>
                        <a:pt x="1045541" y="646912"/>
                      </a:lnTo>
                      <a:lnTo>
                        <a:pt x="1043667" y="668643"/>
                      </a:lnTo>
                      <a:lnTo>
                        <a:pt x="1041752" y="690378"/>
                      </a:lnTo>
                      <a:lnTo>
                        <a:pt x="1039908" y="712124"/>
                      </a:lnTo>
                      <a:lnTo>
                        <a:pt x="1037951" y="733877"/>
                      </a:lnTo>
                      <a:lnTo>
                        <a:pt x="1019354" y="733370"/>
                      </a:lnTo>
                      <a:lnTo>
                        <a:pt x="995967" y="732721"/>
                      </a:lnTo>
                      <a:lnTo>
                        <a:pt x="972584" y="732059"/>
                      </a:lnTo>
                      <a:lnTo>
                        <a:pt x="949200" y="731386"/>
                      </a:lnTo>
                      <a:lnTo>
                        <a:pt x="925824" y="730701"/>
                      </a:lnTo>
                      <a:lnTo>
                        <a:pt x="902459" y="730003"/>
                      </a:lnTo>
                      <a:lnTo>
                        <a:pt x="879093" y="729294"/>
                      </a:lnTo>
                      <a:lnTo>
                        <a:pt x="855727" y="728572"/>
                      </a:lnTo>
                      <a:lnTo>
                        <a:pt x="832366" y="727838"/>
                      </a:lnTo>
                      <a:lnTo>
                        <a:pt x="809009" y="727091"/>
                      </a:lnTo>
                      <a:lnTo>
                        <a:pt x="785651" y="726333"/>
                      </a:lnTo>
                      <a:lnTo>
                        <a:pt x="762308" y="725562"/>
                      </a:lnTo>
                      <a:lnTo>
                        <a:pt x="738966" y="724779"/>
                      </a:lnTo>
                      <a:lnTo>
                        <a:pt x="715624" y="723984"/>
                      </a:lnTo>
                      <a:lnTo>
                        <a:pt x="692287" y="723176"/>
                      </a:lnTo>
                      <a:lnTo>
                        <a:pt x="668954" y="722357"/>
                      </a:lnTo>
                      <a:lnTo>
                        <a:pt x="645624" y="721525"/>
                      </a:lnTo>
                      <a:lnTo>
                        <a:pt x="622300" y="720681"/>
                      </a:lnTo>
                      <a:lnTo>
                        <a:pt x="598975" y="719825"/>
                      </a:lnTo>
                      <a:lnTo>
                        <a:pt x="575667" y="718957"/>
                      </a:lnTo>
                      <a:lnTo>
                        <a:pt x="552359" y="718076"/>
                      </a:lnTo>
                      <a:lnTo>
                        <a:pt x="529053" y="717183"/>
                      </a:lnTo>
                      <a:lnTo>
                        <a:pt x="505750" y="716278"/>
                      </a:lnTo>
                      <a:lnTo>
                        <a:pt x="482453" y="715360"/>
                      </a:lnTo>
                      <a:lnTo>
                        <a:pt x="459160" y="714430"/>
                      </a:lnTo>
                      <a:lnTo>
                        <a:pt x="435873" y="713488"/>
                      </a:lnTo>
                      <a:lnTo>
                        <a:pt x="412585" y="712533"/>
                      </a:lnTo>
                      <a:lnTo>
                        <a:pt x="389315" y="711567"/>
                      </a:lnTo>
                      <a:lnTo>
                        <a:pt x="366046" y="710588"/>
                      </a:lnTo>
                      <a:lnTo>
                        <a:pt x="342782" y="709597"/>
                      </a:lnTo>
                      <a:lnTo>
                        <a:pt x="319515" y="708593"/>
                      </a:lnTo>
                      <a:lnTo>
                        <a:pt x="296262" y="707577"/>
                      </a:lnTo>
                      <a:lnTo>
                        <a:pt x="277716" y="706758"/>
                      </a:lnTo>
                      <a:lnTo>
                        <a:pt x="259174" y="705931"/>
                      </a:lnTo>
                      <a:lnTo>
                        <a:pt x="240643" y="705097"/>
                      </a:lnTo>
                      <a:lnTo>
                        <a:pt x="222111" y="704254"/>
                      </a:lnTo>
                      <a:lnTo>
                        <a:pt x="203579" y="703404"/>
                      </a:lnTo>
                      <a:lnTo>
                        <a:pt x="185058" y="702546"/>
                      </a:lnTo>
                      <a:lnTo>
                        <a:pt x="166533" y="701679"/>
                      </a:lnTo>
                      <a:lnTo>
                        <a:pt x="148015" y="700805"/>
                      </a:lnTo>
                      <a:lnTo>
                        <a:pt x="129502" y="699923"/>
                      </a:lnTo>
                      <a:lnTo>
                        <a:pt x="110992" y="699034"/>
                      </a:lnTo>
                      <a:lnTo>
                        <a:pt x="92481" y="698136"/>
                      </a:lnTo>
                      <a:lnTo>
                        <a:pt x="73978" y="697230"/>
                      </a:lnTo>
                      <a:lnTo>
                        <a:pt x="55482" y="696317"/>
                      </a:lnTo>
                      <a:lnTo>
                        <a:pt x="36984" y="695396"/>
                      </a:lnTo>
                      <a:lnTo>
                        <a:pt x="18488" y="694466"/>
                      </a:lnTo>
                      <a:lnTo>
                        <a:pt x="5" y="693530"/>
                      </a:lnTo>
                      <a:lnTo>
                        <a:pt x="6" y="693521"/>
                      </a:lnTo>
                      <a:lnTo>
                        <a:pt x="7" y="693517"/>
                      </a:lnTo>
                      <a:lnTo>
                        <a:pt x="7" y="693512"/>
                      </a:lnTo>
                      <a:lnTo>
                        <a:pt x="9" y="693504"/>
                      </a:lnTo>
                      <a:lnTo>
                        <a:pt x="10" y="693495"/>
                      </a:lnTo>
                      <a:lnTo>
                        <a:pt x="11" y="693491"/>
                      </a:lnTo>
                      <a:lnTo>
                        <a:pt x="0" y="693490"/>
                      </a:lnTo>
                      <a:lnTo>
                        <a:pt x="1696" y="682576"/>
                      </a:lnTo>
                      <a:lnTo>
                        <a:pt x="3397" y="671670"/>
                      </a:lnTo>
                      <a:lnTo>
                        <a:pt x="5101" y="660766"/>
                      </a:lnTo>
                      <a:lnTo>
                        <a:pt x="6807" y="649863"/>
                      </a:lnTo>
                      <a:lnTo>
                        <a:pt x="8518" y="638956"/>
                      </a:lnTo>
                      <a:lnTo>
                        <a:pt x="10226" y="628063"/>
                      </a:lnTo>
                      <a:lnTo>
                        <a:pt x="11934" y="617163"/>
                      </a:lnTo>
                      <a:lnTo>
                        <a:pt x="13652" y="606267"/>
                      </a:lnTo>
                      <a:lnTo>
                        <a:pt x="15373" y="595377"/>
                      </a:lnTo>
                      <a:lnTo>
                        <a:pt x="17090" y="584481"/>
                      </a:lnTo>
                      <a:lnTo>
                        <a:pt x="18812" y="573603"/>
                      </a:lnTo>
                      <a:lnTo>
                        <a:pt x="20541" y="562712"/>
                      </a:lnTo>
                      <a:lnTo>
                        <a:pt x="22273" y="551832"/>
                      </a:lnTo>
                      <a:lnTo>
                        <a:pt x="24003" y="540954"/>
                      </a:lnTo>
                      <a:lnTo>
                        <a:pt x="25732" y="530078"/>
                      </a:lnTo>
                      <a:lnTo>
                        <a:pt x="27472" y="519201"/>
                      </a:lnTo>
                      <a:lnTo>
                        <a:pt x="31820" y="492044"/>
                      </a:lnTo>
                      <a:lnTo>
                        <a:pt x="36182" y="464893"/>
                      </a:lnTo>
                      <a:lnTo>
                        <a:pt x="40564" y="437762"/>
                      </a:lnTo>
                      <a:lnTo>
                        <a:pt x="44970" y="410652"/>
                      </a:lnTo>
                      <a:lnTo>
                        <a:pt x="49391" y="383548"/>
                      </a:lnTo>
                      <a:lnTo>
                        <a:pt x="53825" y="356463"/>
                      </a:lnTo>
                      <a:lnTo>
                        <a:pt x="58275" y="329395"/>
                      </a:lnTo>
                      <a:lnTo>
                        <a:pt x="62740" y="302341"/>
                      </a:lnTo>
                      <a:lnTo>
                        <a:pt x="67226" y="275298"/>
                      </a:lnTo>
                      <a:lnTo>
                        <a:pt x="71727" y="248281"/>
                      </a:lnTo>
                      <a:lnTo>
                        <a:pt x="76247" y="221276"/>
                      </a:lnTo>
                      <a:lnTo>
                        <a:pt x="80785" y="194281"/>
                      </a:lnTo>
                      <a:lnTo>
                        <a:pt x="85339" y="167311"/>
                      </a:lnTo>
                      <a:lnTo>
                        <a:pt x="89909" y="140353"/>
                      </a:lnTo>
                      <a:lnTo>
                        <a:pt x="94496" y="113402"/>
                      </a:lnTo>
                      <a:lnTo>
                        <a:pt x="99104" y="86485"/>
                      </a:lnTo>
                      <a:lnTo>
                        <a:pt x="100003" y="81254"/>
                      </a:lnTo>
                      <a:lnTo>
                        <a:pt x="100911" y="76014"/>
                      </a:lnTo>
                      <a:lnTo>
                        <a:pt x="101820" y="70776"/>
                      </a:lnTo>
                      <a:lnTo>
                        <a:pt x="102727" y="65550"/>
                      </a:lnTo>
                      <a:lnTo>
                        <a:pt x="103631" y="60309"/>
                      </a:lnTo>
                      <a:lnTo>
                        <a:pt x="104544" y="55081"/>
                      </a:lnTo>
                      <a:lnTo>
                        <a:pt x="105454" y="49853"/>
                      </a:lnTo>
                      <a:lnTo>
                        <a:pt x="106362" y="44621"/>
                      </a:lnTo>
                      <a:lnTo>
                        <a:pt x="107271" y="39386"/>
                      </a:lnTo>
                      <a:lnTo>
                        <a:pt x="108183" y="34161"/>
                      </a:lnTo>
                      <a:lnTo>
                        <a:pt x="109096" y="28932"/>
                      </a:lnTo>
                      <a:lnTo>
                        <a:pt x="110006" y="23706"/>
                      </a:lnTo>
                      <a:lnTo>
                        <a:pt x="110918" y="18479"/>
                      </a:lnTo>
                      <a:lnTo>
                        <a:pt x="111833" y="13247"/>
                      </a:lnTo>
                      <a:lnTo>
                        <a:pt x="112742" y="8020"/>
                      </a:lnTo>
                      <a:lnTo>
                        <a:pt x="113663" y="2794"/>
                      </a:lnTo>
                      <a:lnTo>
                        <a:pt x="114149" y="0"/>
                      </a:lnTo>
                      <a:lnTo>
                        <a:pt x="121240" y="399"/>
                      </a:lnTo>
                      <a:lnTo>
                        <a:pt x="136482" y="1253"/>
                      </a:lnTo>
                      <a:lnTo>
                        <a:pt x="151734" y="2101"/>
                      </a:lnTo>
                      <a:lnTo>
                        <a:pt x="166991" y="2942"/>
                      </a:lnTo>
                      <a:lnTo>
                        <a:pt x="182242" y="3777"/>
                      </a:lnTo>
                      <a:lnTo>
                        <a:pt x="197495" y="4605"/>
                      </a:lnTo>
                      <a:lnTo>
                        <a:pt x="212759" y="5427"/>
                      </a:lnTo>
                      <a:lnTo>
                        <a:pt x="228024" y="6244"/>
                      </a:lnTo>
                      <a:lnTo>
                        <a:pt x="243290" y="7053"/>
                      </a:lnTo>
                      <a:lnTo>
                        <a:pt x="258554" y="7857"/>
                      </a:lnTo>
                      <a:lnTo>
                        <a:pt x="273829" y="8655"/>
                      </a:lnTo>
                      <a:lnTo>
                        <a:pt x="289106" y="9446"/>
                      </a:lnTo>
                      <a:lnTo>
                        <a:pt x="304379" y="10231"/>
                      </a:lnTo>
                      <a:lnTo>
                        <a:pt x="319665" y="11010"/>
                      </a:lnTo>
                      <a:lnTo>
                        <a:pt x="334950" y="11783"/>
                      </a:lnTo>
                      <a:lnTo>
                        <a:pt x="350231" y="12549"/>
                      </a:lnTo>
                      <a:lnTo>
                        <a:pt x="365521" y="13308"/>
                      </a:lnTo>
                      <a:lnTo>
                        <a:pt x="380818" y="14062"/>
                      </a:lnTo>
                      <a:lnTo>
                        <a:pt x="396107" y="14810"/>
                      </a:lnTo>
                      <a:lnTo>
                        <a:pt x="411404" y="15552"/>
                      </a:lnTo>
                      <a:lnTo>
                        <a:pt x="426703" y="16287"/>
                      </a:lnTo>
                      <a:lnTo>
                        <a:pt x="442002" y="17016"/>
                      </a:lnTo>
                      <a:lnTo>
                        <a:pt x="457311" y="17739"/>
                      </a:lnTo>
                      <a:lnTo>
                        <a:pt x="472617" y="18455"/>
                      </a:lnTo>
                      <a:lnTo>
                        <a:pt x="487924" y="19166"/>
                      </a:lnTo>
                      <a:lnTo>
                        <a:pt x="503230" y="19870"/>
                      </a:lnTo>
                      <a:lnTo>
                        <a:pt x="518546" y="20568"/>
                      </a:lnTo>
                      <a:lnTo>
                        <a:pt x="533868" y="21260"/>
                      </a:lnTo>
                      <a:lnTo>
                        <a:pt x="549181" y="21945"/>
                      </a:lnTo>
                      <a:lnTo>
                        <a:pt x="564501" y="22624"/>
                      </a:lnTo>
                      <a:lnTo>
                        <a:pt x="579825" y="23298"/>
                      </a:lnTo>
                      <a:lnTo>
                        <a:pt x="595150" y="23964"/>
                      </a:lnTo>
                      <a:lnTo>
                        <a:pt x="610477" y="24621"/>
                      </a:lnTo>
                      <a:lnTo>
                        <a:pt x="625803" y="25267"/>
                      </a:lnTo>
                      <a:lnTo>
                        <a:pt x="641137" y="25915"/>
                      </a:lnTo>
                      <a:lnTo>
                        <a:pt x="656478" y="26557"/>
                      </a:lnTo>
                      <a:lnTo>
                        <a:pt x="671806" y="27193"/>
                      </a:lnTo>
                      <a:lnTo>
                        <a:pt x="687144" y="27823"/>
                      </a:lnTo>
                      <a:lnTo>
                        <a:pt x="702489" y="28447"/>
                      </a:lnTo>
                      <a:lnTo>
                        <a:pt x="717832" y="29064"/>
                      </a:lnTo>
                      <a:lnTo>
                        <a:pt x="733176" y="29676"/>
                      </a:lnTo>
                      <a:lnTo>
                        <a:pt x="748519" y="30281"/>
                      </a:lnTo>
                      <a:lnTo>
                        <a:pt x="763870" y="30880"/>
                      </a:lnTo>
                      <a:lnTo>
                        <a:pt x="779227" y="31473"/>
                      </a:lnTo>
                      <a:lnTo>
                        <a:pt x="794576" y="32060"/>
                      </a:lnTo>
                      <a:lnTo>
                        <a:pt x="809933" y="32640"/>
                      </a:lnTo>
                      <a:lnTo>
                        <a:pt x="825290" y="33214"/>
                      </a:lnTo>
                      <a:lnTo>
                        <a:pt x="840649" y="33783"/>
                      </a:lnTo>
                      <a:lnTo>
                        <a:pt x="856015" y="34345"/>
                      </a:lnTo>
                      <a:lnTo>
                        <a:pt x="871377" y="34901"/>
                      </a:lnTo>
                      <a:lnTo>
                        <a:pt x="886742" y="35450"/>
                      </a:lnTo>
                      <a:lnTo>
                        <a:pt x="902111" y="35994"/>
                      </a:lnTo>
                      <a:lnTo>
                        <a:pt x="917482" y="36532"/>
                      </a:lnTo>
                      <a:lnTo>
                        <a:pt x="932852" y="37063"/>
                      </a:lnTo>
                      <a:lnTo>
                        <a:pt x="948224" y="37588"/>
                      </a:lnTo>
                      <a:lnTo>
                        <a:pt x="963600" y="38107"/>
                      </a:lnTo>
                      <a:lnTo>
                        <a:pt x="978975" y="38620"/>
                      </a:lnTo>
                      <a:lnTo>
                        <a:pt x="994349" y="39127"/>
                      </a:lnTo>
                      <a:lnTo>
                        <a:pt x="1009735" y="39627"/>
                      </a:lnTo>
                      <a:lnTo>
                        <a:pt x="1025118" y="40121"/>
                      </a:lnTo>
                      <a:lnTo>
                        <a:pt x="1040497" y="40609"/>
                      </a:lnTo>
                      <a:lnTo>
                        <a:pt x="1055877" y="41092"/>
                      </a:lnTo>
                      <a:lnTo>
                        <a:pt x="1071267" y="41568"/>
                      </a:lnTo>
                      <a:lnTo>
                        <a:pt x="1086657" y="42038"/>
                      </a:lnTo>
                      <a:lnTo>
                        <a:pt x="1099287" y="42418"/>
                      </a:lnTo>
                      <a:lnTo>
                        <a:pt x="1097339" y="63878"/>
                      </a:lnTo>
                      <a:lnTo>
                        <a:pt x="1095346" y="85540"/>
                      </a:lnTo>
                      <a:lnTo>
                        <a:pt x="1093379" y="106698"/>
                      </a:lnTo>
                      <a:lnTo>
                        <a:pt x="1091340" y="128297"/>
                      </a:lnTo>
                      <a:lnTo>
                        <a:pt x="1089381" y="149786"/>
                      </a:lnTo>
                      <a:lnTo>
                        <a:pt x="1087423" y="171294"/>
                      </a:lnTo>
                      <a:lnTo>
                        <a:pt x="1085552" y="192813"/>
                      </a:lnTo>
                      <a:lnTo>
                        <a:pt x="1083558" y="214338"/>
                      </a:lnTo>
                      <a:lnTo>
                        <a:pt x="1081486" y="235867"/>
                      </a:lnTo>
                      <a:lnTo>
                        <a:pt x="1079549" y="257413"/>
                      </a:lnTo>
                      <a:lnTo>
                        <a:pt x="1077615" y="278965"/>
                      </a:lnTo>
                      <a:lnTo>
                        <a:pt x="1075677" y="300521"/>
                      </a:lnTo>
                      <a:lnTo>
                        <a:pt x="1073748" y="322091"/>
                      </a:lnTo>
                      <a:lnTo>
                        <a:pt x="1071910" y="343669"/>
                      </a:lnTo>
                      <a:lnTo>
                        <a:pt x="1070039" y="365269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Freeform 45">
                  <a:extLst>
                    <a:ext uri="{FF2B5EF4-FFF2-40B4-BE49-F238E27FC236}">
                      <a16:creationId xmlns:a16="http://schemas.microsoft.com/office/drawing/2014/main" id="{0F1EB380-5CEC-4C5B-8803-270FBDA0E562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>
                <a:xfrm>
                  <a:off x="3412454" y="4736285"/>
                  <a:ext cx="529126" cy="42213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82612" h="624368">
                      <a:moveTo>
                        <a:pt x="670671" y="91179"/>
                      </a:moveTo>
                      <a:lnTo>
                        <a:pt x="682086" y="90720"/>
                      </a:lnTo>
                      <a:lnTo>
                        <a:pt x="704503" y="89799"/>
                      </a:lnTo>
                      <a:lnTo>
                        <a:pt x="726924" y="88864"/>
                      </a:lnTo>
                      <a:lnTo>
                        <a:pt x="749339" y="87920"/>
                      </a:lnTo>
                      <a:lnTo>
                        <a:pt x="771753" y="86968"/>
                      </a:lnTo>
                      <a:lnTo>
                        <a:pt x="772035" y="86971"/>
                      </a:lnTo>
                      <a:lnTo>
                        <a:pt x="772324" y="86970"/>
                      </a:lnTo>
                      <a:lnTo>
                        <a:pt x="772612" y="86970"/>
                      </a:lnTo>
                      <a:lnTo>
                        <a:pt x="772890" y="86973"/>
                      </a:lnTo>
                      <a:lnTo>
                        <a:pt x="772688" y="88247"/>
                      </a:lnTo>
                      <a:lnTo>
                        <a:pt x="775854" y="92715"/>
                      </a:lnTo>
                      <a:lnTo>
                        <a:pt x="780211" y="96516"/>
                      </a:lnTo>
                      <a:lnTo>
                        <a:pt x="782611" y="101880"/>
                      </a:lnTo>
                      <a:lnTo>
                        <a:pt x="781729" y="105245"/>
                      </a:lnTo>
                      <a:lnTo>
                        <a:pt x="779268" y="104701"/>
                      </a:lnTo>
                      <a:lnTo>
                        <a:pt x="774453" y="101421"/>
                      </a:lnTo>
                      <a:lnTo>
                        <a:pt x="771022" y="101890"/>
                      </a:lnTo>
                      <a:lnTo>
                        <a:pt x="768127" y="103248"/>
                      </a:lnTo>
                      <a:lnTo>
                        <a:pt x="765917" y="105536"/>
                      </a:lnTo>
                      <a:lnTo>
                        <a:pt x="764561" y="108841"/>
                      </a:lnTo>
                      <a:lnTo>
                        <a:pt x="768793" y="110581"/>
                      </a:lnTo>
                      <a:lnTo>
                        <a:pt x="773158" y="113265"/>
                      </a:lnTo>
                      <a:lnTo>
                        <a:pt x="774740" y="116481"/>
                      </a:lnTo>
                      <a:lnTo>
                        <a:pt x="765213" y="124184"/>
                      </a:lnTo>
                      <a:lnTo>
                        <a:pt x="741570" y="134222"/>
                      </a:lnTo>
                      <a:lnTo>
                        <a:pt x="739477" y="136624"/>
                      </a:lnTo>
                      <a:lnTo>
                        <a:pt x="739480" y="139781"/>
                      </a:lnTo>
                      <a:lnTo>
                        <a:pt x="742055" y="143855"/>
                      </a:lnTo>
                      <a:lnTo>
                        <a:pt x="746766" y="149030"/>
                      </a:lnTo>
                      <a:lnTo>
                        <a:pt x="746846" y="151345"/>
                      </a:lnTo>
                      <a:lnTo>
                        <a:pt x="744158" y="154198"/>
                      </a:lnTo>
                      <a:lnTo>
                        <a:pt x="741606" y="156244"/>
                      </a:lnTo>
                      <a:lnTo>
                        <a:pt x="740651" y="157910"/>
                      </a:lnTo>
                      <a:lnTo>
                        <a:pt x="741441" y="159971"/>
                      </a:lnTo>
                      <a:lnTo>
                        <a:pt x="744077" y="163207"/>
                      </a:lnTo>
                      <a:lnTo>
                        <a:pt x="746432" y="167468"/>
                      </a:lnTo>
                      <a:lnTo>
                        <a:pt x="744911" y="169710"/>
                      </a:lnTo>
                      <a:lnTo>
                        <a:pt x="741322" y="170707"/>
                      </a:lnTo>
                      <a:lnTo>
                        <a:pt x="737454" y="171228"/>
                      </a:lnTo>
                      <a:lnTo>
                        <a:pt x="733671" y="172293"/>
                      </a:lnTo>
                      <a:lnTo>
                        <a:pt x="731814" y="174147"/>
                      </a:lnTo>
                      <a:lnTo>
                        <a:pt x="731256" y="177146"/>
                      </a:lnTo>
                      <a:lnTo>
                        <a:pt x="731389" y="181656"/>
                      </a:lnTo>
                      <a:lnTo>
                        <a:pt x="730755" y="184593"/>
                      </a:lnTo>
                      <a:lnTo>
                        <a:pt x="728982" y="187522"/>
                      </a:lnTo>
                      <a:lnTo>
                        <a:pt x="726669" y="190127"/>
                      </a:lnTo>
                      <a:lnTo>
                        <a:pt x="718546" y="196680"/>
                      </a:lnTo>
                      <a:lnTo>
                        <a:pt x="716755" y="199536"/>
                      </a:lnTo>
                      <a:lnTo>
                        <a:pt x="716236" y="203655"/>
                      </a:lnTo>
                      <a:lnTo>
                        <a:pt x="716864" y="211726"/>
                      </a:lnTo>
                      <a:lnTo>
                        <a:pt x="717675" y="215294"/>
                      </a:lnTo>
                      <a:lnTo>
                        <a:pt x="721228" y="224012"/>
                      </a:lnTo>
                      <a:lnTo>
                        <a:pt x="723191" y="231423"/>
                      </a:lnTo>
                      <a:lnTo>
                        <a:pt x="723424" y="238617"/>
                      </a:lnTo>
                      <a:lnTo>
                        <a:pt x="720333" y="243061"/>
                      </a:lnTo>
                      <a:lnTo>
                        <a:pt x="717096" y="242914"/>
                      </a:lnTo>
                      <a:lnTo>
                        <a:pt x="712698" y="241970"/>
                      </a:lnTo>
                      <a:lnTo>
                        <a:pt x="708894" y="242108"/>
                      </a:lnTo>
                      <a:lnTo>
                        <a:pt x="707408" y="245193"/>
                      </a:lnTo>
                      <a:lnTo>
                        <a:pt x="707222" y="248662"/>
                      </a:lnTo>
                      <a:lnTo>
                        <a:pt x="706332" y="251726"/>
                      </a:lnTo>
                      <a:lnTo>
                        <a:pt x="704763" y="254423"/>
                      </a:lnTo>
                      <a:lnTo>
                        <a:pt x="702527" y="256760"/>
                      </a:lnTo>
                      <a:lnTo>
                        <a:pt x="696819" y="259877"/>
                      </a:lnTo>
                      <a:lnTo>
                        <a:pt x="693116" y="261291"/>
                      </a:lnTo>
                      <a:lnTo>
                        <a:pt x="690128" y="261899"/>
                      </a:lnTo>
                      <a:lnTo>
                        <a:pt x="688434" y="263236"/>
                      </a:lnTo>
                      <a:lnTo>
                        <a:pt x="689881" y="265413"/>
                      </a:lnTo>
                      <a:lnTo>
                        <a:pt x="690392" y="266187"/>
                      </a:lnTo>
                      <a:lnTo>
                        <a:pt x="695518" y="271497"/>
                      </a:lnTo>
                      <a:lnTo>
                        <a:pt x="695684" y="278977"/>
                      </a:lnTo>
                      <a:lnTo>
                        <a:pt x="690613" y="285096"/>
                      </a:lnTo>
                      <a:lnTo>
                        <a:pt x="683338" y="289620"/>
                      </a:lnTo>
                      <a:lnTo>
                        <a:pt x="665859" y="296286"/>
                      </a:lnTo>
                      <a:lnTo>
                        <a:pt x="664117" y="298597"/>
                      </a:lnTo>
                      <a:lnTo>
                        <a:pt x="664937" y="301658"/>
                      </a:lnTo>
                      <a:lnTo>
                        <a:pt x="666907" y="305163"/>
                      </a:lnTo>
                      <a:lnTo>
                        <a:pt x="667870" y="308426"/>
                      </a:lnTo>
                      <a:lnTo>
                        <a:pt x="665662" y="310792"/>
                      </a:lnTo>
                      <a:lnTo>
                        <a:pt x="664293" y="312344"/>
                      </a:lnTo>
                      <a:lnTo>
                        <a:pt x="660915" y="313346"/>
                      </a:lnTo>
                      <a:lnTo>
                        <a:pt x="657318" y="313251"/>
                      </a:lnTo>
                      <a:lnTo>
                        <a:pt x="654200" y="311508"/>
                      </a:lnTo>
                      <a:lnTo>
                        <a:pt x="652238" y="312078"/>
                      </a:lnTo>
                      <a:lnTo>
                        <a:pt x="650113" y="315680"/>
                      </a:lnTo>
                      <a:lnTo>
                        <a:pt x="647626" y="321950"/>
                      </a:lnTo>
                      <a:lnTo>
                        <a:pt x="646589" y="329478"/>
                      </a:lnTo>
                      <a:lnTo>
                        <a:pt x="649969" y="341639"/>
                      </a:lnTo>
                      <a:lnTo>
                        <a:pt x="648960" y="356646"/>
                      </a:lnTo>
                      <a:lnTo>
                        <a:pt x="649299" y="362789"/>
                      </a:lnTo>
                      <a:lnTo>
                        <a:pt x="648261" y="368007"/>
                      </a:lnTo>
                      <a:lnTo>
                        <a:pt x="643315" y="373216"/>
                      </a:lnTo>
                      <a:lnTo>
                        <a:pt x="637585" y="376247"/>
                      </a:lnTo>
                      <a:lnTo>
                        <a:pt x="633972" y="377563"/>
                      </a:lnTo>
                      <a:lnTo>
                        <a:pt x="627315" y="378378"/>
                      </a:lnTo>
                      <a:lnTo>
                        <a:pt x="625499" y="378260"/>
                      </a:lnTo>
                      <a:lnTo>
                        <a:pt x="624165" y="377615"/>
                      </a:lnTo>
                      <a:lnTo>
                        <a:pt x="622124" y="376244"/>
                      </a:lnTo>
                      <a:lnTo>
                        <a:pt x="621437" y="377185"/>
                      </a:lnTo>
                      <a:lnTo>
                        <a:pt x="621477" y="378792"/>
                      </a:lnTo>
                      <a:lnTo>
                        <a:pt x="622083" y="381297"/>
                      </a:lnTo>
                      <a:lnTo>
                        <a:pt x="623667" y="384617"/>
                      </a:lnTo>
                      <a:lnTo>
                        <a:pt x="624006" y="386818"/>
                      </a:lnTo>
                      <a:lnTo>
                        <a:pt x="623524" y="388259"/>
                      </a:lnTo>
                      <a:lnTo>
                        <a:pt x="621426" y="391608"/>
                      </a:lnTo>
                      <a:lnTo>
                        <a:pt x="621001" y="393412"/>
                      </a:lnTo>
                      <a:lnTo>
                        <a:pt x="620340" y="394188"/>
                      </a:lnTo>
                      <a:lnTo>
                        <a:pt x="618751" y="393907"/>
                      </a:lnTo>
                      <a:lnTo>
                        <a:pt x="616105" y="392876"/>
                      </a:lnTo>
                      <a:lnTo>
                        <a:pt x="613977" y="392913"/>
                      </a:lnTo>
                      <a:lnTo>
                        <a:pt x="612934" y="393239"/>
                      </a:lnTo>
                      <a:lnTo>
                        <a:pt x="612270" y="394319"/>
                      </a:lnTo>
                      <a:lnTo>
                        <a:pt x="606605" y="407416"/>
                      </a:lnTo>
                      <a:lnTo>
                        <a:pt x="604620" y="408899"/>
                      </a:lnTo>
                      <a:lnTo>
                        <a:pt x="602107" y="409821"/>
                      </a:lnTo>
                      <a:lnTo>
                        <a:pt x="594365" y="414449"/>
                      </a:lnTo>
                      <a:lnTo>
                        <a:pt x="592266" y="416336"/>
                      </a:lnTo>
                      <a:lnTo>
                        <a:pt x="592621" y="421357"/>
                      </a:lnTo>
                      <a:lnTo>
                        <a:pt x="604467" y="426412"/>
                      </a:lnTo>
                      <a:lnTo>
                        <a:pt x="605115" y="433251"/>
                      </a:lnTo>
                      <a:lnTo>
                        <a:pt x="603179" y="436425"/>
                      </a:lnTo>
                      <a:lnTo>
                        <a:pt x="600629" y="437859"/>
                      </a:lnTo>
                      <a:lnTo>
                        <a:pt x="597471" y="438243"/>
                      </a:lnTo>
                      <a:lnTo>
                        <a:pt x="593696" y="438258"/>
                      </a:lnTo>
                      <a:lnTo>
                        <a:pt x="590068" y="438864"/>
                      </a:lnTo>
                      <a:lnTo>
                        <a:pt x="583310" y="442246"/>
                      </a:lnTo>
                      <a:lnTo>
                        <a:pt x="581280" y="443262"/>
                      </a:lnTo>
                      <a:lnTo>
                        <a:pt x="572720" y="445079"/>
                      </a:lnTo>
                      <a:lnTo>
                        <a:pt x="571421" y="446367"/>
                      </a:lnTo>
                      <a:lnTo>
                        <a:pt x="572152" y="448813"/>
                      </a:lnTo>
                      <a:lnTo>
                        <a:pt x="573807" y="449993"/>
                      </a:lnTo>
                      <a:lnTo>
                        <a:pt x="575965" y="450759"/>
                      </a:lnTo>
                      <a:lnTo>
                        <a:pt x="578224" y="451906"/>
                      </a:lnTo>
                      <a:lnTo>
                        <a:pt x="581061" y="456737"/>
                      </a:lnTo>
                      <a:lnTo>
                        <a:pt x="578875" y="461077"/>
                      </a:lnTo>
                      <a:lnTo>
                        <a:pt x="575976" y="465117"/>
                      </a:lnTo>
                      <a:lnTo>
                        <a:pt x="577226" y="471175"/>
                      </a:lnTo>
                      <a:lnTo>
                        <a:pt x="579168" y="474001"/>
                      </a:lnTo>
                      <a:lnTo>
                        <a:pt x="580290" y="477354"/>
                      </a:lnTo>
                      <a:lnTo>
                        <a:pt x="578365" y="481132"/>
                      </a:lnTo>
                      <a:lnTo>
                        <a:pt x="576783" y="481824"/>
                      </a:lnTo>
                      <a:lnTo>
                        <a:pt x="572455" y="482052"/>
                      </a:lnTo>
                      <a:lnTo>
                        <a:pt x="570622" y="482440"/>
                      </a:lnTo>
                      <a:lnTo>
                        <a:pt x="569095" y="483544"/>
                      </a:lnTo>
                      <a:lnTo>
                        <a:pt x="565818" y="486710"/>
                      </a:lnTo>
                      <a:lnTo>
                        <a:pt x="564762" y="487368"/>
                      </a:lnTo>
                      <a:lnTo>
                        <a:pt x="563379" y="488662"/>
                      </a:lnTo>
                      <a:lnTo>
                        <a:pt x="557360" y="496560"/>
                      </a:lnTo>
                      <a:lnTo>
                        <a:pt x="554496" y="498566"/>
                      </a:lnTo>
                      <a:lnTo>
                        <a:pt x="552069" y="499854"/>
                      </a:lnTo>
                      <a:lnTo>
                        <a:pt x="551685" y="501486"/>
                      </a:lnTo>
                      <a:lnTo>
                        <a:pt x="554955" y="504481"/>
                      </a:lnTo>
                      <a:lnTo>
                        <a:pt x="561750" y="507419"/>
                      </a:lnTo>
                      <a:lnTo>
                        <a:pt x="564414" y="509747"/>
                      </a:lnTo>
                      <a:lnTo>
                        <a:pt x="565228" y="514174"/>
                      </a:lnTo>
                      <a:lnTo>
                        <a:pt x="563952" y="517914"/>
                      </a:lnTo>
                      <a:lnTo>
                        <a:pt x="561243" y="519723"/>
                      </a:lnTo>
                      <a:lnTo>
                        <a:pt x="557684" y="520314"/>
                      </a:lnTo>
                      <a:lnTo>
                        <a:pt x="553849" y="520391"/>
                      </a:lnTo>
                      <a:lnTo>
                        <a:pt x="551354" y="521741"/>
                      </a:lnTo>
                      <a:lnTo>
                        <a:pt x="552188" y="524657"/>
                      </a:lnTo>
                      <a:lnTo>
                        <a:pt x="554743" y="527553"/>
                      </a:lnTo>
                      <a:lnTo>
                        <a:pt x="557421" y="528848"/>
                      </a:lnTo>
                      <a:lnTo>
                        <a:pt x="560474" y="529827"/>
                      </a:lnTo>
                      <a:lnTo>
                        <a:pt x="563767" y="532201"/>
                      </a:lnTo>
                      <a:lnTo>
                        <a:pt x="569418" y="537308"/>
                      </a:lnTo>
                      <a:lnTo>
                        <a:pt x="569701" y="540510"/>
                      </a:lnTo>
                      <a:lnTo>
                        <a:pt x="570047" y="545669"/>
                      </a:lnTo>
                      <a:lnTo>
                        <a:pt x="569690" y="550916"/>
                      </a:lnTo>
                      <a:lnTo>
                        <a:pt x="568958" y="554314"/>
                      </a:lnTo>
                      <a:lnTo>
                        <a:pt x="563196" y="561691"/>
                      </a:lnTo>
                      <a:lnTo>
                        <a:pt x="561602" y="565525"/>
                      </a:lnTo>
                      <a:lnTo>
                        <a:pt x="563985" y="568963"/>
                      </a:lnTo>
                      <a:lnTo>
                        <a:pt x="565757" y="569245"/>
                      </a:lnTo>
                      <a:lnTo>
                        <a:pt x="570840" y="570890"/>
                      </a:lnTo>
                      <a:lnTo>
                        <a:pt x="573058" y="572493"/>
                      </a:lnTo>
                      <a:lnTo>
                        <a:pt x="574000" y="574663"/>
                      </a:lnTo>
                      <a:lnTo>
                        <a:pt x="574482" y="583521"/>
                      </a:lnTo>
                      <a:lnTo>
                        <a:pt x="576521" y="589424"/>
                      </a:lnTo>
                      <a:lnTo>
                        <a:pt x="577027" y="592491"/>
                      </a:lnTo>
                      <a:lnTo>
                        <a:pt x="576147" y="595657"/>
                      </a:lnTo>
                      <a:lnTo>
                        <a:pt x="574100" y="596856"/>
                      </a:lnTo>
                      <a:lnTo>
                        <a:pt x="570735" y="597805"/>
                      </a:lnTo>
                      <a:lnTo>
                        <a:pt x="567614" y="599086"/>
                      </a:lnTo>
                      <a:lnTo>
                        <a:pt x="566304" y="601301"/>
                      </a:lnTo>
                      <a:lnTo>
                        <a:pt x="566156" y="619888"/>
                      </a:lnTo>
                      <a:lnTo>
                        <a:pt x="563888" y="620028"/>
                      </a:lnTo>
                      <a:lnTo>
                        <a:pt x="534901" y="620409"/>
                      </a:lnTo>
                      <a:lnTo>
                        <a:pt x="505912" y="620763"/>
                      </a:lnTo>
                      <a:lnTo>
                        <a:pt x="476919" y="621103"/>
                      </a:lnTo>
                      <a:lnTo>
                        <a:pt x="447928" y="621435"/>
                      </a:lnTo>
                      <a:lnTo>
                        <a:pt x="418932" y="621747"/>
                      </a:lnTo>
                      <a:lnTo>
                        <a:pt x="389939" y="622052"/>
                      </a:lnTo>
                      <a:lnTo>
                        <a:pt x="360938" y="622352"/>
                      </a:lnTo>
                      <a:lnTo>
                        <a:pt x="331940" y="622625"/>
                      </a:lnTo>
                      <a:lnTo>
                        <a:pt x="302941" y="622890"/>
                      </a:lnTo>
                      <a:lnTo>
                        <a:pt x="273936" y="623140"/>
                      </a:lnTo>
                      <a:lnTo>
                        <a:pt x="244929" y="623386"/>
                      </a:lnTo>
                      <a:lnTo>
                        <a:pt x="215921" y="623605"/>
                      </a:lnTo>
                      <a:lnTo>
                        <a:pt x="186916" y="623812"/>
                      </a:lnTo>
                      <a:lnTo>
                        <a:pt x="157909" y="624013"/>
                      </a:lnTo>
                      <a:lnTo>
                        <a:pt x="128897" y="624201"/>
                      </a:lnTo>
                      <a:lnTo>
                        <a:pt x="99889" y="624367"/>
                      </a:lnTo>
                      <a:lnTo>
                        <a:pt x="99370" y="603134"/>
                      </a:lnTo>
                      <a:lnTo>
                        <a:pt x="98858" y="581908"/>
                      </a:lnTo>
                      <a:lnTo>
                        <a:pt x="98338" y="560689"/>
                      </a:lnTo>
                      <a:lnTo>
                        <a:pt x="97817" y="539475"/>
                      </a:lnTo>
                      <a:lnTo>
                        <a:pt x="97537" y="527924"/>
                      </a:lnTo>
                      <a:lnTo>
                        <a:pt x="97535" y="527790"/>
                      </a:lnTo>
                      <a:lnTo>
                        <a:pt x="95966" y="527224"/>
                      </a:lnTo>
                      <a:lnTo>
                        <a:pt x="93530" y="526125"/>
                      </a:lnTo>
                      <a:lnTo>
                        <a:pt x="88809" y="522932"/>
                      </a:lnTo>
                      <a:lnTo>
                        <a:pt x="85885" y="524338"/>
                      </a:lnTo>
                      <a:lnTo>
                        <a:pt x="82536" y="524508"/>
                      </a:lnTo>
                      <a:lnTo>
                        <a:pt x="79389" y="523755"/>
                      </a:lnTo>
                      <a:lnTo>
                        <a:pt x="73882" y="520829"/>
                      </a:lnTo>
                      <a:lnTo>
                        <a:pt x="71465" y="521694"/>
                      </a:lnTo>
                      <a:lnTo>
                        <a:pt x="69383" y="523407"/>
                      </a:lnTo>
                      <a:lnTo>
                        <a:pt x="67180" y="524349"/>
                      </a:lnTo>
                      <a:lnTo>
                        <a:pt x="59352" y="520677"/>
                      </a:lnTo>
                      <a:lnTo>
                        <a:pt x="56617" y="520748"/>
                      </a:lnTo>
                      <a:lnTo>
                        <a:pt x="54997" y="522898"/>
                      </a:lnTo>
                      <a:lnTo>
                        <a:pt x="53880" y="525730"/>
                      </a:lnTo>
                      <a:lnTo>
                        <a:pt x="52223" y="527290"/>
                      </a:lnTo>
                      <a:lnTo>
                        <a:pt x="48959" y="525632"/>
                      </a:lnTo>
                      <a:lnTo>
                        <a:pt x="45563" y="527228"/>
                      </a:lnTo>
                      <a:lnTo>
                        <a:pt x="42592" y="526663"/>
                      </a:lnTo>
                      <a:lnTo>
                        <a:pt x="41416" y="524945"/>
                      </a:lnTo>
                      <a:lnTo>
                        <a:pt x="43418" y="523120"/>
                      </a:lnTo>
                      <a:lnTo>
                        <a:pt x="43405" y="522014"/>
                      </a:lnTo>
                      <a:lnTo>
                        <a:pt x="39364" y="522602"/>
                      </a:lnTo>
                      <a:lnTo>
                        <a:pt x="35418" y="521532"/>
                      </a:lnTo>
                      <a:lnTo>
                        <a:pt x="32422" y="519036"/>
                      </a:lnTo>
                      <a:lnTo>
                        <a:pt x="31203" y="515332"/>
                      </a:lnTo>
                      <a:lnTo>
                        <a:pt x="29595" y="512098"/>
                      </a:lnTo>
                      <a:lnTo>
                        <a:pt x="26815" y="511510"/>
                      </a:lnTo>
                      <a:lnTo>
                        <a:pt x="27303" y="472915"/>
                      </a:lnTo>
                      <a:lnTo>
                        <a:pt x="27785" y="434338"/>
                      </a:lnTo>
                      <a:lnTo>
                        <a:pt x="28253" y="395783"/>
                      </a:lnTo>
                      <a:lnTo>
                        <a:pt x="28721" y="357255"/>
                      </a:lnTo>
                      <a:lnTo>
                        <a:pt x="29180" y="318746"/>
                      </a:lnTo>
                      <a:lnTo>
                        <a:pt x="29637" y="280259"/>
                      </a:lnTo>
                      <a:lnTo>
                        <a:pt x="30083" y="241804"/>
                      </a:lnTo>
                      <a:lnTo>
                        <a:pt x="30525" y="203359"/>
                      </a:lnTo>
                      <a:lnTo>
                        <a:pt x="26682" y="178763"/>
                      </a:lnTo>
                      <a:lnTo>
                        <a:pt x="22841" y="154185"/>
                      </a:lnTo>
                      <a:lnTo>
                        <a:pt x="19012" y="129617"/>
                      </a:lnTo>
                      <a:lnTo>
                        <a:pt x="15199" y="105058"/>
                      </a:lnTo>
                      <a:lnTo>
                        <a:pt x="11386" y="80508"/>
                      </a:lnTo>
                      <a:lnTo>
                        <a:pt x="7582" y="55959"/>
                      </a:lnTo>
                      <a:lnTo>
                        <a:pt x="3787" y="31425"/>
                      </a:lnTo>
                      <a:lnTo>
                        <a:pt x="0" y="6900"/>
                      </a:lnTo>
                      <a:lnTo>
                        <a:pt x="43062" y="6735"/>
                      </a:lnTo>
                      <a:lnTo>
                        <a:pt x="86121" y="6536"/>
                      </a:lnTo>
                      <a:lnTo>
                        <a:pt x="129177" y="6303"/>
                      </a:lnTo>
                      <a:lnTo>
                        <a:pt x="172231" y="6036"/>
                      </a:lnTo>
                      <a:lnTo>
                        <a:pt x="215283" y="5735"/>
                      </a:lnTo>
                      <a:lnTo>
                        <a:pt x="258328" y="5400"/>
                      </a:lnTo>
                      <a:lnTo>
                        <a:pt x="301374" y="5031"/>
                      </a:lnTo>
                      <a:lnTo>
                        <a:pt x="344415" y="4627"/>
                      </a:lnTo>
                      <a:lnTo>
                        <a:pt x="387449" y="4191"/>
                      </a:lnTo>
                      <a:lnTo>
                        <a:pt x="430482" y="3719"/>
                      </a:lnTo>
                      <a:lnTo>
                        <a:pt x="473510" y="3214"/>
                      </a:lnTo>
                      <a:lnTo>
                        <a:pt x="479468" y="3141"/>
                      </a:lnTo>
                      <a:lnTo>
                        <a:pt x="516534" y="2674"/>
                      </a:lnTo>
                      <a:lnTo>
                        <a:pt x="559548" y="2101"/>
                      </a:lnTo>
                      <a:lnTo>
                        <a:pt x="602565" y="1494"/>
                      </a:lnTo>
                      <a:lnTo>
                        <a:pt x="645568" y="852"/>
                      </a:lnTo>
                      <a:lnTo>
                        <a:pt x="688571" y="176"/>
                      </a:lnTo>
                      <a:lnTo>
                        <a:pt x="699405" y="0"/>
                      </a:lnTo>
                      <a:lnTo>
                        <a:pt x="699617" y="397"/>
                      </a:lnTo>
                      <a:lnTo>
                        <a:pt x="699943" y="784"/>
                      </a:lnTo>
                      <a:lnTo>
                        <a:pt x="700818" y="2175"/>
                      </a:lnTo>
                      <a:lnTo>
                        <a:pt x="702581" y="6106"/>
                      </a:lnTo>
                      <a:lnTo>
                        <a:pt x="703036" y="6707"/>
                      </a:lnTo>
                      <a:lnTo>
                        <a:pt x="703721" y="7217"/>
                      </a:lnTo>
                      <a:lnTo>
                        <a:pt x="704506" y="7652"/>
                      </a:lnTo>
                      <a:lnTo>
                        <a:pt x="705106" y="8138"/>
                      </a:lnTo>
                      <a:lnTo>
                        <a:pt x="705406" y="8763"/>
                      </a:lnTo>
                      <a:lnTo>
                        <a:pt x="705599" y="9556"/>
                      </a:lnTo>
                      <a:lnTo>
                        <a:pt x="705896" y="12388"/>
                      </a:lnTo>
                      <a:lnTo>
                        <a:pt x="706095" y="13354"/>
                      </a:lnTo>
                      <a:lnTo>
                        <a:pt x="706390" y="14259"/>
                      </a:lnTo>
                      <a:lnTo>
                        <a:pt x="706863" y="15018"/>
                      </a:lnTo>
                      <a:lnTo>
                        <a:pt x="707513" y="15667"/>
                      </a:lnTo>
                      <a:lnTo>
                        <a:pt x="712854" y="18515"/>
                      </a:lnTo>
                      <a:lnTo>
                        <a:pt x="713637" y="19049"/>
                      </a:lnTo>
                      <a:lnTo>
                        <a:pt x="714359" y="19671"/>
                      </a:lnTo>
                      <a:lnTo>
                        <a:pt x="714976" y="20316"/>
                      </a:lnTo>
                      <a:lnTo>
                        <a:pt x="715496" y="21045"/>
                      </a:lnTo>
                      <a:lnTo>
                        <a:pt x="715872" y="21879"/>
                      </a:lnTo>
                      <a:lnTo>
                        <a:pt x="716148" y="22841"/>
                      </a:lnTo>
                      <a:lnTo>
                        <a:pt x="716206" y="23835"/>
                      </a:lnTo>
                      <a:lnTo>
                        <a:pt x="716136" y="24931"/>
                      </a:lnTo>
                      <a:lnTo>
                        <a:pt x="715357" y="29135"/>
                      </a:lnTo>
                      <a:lnTo>
                        <a:pt x="715330" y="30239"/>
                      </a:lnTo>
                      <a:lnTo>
                        <a:pt x="716309" y="35445"/>
                      </a:lnTo>
                      <a:lnTo>
                        <a:pt x="716314" y="36363"/>
                      </a:lnTo>
                      <a:lnTo>
                        <a:pt x="716170" y="37240"/>
                      </a:lnTo>
                      <a:lnTo>
                        <a:pt x="715876" y="38117"/>
                      </a:lnTo>
                      <a:lnTo>
                        <a:pt x="715502" y="38881"/>
                      </a:lnTo>
                      <a:lnTo>
                        <a:pt x="714959" y="39628"/>
                      </a:lnTo>
                      <a:lnTo>
                        <a:pt x="714357" y="40255"/>
                      </a:lnTo>
                      <a:lnTo>
                        <a:pt x="713629" y="40801"/>
                      </a:lnTo>
                      <a:lnTo>
                        <a:pt x="712808" y="41211"/>
                      </a:lnTo>
                      <a:lnTo>
                        <a:pt x="708878" y="42396"/>
                      </a:lnTo>
                      <a:lnTo>
                        <a:pt x="708146" y="42874"/>
                      </a:lnTo>
                      <a:lnTo>
                        <a:pt x="707618" y="43513"/>
                      </a:lnTo>
                      <a:lnTo>
                        <a:pt x="707351" y="44319"/>
                      </a:lnTo>
                      <a:lnTo>
                        <a:pt x="706899" y="47846"/>
                      </a:lnTo>
                      <a:lnTo>
                        <a:pt x="706606" y="48747"/>
                      </a:lnTo>
                      <a:lnTo>
                        <a:pt x="706180" y="49586"/>
                      </a:lnTo>
                      <a:lnTo>
                        <a:pt x="705631" y="50281"/>
                      </a:lnTo>
                      <a:lnTo>
                        <a:pt x="704933" y="50836"/>
                      </a:lnTo>
                      <a:lnTo>
                        <a:pt x="700128" y="53424"/>
                      </a:lnTo>
                      <a:lnTo>
                        <a:pt x="696650" y="54830"/>
                      </a:lnTo>
                      <a:lnTo>
                        <a:pt x="694685" y="55400"/>
                      </a:lnTo>
                      <a:lnTo>
                        <a:pt x="693823" y="55780"/>
                      </a:lnTo>
                      <a:lnTo>
                        <a:pt x="692304" y="56779"/>
                      </a:lnTo>
                      <a:lnTo>
                        <a:pt x="691698" y="57432"/>
                      </a:lnTo>
                      <a:lnTo>
                        <a:pt x="691183" y="58203"/>
                      </a:lnTo>
                      <a:lnTo>
                        <a:pt x="690832" y="59033"/>
                      </a:lnTo>
                      <a:lnTo>
                        <a:pt x="690646" y="59929"/>
                      </a:lnTo>
                      <a:lnTo>
                        <a:pt x="690490" y="61523"/>
                      </a:lnTo>
                      <a:lnTo>
                        <a:pt x="690309" y="62457"/>
                      </a:lnTo>
                      <a:lnTo>
                        <a:pt x="690009" y="63399"/>
                      </a:lnTo>
                      <a:lnTo>
                        <a:pt x="689616" y="64255"/>
                      </a:lnTo>
                      <a:lnTo>
                        <a:pt x="689045" y="64979"/>
                      </a:lnTo>
                      <a:lnTo>
                        <a:pt x="688370" y="65499"/>
                      </a:lnTo>
                      <a:lnTo>
                        <a:pt x="687546" y="65939"/>
                      </a:lnTo>
                      <a:lnTo>
                        <a:pt x="686667" y="66286"/>
                      </a:lnTo>
                      <a:lnTo>
                        <a:pt x="683588" y="67020"/>
                      </a:lnTo>
                      <a:lnTo>
                        <a:pt x="682732" y="67387"/>
                      </a:lnTo>
                      <a:lnTo>
                        <a:pt x="682008" y="67907"/>
                      </a:lnTo>
                      <a:lnTo>
                        <a:pt x="681439" y="68551"/>
                      </a:lnTo>
                      <a:lnTo>
                        <a:pt x="680474" y="69981"/>
                      </a:lnTo>
                      <a:lnTo>
                        <a:pt x="678693" y="71950"/>
                      </a:lnTo>
                      <a:lnTo>
                        <a:pt x="676288" y="76012"/>
                      </a:lnTo>
                      <a:lnTo>
                        <a:pt x="674879" y="77807"/>
                      </a:lnTo>
                      <a:lnTo>
                        <a:pt x="669778" y="87740"/>
                      </a:lnTo>
                      <a:lnTo>
                        <a:pt x="669336" y="89438"/>
                      </a:lnTo>
                      <a:lnTo>
                        <a:pt x="669407" y="90223"/>
                      </a:lnTo>
                      <a:lnTo>
                        <a:pt x="669699" y="90922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6" name="Freeform 46">
                  <a:extLst>
                    <a:ext uri="{FF2B5EF4-FFF2-40B4-BE49-F238E27FC236}">
                      <a16:creationId xmlns:a16="http://schemas.microsoft.com/office/drawing/2014/main" id="{49D4DD87-AFF7-47AF-A66C-4E1CC81CB13B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3203988" y="3912402"/>
                  <a:ext cx="647554" cy="3660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57776" h="541451">
                      <a:moveTo>
                        <a:pt x="879345" y="169358"/>
                      </a:moveTo>
                      <a:lnTo>
                        <a:pt x="877658" y="173185"/>
                      </a:lnTo>
                      <a:lnTo>
                        <a:pt x="879587" y="175604"/>
                      </a:lnTo>
                      <a:lnTo>
                        <a:pt x="884178" y="177705"/>
                      </a:lnTo>
                      <a:lnTo>
                        <a:pt x="886534" y="179583"/>
                      </a:lnTo>
                      <a:lnTo>
                        <a:pt x="888880" y="182007"/>
                      </a:lnTo>
                      <a:lnTo>
                        <a:pt x="893770" y="185473"/>
                      </a:lnTo>
                      <a:lnTo>
                        <a:pt x="906779" y="192396"/>
                      </a:lnTo>
                      <a:lnTo>
                        <a:pt x="911565" y="196362"/>
                      </a:lnTo>
                      <a:lnTo>
                        <a:pt x="914484" y="202203"/>
                      </a:lnTo>
                      <a:lnTo>
                        <a:pt x="914416" y="201023"/>
                      </a:lnTo>
                      <a:lnTo>
                        <a:pt x="915352" y="210879"/>
                      </a:lnTo>
                      <a:lnTo>
                        <a:pt x="916898" y="214846"/>
                      </a:lnTo>
                      <a:lnTo>
                        <a:pt x="921863" y="217307"/>
                      </a:lnTo>
                      <a:lnTo>
                        <a:pt x="925249" y="221305"/>
                      </a:lnTo>
                      <a:lnTo>
                        <a:pt x="927282" y="222198"/>
                      </a:lnTo>
                      <a:lnTo>
                        <a:pt x="929297" y="222555"/>
                      </a:lnTo>
                      <a:lnTo>
                        <a:pt x="942266" y="229023"/>
                      </a:lnTo>
                      <a:lnTo>
                        <a:pt x="943858" y="230289"/>
                      </a:lnTo>
                      <a:lnTo>
                        <a:pt x="947774" y="234127"/>
                      </a:lnTo>
                      <a:lnTo>
                        <a:pt x="949202" y="234913"/>
                      </a:lnTo>
                      <a:lnTo>
                        <a:pt x="951478" y="235306"/>
                      </a:lnTo>
                      <a:lnTo>
                        <a:pt x="952552" y="236535"/>
                      </a:lnTo>
                      <a:lnTo>
                        <a:pt x="952917" y="238565"/>
                      </a:lnTo>
                      <a:lnTo>
                        <a:pt x="953056" y="241308"/>
                      </a:lnTo>
                      <a:lnTo>
                        <a:pt x="953675" y="243671"/>
                      </a:lnTo>
                      <a:lnTo>
                        <a:pt x="957775" y="251336"/>
                      </a:lnTo>
                      <a:lnTo>
                        <a:pt x="957348" y="253412"/>
                      </a:lnTo>
                      <a:lnTo>
                        <a:pt x="956990" y="260762"/>
                      </a:lnTo>
                      <a:lnTo>
                        <a:pt x="954755" y="266888"/>
                      </a:lnTo>
                      <a:lnTo>
                        <a:pt x="954296" y="277585"/>
                      </a:lnTo>
                      <a:lnTo>
                        <a:pt x="952665" y="285419"/>
                      </a:lnTo>
                      <a:lnTo>
                        <a:pt x="951009" y="289129"/>
                      </a:lnTo>
                      <a:lnTo>
                        <a:pt x="948502" y="290728"/>
                      </a:lnTo>
                      <a:lnTo>
                        <a:pt x="946149" y="291633"/>
                      </a:lnTo>
                      <a:lnTo>
                        <a:pt x="940200" y="296127"/>
                      </a:lnTo>
                      <a:lnTo>
                        <a:pt x="938229" y="298037"/>
                      </a:lnTo>
                      <a:lnTo>
                        <a:pt x="936325" y="300696"/>
                      </a:lnTo>
                      <a:lnTo>
                        <a:pt x="934565" y="304214"/>
                      </a:lnTo>
                      <a:lnTo>
                        <a:pt x="933315" y="308100"/>
                      </a:lnTo>
                      <a:lnTo>
                        <a:pt x="932956" y="311876"/>
                      </a:lnTo>
                      <a:lnTo>
                        <a:pt x="931024" y="315329"/>
                      </a:lnTo>
                      <a:lnTo>
                        <a:pt x="931328" y="316104"/>
                      </a:lnTo>
                      <a:lnTo>
                        <a:pt x="931925" y="316865"/>
                      </a:lnTo>
                      <a:lnTo>
                        <a:pt x="932291" y="317872"/>
                      </a:lnTo>
                      <a:lnTo>
                        <a:pt x="932478" y="321987"/>
                      </a:lnTo>
                      <a:lnTo>
                        <a:pt x="932267" y="323806"/>
                      </a:lnTo>
                      <a:lnTo>
                        <a:pt x="931630" y="325650"/>
                      </a:lnTo>
                      <a:lnTo>
                        <a:pt x="929495" y="327793"/>
                      </a:lnTo>
                      <a:lnTo>
                        <a:pt x="923171" y="331198"/>
                      </a:lnTo>
                      <a:lnTo>
                        <a:pt x="921877" y="332346"/>
                      </a:lnTo>
                      <a:lnTo>
                        <a:pt x="920868" y="334769"/>
                      </a:lnTo>
                      <a:lnTo>
                        <a:pt x="918216" y="336658"/>
                      </a:lnTo>
                      <a:lnTo>
                        <a:pt x="912109" y="338939"/>
                      </a:lnTo>
                      <a:lnTo>
                        <a:pt x="897509" y="341566"/>
                      </a:lnTo>
                      <a:lnTo>
                        <a:pt x="894458" y="342802"/>
                      </a:lnTo>
                      <a:lnTo>
                        <a:pt x="889128" y="348859"/>
                      </a:lnTo>
                      <a:lnTo>
                        <a:pt x="886237" y="351360"/>
                      </a:lnTo>
                      <a:lnTo>
                        <a:pt x="879971" y="353343"/>
                      </a:lnTo>
                      <a:lnTo>
                        <a:pt x="837502" y="357095"/>
                      </a:lnTo>
                      <a:lnTo>
                        <a:pt x="831818" y="360669"/>
                      </a:lnTo>
                      <a:lnTo>
                        <a:pt x="828541" y="366062"/>
                      </a:lnTo>
                      <a:lnTo>
                        <a:pt x="825796" y="372963"/>
                      </a:lnTo>
                      <a:lnTo>
                        <a:pt x="823854" y="380576"/>
                      </a:lnTo>
                      <a:lnTo>
                        <a:pt x="823002" y="388107"/>
                      </a:lnTo>
                      <a:lnTo>
                        <a:pt x="823212" y="391679"/>
                      </a:lnTo>
                      <a:lnTo>
                        <a:pt x="824170" y="396022"/>
                      </a:lnTo>
                      <a:lnTo>
                        <a:pt x="826080" y="399674"/>
                      </a:lnTo>
                      <a:lnTo>
                        <a:pt x="829189" y="401175"/>
                      </a:lnTo>
                      <a:lnTo>
                        <a:pt x="831350" y="401876"/>
                      </a:lnTo>
                      <a:lnTo>
                        <a:pt x="839105" y="406960"/>
                      </a:lnTo>
                      <a:lnTo>
                        <a:pt x="843664" y="412209"/>
                      </a:lnTo>
                      <a:lnTo>
                        <a:pt x="846565" y="419238"/>
                      </a:lnTo>
                      <a:lnTo>
                        <a:pt x="847898" y="427246"/>
                      </a:lnTo>
                      <a:lnTo>
                        <a:pt x="847744" y="435441"/>
                      </a:lnTo>
                      <a:lnTo>
                        <a:pt x="845425" y="441736"/>
                      </a:lnTo>
                      <a:lnTo>
                        <a:pt x="831357" y="457195"/>
                      </a:lnTo>
                      <a:lnTo>
                        <a:pt x="828882" y="460651"/>
                      </a:lnTo>
                      <a:lnTo>
                        <a:pt x="827495" y="463359"/>
                      </a:lnTo>
                      <a:lnTo>
                        <a:pt x="826933" y="466127"/>
                      </a:lnTo>
                      <a:lnTo>
                        <a:pt x="826796" y="473794"/>
                      </a:lnTo>
                      <a:lnTo>
                        <a:pt x="826057" y="477615"/>
                      </a:lnTo>
                      <a:lnTo>
                        <a:pt x="823472" y="484665"/>
                      </a:lnTo>
                      <a:lnTo>
                        <a:pt x="819834" y="489802"/>
                      </a:lnTo>
                      <a:lnTo>
                        <a:pt x="814782" y="493222"/>
                      </a:lnTo>
                      <a:lnTo>
                        <a:pt x="808941" y="495137"/>
                      </a:lnTo>
                      <a:lnTo>
                        <a:pt x="802947" y="495783"/>
                      </a:lnTo>
                      <a:lnTo>
                        <a:pt x="798384" y="496956"/>
                      </a:lnTo>
                      <a:lnTo>
                        <a:pt x="791790" y="499743"/>
                      </a:lnTo>
                      <a:lnTo>
                        <a:pt x="785889" y="503164"/>
                      </a:lnTo>
                      <a:lnTo>
                        <a:pt x="783386" y="506227"/>
                      </a:lnTo>
                      <a:lnTo>
                        <a:pt x="783121" y="507435"/>
                      </a:lnTo>
                      <a:lnTo>
                        <a:pt x="781792" y="509295"/>
                      </a:lnTo>
                      <a:lnTo>
                        <a:pt x="781549" y="511013"/>
                      </a:lnTo>
                      <a:lnTo>
                        <a:pt x="782176" y="512493"/>
                      </a:lnTo>
                      <a:lnTo>
                        <a:pt x="786380" y="515756"/>
                      </a:lnTo>
                      <a:lnTo>
                        <a:pt x="787874" y="518580"/>
                      </a:lnTo>
                      <a:lnTo>
                        <a:pt x="788104" y="521675"/>
                      </a:lnTo>
                      <a:lnTo>
                        <a:pt x="787394" y="527046"/>
                      </a:lnTo>
                      <a:lnTo>
                        <a:pt x="787523" y="530014"/>
                      </a:lnTo>
                      <a:lnTo>
                        <a:pt x="788545" y="534629"/>
                      </a:lnTo>
                      <a:lnTo>
                        <a:pt x="788872" y="537191"/>
                      </a:lnTo>
                      <a:lnTo>
                        <a:pt x="787601" y="538988"/>
                      </a:lnTo>
                      <a:lnTo>
                        <a:pt x="778793" y="541450"/>
                      </a:lnTo>
                      <a:lnTo>
                        <a:pt x="777145" y="540056"/>
                      </a:lnTo>
                      <a:lnTo>
                        <a:pt x="772715" y="538602"/>
                      </a:lnTo>
                      <a:lnTo>
                        <a:pt x="770821" y="537446"/>
                      </a:lnTo>
                      <a:lnTo>
                        <a:pt x="765156" y="532618"/>
                      </a:lnTo>
                      <a:lnTo>
                        <a:pt x="763769" y="530947"/>
                      </a:lnTo>
                      <a:lnTo>
                        <a:pt x="764112" y="529785"/>
                      </a:lnTo>
                      <a:lnTo>
                        <a:pt x="764039" y="528587"/>
                      </a:lnTo>
                      <a:lnTo>
                        <a:pt x="763516" y="527373"/>
                      </a:lnTo>
                      <a:lnTo>
                        <a:pt x="762541" y="526207"/>
                      </a:lnTo>
                      <a:lnTo>
                        <a:pt x="761242" y="525392"/>
                      </a:lnTo>
                      <a:lnTo>
                        <a:pt x="758168" y="524238"/>
                      </a:lnTo>
                      <a:lnTo>
                        <a:pt x="756813" y="523307"/>
                      </a:lnTo>
                      <a:lnTo>
                        <a:pt x="756326" y="522451"/>
                      </a:lnTo>
                      <a:lnTo>
                        <a:pt x="756019" y="521476"/>
                      </a:lnTo>
                      <a:lnTo>
                        <a:pt x="755571" y="520683"/>
                      </a:lnTo>
                      <a:lnTo>
                        <a:pt x="754632" y="520359"/>
                      </a:lnTo>
                      <a:lnTo>
                        <a:pt x="752998" y="520428"/>
                      </a:lnTo>
                      <a:lnTo>
                        <a:pt x="752236" y="520276"/>
                      </a:lnTo>
                      <a:lnTo>
                        <a:pt x="751534" y="519809"/>
                      </a:lnTo>
                      <a:lnTo>
                        <a:pt x="750885" y="518781"/>
                      </a:lnTo>
                      <a:lnTo>
                        <a:pt x="750099" y="516346"/>
                      </a:lnTo>
                      <a:lnTo>
                        <a:pt x="749773" y="515674"/>
                      </a:lnTo>
                      <a:lnTo>
                        <a:pt x="746135" y="513604"/>
                      </a:lnTo>
                      <a:lnTo>
                        <a:pt x="742874" y="512912"/>
                      </a:lnTo>
                      <a:lnTo>
                        <a:pt x="741413" y="512106"/>
                      </a:lnTo>
                      <a:lnTo>
                        <a:pt x="740281" y="510897"/>
                      </a:lnTo>
                      <a:lnTo>
                        <a:pt x="739573" y="509584"/>
                      </a:lnTo>
                      <a:lnTo>
                        <a:pt x="739181" y="507917"/>
                      </a:lnTo>
                      <a:lnTo>
                        <a:pt x="739002" y="505653"/>
                      </a:lnTo>
                      <a:lnTo>
                        <a:pt x="738335" y="504607"/>
                      </a:lnTo>
                      <a:lnTo>
                        <a:pt x="735503" y="502973"/>
                      </a:lnTo>
                      <a:lnTo>
                        <a:pt x="734846" y="502084"/>
                      </a:lnTo>
                      <a:lnTo>
                        <a:pt x="733614" y="500371"/>
                      </a:lnTo>
                      <a:lnTo>
                        <a:pt x="717944" y="501526"/>
                      </a:lnTo>
                      <a:lnTo>
                        <a:pt x="701701" y="503094"/>
                      </a:lnTo>
                      <a:lnTo>
                        <a:pt x="686583" y="503519"/>
                      </a:lnTo>
                      <a:lnTo>
                        <a:pt x="671466" y="503938"/>
                      </a:lnTo>
                      <a:lnTo>
                        <a:pt x="656347" y="504353"/>
                      </a:lnTo>
                      <a:lnTo>
                        <a:pt x="641226" y="504763"/>
                      </a:lnTo>
                      <a:lnTo>
                        <a:pt x="623724" y="505465"/>
                      </a:lnTo>
                      <a:lnTo>
                        <a:pt x="613186" y="505885"/>
                      </a:lnTo>
                      <a:lnTo>
                        <a:pt x="585137" y="506990"/>
                      </a:lnTo>
                      <a:lnTo>
                        <a:pt x="557083" y="508078"/>
                      </a:lnTo>
                      <a:lnTo>
                        <a:pt x="529029" y="509148"/>
                      </a:lnTo>
                      <a:lnTo>
                        <a:pt x="511500" y="509117"/>
                      </a:lnTo>
                      <a:lnTo>
                        <a:pt x="493972" y="509078"/>
                      </a:lnTo>
                      <a:lnTo>
                        <a:pt x="476446" y="509036"/>
                      </a:lnTo>
                      <a:lnTo>
                        <a:pt x="458918" y="508985"/>
                      </a:lnTo>
                      <a:lnTo>
                        <a:pt x="441872" y="509560"/>
                      </a:lnTo>
                      <a:lnTo>
                        <a:pt x="424828" y="510125"/>
                      </a:lnTo>
                      <a:lnTo>
                        <a:pt x="407780" y="510688"/>
                      </a:lnTo>
                      <a:lnTo>
                        <a:pt x="390730" y="511245"/>
                      </a:lnTo>
                      <a:lnTo>
                        <a:pt x="373361" y="511436"/>
                      </a:lnTo>
                      <a:lnTo>
                        <a:pt x="355992" y="511616"/>
                      </a:lnTo>
                      <a:lnTo>
                        <a:pt x="338620" y="511790"/>
                      </a:lnTo>
                      <a:lnTo>
                        <a:pt x="321250" y="511962"/>
                      </a:lnTo>
                      <a:lnTo>
                        <a:pt x="304577" y="511664"/>
                      </a:lnTo>
                      <a:lnTo>
                        <a:pt x="287905" y="511367"/>
                      </a:lnTo>
                      <a:lnTo>
                        <a:pt x="271233" y="511062"/>
                      </a:lnTo>
                      <a:lnTo>
                        <a:pt x="254562" y="510748"/>
                      </a:lnTo>
                      <a:lnTo>
                        <a:pt x="237655" y="510317"/>
                      </a:lnTo>
                      <a:lnTo>
                        <a:pt x="220751" y="509880"/>
                      </a:lnTo>
                      <a:lnTo>
                        <a:pt x="203846" y="509439"/>
                      </a:lnTo>
                      <a:lnTo>
                        <a:pt x="186944" y="508990"/>
                      </a:lnTo>
                      <a:lnTo>
                        <a:pt x="172300" y="508656"/>
                      </a:lnTo>
                      <a:lnTo>
                        <a:pt x="157659" y="508316"/>
                      </a:lnTo>
                      <a:lnTo>
                        <a:pt x="143017" y="507973"/>
                      </a:lnTo>
                      <a:lnTo>
                        <a:pt x="128377" y="507625"/>
                      </a:lnTo>
                      <a:lnTo>
                        <a:pt x="128362" y="507625"/>
                      </a:lnTo>
                      <a:lnTo>
                        <a:pt x="128352" y="507625"/>
                      </a:lnTo>
                      <a:lnTo>
                        <a:pt x="128340" y="507625"/>
                      </a:lnTo>
                      <a:lnTo>
                        <a:pt x="128326" y="507625"/>
                      </a:lnTo>
                      <a:lnTo>
                        <a:pt x="128311" y="507625"/>
                      </a:lnTo>
                      <a:lnTo>
                        <a:pt x="128297" y="507625"/>
                      </a:lnTo>
                      <a:lnTo>
                        <a:pt x="128282" y="507625"/>
                      </a:lnTo>
                      <a:lnTo>
                        <a:pt x="128267" y="507625"/>
                      </a:lnTo>
                      <a:lnTo>
                        <a:pt x="128252" y="507625"/>
                      </a:lnTo>
                      <a:lnTo>
                        <a:pt x="128242" y="507625"/>
                      </a:lnTo>
                      <a:lnTo>
                        <a:pt x="128230" y="507625"/>
                      </a:lnTo>
                      <a:lnTo>
                        <a:pt x="128216" y="507625"/>
                      </a:lnTo>
                      <a:lnTo>
                        <a:pt x="128200" y="507625"/>
                      </a:lnTo>
                      <a:lnTo>
                        <a:pt x="128187" y="507625"/>
                      </a:lnTo>
                      <a:lnTo>
                        <a:pt x="128172" y="507625"/>
                      </a:lnTo>
                      <a:lnTo>
                        <a:pt x="128161" y="507621"/>
                      </a:lnTo>
                      <a:lnTo>
                        <a:pt x="128150" y="507617"/>
                      </a:lnTo>
                      <a:lnTo>
                        <a:pt x="128135" y="507617"/>
                      </a:lnTo>
                      <a:lnTo>
                        <a:pt x="128120" y="507617"/>
                      </a:lnTo>
                      <a:lnTo>
                        <a:pt x="128109" y="507613"/>
                      </a:lnTo>
                      <a:lnTo>
                        <a:pt x="128099" y="507613"/>
                      </a:lnTo>
                      <a:lnTo>
                        <a:pt x="128084" y="507613"/>
                      </a:lnTo>
                      <a:lnTo>
                        <a:pt x="128069" y="507613"/>
                      </a:lnTo>
                      <a:lnTo>
                        <a:pt x="128054" y="507613"/>
                      </a:lnTo>
                      <a:lnTo>
                        <a:pt x="128040" y="507613"/>
                      </a:lnTo>
                      <a:lnTo>
                        <a:pt x="128029" y="507613"/>
                      </a:lnTo>
                      <a:lnTo>
                        <a:pt x="128017" y="507613"/>
                      </a:lnTo>
                      <a:lnTo>
                        <a:pt x="128004" y="507613"/>
                      </a:lnTo>
                      <a:lnTo>
                        <a:pt x="127988" y="507613"/>
                      </a:lnTo>
                      <a:lnTo>
                        <a:pt x="127977" y="507613"/>
                      </a:lnTo>
                      <a:lnTo>
                        <a:pt x="127967" y="507613"/>
                      </a:lnTo>
                      <a:lnTo>
                        <a:pt x="127952" y="507613"/>
                      </a:lnTo>
                      <a:lnTo>
                        <a:pt x="127937" y="507613"/>
                      </a:lnTo>
                      <a:lnTo>
                        <a:pt x="127926" y="507613"/>
                      </a:lnTo>
                      <a:lnTo>
                        <a:pt x="127915" y="507613"/>
                      </a:lnTo>
                      <a:lnTo>
                        <a:pt x="127900" y="507613"/>
                      </a:lnTo>
                      <a:lnTo>
                        <a:pt x="127885" y="507613"/>
                      </a:lnTo>
                      <a:lnTo>
                        <a:pt x="127871" y="507613"/>
                      </a:lnTo>
                      <a:lnTo>
                        <a:pt x="127857" y="507613"/>
                      </a:lnTo>
                      <a:lnTo>
                        <a:pt x="127845" y="507613"/>
                      </a:lnTo>
                      <a:lnTo>
                        <a:pt x="127830" y="507613"/>
                      </a:lnTo>
                      <a:lnTo>
                        <a:pt x="127816" y="507613"/>
                      </a:lnTo>
                      <a:lnTo>
                        <a:pt x="127802" y="507613"/>
                      </a:lnTo>
                      <a:lnTo>
                        <a:pt x="127787" y="507613"/>
                      </a:lnTo>
                      <a:lnTo>
                        <a:pt x="127775" y="507613"/>
                      </a:lnTo>
                      <a:lnTo>
                        <a:pt x="127761" y="507613"/>
                      </a:lnTo>
                      <a:lnTo>
                        <a:pt x="127750" y="507613"/>
                      </a:lnTo>
                      <a:lnTo>
                        <a:pt x="127739" y="507613"/>
                      </a:lnTo>
                      <a:lnTo>
                        <a:pt x="127724" y="507613"/>
                      </a:lnTo>
                      <a:lnTo>
                        <a:pt x="127710" y="507613"/>
                      </a:lnTo>
                      <a:lnTo>
                        <a:pt x="127695" y="507613"/>
                      </a:lnTo>
                      <a:lnTo>
                        <a:pt x="127684" y="507613"/>
                      </a:lnTo>
                      <a:lnTo>
                        <a:pt x="127669" y="507613"/>
                      </a:lnTo>
                      <a:lnTo>
                        <a:pt x="127655" y="507613"/>
                      </a:lnTo>
                      <a:lnTo>
                        <a:pt x="127640" y="507613"/>
                      </a:lnTo>
                      <a:lnTo>
                        <a:pt x="127625" y="507613"/>
                      </a:lnTo>
                      <a:lnTo>
                        <a:pt x="127614" y="507613"/>
                      </a:lnTo>
                      <a:lnTo>
                        <a:pt x="127600" y="507613"/>
                      </a:lnTo>
                      <a:lnTo>
                        <a:pt x="127585" y="507613"/>
                      </a:lnTo>
                      <a:lnTo>
                        <a:pt x="127570" y="507613"/>
                      </a:lnTo>
                      <a:lnTo>
                        <a:pt x="127555" y="507608"/>
                      </a:lnTo>
                      <a:lnTo>
                        <a:pt x="127545" y="507608"/>
                      </a:lnTo>
                      <a:lnTo>
                        <a:pt x="127533" y="507608"/>
                      </a:lnTo>
                      <a:lnTo>
                        <a:pt x="127519" y="507604"/>
                      </a:lnTo>
                      <a:lnTo>
                        <a:pt x="128039" y="504732"/>
                      </a:lnTo>
                      <a:lnTo>
                        <a:pt x="128197" y="500904"/>
                      </a:lnTo>
                      <a:lnTo>
                        <a:pt x="126704" y="497128"/>
                      </a:lnTo>
                      <a:lnTo>
                        <a:pt x="123845" y="495331"/>
                      </a:lnTo>
                      <a:lnTo>
                        <a:pt x="115946" y="492336"/>
                      </a:lnTo>
                      <a:lnTo>
                        <a:pt x="114321" y="489461"/>
                      </a:lnTo>
                      <a:lnTo>
                        <a:pt x="113900" y="487796"/>
                      </a:lnTo>
                      <a:lnTo>
                        <a:pt x="113022" y="486649"/>
                      </a:lnTo>
                      <a:lnTo>
                        <a:pt x="112260" y="485261"/>
                      </a:lnTo>
                      <a:lnTo>
                        <a:pt x="112182" y="482870"/>
                      </a:lnTo>
                      <a:lnTo>
                        <a:pt x="112625" y="481044"/>
                      </a:lnTo>
                      <a:lnTo>
                        <a:pt x="113293" y="480071"/>
                      </a:lnTo>
                      <a:lnTo>
                        <a:pt x="115442" y="478118"/>
                      </a:lnTo>
                      <a:lnTo>
                        <a:pt x="118510" y="473910"/>
                      </a:lnTo>
                      <a:lnTo>
                        <a:pt x="118181" y="472445"/>
                      </a:lnTo>
                      <a:lnTo>
                        <a:pt x="116703" y="470097"/>
                      </a:lnTo>
                      <a:lnTo>
                        <a:pt x="116374" y="468025"/>
                      </a:lnTo>
                      <a:lnTo>
                        <a:pt x="116961" y="463937"/>
                      </a:lnTo>
                      <a:lnTo>
                        <a:pt x="118124" y="460723"/>
                      </a:lnTo>
                      <a:lnTo>
                        <a:pt x="118943" y="457421"/>
                      </a:lnTo>
                      <a:lnTo>
                        <a:pt x="118513" y="453078"/>
                      </a:lnTo>
                      <a:lnTo>
                        <a:pt x="116651" y="448813"/>
                      </a:lnTo>
                      <a:lnTo>
                        <a:pt x="116381" y="446497"/>
                      </a:lnTo>
                      <a:lnTo>
                        <a:pt x="116991" y="442842"/>
                      </a:lnTo>
                      <a:lnTo>
                        <a:pt x="116930" y="441187"/>
                      </a:lnTo>
                      <a:lnTo>
                        <a:pt x="115915" y="439374"/>
                      </a:lnTo>
                      <a:lnTo>
                        <a:pt x="113285" y="437334"/>
                      </a:lnTo>
                      <a:lnTo>
                        <a:pt x="112041" y="436014"/>
                      </a:lnTo>
                      <a:lnTo>
                        <a:pt x="111283" y="433981"/>
                      </a:lnTo>
                      <a:lnTo>
                        <a:pt x="111594" y="432535"/>
                      </a:lnTo>
                      <a:lnTo>
                        <a:pt x="112492" y="431589"/>
                      </a:lnTo>
                      <a:lnTo>
                        <a:pt x="113021" y="430672"/>
                      </a:lnTo>
                      <a:lnTo>
                        <a:pt x="112213" y="429344"/>
                      </a:lnTo>
                      <a:lnTo>
                        <a:pt x="111608" y="428453"/>
                      </a:lnTo>
                      <a:lnTo>
                        <a:pt x="111345" y="427774"/>
                      </a:lnTo>
                      <a:lnTo>
                        <a:pt x="111046" y="427257"/>
                      </a:lnTo>
                      <a:lnTo>
                        <a:pt x="110354" y="426862"/>
                      </a:lnTo>
                      <a:lnTo>
                        <a:pt x="110355" y="425785"/>
                      </a:lnTo>
                      <a:lnTo>
                        <a:pt x="111267" y="424644"/>
                      </a:lnTo>
                      <a:lnTo>
                        <a:pt x="113327" y="419745"/>
                      </a:lnTo>
                      <a:lnTo>
                        <a:pt x="112384" y="417246"/>
                      </a:lnTo>
                      <a:lnTo>
                        <a:pt x="112062" y="411707"/>
                      </a:lnTo>
                      <a:lnTo>
                        <a:pt x="111299" y="409072"/>
                      </a:lnTo>
                      <a:lnTo>
                        <a:pt x="114771" y="407559"/>
                      </a:lnTo>
                      <a:lnTo>
                        <a:pt x="112893" y="406159"/>
                      </a:lnTo>
                      <a:lnTo>
                        <a:pt x="106212" y="404216"/>
                      </a:lnTo>
                      <a:lnTo>
                        <a:pt x="104175" y="402040"/>
                      </a:lnTo>
                      <a:lnTo>
                        <a:pt x="104033" y="399182"/>
                      </a:lnTo>
                      <a:lnTo>
                        <a:pt x="105201" y="391822"/>
                      </a:lnTo>
                      <a:lnTo>
                        <a:pt x="106847" y="390987"/>
                      </a:lnTo>
                      <a:lnTo>
                        <a:pt x="110054" y="387856"/>
                      </a:lnTo>
                      <a:lnTo>
                        <a:pt x="112250" y="384469"/>
                      </a:lnTo>
                      <a:lnTo>
                        <a:pt x="110851" y="382879"/>
                      </a:lnTo>
                      <a:lnTo>
                        <a:pt x="108262" y="382535"/>
                      </a:lnTo>
                      <a:lnTo>
                        <a:pt x="101534" y="380506"/>
                      </a:lnTo>
                      <a:lnTo>
                        <a:pt x="99118" y="379319"/>
                      </a:lnTo>
                      <a:lnTo>
                        <a:pt x="102633" y="368242"/>
                      </a:lnTo>
                      <a:lnTo>
                        <a:pt x="102690" y="366280"/>
                      </a:lnTo>
                      <a:lnTo>
                        <a:pt x="104129" y="359170"/>
                      </a:lnTo>
                      <a:lnTo>
                        <a:pt x="103180" y="357373"/>
                      </a:lnTo>
                      <a:lnTo>
                        <a:pt x="102222" y="356937"/>
                      </a:lnTo>
                      <a:lnTo>
                        <a:pt x="100970" y="356995"/>
                      </a:lnTo>
                      <a:lnTo>
                        <a:pt x="94901" y="355790"/>
                      </a:lnTo>
                      <a:lnTo>
                        <a:pt x="92841" y="354687"/>
                      </a:lnTo>
                      <a:lnTo>
                        <a:pt x="91959" y="352597"/>
                      </a:lnTo>
                      <a:lnTo>
                        <a:pt x="92246" y="350954"/>
                      </a:lnTo>
                      <a:lnTo>
                        <a:pt x="92943" y="348726"/>
                      </a:lnTo>
                      <a:lnTo>
                        <a:pt x="93792" y="346766"/>
                      </a:lnTo>
                      <a:lnTo>
                        <a:pt x="94556" y="345919"/>
                      </a:lnTo>
                      <a:lnTo>
                        <a:pt x="94759" y="345381"/>
                      </a:lnTo>
                      <a:lnTo>
                        <a:pt x="93572" y="344198"/>
                      </a:lnTo>
                      <a:lnTo>
                        <a:pt x="91724" y="343016"/>
                      </a:lnTo>
                      <a:lnTo>
                        <a:pt x="89957" y="342472"/>
                      </a:lnTo>
                      <a:lnTo>
                        <a:pt x="88694" y="342882"/>
                      </a:lnTo>
                      <a:lnTo>
                        <a:pt x="85727" y="344549"/>
                      </a:lnTo>
                      <a:lnTo>
                        <a:pt x="83863" y="344730"/>
                      </a:lnTo>
                      <a:lnTo>
                        <a:pt x="80732" y="342630"/>
                      </a:lnTo>
                      <a:lnTo>
                        <a:pt x="80553" y="339009"/>
                      </a:lnTo>
                      <a:lnTo>
                        <a:pt x="81418" y="335588"/>
                      </a:lnTo>
                      <a:lnTo>
                        <a:pt x="81405" y="334067"/>
                      </a:lnTo>
                      <a:lnTo>
                        <a:pt x="79361" y="332770"/>
                      </a:lnTo>
                      <a:lnTo>
                        <a:pt x="78260" y="329639"/>
                      </a:lnTo>
                      <a:lnTo>
                        <a:pt x="77849" y="325755"/>
                      </a:lnTo>
                      <a:lnTo>
                        <a:pt x="77976" y="318372"/>
                      </a:lnTo>
                      <a:lnTo>
                        <a:pt x="78371" y="317056"/>
                      </a:lnTo>
                      <a:lnTo>
                        <a:pt x="79338" y="315659"/>
                      </a:lnTo>
                      <a:lnTo>
                        <a:pt x="80892" y="313857"/>
                      </a:lnTo>
                      <a:lnTo>
                        <a:pt x="81285" y="313062"/>
                      </a:lnTo>
                      <a:lnTo>
                        <a:pt x="81099" y="312084"/>
                      </a:lnTo>
                      <a:lnTo>
                        <a:pt x="80921" y="309739"/>
                      </a:lnTo>
                      <a:lnTo>
                        <a:pt x="81647" y="306446"/>
                      </a:lnTo>
                      <a:lnTo>
                        <a:pt x="82932" y="303315"/>
                      </a:lnTo>
                      <a:lnTo>
                        <a:pt x="83505" y="299947"/>
                      </a:lnTo>
                      <a:lnTo>
                        <a:pt x="82062" y="295967"/>
                      </a:lnTo>
                      <a:lnTo>
                        <a:pt x="73358" y="287784"/>
                      </a:lnTo>
                      <a:lnTo>
                        <a:pt x="72676" y="286823"/>
                      </a:lnTo>
                      <a:lnTo>
                        <a:pt x="70359" y="282238"/>
                      </a:lnTo>
                      <a:lnTo>
                        <a:pt x="69805" y="280676"/>
                      </a:lnTo>
                      <a:lnTo>
                        <a:pt x="69953" y="278637"/>
                      </a:lnTo>
                      <a:lnTo>
                        <a:pt x="71430" y="275251"/>
                      </a:lnTo>
                      <a:lnTo>
                        <a:pt x="71938" y="273585"/>
                      </a:lnTo>
                      <a:lnTo>
                        <a:pt x="70280" y="266684"/>
                      </a:lnTo>
                      <a:lnTo>
                        <a:pt x="64933" y="262808"/>
                      </a:lnTo>
                      <a:lnTo>
                        <a:pt x="58779" y="259548"/>
                      </a:lnTo>
                      <a:lnTo>
                        <a:pt x="54690" y="254531"/>
                      </a:lnTo>
                      <a:lnTo>
                        <a:pt x="54113" y="250682"/>
                      </a:lnTo>
                      <a:lnTo>
                        <a:pt x="54203" y="247118"/>
                      </a:lnTo>
                      <a:lnTo>
                        <a:pt x="53943" y="243850"/>
                      </a:lnTo>
                      <a:lnTo>
                        <a:pt x="52328" y="240875"/>
                      </a:lnTo>
                      <a:lnTo>
                        <a:pt x="49735" y="238779"/>
                      </a:lnTo>
                      <a:lnTo>
                        <a:pt x="44810" y="235820"/>
                      </a:lnTo>
                      <a:lnTo>
                        <a:pt x="42715" y="233119"/>
                      </a:lnTo>
                      <a:lnTo>
                        <a:pt x="41395" y="228903"/>
                      </a:lnTo>
                      <a:lnTo>
                        <a:pt x="41952" y="225710"/>
                      </a:lnTo>
                      <a:lnTo>
                        <a:pt x="43191" y="222825"/>
                      </a:lnTo>
                      <a:lnTo>
                        <a:pt x="43888" y="219480"/>
                      </a:lnTo>
                      <a:lnTo>
                        <a:pt x="43656" y="215478"/>
                      </a:lnTo>
                      <a:lnTo>
                        <a:pt x="42810" y="212557"/>
                      </a:lnTo>
                      <a:lnTo>
                        <a:pt x="41242" y="210276"/>
                      </a:lnTo>
                      <a:lnTo>
                        <a:pt x="39176" y="208731"/>
                      </a:lnTo>
                      <a:lnTo>
                        <a:pt x="39008" y="205934"/>
                      </a:lnTo>
                      <a:lnTo>
                        <a:pt x="34083" y="200635"/>
                      </a:lnTo>
                      <a:lnTo>
                        <a:pt x="34857" y="193317"/>
                      </a:lnTo>
                      <a:lnTo>
                        <a:pt x="36916" y="185695"/>
                      </a:lnTo>
                      <a:lnTo>
                        <a:pt x="34917" y="178550"/>
                      </a:lnTo>
                      <a:lnTo>
                        <a:pt x="32416" y="176831"/>
                      </a:lnTo>
                      <a:lnTo>
                        <a:pt x="28915" y="175743"/>
                      </a:lnTo>
                      <a:lnTo>
                        <a:pt x="22433" y="174779"/>
                      </a:lnTo>
                      <a:lnTo>
                        <a:pt x="22549" y="168666"/>
                      </a:lnTo>
                      <a:lnTo>
                        <a:pt x="21517" y="166578"/>
                      </a:lnTo>
                      <a:lnTo>
                        <a:pt x="20720" y="166107"/>
                      </a:lnTo>
                      <a:lnTo>
                        <a:pt x="20038" y="165152"/>
                      </a:lnTo>
                      <a:lnTo>
                        <a:pt x="19918" y="164080"/>
                      </a:lnTo>
                      <a:lnTo>
                        <a:pt x="20035" y="162674"/>
                      </a:lnTo>
                      <a:lnTo>
                        <a:pt x="19843" y="161640"/>
                      </a:lnTo>
                      <a:lnTo>
                        <a:pt x="19431" y="160638"/>
                      </a:lnTo>
                      <a:lnTo>
                        <a:pt x="18477" y="159020"/>
                      </a:lnTo>
                      <a:lnTo>
                        <a:pt x="17953" y="158313"/>
                      </a:lnTo>
                      <a:lnTo>
                        <a:pt x="17363" y="157730"/>
                      </a:lnTo>
                      <a:lnTo>
                        <a:pt x="16662" y="157260"/>
                      </a:lnTo>
                      <a:lnTo>
                        <a:pt x="14135" y="155924"/>
                      </a:lnTo>
                      <a:lnTo>
                        <a:pt x="13924" y="155421"/>
                      </a:lnTo>
                      <a:lnTo>
                        <a:pt x="13981" y="154987"/>
                      </a:lnTo>
                      <a:lnTo>
                        <a:pt x="14409" y="154300"/>
                      </a:lnTo>
                      <a:lnTo>
                        <a:pt x="14593" y="154085"/>
                      </a:lnTo>
                      <a:lnTo>
                        <a:pt x="16169" y="152912"/>
                      </a:lnTo>
                      <a:lnTo>
                        <a:pt x="16682" y="152162"/>
                      </a:lnTo>
                      <a:lnTo>
                        <a:pt x="16517" y="151452"/>
                      </a:lnTo>
                      <a:lnTo>
                        <a:pt x="16067" y="150780"/>
                      </a:lnTo>
                      <a:lnTo>
                        <a:pt x="14911" y="149575"/>
                      </a:lnTo>
                      <a:lnTo>
                        <a:pt x="13607" y="148458"/>
                      </a:lnTo>
                      <a:lnTo>
                        <a:pt x="5827" y="143281"/>
                      </a:lnTo>
                      <a:lnTo>
                        <a:pt x="4685" y="142303"/>
                      </a:lnTo>
                      <a:lnTo>
                        <a:pt x="3349" y="140874"/>
                      </a:lnTo>
                      <a:lnTo>
                        <a:pt x="1061" y="137707"/>
                      </a:lnTo>
                      <a:lnTo>
                        <a:pt x="340" y="135899"/>
                      </a:lnTo>
                      <a:lnTo>
                        <a:pt x="0" y="134494"/>
                      </a:lnTo>
                      <a:lnTo>
                        <a:pt x="421" y="132124"/>
                      </a:lnTo>
                      <a:lnTo>
                        <a:pt x="1036" y="130489"/>
                      </a:lnTo>
                      <a:lnTo>
                        <a:pt x="2281" y="128059"/>
                      </a:lnTo>
                      <a:lnTo>
                        <a:pt x="4570" y="125175"/>
                      </a:lnTo>
                      <a:lnTo>
                        <a:pt x="5026" y="124421"/>
                      </a:lnTo>
                      <a:lnTo>
                        <a:pt x="5394" y="123529"/>
                      </a:lnTo>
                      <a:lnTo>
                        <a:pt x="5705" y="122560"/>
                      </a:lnTo>
                      <a:lnTo>
                        <a:pt x="6066" y="121675"/>
                      </a:lnTo>
                      <a:lnTo>
                        <a:pt x="6530" y="120930"/>
                      </a:lnTo>
                      <a:lnTo>
                        <a:pt x="7106" y="120290"/>
                      </a:lnTo>
                      <a:lnTo>
                        <a:pt x="7691" y="119811"/>
                      </a:lnTo>
                      <a:lnTo>
                        <a:pt x="8186" y="119521"/>
                      </a:lnTo>
                      <a:lnTo>
                        <a:pt x="10488" y="118654"/>
                      </a:lnTo>
                      <a:lnTo>
                        <a:pt x="11036" y="118377"/>
                      </a:lnTo>
                      <a:lnTo>
                        <a:pt x="11409" y="117716"/>
                      </a:lnTo>
                      <a:lnTo>
                        <a:pt x="11627" y="116771"/>
                      </a:lnTo>
                      <a:lnTo>
                        <a:pt x="11784" y="114495"/>
                      </a:lnTo>
                      <a:lnTo>
                        <a:pt x="12042" y="113446"/>
                      </a:lnTo>
                      <a:lnTo>
                        <a:pt x="12333" y="112700"/>
                      </a:lnTo>
                      <a:lnTo>
                        <a:pt x="13034" y="112053"/>
                      </a:lnTo>
                      <a:lnTo>
                        <a:pt x="13577" y="111649"/>
                      </a:lnTo>
                      <a:lnTo>
                        <a:pt x="13878" y="110878"/>
                      </a:lnTo>
                      <a:lnTo>
                        <a:pt x="14231" y="109530"/>
                      </a:lnTo>
                      <a:lnTo>
                        <a:pt x="14571" y="104817"/>
                      </a:lnTo>
                      <a:lnTo>
                        <a:pt x="14776" y="103649"/>
                      </a:lnTo>
                      <a:lnTo>
                        <a:pt x="14969" y="103245"/>
                      </a:lnTo>
                      <a:lnTo>
                        <a:pt x="17698" y="100604"/>
                      </a:lnTo>
                      <a:lnTo>
                        <a:pt x="18258" y="99501"/>
                      </a:lnTo>
                      <a:lnTo>
                        <a:pt x="18861" y="97496"/>
                      </a:lnTo>
                      <a:lnTo>
                        <a:pt x="18680" y="94115"/>
                      </a:lnTo>
                      <a:lnTo>
                        <a:pt x="18600" y="93516"/>
                      </a:lnTo>
                      <a:lnTo>
                        <a:pt x="18652" y="93061"/>
                      </a:lnTo>
                      <a:lnTo>
                        <a:pt x="18711" y="92859"/>
                      </a:lnTo>
                      <a:lnTo>
                        <a:pt x="19354" y="92000"/>
                      </a:lnTo>
                      <a:lnTo>
                        <a:pt x="20334" y="89638"/>
                      </a:lnTo>
                      <a:lnTo>
                        <a:pt x="20695" y="88433"/>
                      </a:lnTo>
                      <a:lnTo>
                        <a:pt x="20573" y="87641"/>
                      </a:lnTo>
                      <a:lnTo>
                        <a:pt x="20321" y="87113"/>
                      </a:lnTo>
                      <a:lnTo>
                        <a:pt x="19792" y="86488"/>
                      </a:lnTo>
                      <a:lnTo>
                        <a:pt x="19190" y="85501"/>
                      </a:lnTo>
                      <a:lnTo>
                        <a:pt x="19187" y="84540"/>
                      </a:lnTo>
                      <a:lnTo>
                        <a:pt x="19485" y="83731"/>
                      </a:lnTo>
                      <a:lnTo>
                        <a:pt x="24362" y="79621"/>
                      </a:lnTo>
                      <a:lnTo>
                        <a:pt x="24991" y="78683"/>
                      </a:lnTo>
                      <a:lnTo>
                        <a:pt x="25561" y="77483"/>
                      </a:lnTo>
                      <a:lnTo>
                        <a:pt x="27157" y="70551"/>
                      </a:lnTo>
                      <a:lnTo>
                        <a:pt x="27199" y="69174"/>
                      </a:lnTo>
                      <a:lnTo>
                        <a:pt x="27014" y="68052"/>
                      </a:lnTo>
                      <a:lnTo>
                        <a:pt x="26593" y="66754"/>
                      </a:lnTo>
                      <a:lnTo>
                        <a:pt x="26180" y="65026"/>
                      </a:lnTo>
                      <a:lnTo>
                        <a:pt x="24989" y="57504"/>
                      </a:lnTo>
                      <a:lnTo>
                        <a:pt x="24523" y="55641"/>
                      </a:lnTo>
                      <a:lnTo>
                        <a:pt x="24150" y="54815"/>
                      </a:lnTo>
                      <a:lnTo>
                        <a:pt x="23575" y="54169"/>
                      </a:lnTo>
                      <a:lnTo>
                        <a:pt x="22737" y="53792"/>
                      </a:lnTo>
                      <a:lnTo>
                        <a:pt x="21792" y="53711"/>
                      </a:lnTo>
                      <a:lnTo>
                        <a:pt x="20307" y="53858"/>
                      </a:lnTo>
                      <a:lnTo>
                        <a:pt x="19302" y="53856"/>
                      </a:lnTo>
                      <a:lnTo>
                        <a:pt x="15986" y="53330"/>
                      </a:lnTo>
                      <a:lnTo>
                        <a:pt x="13724" y="53429"/>
                      </a:lnTo>
                      <a:lnTo>
                        <a:pt x="12521" y="53338"/>
                      </a:lnTo>
                      <a:lnTo>
                        <a:pt x="11409" y="52960"/>
                      </a:lnTo>
                      <a:lnTo>
                        <a:pt x="10529" y="52077"/>
                      </a:lnTo>
                      <a:lnTo>
                        <a:pt x="10291" y="51125"/>
                      </a:lnTo>
                      <a:lnTo>
                        <a:pt x="10470" y="50203"/>
                      </a:lnTo>
                      <a:lnTo>
                        <a:pt x="10952" y="49455"/>
                      </a:lnTo>
                      <a:lnTo>
                        <a:pt x="12229" y="48186"/>
                      </a:lnTo>
                      <a:lnTo>
                        <a:pt x="12663" y="47573"/>
                      </a:lnTo>
                      <a:lnTo>
                        <a:pt x="12487" y="46944"/>
                      </a:lnTo>
                      <a:lnTo>
                        <a:pt x="11691" y="46231"/>
                      </a:lnTo>
                      <a:lnTo>
                        <a:pt x="10636" y="45470"/>
                      </a:lnTo>
                      <a:lnTo>
                        <a:pt x="9442" y="43597"/>
                      </a:lnTo>
                      <a:lnTo>
                        <a:pt x="9307" y="42418"/>
                      </a:lnTo>
                      <a:lnTo>
                        <a:pt x="9728" y="41628"/>
                      </a:lnTo>
                      <a:lnTo>
                        <a:pt x="10698" y="41486"/>
                      </a:lnTo>
                      <a:lnTo>
                        <a:pt x="12817" y="41723"/>
                      </a:lnTo>
                      <a:lnTo>
                        <a:pt x="13819" y="41554"/>
                      </a:lnTo>
                      <a:lnTo>
                        <a:pt x="14607" y="41130"/>
                      </a:lnTo>
                      <a:lnTo>
                        <a:pt x="15179" y="40547"/>
                      </a:lnTo>
                      <a:lnTo>
                        <a:pt x="15553" y="39950"/>
                      </a:lnTo>
                      <a:lnTo>
                        <a:pt x="16062" y="35711"/>
                      </a:lnTo>
                      <a:lnTo>
                        <a:pt x="16188" y="26824"/>
                      </a:lnTo>
                      <a:lnTo>
                        <a:pt x="15834" y="24996"/>
                      </a:lnTo>
                      <a:lnTo>
                        <a:pt x="15308" y="24291"/>
                      </a:lnTo>
                      <a:lnTo>
                        <a:pt x="12824" y="21790"/>
                      </a:lnTo>
                      <a:lnTo>
                        <a:pt x="11691" y="20389"/>
                      </a:lnTo>
                      <a:lnTo>
                        <a:pt x="9039" y="17760"/>
                      </a:lnTo>
                      <a:lnTo>
                        <a:pt x="8357" y="16799"/>
                      </a:lnTo>
                      <a:lnTo>
                        <a:pt x="7659" y="15185"/>
                      </a:lnTo>
                      <a:lnTo>
                        <a:pt x="7575" y="13745"/>
                      </a:lnTo>
                      <a:lnTo>
                        <a:pt x="7699" y="12184"/>
                      </a:lnTo>
                      <a:lnTo>
                        <a:pt x="8051" y="10304"/>
                      </a:lnTo>
                      <a:lnTo>
                        <a:pt x="7983" y="9054"/>
                      </a:lnTo>
                      <a:lnTo>
                        <a:pt x="7654" y="7959"/>
                      </a:lnTo>
                      <a:lnTo>
                        <a:pt x="7169" y="7032"/>
                      </a:lnTo>
                      <a:lnTo>
                        <a:pt x="6864" y="5874"/>
                      </a:lnTo>
                      <a:lnTo>
                        <a:pt x="7342" y="5455"/>
                      </a:lnTo>
                      <a:lnTo>
                        <a:pt x="27881" y="5295"/>
                      </a:lnTo>
                      <a:lnTo>
                        <a:pt x="75004" y="5373"/>
                      </a:lnTo>
                      <a:lnTo>
                        <a:pt x="122129" y="5386"/>
                      </a:lnTo>
                      <a:lnTo>
                        <a:pt x="169265" y="5340"/>
                      </a:lnTo>
                      <a:lnTo>
                        <a:pt x="216388" y="5255"/>
                      </a:lnTo>
                      <a:lnTo>
                        <a:pt x="263511" y="5115"/>
                      </a:lnTo>
                      <a:lnTo>
                        <a:pt x="310635" y="4910"/>
                      </a:lnTo>
                      <a:lnTo>
                        <a:pt x="357753" y="4664"/>
                      </a:lnTo>
                      <a:lnTo>
                        <a:pt x="404872" y="4365"/>
                      </a:lnTo>
                      <a:lnTo>
                        <a:pt x="451992" y="3999"/>
                      </a:lnTo>
                      <a:lnTo>
                        <a:pt x="499101" y="3597"/>
                      </a:lnTo>
                      <a:lnTo>
                        <a:pt x="513616" y="3460"/>
                      </a:lnTo>
                      <a:lnTo>
                        <a:pt x="546204" y="3134"/>
                      </a:lnTo>
                      <a:lnTo>
                        <a:pt x="593309" y="2604"/>
                      </a:lnTo>
                      <a:lnTo>
                        <a:pt x="640402" y="2037"/>
                      </a:lnTo>
                      <a:lnTo>
                        <a:pt x="687492" y="1417"/>
                      </a:lnTo>
                      <a:lnTo>
                        <a:pt x="734574" y="731"/>
                      </a:lnTo>
                      <a:lnTo>
                        <a:pt x="781651" y="0"/>
                      </a:lnTo>
                      <a:lnTo>
                        <a:pt x="781616" y="232"/>
                      </a:lnTo>
                      <a:lnTo>
                        <a:pt x="781517" y="2424"/>
                      </a:lnTo>
                      <a:lnTo>
                        <a:pt x="781760" y="4574"/>
                      </a:lnTo>
                      <a:lnTo>
                        <a:pt x="782299" y="6575"/>
                      </a:lnTo>
                      <a:lnTo>
                        <a:pt x="783118" y="8440"/>
                      </a:lnTo>
                      <a:lnTo>
                        <a:pt x="785289" y="11928"/>
                      </a:lnTo>
                      <a:lnTo>
                        <a:pt x="786097" y="13635"/>
                      </a:lnTo>
                      <a:lnTo>
                        <a:pt x="786657" y="15463"/>
                      </a:lnTo>
                      <a:lnTo>
                        <a:pt x="787539" y="20190"/>
                      </a:lnTo>
                      <a:lnTo>
                        <a:pt x="788749" y="21987"/>
                      </a:lnTo>
                      <a:lnTo>
                        <a:pt x="790505" y="23156"/>
                      </a:lnTo>
                      <a:lnTo>
                        <a:pt x="803216" y="27426"/>
                      </a:lnTo>
                      <a:lnTo>
                        <a:pt x="806977" y="31280"/>
                      </a:lnTo>
                      <a:lnTo>
                        <a:pt x="807557" y="37705"/>
                      </a:lnTo>
                      <a:lnTo>
                        <a:pt x="805120" y="43066"/>
                      </a:lnTo>
                      <a:lnTo>
                        <a:pt x="797891" y="52502"/>
                      </a:lnTo>
                      <a:lnTo>
                        <a:pt x="796556" y="58549"/>
                      </a:lnTo>
                      <a:lnTo>
                        <a:pt x="797952" y="70633"/>
                      </a:lnTo>
                      <a:lnTo>
                        <a:pt x="799375" y="76466"/>
                      </a:lnTo>
                      <a:lnTo>
                        <a:pt x="799767" y="82806"/>
                      </a:lnTo>
                      <a:lnTo>
                        <a:pt x="800143" y="84902"/>
                      </a:lnTo>
                      <a:lnTo>
                        <a:pt x="800917" y="86839"/>
                      </a:lnTo>
                      <a:lnTo>
                        <a:pt x="801503" y="94777"/>
                      </a:lnTo>
                      <a:lnTo>
                        <a:pt x="802415" y="98582"/>
                      </a:lnTo>
                      <a:lnTo>
                        <a:pt x="804151" y="101483"/>
                      </a:lnTo>
                      <a:lnTo>
                        <a:pt x="808549" y="105967"/>
                      </a:lnTo>
                      <a:lnTo>
                        <a:pt x="810104" y="108374"/>
                      </a:lnTo>
                      <a:lnTo>
                        <a:pt x="811140" y="111464"/>
                      </a:lnTo>
                      <a:lnTo>
                        <a:pt x="811959" y="118782"/>
                      </a:lnTo>
                      <a:lnTo>
                        <a:pt x="812654" y="121984"/>
                      </a:lnTo>
                      <a:lnTo>
                        <a:pt x="818068" y="130529"/>
                      </a:lnTo>
                      <a:lnTo>
                        <a:pt x="820009" y="132723"/>
                      </a:lnTo>
                      <a:lnTo>
                        <a:pt x="823411" y="134885"/>
                      </a:lnTo>
                      <a:lnTo>
                        <a:pt x="829965" y="137338"/>
                      </a:lnTo>
                      <a:lnTo>
                        <a:pt x="855175" y="141192"/>
                      </a:lnTo>
                      <a:lnTo>
                        <a:pt x="861978" y="143332"/>
                      </a:lnTo>
                      <a:lnTo>
                        <a:pt x="865443" y="143737"/>
                      </a:lnTo>
                      <a:lnTo>
                        <a:pt x="868941" y="144685"/>
                      </a:lnTo>
                      <a:lnTo>
                        <a:pt x="871376" y="147230"/>
                      </a:lnTo>
                      <a:lnTo>
                        <a:pt x="874611" y="154210"/>
                      </a:lnTo>
                      <a:lnTo>
                        <a:pt x="875913" y="156165"/>
                      </a:lnTo>
                      <a:lnTo>
                        <a:pt x="879873" y="161028"/>
                      </a:lnTo>
                      <a:lnTo>
                        <a:pt x="881231" y="163660"/>
                      </a:lnTo>
                      <a:lnTo>
                        <a:pt x="880987" y="16563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Freeform 47">
                  <a:extLst>
                    <a:ext uri="{FF2B5EF4-FFF2-40B4-BE49-F238E27FC236}">
                      <a16:creationId xmlns:a16="http://schemas.microsoft.com/office/drawing/2014/main" id="{36360B76-E02D-40CE-A7ED-590B47A00C01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>
                <a:xfrm>
                  <a:off x="2628188" y="4319976"/>
                  <a:ext cx="783657" cy="36166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59081" h="534929">
                      <a:moveTo>
                        <a:pt x="1081711" y="33539"/>
                      </a:moveTo>
                      <a:lnTo>
                        <a:pt x="1085244" y="32688"/>
                      </a:lnTo>
                      <a:lnTo>
                        <a:pt x="1088407" y="30832"/>
                      </a:lnTo>
                      <a:lnTo>
                        <a:pt x="1092928" y="27273"/>
                      </a:lnTo>
                      <a:lnTo>
                        <a:pt x="1095181" y="26151"/>
                      </a:lnTo>
                      <a:lnTo>
                        <a:pt x="1097792" y="25630"/>
                      </a:lnTo>
                      <a:lnTo>
                        <a:pt x="1101339" y="25497"/>
                      </a:lnTo>
                      <a:lnTo>
                        <a:pt x="1103313" y="26390"/>
                      </a:lnTo>
                      <a:lnTo>
                        <a:pt x="1104363" y="28478"/>
                      </a:lnTo>
                      <a:lnTo>
                        <a:pt x="1104310" y="30867"/>
                      </a:lnTo>
                      <a:lnTo>
                        <a:pt x="1103001" y="32638"/>
                      </a:lnTo>
                      <a:lnTo>
                        <a:pt x="1105259" y="35059"/>
                      </a:lnTo>
                      <a:lnTo>
                        <a:pt x="1111987" y="38614"/>
                      </a:lnTo>
                      <a:lnTo>
                        <a:pt x="1113414" y="40403"/>
                      </a:lnTo>
                      <a:lnTo>
                        <a:pt x="1113275" y="42192"/>
                      </a:lnTo>
                      <a:lnTo>
                        <a:pt x="1112584" y="45620"/>
                      </a:lnTo>
                      <a:lnTo>
                        <a:pt x="1112444" y="47605"/>
                      </a:lnTo>
                      <a:lnTo>
                        <a:pt x="1113029" y="49733"/>
                      </a:lnTo>
                      <a:lnTo>
                        <a:pt x="1114167" y="50974"/>
                      </a:lnTo>
                      <a:lnTo>
                        <a:pt x="1114996" y="52177"/>
                      </a:lnTo>
                      <a:lnTo>
                        <a:pt x="1114670" y="54155"/>
                      </a:lnTo>
                      <a:lnTo>
                        <a:pt x="1112271" y="56339"/>
                      </a:lnTo>
                      <a:lnTo>
                        <a:pt x="1108920" y="56106"/>
                      </a:lnTo>
                      <a:lnTo>
                        <a:pt x="1101581" y="54192"/>
                      </a:lnTo>
                      <a:lnTo>
                        <a:pt x="1100346" y="54779"/>
                      </a:lnTo>
                      <a:lnTo>
                        <a:pt x="1099543" y="56208"/>
                      </a:lnTo>
                      <a:lnTo>
                        <a:pt x="1099113" y="57982"/>
                      </a:lnTo>
                      <a:lnTo>
                        <a:pt x="1098695" y="62244"/>
                      </a:lnTo>
                      <a:lnTo>
                        <a:pt x="1097819" y="63354"/>
                      </a:lnTo>
                      <a:lnTo>
                        <a:pt x="1096504" y="63920"/>
                      </a:lnTo>
                      <a:lnTo>
                        <a:pt x="1094889" y="64935"/>
                      </a:lnTo>
                      <a:lnTo>
                        <a:pt x="1090082" y="69267"/>
                      </a:lnTo>
                      <a:lnTo>
                        <a:pt x="1087686" y="72244"/>
                      </a:lnTo>
                      <a:lnTo>
                        <a:pt x="1086674" y="75247"/>
                      </a:lnTo>
                      <a:lnTo>
                        <a:pt x="1086865" y="79010"/>
                      </a:lnTo>
                      <a:lnTo>
                        <a:pt x="1086753" y="80958"/>
                      </a:lnTo>
                      <a:lnTo>
                        <a:pt x="1086207" y="82400"/>
                      </a:lnTo>
                      <a:lnTo>
                        <a:pt x="1084504" y="83410"/>
                      </a:lnTo>
                      <a:lnTo>
                        <a:pt x="1080472" y="83632"/>
                      </a:lnTo>
                      <a:lnTo>
                        <a:pt x="1079378" y="84151"/>
                      </a:lnTo>
                      <a:lnTo>
                        <a:pt x="1079153" y="87715"/>
                      </a:lnTo>
                      <a:lnTo>
                        <a:pt x="1080959" y="91223"/>
                      </a:lnTo>
                      <a:lnTo>
                        <a:pt x="1083716" y="93907"/>
                      </a:lnTo>
                      <a:lnTo>
                        <a:pt x="1086300" y="94972"/>
                      </a:lnTo>
                      <a:lnTo>
                        <a:pt x="1087246" y="96292"/>
                      </a:lnTo>
                      <a:lnTo>
                        <a:pt x="1090680" y="102504"/>
                      </a:lnTo>
                      <a:lnTo>
                        <a:pt x="1092178" y="104496"/>
                      </a:lnTo>
                      <a:lnTo>
                        <a:pt x="1093395" y="105189"/>
                      </a:lnTo>
                      <a:lnTo>
                        <a:pt x="1096209" y="106320"/>
                      </a:lnTo>
                      <a:lnTo>
                        <a:pt x="1102620" y="110432"/>
                      </a:lnTo>
                      <a:lnTo>
                        <a:pt x="1103202" y="111470"/>
                      </a:lnTo>
                      <a:lnTo>
                        <a:pt x="1104018" y="114236"/>
                      </a:lnTo>
                      <a:lnTo>
                        <a:pt x="1104739" y="115198"/>
                      </a:lnTo>
                      <a:lnTo>
                        <a:pt x="1111466" y="116480"/>
                      </a:lnTo>
                      <a:lnTo>
                        <a:pt x="1110141" y="119657"/>
                      </a:lnTo>
                      <a:lnTo>
                        <a:pt x="1111360" y="126621"/>
                      </a:lnTo>
                      <a:lnTo>
                        <a:pt x="1114772" y="133582"/>
                      </a:lnTo>
                      <a:lnTo>
                        <a:pt x="1120024" y="136737"/>
                      </a:lnTo>
                      <a:lnTo>
                        <a:pt x="1121523" y="138418"/>
                      </a:lnTo>
                      <a:lnTo>
                        <a:pt x="1121740" y="142103"/>
                      </a:lnTo>
                      <a:lnTo>
                        <a:pt x="1122428" y="145789"/>
                      </a:lnTo>
                      <a:lnTo>
                        <a:pt x="1125335" y="147462"/>
                      </a:lnTo>
                      <a:lnTo>
                        <a:pt x="1128424" y="148305"/>
                      </a:lnTo>
                      <a:lnTo>
                        <a:pt x="1135215" y="152286"/>
                      </a:lnTo>
                      <a:lnTo>
                        <a:pt x="1138611" y="153496"/>
                      </a:lnTo>
                      <a:lnTo>
                        <a:pt x="1143328" y="153326"/>
                      </a:lnTo>
                      <a:lnTo>
                        <a:pt x="1145613" y="153540"/>
                      </a:lnTo>
                      <a:lnTo>
                        <a:pt x="1147154" y="153402"/>
                      </a:lnTo>
                      <a:lnTo>
                        <a:pt x="1147901" y="153463"/>
                      </a:lnTo>
                      <a:lnTo>
                        <a:pt x="1148681" y="153994"/>
                      </a:lnTo>
                      <a:lnTo>
                        <a:pt x="1149034" y="155529"/>
                      </a:lnTo>
                      <a:lnTo>
                        <a:pt x="1149534" y="155843"/>
                      </a:lnTo>
                      <a:lnTo>
                        <a:pt x="1153172" y="156099"/>
                      </a:lnTo>
                      <a:lnTo>
                        <a:pt x="1155679" y="156947"/>
                      </a:lnTo>
                      <a:lnTo>
                        <a:pt x="1156014" y="158428"/>
                      </a:lnTo>
                      <a:lnTo>
                        <a:pt x="1153875" y="160506"/>
                      </a:lnTo>
                      <a:lnTo>
                        <a:pt x="1154083" y="160787"/>
                      </a:lnTo>
                      <a:lnTo>
                        <a:pt x="1154089" y="161291"/>
                      </a:lnTo>
                      <a:lnTo>
                        <a:pt x="1154252" y="161904"/>
                      </a:lnTo>
                      <a:lnTo>
                        <a:pt x="1154945" y="162137"/>
                      </a:lnTo>
                      <a:lnTo>
                        <a:pt x="1154959" y="163354"/>
                      </a:lnTo>
                      <a:lnTo>
                        <a:pt x="1155107" y="176154"/>
                      </a:lnTo>
                      <a:lnTo>
                        <a:pt x="1155365" y="198484"/>
                      </a:lnTo>
                      <a:lnTo>
                        <a:pt x="1155618" y="220838"/>
                      </a:lnTo>
                      <a:lnTo>
                        <a:pt x="1155867" y="243191"/>
                      </a:lnTo>
                      <a:lnTo>
                        <a:pt x="1156123" y="265562"/>
                      </a:lnTo>
                      <a:lnTo>
                        <a:pt x="1156377" y="287936"/>
                      </a:lnTo>
                      <a:lnTo>
                        <a:pt x="1156622" y="310315"/>
                      </a:lnTo>
                      <a:lnTo>
                        <a:pt x="1156871" y="332704"/>
                      </a:lnTo>
                      <a:lnTo>
                        <a:pt x="1157122" y="355109"/>
                      </a:lnTo>
                      <a:lnTo>
                        <a:pt x="1157373" y="377518"/>
                      </a:lnTo>
                      <a:lnTo>
                        <a:pt x="1157619" y="399933"/>
                      </a:lnTo>
                      <a:lnTo>
                        <a:pt x="1157860" y="422355"/>
                      </a:lnTo>
                      <a:lnTo>
                        <a:pt x="1158108" y="444790"/>
                      </a:lnTo>
                      <a:lnTo>
                        <a:pt x="1158355" y="467225"/>
                      </a:lnTo>
                      <a:lnTo>
                        <a:pt x="1158601" y="489681"/>
                      </a:lnTo>
                      <a:lnTo>
                        <a:pt x="1158846" y="512138"/>
                      </a:lnTo>
                      <a:lnTo>
                        <a:pt x="1159080" y="534603"/>
                      </a:lnTo>
                      <a:lnTo>
                        <a:pt x="1122976" y="534717"/>
                      </a:lnTo>
                      <a:lnTo>
                        <a:pt x="1086872" y="534806"/>
                      </a:lnTo>
                      <a:lnTo>
                        <a:pt x="1050763" y="534871"/>
                      </a:lnTo>
                      <a:lnTo>
                        <a:pt x="1014650" y="534912"/>
                      </a:lnTo>
                      <a:lnTo>
                        <a:pt x="978541" y="534928"/>
                      </a:lnTo>
                      <a:lnTo>
                        <a:pt x="942427" y="534920"/>
                      </a:lnTo>
                      <a:lnTo>
                        <a:pt x="906318" y="534887"/>
                      </a:lnTo>
                      <a:lnTo>
                        <a:pt x="870205" y="534831"/>
                      </a:lnTo>
                      <a:lnTo>
                        <a:pt x="834097" y="534750"/>
                      </a:lnTo>
                      <a:lnTo>
                        <a:pt x="797989" y="534644"/>
                      </a:lnTo>
                      <a:lnTo>
                        <a:pt x="761878" y="534514"/>
                      </a:lnTo>
                      <a:lnTo>
                        <a:pt x="725769" y="534360"/>
                      </a:lnTo>
                      <a:lnTo>
                        <a:pt x="689665" y="534182"/>
                      </a:lnTo>
                      <a:lnTo>
                        <a:pt x="653562" y="533979"/>
                      </a:lnTo>
                      <a:lnTo>
                        <a:pt x="617464" y="533752"/>
                      </a:lnTo>
                      <a:lnTo>
                        <a:pt x="581365" y="533500"/>
                      </a:lnTo>
                      <a:lnTo>
                        <a:pt x="545265" y="533224"/>
                      </a:lnTo>
                      <a:lnTo>
                        <a:pt x="509174" y="532923"/>
                      </a:lnTo>
                      <a:lnTo>
                        <a:pt x="473078" y="532599"/>
                      </a:lnTo>
                      <a:lnTo>
                        <a:pt x="436988" y="532249"/>
                      </a:lnTo>
                      <a:lnTo>
                        <a:pt x="400898" y="531876"/>
                      </a:lnTo>
                      <a:lnTo>
                        <a:pt x="364815" y="531477"/>
                      </a:lnTo>
                      <a:lnTo>
                        <a:pt x="328732" y="531055"/>
                      </a:lnTo>
                      <a:lnTo>
                        <a:pt x="292655" y="530608"/>
                      </a:lnTo>
                      <a:lnTo>
                        <a:pt x="256582" y="530136"/>
                      </a:lnTo>
                      <a:lnTo>
                        <a:pt x="220509" y="529641"/>
                      </a:lnTo>
                      <a:lnTo>
                        <a:pt x="184445" y="529120"/>
                      </a:lnTo>
                      <a:lnTo>
                        <a:pt x="148379" y="528575"/>
                      </a:lnTo>
                      <a:lnTo>
                        <a:pt x="112319" y="528007"/>
                      </a:lnTo>
                      <a:lnTo>
                        <a:pt x="76268" y="527413"/>
                      </a:lnTo>
                      <a:lnTo>
                        <a:pt x="40225" y="526794"/>
                      </a:lnTo>
                      <a:lnTo>
                        <a:pt x="0" y="526076"/>
                      </a:lnTo>
                      <a:lnTo>
                        <a:pt x="878" y="509565"/>
                      </a:lnTo>
                      <a:lnTo>
                        <a:pt x="1753" y="493058"/>
                      </a:lnTo>
                      <a:lnTo>
                        <a:pt x="2644" y="476552"/>
                      </a:lnTo>
                      <a:lnTo>
                        <a:pt x="3530" y="460051"/>
                      </a:lnTo>
                      <a:lnTo>
                        <a:pt x="4415" y="443558"/>
                      </a:lnTo>
                      <a:lnTo>
                        <a:pt x="5309" y="427070"/>
                      </a:lnTo>
                      <a:lnTo>
                        <a:pt x="6206" y="410587"/>
                      </a:lnTo>
                      <a:lnTo>
                        <a:pt x="7098" y="394113"/>
                      </a:lnTo>
                      <a:lnTo>
                        <a:pt x="7993" y="377629"/>
                      </a:lnTo>
                      <a:lnTo>
                        <a:pt x="8897" y="361164"/>
                      </a:lnTo>
                      <a:lnTo>
                        <a:pt x="9801" y="344699"/>
                      </a:lnTo>
                      <a:lnTo>
                        <a:pt x="10704" y="328240"/>
                      </a:lnTo>
                      <a:lnTo>
                        <a:pt x="11608" y="311776"/>
                      </a:lnTo>
                      <a:lnTo>
                        <a:pt x="12527" y="295330"/>
                      </a:lnTo>
                      <a:lnTo>
                        <a:pt x="13441" y="278879"/>
                      </a:lnTo>
                      <a:lnTo>
                        <a:pt x="14355" y="262434"/>
                      </a:lnTo>
                      <a:lnTo>
                        <a:pt x="15269" y="245993"/>
                      </a:lnTo>
                      <a:lnTo>
                        <a:pt x="16196" y="229562"/>
                      </a:lnTo>
                      <a:lnTo>
                        <a:pt x="17120" y="213135"/>
                      </a:lnTo>
                      <a:lnTo>
                        <a:pt x="18043" y="196704"/>
                      </a:lnTo>
                      <a:lnTo>
                        <a:pt x="18972" y="180291"/>
                      </a:lnTo>
                      <a:lnTo>
                        <a:pt x="19905" y="163874"/>
                      </a:lnTo>
                      <a:lnTo>
                        <a:pt x="20844" y="147467"/>
                      </a:lnTo>
                      <a:lnTo>
                        <a:pt x="21776" y="131064"/>
                      </a:lnTo>
                      <a:lnTo>
                        <a:pt x="22713" y="114657"/>
                      </a:lnTo>
                      <a:lnTo>
                        <a:pt x="23664" y="98265"/>
                      </a:lnTo>
                      <a:lnTo>
                        <a:pt x="24609" y="81872"/>
                      </a:lnTo>
                      <a:lnTo>
                        <a:pt x="25553" y="65489"/>
                      </a:lnTo>
                      <a:lnTo>
                        <a:pt x="26508" y="49106"/>
                      </a:lnTo>
                      <a:lnTo>
                        <a:pt x="27461" y="32732"/>
                      </a:lnTo>
                      <a:lnTo>
                        <a:pt x="28416" y="16368"/>
                      </a:lnTo>
                      <a:lnTo>
                        <a:pt x="29378" y="0"/>
                      </a:lnTo>
                      <a:lnTo>
                        <a:pt x="65070" y="696"/>
                      </a:lnTo>
                      <a:lnTo>
                        <a:pt x="96719" y="1290"/>
                      </a:lnTo>
                      <a:lnTo>
                        <a:pt x="128368" y="1864"/>
                      </a:lnTo>
                      <a:lnTo>
                        <a:pt x="160025" y="2417"/>
                      </a:lnTo>
                      <a:lnTo>
                        <a:pt x="191683" y="2948"/>
                      </a:lnTo>
                      <a:lnTo>
                        <a:pt x="223344" y="3458"/>
                      </a:lnTo>
                      <a:lnTo>
                        <a:pt x="255008" y="3947"/>
                      </a:lnTo>
                      <a:lnTo>
                        <a:pt x="286676" y="4414"/>
                      </a:lnTo>
                      <a:lnTo>
                        <a:pt x="318350" y="4861"/>
                      </a:lnTo>
                      <a:lnTo>
                        <a:pt x="350025" y="5286"/>
                      </a:lnTo>
                      <a:lnTo>
                        <a:pt x="381702" y="5690"/>
                      </a:lnTo>
                      <a:lnTo>
                        <a:pt x="413381" y="6073"/>
                      </a:lnTo>
                      <a:lnTo>
                        <a:pt x="445064" y="6435"/>
                      </a:lnTo>
                      <a:lnTo>
                        <a:pt x="476745" y="6776"/>
                      </a:lnTo>
                      <a:lnTo>
                        <a:pt x="508436" y="7095"/>
                      </a:lnTo>
                      <a:lnTo>
                        <a:pt x="540125" y="7394"/>
                      </a:lnTo>
                      <a:lnTo>
                        <a:pt x="571817" y="7671"/>
                      </a:lnTo>
                      <a:lnTo>
                        <a:pt x="603510" y="7927"/>
                      </a:lnTo>
                      <a:lnTo>
                        <a:pt x="635205" y="8163"/>
                      </a:lnTo>
                      <a:lnTo>
                        <a:pt x="666905" y="8376"/>
                      </a:lnTo>
                      <a:lnTo>
                        <a:pt x="698603" y="8569"/>
                      </a:lnTo>
                      <a:lnTo>
                        <a:pt x="730302" y="8741"/>
                      </a:lnTo>
                      <a:lnTo>
                        <a:pt x="762002" y="8891"/>
                      </a:lnTo>
                      <a:lnTo>
                        <a:pt x="793704" y="9021"/>
                      </a:lnTo>
                      <a:lnTo>
                        <a:pt x="825411" y="9129"/>
                      </a:lnTo>
                      <a:lnTo>
                        <a:pt x="857114" y="9216"/>
                      </a:lnTo>
                      <a:lnTo>
                        <a:pt x="888817" y="9283"/>
                      </a:lnTo>
                      <a:lnTo>
                        <a:pt x="920521" y="9328"/>
                      </a:lnTo>
                      <a:lnTo>
                        <a:pt x="952225" y="9351"/>
                      </a:lnTo>
                      <a:lnTo>
                        <a:pt x="983933" y="9354"/>
                      </a:lnTo>
                      <a:lnTo>
                        <a:pt x="1015637" y="9336"/>
                      </a:lnTo>
                      <a:lnTo>
                        <a:pt x="1047341" y="9297"/>
                      </a:lnTo>
                      <a:lnTo>
                        <a:pt x="1055969" y="16328"/>
                      </a:lnTo>
                      <a:lnTo>
                        <a:pt x="1057961" y="19020"/>
                      </a:lnTo>
                      <a:lnTo>
                        <a:pt x="1059663" y="19468"/>
                      </a:lnTo>
                      <a:lnTo>
                        <a:pt x="1061575" y="19738"/>
                      </a:lnTo>
                      <a:lnTo>
                        <a:pt x="1062916" y="20280"/>
                      </a:lnTo>
                      <a:lnTo>
                        <a:pt x="1063934" y="21763"/>
                      </a:lnTo>
                      <a:lnTo>
                        <a:pt x="1064523" y="23219"/>
                      </a:lnTo>
                      <a:lnTo>
                        <a:pt x="1065218" y="24525"/>
                      </a:lnTo>
                      <a:lnTo>
                        <a:pt x="1066563" y="25578"/>
                      </a:lnTo>
                      <a:lnTo>
                        <a:pt x="1067885" y="25934"/>
                      </a:lnTo>
                      <a:lnTo>
                        <a:pt x="1071040" y="26241"/>
                      </a:lnTo>
                      <a:lnTo>
                        <a:pt x="1072775" y="26860"/>
                      </a:lnTo>
                      <a:lnTo>
                        <a:pt x="1074443" y="27964"/>
                      </a:lnTo>
                      <a:lnTo>
                        <a:pt x="1078502" y="32158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8" name="Freeform 48">
                  <a:extLst>
                    <a:ext uri="{FF2B5EF4-FFF2-40B4-BE49-F238E27FC236}">
                      <a16:creationId xmlns:a16="http://schemas.microsoft.com/office/drawing/2014/main" id="{D86D608B-FA0F-4D0E-9A34-5B6850C9319B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>
                <a:xfrm>
                  <a:off x="3289657" y="4250704"/>
                  <a:ext cx="702920" cy="54722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9666" h="809387">
                      <a:moveTo>
                        <a:pt x="626288" y="20057"/>
                      </a:moveTo>
                      <a:lnTo>
                        <a:pt x="627922" y="19988"/>
                      </a:lnTo>
                      <a:lnTo>
                        <a:pt x="628861" y="20312"/>
                      </a:lnTo>
                      <a:lnTo>
                        <a:pt x="629309" y="21105"/>
                      </a:lnTo>
                      <a:lnTo>
                        <a:pt x="629616" y="22080"/>
                      </a:lnTo>
                      <a:lnTo>
                        <a:pt x="630103" y="22936"/>
                      </a:lnTo>
                      <a:lnTo>
                        <a:pt x="631458" y="23867"/>
                      </a:lnTo>
                      <a:lnTo>
                        <a:pt x="634532" y="25021"/>
                      </a:lnTo>
                      <a:lnTo>
                        <a:pt x="635831" y="25836"/>
                      </a:lnTo>
                      <a:lnTo>
                        <a:pt x="636806" y="27002"/>
                      </a:lnTo>
                      <a:lnTo>
                        <a:pt x="637329" y="28216"/>
                      </a:lnTo>
                      <a:lnTo>
                        <a:pt x="637402" y="29414"/>
                      </a:lnTo>
                      <a:lnTo>
                        <a:pt x="637059" y="30576"/>
                      </a:lnTo>
                      <a:lnTo>
                        <a:pt x="638446" y="32247"/>
                      </a:lnTo>
                      <a:lnTo>
                        <a:pt x="644111" y="37075"/>
                      </a:lnTo>
                      <a:lnTo>
                        <a:pt x="646005" y="38231"/>
                      </a:lnTo>
                      <a:lnTo>
                        <a:pt x="650435" y="39685"/>
                      </a:lnTo>
                      <a:lnTo>
                        <a:pt x="652083" y="41079"/>
                      </a:lnTo>
                      <a:lnTo>
                        <a:pt x="652076" y="41079"/>
                      </a:lnTo>
                      <a:lnTo>
                        <a:pt x="647563" y="44875"/>
                      </a:lnTo>
                      <a:lnTo>
                        <a:pt x="644418" y="52712"/>
                      </a:lnTo>
                      <a:lnTo>
                        <a:pt x="642524" y="61666"/>
                      </a:lnTo>
                      <a:lnTo>
                        <a:pt x="641780" y="68816"/>
                      </a:lnTo>
                      <a:lnTo>
                        <a:pt x="642016" y="76900"/>
                      </a:lnTo>
                      <a:lnTo>
                        <a:pt x="647242" y="105672"/>
                      </a:lnTo>
                      <a:lnTo>
                        <a:pt x="648171" y="108310"/>
                      </a:lnTo>
                      <a:lnTo>
                        <a:pt x="650352" y="111105"/>
                      </a:lnTo>
                      <a:lnTo>
                        <a:pt x="653038" y="113880"/>
                      </a:lnTo>
                      <a:lnTo>
                        <a:pt x="654003" y="115098"/>
                      </a:lnTo>
                      <a:lnTo>
                        <a:pt x="654733" y="116337"/>
                      </a:lnTo>
                      <a:lnTo>
                        <a:pt x="655254" y="117694"/>
                      </a:lnTo>
                      <a:lnTo>
                        <a:pt x="655566" y="119275"/>
                      </a:lnTo>
                      <a:lnTo>
                        <a:pt x="655677" y="123544"/>
                      </a:lnTo>
                      <a:lnTo>
                        <a:pt x="654646" y="128673"/>
                      </a:lnTo>
                      <a:lnTo>
                        <a:pt x="654856" y="130708"/>
                      </a:lnTo>
                      <a:lnTo>
                        <a:pt x="655557" y="131871"/>
                      </a:lnTo>
                      <a:lnTo>
                        <a:pt x="657672" y="133901"/>
                      </a:lnTo>
                      <a:lnTo>
                        <a:pt x="658762" y="136196"/>
                      </a:lnTo>
                      <a:lnTo>
                        <a:pt x="663051" y="139641"/>
                      </a:lnTo>
                      <a:lnTo>
                        <a:pt x="664094" y="141417"/>
                      </a:lnTo>
                      <a:lnTo>
                        <a:pt x="664508" y="143254"/>
                      </a:lnTo>
                      <a:lnTo>
                        <a:pt x="664991" y="147362"/>
                      </a:lnTo>
                      <a:lnTo>
                        <a:pt x="667112" y="153218"/>
                      </a:lnTo>
                      <a:lnTo>
                        <a:pt x="670312" y="157527"/>
                      </a:lnTo>
                      <a:lnTo>
                        <a:pt x="709763" y="188016"/>
                      </a:lnTo>
                      <a:lnTo>
                        <a:pt x="712270" y="190599"/>
                      </a:lnTo>
                      <a:lnTo>
                        <a:pt x="714239" y="193839"/>
                      </a:lnTo>
                      <a:lnTo>
                        <a:pt x="715128" y="197570"/>
                      </a:lnTo>
                      <a:lnTo>
                        <a:pt x="716182" y="199949"/>
                      </a:lnTo>
                      <a:lnTo>
                        <a:pt x="718535" y="201989"/>
                      </a:lnTo>
                      <a:lnTo>
                        <a:pt x="754831" y="224577"/>
                      </a:lnTo>
                      <a:lnTo>
                        <a:pt x="758358" y="227481"/>
                      </a:lnTo>
                      <a:lnTo>
                        <a:pt x="762119" y="231648"/>
                      </a:lnTo>
                      <a:lnTo>
                        <a:pt x="766364" y="238058"/>
                      </a:lnTo>
                      <a:lnTo>
                        <a:pt x="768308" y="241826"/>
                      </a:lnTo>
                      <a:lnTo>
                        <a:pt x="769506" y="245222"/>
                      </a:lnTo>
                      <a:lnTo>
                        <a:pt x="769783" y="247571"/>
                      </a:lnTo>
                      <a:lnTo>
                        <a:pt x="769753" y="252414"/>
                      </a:lnTo>
                      <a:lnTo>
                        <a:pt x="769978" y="254774"/>
                      </a:lnTo>
                      <a:lnTo>
                        <a:pt x="770918" y="256918"/>
                      </a:lnTo>
                      <a:lnTo>
                        <a:pt x="773843" y="260672"/>
                      </a:lnTo>
                      <a:lnTo>
                        <a:pt x="774531" y="262580"/>
                      </a:lnTo>
                      <a:lnTo>
                        <a:pt x="773992" y="264495"/>
                      </a:lnTo>
                      <a:lnTo>
                        <a:pt x="772910" y="266539"/>
                      </a:lnTo>
                      <a:lnTo>
                        <a:pt x="772364" y="268710"/>
                      </a:lnTo>
                      <a:lnTo>
                        <a:pt x="773434" y="271020"/>
                      </a:lnTo>
                      <a:lnTo>
                        <a:pt x="774742" y="273128"/>
                      </a:lnTo>
                      <a:lnTo>
                        <a:pt x="775705" y="276007"/>
                      </a:lnTo>
                      <a:lnTo>
                        <a:pt x="776035" y="278905"/>
                      </a:lnTo>
                      <a:lnTo>
                        <a:pt x="775446" y="281100"/>
                      </a:lnTo>
                      <a:lnTo>
                        <a:pt x="782985" y="294003"/>
                      </a:lnTo>
                      <a:lnTo>
                        <a:pt x="787990" y="299292"/>
                      </a:lnTo>
                      <a:lnTo>
                        <a:pt x="794405" y="301348"/>
                      </a:lnTo>
                      <a:lnTo>
                        <a:pt x="800889" y="298457"/>
                      </a:lnTo>
                      <a:lnTo>
                        <a:pt x="809929" y="286931"/>
                      </a:lnTo>
                      <a:lnTo>
                        <a:pt x="817612" y="285311"/>
                      </a:lnTo>
                      <a:lnTo>
                        <a:pt x="820600" y="286301"/>
                      </a:lnTo>
                      <a:lnTo>
                        <a:pt x="825988" y="289307"/>
                      </a:lnTo>
                      <a:lnTo>
                        <a:pt x="828865" y="289900"/>
                      </a:lnTo>
                      <a:lnTo>
                        <a:pt x="832480" y="290190"/>
                      </a:lnTo>
                      <a:lnTo>
                        <a:pt x="840320" y="292097"/>
                      </a:lnTo>
                      <a:lnTo>
                        <a:pt x="855805" y="299509"/>
                      </a:lnTo>
                      <a:lnTo>
                        <a:pt x="862174" y="303931"/>
                      </a:lnTo>
                      <a:lnTo>
                        <a:pt x="864919" y="308534"/>
                      </a:lnTo>
                      <a:lnTo>
                        <a:pt x="863942" y="311671"/>
                      </a:lnTo>
                      <a:lnTo>
                        <a:pt x="861629" y="316116"/>
                      </a:lnTo>
                      <a:lnTo>
                        <a:pt x="858935" y="320101"/>
                      </a:lnTo>
                      <a:lnTo>
                        <a:pt x="856799" y="321846"/>
                      </a:lnTo>
                      <a:lnTo>
                        <a:pt x="854916" y="323795"/>
                      </a:lnTo>
                      <a:lnTo>
                        <a:pt x="854736" y="328110"/>
                      </a:lnTo>
                      <a:lnTo>
                        <a:pt x="855893" y="335141"/>
                      </a:lnTo>
                      <a:lnTo>
                        <a:pt x="856136" y="342377"/>
                      </a:lnTo>
                      <a:lnTo>
                        <a:pt x="853821" y="347924"/>
                      </a:lnTo>
                      <a:lnTo>
                        <a:pt x="846698" y="359245"/>
                      </a:lnTo>
                      <a:lnTo>
                        <a:pt x="839887" y="378907"/>
                      </a:lnTo>
                      <a:lnTo>
                        <a:pt x="833051" y="389952"/>
                      </a:lnTo>
                      <a:lnTo>
                        <a:pt x="831027" y="395539"/>
                      </a:lnTo>
                      <a:lnTo>
                        <a:pt x="830742" y="402058"/>
                      </a:lnTo>
                      <a:lnTo>
                        <a:pt x="832542" y="410142"/>
                      </a:lnTo>
                      <a:lnTo>
                        <a:pt x="833528" y="412852"/>
                      </a:lnTo>
                      <a:lnTo>
                        <a:pt x="834552" y="414974"/>
                      </a:lnTo>
                      <a:lnTo>
                        <a:pt x="835707" y="416734"/>
                      </a:lnTo>
                      <a:lnTo>
                        <a:pt x="837078" y="418345"/>
                      </a:lnTo>
                      <a:lnTo>
                        <a:pt x="845931" y="424852"/>
                      </a:lnTo>
                      <a:lnTo>
                        <a:pt x="847005" y="426447"/>
                      </a:lnTo>
                      <a:lnTo>
                        <a:pt x="851559" y="430430"/>
                      </a:lnTo>
                      <a:lnTo>
                        <a:pt x="852625" y="431991"/>
                      </a:lnTo>
                      <a:lnTo>
                        <a:pt x="853896" y="434620"/>
                      </a:lnTo>
                      <a:lnTo>
                        <a:pt x="856709" y="436674"/>
                      </a:lnTo>
                      <a:lnTo>
                        <a:pt x="862608" y="439615"/>
                      </a:lnTo>
                      <a:lnTo>
                        <a:pt x="866804" y="443246"/>
                      </a:lnTo>
                      <a:lnTo>
                        <a:pt x="870755" y="447570"/>
                      </a:lnTo>
                      <a:lnTo>
                        <a:pt x="875152" y="451163"/>
                      </a:lnTo>
                      <a:lnTo>
                        <a:pt x="880699" y="452612"/>
                      </a:lnTo>
                      <a:lnTo>
                        <a:pt x="889536" y="459058"/>
                      </a:lnTo>
                      <a:lnTo>
                        <a:pt x="891993" y="460388"/>
                      </a:lnTo>
                      <a:lnTo>
                        <a:pt x="897712" y="460193"/>
                      </a:lnTo>
                      <a:lnTo>
                        <a:pt x="899701" y="460681"/>
                      </a:lnTo>
                      <a:lnTo>
                        <a:pt x="904803" y="461905"/>
                      </a:lnTo>
                      <a:lnTo>
                        <a:pt x="910253" y="465465"/>
                      </a:lnTo>
                      <a:lnTo>
                        <a:pt x="919493" y="473603"/>
                      </a:lnTo>
                      <a:lnTo>
                        <a:pt x="923306" y="475803"/>
                      </a:lnTo>
                      <a:lnTo>
                        <a:pt x="933008" y="479301"/>
                      </a:lnTo>
                      <a:lnTo>
                        <a:pt x="936964" y="481621"/>
                      </a:lnTo>
                      <a:lnTo>
                        <a:pt x="941017" y="486450"/>
                      </a:lnTo>
                      <a:lnTo>
                        <a:pt x="945986" y="496004"/>
                      </a:lnTo>
                      <a:lnTo>
                        <a:pt x="949622" y="499622"/>
                      </a:lnTo>
                      <a:lnTo>
                        <a:pt x="965040" y="505642"/>
                      </a:lnTo>
                      <a:lnTo>
                        <a:pt x="969299" y="508864"/>
                      </a:lnTo>
                      <a:lnTo>
                        <a:pt x="968271" y="511028"/>
                      </a:lnTo>
                      <a:lnTo>
                        <a:pt x="968946" y="513911"/>
                      </a:lnTo>
                      <a:lnTo>
                        <a:pt x="970230" y="517105"/>
                      </a:lnTo>
                      <a:lnTo>
                        <a:pt x="971023" y="520244"/>
                      </a:lnTo>
                      <a:lnTo>
                        <a:pt x="970786" y="523205"/>
                      </a:lnTo>
                      <a:lnTo>
                        <a:pt x="970188" y="526211"/>
                      </a:lnTo>
                      <a:lnTo>
                        <a:pt x="969927" y="529418"/>
                      </a:lnTo>
                      <a:lnTo>
                        <a:pt x="970702" y="532975"/>
                      </a:lnTo>
                      <a:lnTo>
                        <a:pt x="974329" y="539014"/>
                      </a:lnTo>
                      <a:lnTo>
                        <a:pt x="978916" y="544590"/>
                      </a:lnTo>
                      <a:lnTo>
                        <a:pt x="982940" y="550601"/>
                      </a:lnTo>
                      <a:lnTo>
                        <a:pt x="984889" y="557959"/>
                      </a:lnTo>
                      <a:lnTo>
                        <a:pt x="982576" y="564307"/>
                      </a:lnTo>
                      <a:lnTo>
                        <a:pt x="977405" y="569234"/>
                      </a:lnTo>
                      <a:lnTo>
                        <a:pt x="973130" y="574324"/>
                      </a:lnTo>
                      <a:lnTo>
                        <a:pt x="973487" y="581130"/>
                      </a:lnTo>
                      <a:lnTo>
                        <a:pt x="974355" y="581819"/>
                      </a:lnTo>
                      <a:lnTo>
                        <a:pt x="977491" y="582806"/>
                      </a:lnTo>
                      <a:lnTo>
                        <a:pt x="978835" y="583435"/>
                      </a:lnTo>
                      <a:lnTo>
                        <a:pt x="981433" y="585236"/>
                      </a:lnTo>
                      <a:lnTo>
                        <a:pt x="981301" y="587549"/>
                      </a:lnTo>
                      <a:lnTo>
                        <a:pt x="981965" y="590479"/>
                      </a:lnTo>
                      <a:lnTo>
                        <a:pt x="983404" y="593313"/>
                      </a:lnTo>
                      <a:lnTo>
                        <a:pt x="987286" y="599031"/>
                      </a:lnTo>
                      <a:lnTo>
                        <a:pt x="993958" y="606811"/>
                      </a:lnTo>
                      <a:lnTo>
                        <a:pt x="996532" y="611828"/>
                      </a:lnTo>
                      <a:lnTo>
                        <a:pt x="995783" y="616925"/>
                      </a:lnTo>
                      <a:lnTo>
                        <a:pt x="998470" y="619564"/>
                      </a:lnTo>
                      <a:lnTo>
                        <a:pt x="1006633" y="625243"/>
                      </a:lnTo>
                      <a:lnTo>
                        <a:pt x="1013071" y="627539"/>
                      </a:lnTo>
                      <a:lnTo>
                        <a:pt x="1014888" y="627513"/>
                      </a:lnTo>
                      <a:lnTo>
                        <a:pt x="1015565" y="625631"/>
                      </a:lnTo>
                      <a:lnTo>
                        <a:pt x="1014962" y="622982"/>
                      </a:lnTo>
                      <a:lnTo>
                        <a:pt x="1013776" y="621559"/>
                      </a:lnTo>
                      <a:lnTo>
                        <a:pt x="1012298" y="620519"/>
                      </a:lnTo>
                      <a:lnTo>
                        <a:pt x="1010815" y="619046"/>
                      </a:lnTo>
                      <a:lnTo>
                        <a:pt x="1008898" y="615156"/>
                      </a:lnTo>
                      <a:lnTo>
                        <a:pt x="1009826" y="613395"/>
                      </a:lnTo>
                      <a:lnTo>
                        <a:pt x="1012635" y="612933"/>
                      </a:lnTo>
                      <a:lnTo>
                        <a:pt x="1016362" y="612917"/>
                      </a:lnTo>
                      <a:lnTo>
                        <a:pt x="1017425" y="613762"/>
                      </a:lnTo>
                      <a:lnTo>
                        <a:pt x="1018327" y="617954"/>
                      </a:lnTo>
                      <a:lnTo>
                        <a:pt x="1018933" y="619493"/>
                      </a:lnTo>
                      <a:lnTo>
                        <a:pt x="1020466" y="620672"/>
                      </a:lnTo>
                      <a:lnTo>
                        <a:pt x="1023752" y="622417"/>
                      </a:lnTo>
                      <a:lnTo>
                        <a:pt x="1025034" y="623585"/>
                      </a:lnTo>
                      <a:lnTo>
                        <a:pt x="1025951" y="625470"/>
                      </a:lnTo>
                      <a:lnTo>
                        <a:pt x="1026433" y="627402"/>
                      </a:lnTo>
                      <a:lnTo>
                        <a:pt x="1027128" y="629210"/>
                      </a:lnTo>
                      <a:lnTo>
                        <a:pt x="1028660" y="630739"/>
                      </a:lnTo>
                      <a:lnTo>
                        <a:pt x="1030433" y="631114"/>
                      </a:lnTo>
                      <a:lnTo>
                        <a:pt x="1032329" y="630633"/>
                      </a:lnTo>
                      <a:lnTo>
                        <a:pt x="1034126" y="629905"/>
                      </a:lnTo>
                      <a:lnTo>
                        <a:pt x="1035566" y="629511"/>
                      </a:lnTo>
                      <a:lnTo>
                        <a:pt x="1038722" y="630720"/>
                      </a:lnTo>
                      <a:lnTo>
                        <a:pt x="1039662" y="633827"/>
                      </a:lnTo>
                      <a:lnTo>
                        <a:pt x="1039104" y="641487"/>
                      </a:lnTo>
                      <a:lnTo>
                        <a:pt x="1039665" y="647088"/>
                      </a:lnTo>
                      <a:lnTo>
                        <a:pt x="1039548" y="648813"/>
                      </a:lnTo>
                      <a:lnTo>
                        <a:pt x="1038788" y="649995"/>
                      </a:lnTo>
                      <a:lnTo>
                        <a:pt x="1037398" y="651564"/>
                      </a:lnTo>
                      <a:lnTo>
                        <a:pt x="1036087" y="653433"/>
                      </a:lnTo>
                      <a:lnTo>
                        <a:pt x="1035582" y="655515"/>
                      </a:lnTo>
                      <a:lnTo>
                        <a:pt x="1036385" y="659209"/>
                      </a:lnTo>
                      <a:lnTo>
                        <a:pt x="1039122" y="665346"/>
                      </a:lnTo>
                      <a:lnTo>
                        <a:pt x="1039615" y="669292"/>
                      </a:lnTo>
                      <a:lnTo>
                        <a:pt x="1038690" y="673963"/>
                      </a:lnTo>
                      <a:lnTo>
                        <a:pt x="1033155" y="686292"/>
                      </a:lnTo>
                      <a:lnTo>
                        <a:pt x="1029892" y="696548"/>
                      </a:lnTo>
                      <a:lnTo>
                        <a:pt x="1026900" y="701381"/>
                      </a:lnTo>
                      <a:lnTo>
                        <a:pt x="1022790" y="703473"/>
                      </a:lnTo>
                      <a:lnTo>
                        <a:pt x="1017811" y="702067"/>
                      </a:lnTo>
                      <a:lnTo>
                        <a:pt x="1013481" y="698628"/>
                      </a:lnTo>
                      <a:lnTo>
                        <a:pt x="1009497" y="694659"/>
                      </a:lnTo>
                      <a:lnTo>
                        <a:pt x="1005560" y="691635"/>
                      </a:lnTo>
                      <a:lnTo>
                        <a:pt x="1003842" y="692542"/>
                      </a:lnTo>
                      <a:lnTo>
                        <a:pt x="1002929" y="693550"/>
                      </a:lnTo>
                      <a:lnTo>
                        <a:pt x="1001569" y="696644"/>
                      </a:lnTo>
                      <a:lnTo>
                        <a:pt x="999718" y="703307"/>
                      </a:lnTo>
                      <a:lnTo>
                        <a:pt x="999421" y="706007"/>
                      </a:lnTo>
                      <a:lnTo>
                        <a:pt x="997423" y="714303"/>
                      </a:lnTo>
                      <a:lnTo>
                        <a:pt x="996693" y="716351"/>
                      </a:lnTo>
                      <a:lnTo>
                        <a:pt x="996336" y="717341"/>
                      </a:lnTo>
                      <a:lnTo>
                        <a:pt x="993026" y="721382"/>
                      </a:lnTo>
                      <a:lnTo>
                        <a:pt x="990579" y="723690"/>
                      </a:lnTo>
                      <a:lnTo>
                        <a:pt x="988620" y="724718"/>
                      </a:lnTo>
                      <a:lnTo>
                        <a:pt x="984462" y="723775"/>
                      </a:lnTo>
                      <a:lnTo>
                        <a:pt x="984041" y="721175"/>
                      </a:lnTo>
                      <a:lnTo>
                        <a:pt x="985330" y="717616"/>
                      </a:lnTo>
                      <a:lnTo>
                        <a:pt x="985709" y="716118"/>
                      </a:lnTo>
                      <a:lnTo>
                        <a:pt x="986294" y="713801"/>
                      </a:lnTo>
                      <a:lnTo>
                        <a:pt x="983880" y="706797"/>
                      </a:lnTo>
                      <a:lnTo>
                        <a:pt x="978380" y="704518"/>
                      </a:lnTo>
                      <a:lnTo>
                        <a:pt x="973362" y="706638"/>
                      </a:lnTo>
                      <a:lnTo>
                        <a:pt x="972414" y="712841"/>
                      </a:lnTo>
                      <a:lnTo>
                        <a:pt x="973930" y="715021"/>
                      </a:lnTo>
                      <a:lnTo>
                        <a:pt x="975454" y="716528"/>
                      </a:lnTo>
                      <a:lnTo>
                        <a:pt x="976156" y="717218"/>
                      </a:lnTo>
                      <a:lnTo>
                        <a:pt x="977582" y="719774"/>
                      </a:lnTo>
                      <a:lnTo>
                        <a:pt x="976690" y="723067"/>
                      </a:lnTo>
                      <a:lnTo>
                        <a:pt x="976589" y="725811"/>
                      </a:lnTo>
                      <a:lnTo>
                        <a:pt x="980452" y="733036"/>
                      </a:lnTo>
                      <a:lnTo>
                        <a:pt x="981173" y="737020"/>
                      </a:lnTo>
                      <a:lnTo>
                        <a:pt x="979722" y="740911"/>
                      </a:lnTo>
                      <a:lnTo>
                        <a:pt x="976937" y="742711"/>
                      </a:lnTo>
                      <a:lnTo>
                        <a:pt x="973276" y="743226"/>
                      </a:lnTo>
                      <a:lnTo>
                        <a:pt x="969179" y="743260"/>
                      </a:lnTo>
                      <a:lnTo>
                        <a:pt x="966260" y="744714"/>
                      </a:lnTo>
                      <a:lnTo>
                        <a:pt x="966783" y="747944"/>
                      </a:lnTo>
                      <a:lnTo>
                        <a:pt x="969329" y="751530"/>
                      </a:lnTo>
                      <a:lnTo>
                        <a:pt x="972462" y="754061"/>
                      </a:lnTo>
                      <a:lnTo>
                        <a:pt x="976457" y="755146"/>
                      </a:lnTo>
                      <a:lnTo>
                        <a:pt x="978069" y="756295"/>
                      </a:lnTo>
                      <a:lnTo>
                        <a:pt x="977575" y="758249"/>
                      </a:lnTo>
                      <a:lnTo>
                        <a:pt x="976052" y="759398"/>
                      </a:lnTo>
                      <a:lnTo>
                        <a:pt x="974164" y="759898"/>
                      </a:lnTo>
                      <a:lnTo>
                        <a:pt x="959567" y="760666"/>
                      </a:lnTo>
                      <a:lnTo>
                        <a:pt x="956766" y="761577"/>
                      </a:lnTo>
                      <a:lnTo>
                        <a:pt x="965939" y="772839"/>
                      </a:lnTo>
                      <a:lnTo>
                        <a:pt x="970479" y="779938"/>
                      </a:lnTo>
                      <a:lnTo>
                        <a:pt x="969231" y="783188"/>
                      </a:lnTo>
                      <a:lnTo>
                        <a:pt x="966788" y="783806"/>
                      </a:lnTo>
                      <a:lnTo>
                        <a:pt x="963842" y="785269"/>
                      </a:lnTo>
                      <a:lnTo>
                        <a:pt x="961383" y="787081"/>
                      </a:lnTo>
                      <a:lnTo>
                        <a:pt x="960392" y="788773"/>
                      </a:lnTo>
                      <a:lnTo>
                        <a:pt x="959893" y="791694"/>
                      </a:lnTo>
                      <a:lnTo>
                        <a:pt x="955467" y="799117"/>
                      </a:lnTo>
                      <a:lnTo>
                        <a:pt x="954516" y="805180"/>
                      </a:lnTo>
                      <a:lnTo>
                        <a:pt x="954238" y="805177"/>
                      </a:lnTo>
                      <a:lnTo>
                        <a:pt x="953950" y="805177"/>
                      </a:lnTo>
                      <a:lnTo>
                        <a:pt x="953661" y="805178"/>
                      </a:lnTo>
                      <a:lnTo>
                        <a:pt x="953379" y="805175"/>
                      </a:lnTo>
                      <a:lnTo>
                        <a:pt x="930965" y="806127"/>
                      </a:lnTo>
                      <a:lnTo>
                        <a:pt x="908550" y="807071"/>
                      </a:lnTo>
                      <a:lnTo>
                        <a:pt x="886129" y="808006"/>
                      </a:lnTo>
                      <a:lnTo>
                        <a:pt x="863712" y="808927"/>
                      </a:lnTo>
                      <a:lnTo>
                        <a:pt x="852297" y="809386"/>
                      </a:lnTo>
                      <a:lnTo>
                        <a:pt x="851325" y="809129"/>
                      </a:lnTo>
                      <a:lnTo>
                        <a:pt x="851033" y="808430"/>
                      </a:lnTo>
                      <a:lnTo>
                        <a:pt x="850962" y="807645"/>
                      </a:lnTo>
                      <a:lnTo>
                        <a:pt x="851404" y="805947"/>
                      </a:lnTo>
                      <a:lnTo>
                        <a:pt x="856505" y="796014"/>
                      </a:lnTo>
                      <a:lnTo>
                        <a:pt x="857914" y="794219"/>
                      </a:lnTo>
                      <a:lnTo>
                        <a:pt x="860319" y="790157"/>
                      </a:lnTo>
                      <a:lnTo>
                        <a:pt x="862100" y="788188"/>
                      </a:lnTo>
                      <a:lnTo>
                        <a:pt x="863065" y="786758"/>
                      </a:lnTo>
                      <a:lnTo>
                        <a:pt x="863634" y="786114"/>
                      </a:lnTo>
                      <a:lnTo>
                        <a:pt x="864358" y="785594"/>
                      </a:lnTo>
                      <a:lnTo>
                        <a:pt x="865214" y="785227"/>
                      </a:lnTo>
                      <a:lnTo>
                        <a:pt x="868293" y="784493"/>
                      </a:lnTo>
                      <a:lnTo>
                        <a:pt x="869172" y="784146"/>
                      </a:lnTo>
                      <a:lnTo>
                        <a:pt x="869996" y="783706"/>
                      </a:lnTo>
                      <a:lnTo>
                        <a:pt x="870671" y="783186"/>
                      </a:lnTo>
                      <a:lnTo>
                        <a:pt x="871242" y="782462"/>
                      </a:lnTo>
                      <a:lnTo>
                        <a:pt x="871635" y="781606"/>
                      </a:lnTo>
                      <a:lnTo>
                        <a:pt x="871935" y="780664"/>
                      </a:lnTo>
                      <a:lnTo>
                        <a:pt x="872116" y="779730"/>
                      </a:lnTo>
                      <a:lnTo>
                        <a:pt x="872272" y="778136"/>
                      </a:lnTo>
                      <a:lnTo>
                        <a:pt x="872458" y="777240"/>
                      </a:lnTo>
                      <a:lnTo>
                        <a:pt x="872809" y="776410"/>
                      </a:lnTo>
                      <a:lnTo>
                        <a:pt x="873324" y="775639"/>
                      </a:lnTo>
                      <a:lnTo>
                        <a:pt x="873930" y="774986"/>
                      </a:lnTo>
                      <a:lnTo>
                        <a:pt x="875449" y="773987"/>
                      </a:lnTo>
                      <a:lnTo>
                        <a:pt x="876311" y="773607"/>
                      </a:lnTo>
                      <a:lnTo>
                        <a:pt x="878276" y="773037"/>
                      </a:lnTo>
                      <a:lnTo>
                        <a:pt x="881754" y="771631"/>
                      </a:lnTo>
                      <a:lnTo>
                        <a:pt x="886559" y="769043"/>
                      </a:lnTo>
                      <a:lnTo>
                        <a:pt x="887257" y="768488"/>
                      </a:lnTo>
                      <a:lnTo>
                        <a:pt x="887806" y="767793"/>
                      </a:lnTo>
                      <a:lnTo>
                        <a:pt x="888232" y="766954"/>
                      </a:lnTo>
                      <a:lnTo>
                        <a:pt x="888525" y="766053"/>
                      </a:lnTo>
                      <a:lnTo>
                        <a:pt x="888977" y="762526"/>
                      </a:lnTo>
                      <a:lnTo>
                        <a:pt x="889244" y="761720"/>
                      </a:lnTo>
                      <a:lnTo>
                        <a:pt x="889772" y="761081"/>
                      </a:lnTo>
                      <a:lnTo>
                        <a:pt x="890504" y="760603"/>
                      </a:lnTo>
                      <a:lnTo>
                        <a:pt x="894434" y="759418"/>
                      </a:lnTo>
                      <a:lnTo>
                        <a:pt x="895255" y="759008"/>
                      </a:lnTo>
                      <a:lnTo>
                        <a:pt x="895983" y="758462"/>
                      </a:lnTo>
                      <a:lnTo>
                        <a:pt x="896585" y="757835"/>
                      </a:lnTo>
                      <a:lnTo>
                        <a:pt x="897128" y="757088"/>
                      </a:lnTo>
                      <a:lnTo>
                        <a:pt x="897502" y="756324"/>
                      </a:lnTo>
                      <a:lnTo>
                        <a:pt x="897796" y="755447"/>
                      </a:lnTo>
                      <a:lnTo>
                        <a:pt x="897940" y="754570"/>
                      </a:lnTo>
                      <a:lnTo>
                        <a:pt x="897935" y="753652"/>
                      </a:lnTo>
                      <a:lnTo>
                        <a:pt x="896956" y="748446"/>
                      </a:lnTo>
                      <a:lnTo>
                        <a:pt x="896983" y="747342"/>
                      </a:lnTo>
                      <a:lnTo>
                        <a:pt x="897762" y="743138"/>
                      </a:lnTo>
                      <a:lnTo>
                        <a:pt x="897832" y="742042"/>
                      </a:lnTo>
                      <a:lnTo>
                        <a:pt x="897774" y="741048"/>
                      </a:lnTo>
                      <a:lnTo>
                        <a:pt x="897498" y="740086"/>
                      </a:lnTo>
                      <a:lnTo>
                        <a:pt x="897122" y="739252"/>
                      </a:lnTo>
                      <a:lnTo>
                        <a:pt x="896602" y="738523"/>
                      </a:lnTo>
                      <a:lnTo>
                        <a:pt x="895985" y="737878"/>
                      </a:lnTo>
                      <a:lnTo>
                        <a:pt x="895263" y="737256"/>
                      </a:lnTo>
                      <a:lnTo>
                        <a:pt x="894480" y="736722"/>
                      </a:lnTo>
                      <a:lnTo>
                        <a:pt x="889139" y="733874"/>
                      </a:lnTo>
                      <a:lnTo>
                        <a:pt x="888489" y="733225"/>
                      </a:lnTo>
                      <a:lnTo>
                        <a:pt x="888016" y="732466"/>
                      </a:lnTo>
                      <a:lnTo>
                        <a:pt x="887721" y="731561"/>
                      </a:lnTo>
                      <a:lnTo>
                        <a:pt x="887522" y="730595"/>
                      </a:lnTo>
                      <a:lnTo>
                        <a:pt x="887225" y="727763"/>
                      </a:lnTo>
                      <a:lnTo>
                        <a:pt x="887032" y="726970"/>
                      </a:lnTo>
                      <a:lnTo>
                        <a:pt x="886732" y="726345"/>
                      </a:lnTo>
                      <a:lnTo>
                        <a:pt x="886132" y="725859"/>
                      </a:lnTo>
                      <a:lnTo>
                        <a:pt x="885347" y="725424"/>
                      </a:lnTo>
                      <a:lnTo>
                        <a:pt x="884662" y="724914"/>
                      </a:lnTo>
                      <a:lnTo>
                        <a:pt x="884207" y="724313"/>
                      </a:lnTo>
                      <a:lnTo>
                        <a:pt x="882444" y="720382"/>
                      </a:lnTo>
                      <a:lnTo>
                        <a:pt x="881569" y="718991"/>
                      </a:lnTo>
                      <a:lnTo>
                        <a:pt x="881243" y="718604"/>
                      </a:lnTo>
                      <a:lnTo>
                        <a:pt x="881031" y="718207"/>
                      </a:lnTo>
                      <a:lnTo>
                        <a:pt x="870197" y="718383"/>
                      </a:lnTo>
                      <a:lnTo>
                        <a:pt x="827194" y="719059"/>
                      </a:lnTo>
                      <a:lnTo>
                        <a:pt x="784191" y="719701"/>
                      </a:lnTo>
                      <a:lnTo>
                        <a:pt x="741174" y="720308"/>
                      </a:lnTo>
                      <a:lnTo>
                        <a:pt x="698160" y="720881"/>
                      </a:lnTo>
                      <a:lnTo>
                        <a:pt x="661094" y="721348"/>
                      </a:lnTo>
                      <a:lnTo>
                        <a:pt x="655136" y="721421"/>
                      </a:lnTo>
                      <a:lnTo>
                        <a:pt x="612108" y="721926"/>
                      </a:lnTo>
                      <a:lnTo>
                        <a:pt x="569075" y="722398"/>
                      </a:lnTo>
                      <a:lnTo>
                        <a:pt x="526041" y="722834"/>
                      </a:lnTo>
                      <a:lnTo>
                        <a:pt x="483000" y="723238"/>
                      </a:lnTo>
                      <a:lnTo>
                        <a:pt x="439954" y="723607"/>
                      </a:lnTo>
                      <a:lnTo>
                        <a:pt x="396909" y="723942"/>
                      </a:lnTo>
                      <a:lnTo>
                        <a:pt x="353857" y="724243"/>
                      </a:lnTo>
                      <a:lnTo>
                        <a:pt x="310803" y="724510"/>
                      </a:lnTo>
                      <a:lnTo>
                        <a:pt x="267747" y="724743"/>
                      </a:lnTo>
                      <a:lnTo>
                        <a:pt x="224688" y="724942"/>
                      </a:lnTo>
                      <a:lnTo>
                        <a:pt x="181626" y="725107"/>
                      </a:lnTo>
                      <a:lnTo>
                        <a:pt x="181406" y="703087"/>
                      </a:lnTo>
                      <a:lnTo>
                        <a:pt x="181178" y="681070"/>
                      </a:lnTo>
                      <a:lnTo>
                        <a:pt x="180959" y="659062"/>
                      </a:lnTo>
                      <a:lnTo>
                        <a:pt x="180724" y="637062"/>
                      </a:lnTo>
                      <a:lnTo>
                        <a:pt x="180490" y="614597"/>
                      </a:lnTo>
                      <a:lnTo>
                        <a:pt x="180245" y="592140"/>
                      </a:lnTo>
                      <a:lnTo>
                        <a:pt x="179999" y="569684"/>
                      </a:lnTo>
                      <a:lnTo>
                        <a:pt x="179752" y="547249"/>
                      </a:lnTo>
                      <a:lnTo>
                        <a:pt x="179504" y="524814"/>
                      </a:lnTo>
                      <a:lnTo>
                        <a:pt x="179263" y="502392"/>
                      </a:lnTo>
                      <a:lnTo>
                        <a:pt x="179017" y="479977"/>
                      </a:lnTo>
                      <a:lnTo>
                        <a:pt x="178766" y="457568"/>
                      </a:lnTo>
                      <a:lnTo>
                        <a:pt x="178515" y="435163"/>
                      </a:lnTo>
                      <a:lnTo>
                        <a:pt x="178266" y="412774"/>
                      </a:lnTo>
                      <a:lnTo>
                        <a:pt x="178021" y="390395"/>
                      </a:lnTo>
                      <a:lnTo>
                        <a:pt x="177767" y="368021"/>
                      </a:lnTo>
                      <a:lnTo>
                        <a:pt x="177511" y="345650"/>
                      </a:lnTo>
                      <a:lnTo>
                        <a:pt x="177262" y="323297"/>
                      </a:lnTo>
                      <a:lnTo>
                        <a:pt x="177009" y="300943"/>
                      </a:lnTo>
                      <a:lnTo>
                        <a:pt x="176751" y="278613"/>
                      </a:lnTo>
                      <a:lnTo>
                        <a:pt x="176603" y="265813"/>
                      </a:lnTo>
                      <a:lnTo>
                        <a:pt x="176589" y="264596"/>
                      </a:lnTo>
                      <a:lnTo>
                        <a:pt x="175896" y="264363"/>
                      </a:lnTo>
                      <a:lnTo>
                        <a:pt x="175733" y="263750"/>
                      </a:lnTo>
                      <a:lnTo>
                        <a:pt x="175727" y="263246"/>
                      </a:lnTo>
                      <a:lnTo>
                        <a:pt x="175519" y="262965"/>
                      </a:lnTo>
                      <a:lnTo>
                        <a:pt x="177658" y="260887"/>
                      </a:lnTo>
                      <a:lnTo>
                        <a:pt x="177323" y="259406"/>
                      </a:lnTo>
                      <a:lnTo>
                        <a:pt x="174816" y="258558"/>
                      </a:lnTo>
                      <a:lnTo>
                        <a:pt x="171178" y="258302"/>
                      </a:lnTo>
                      <a:lnTo>
                        <a:pt x="170678" y="257988"/>
                      </a:lnTo>
                      <a:lnTo>
                        <a:pt x="170325" y="256453"/>
                      </a:lnTo>
                      <a:lnTo>
                        <a:pt x="169545" y="255922"/>
                      </a:lnTo>
                      <a:lnTo>
                        <a:pt x="168798" y="255861"/>
                      </a:lnTo>
                      <a:lnTo>
                        <a:pt x="167257" y="255999"/>
                      </a:lnTo>
                      <a:lnTo>
                        <a:pt x="164972" y="255785"/>
                      </a:lnTo>
                      <a:lnTo>
                        <a:pt x="160255" y="255955"/>
                      </a:lnTo>
                      <a:lnTo>
                        <a:pt x="156859" y="254745"/>
                      </a:lnTo>
                      <a:lnTo>
                        <a:pt x="150068" y="250764"/>
                      </a:lnTo>
                      <a:lnTo>
                        <a:pt x="146979" y="249921"/>
                      </a:lnTo>
                      <a:lnTo>
                        <a:pt x="144072" y="248248"/>
                      </a:lnTo>
                      <a:lnTo>
                        <a:pt x="143384" y="244562"/>
                      </a:lnTo>
                      <a:lnTo>
                        <a:pt x="143167" y="240877"/>
                      </a:lnTo>
                      <a:lnTo>
                        <a:pt x="141668" y="239196"/>
                      </a:lnTo>
                      <a:lnTo>
                        <a:pt x="136416" y="236041"/>
                      </a:lnTo>
                      <a:lnTo>
                        <a:pt x="133004" y="229080"/>
                      </a:lnTo>
                      <a:lnTo>
                        <a:pt x="131785" y="222116"/>
                      </a:lnTo>
                      <a:lnTo>
                        <a:pt x="133110" y="218939"/>
                      </a:lnTo>
                      <a:lnTo>
                        <a:pt x="126383" y="217657"/>
                      </a:lnTo>
                      <a:lnTo>
                        <a:pt x="125662" y="216695"/>
                      </a:lnTo>
                      <a:lnTo>
                        <a:pt x="124846" y="213929"/>
                      </a:lnTo>
                      <a:lnTo>
                        <a:pt x="124264" y="212891"/>
                      </a:lnTo>
                      <a:lnTo>
                        <a:pt x="117853" y="208779"/>
                      </a:lnTo>
                      <a:lnTo>
                        <a:pt x="115039" y="207648"/>
                      </a:lnTo>
                      <a:lnTo>
                        <a:pt x="113822" y="206955"/>
                      </a:lnTo>
                      <a:lnTo>
                        <a:pt x="112324" y="204963"/>
                      </a:lnTo>
                      <a:lnTo>
                        <a:pt x="108890" y="198751"/>
                      </a:lnTo>
                      <a:lnTo>
                        <a:pt x="107944" y="197431"/>
                      </a:lnTo>
                      <a:lnTo>
                        <a:pt x="105360" y="196366"/>
                      </a:lnTo>
                      <a:lnTo>
                        <a:pt x="102603" y="193682"/>
                      </a:lnTo>
                      <a:lnTo>
                        <a:pt x="100797" y="190174"/>
                      </a:lnTo>
                      <a:lnTo>
                        <a:pt x="101022" y="186610"/>
                      </a:lnTo>
                      <a:lnTo>
                        <a:pt x="102116" y="186091"/>
                      </a:lnTo>
                      <a:lnTo>
                        <a:pt x="106148" y="185869"/>
                      </a:lnTo>
                      <a:lnTo>
                        <a:pt x="107851" y="184859"/>
                      </a:lnTo>
                      <a:lnTo>
                        <a:pt x="108397" y="183417"/>
                      </a:lnTo>
                      <a:lnTo>
                        <a:pt x="108509" y="181469"/>
                      </a:lnTo>
                      <a:lnTo>
                        <a:pt x="108318" y="177706"/>
                      </a:lnTo>
                      <a:lnTo>
                        <a:pt x="109330" y="174703"/>
                      </a:lnTo>
                      <a:lnTo>
                        <a:pt x="111726" y="171726"/>
                      </a:lnTo>
                      <a:lnTo>
                        <a:pt x="116533" y="167394"/>
                      </a:lnTo>
                      <a:lnTo>
                        <a:pt x="118148" y="166379"/>
                      </a:lnTo>
                      <a:lnTo>
                        <a:pt x="119463" y="165813"/>
                      </a:lnTo>
                      <a:lnTo>
                        <a:pt x="120339" y="164703"/>
                      </a:lnTo>
                      <a:lnTo>
                        <a:pt x="120757" y="160441"/>
                      </a:lnTo>
                      <a:lnTo>
                        <a:pt x="121187" y="158667"/>
                      </a:lnTo>
                      <a:lnTo>
                        <a:pt x="121990" y="157238"/>
                      </a:lnTo>
                      <a:lnTo>
                        <a:pt x="123225" y="156651"/>
                      </a:lnTo>
                      <a:lnTo>
                        <a:pt x="130564" y="158565"/>
                      </a:lnTo>
                      <a:lnTo>
                        <a:pt x="133915" y="158798"/>
                      </a:lnTo>
                      <a:lnTo>
                        <a:pt x="136314" y="156614"/>
                      </a:lnTo>
                      <a:lnTo>
                        <a:pt x="136640" y="154636"/>
                      </a:lnTo>
                      <a:lnTo>
                        <a:pt x="135811" y="153433"/>
                      </a:lnTo>
                      <a:lnTo>
                        <a:pt x="134673" y="152192"/>
                      </a:lnTo>
                      <a:lnTo>
                        <a:pt x="134088" y="150064"/>
                      </a:lnTo>
                      <a:lnTo>
                        <a:pt x="134228" y="148079"/>
                      </a:lnTo>
                      <a:lnTo>
                        <a:pt x="134919" y="144651"/>
                      </a:lnTo>
                      <a:lnTo>
                        <a:pt x="135058" y="142862"/>
                      </a:lnTo>
                      <a:lnTo>
                        <a:pt x="133631" y="141073"/>
                      </a:lnTo>
                      <a:lnTo>
                        <a:pt x="126903" y="137518"/>
                      </a:lnTo>
                      <a:lnTo>
                        <a:pt x="124645" y="135097"/>
                      </a:lnTo>
                      <a:lnTo>
                        <a:pt x="125954" y="133326"/>
                      </a:lnTo>
                      <a:lnTo>
                        <a:pt x="126007" y="130937"/>
                      </a:lnTo>
                      <a:lnTo>
                        <a:pt x="124957" y="128849"/>
                      </a:lnTo>
                      <a:lnTo>
                        <a:pt x="122983" y="127956"/>
                      </a:lnTo>
                      <a:lnTo>
                        <a:pt x="119436" y="128089"/>
                      </a:lnTo>
                      <a:lnTo>
                        <a:pt x="116825" y="128610"/>
                      </a:lnTo>
                      <a:lnTo>
                        <a:pt x="114572" y="129732"/>
                      </a:lnTo>
                      <a:lnTo>
                        <a:pt x="110051" y="133291"/>
                      </a:lnTo>
                      <a:lnTo>
                        <a:pt x="106888" y="135147"/>
                      </a:lnTo>
                      <a:lnTo>
                        <a:pt x="103355" y="135998"/>
                      </a:lnTo>
                      <a:lnTo>
                        <a:pt x="100146" y="134617"/>
                      </a:lnTo>
                      <a:lnTo>
                        <a:pt x="96087" y="130423"/>
                      </a:lnTo>
                      <a:lnTo>
                        <a:pt x="94419" y="129319"/>
                      </a:lnTo>
                      <a:lnTo>
                        <a:pt x="92684" y="128700"/>
                      </a:lnTo>
                      <a:lnTo>
                        <a:pt x="89529" y="128393"/>
                      </a:lnTo>
                      <a:lnTo>
                        <a:pt x="88207" y="128037"/>
                      </a:lnTo>
                      <a:lnTo>
                        <a:pt x="86862" y="126984"/>
                      </a:lnTo>
                      <a:lnTo>
                        <a:pt x="86167" y="125678"/>
                      </a:lnTo>
                      <a:lnTo>
                        <a:pt x="85578" y="124222"/>
                      </a:lnTo>
                      <a:lnTo>
                        <a:pt x="84560" y="122739"/>
                      </a:lnTo>
                      <a:lnTo>
                        <a:pt x="83219" y="122197"/>
                      </a:lnTo>
                      <a:lnTo>
                        <a:pt x="81307" y="121927"/>
                      </a:lnTo>
                      <a:lnTo>
                        <a:pt x="79605" y="121479"/>
                      </a:lnTo>
                      <a:lnTo>
                        <a:pt x="77613" y="118787"/>
                      </a:lnTo>
                      <a:lnTo>
                        <a:pt x="68985" y="111756"/>
                      </a:lnTo>
                      <a:lnTo>
                        <a:pt x="64892" y="108420"/>
                      </a:lnTo>
                      <a:lnTo>
                        <a:pt x="62250" y="107126"/>
                      </a:lnTo>
                      <a:lnTo>
                        <a:pt x="55197" y="105940"/>
                      </a:lnTo>
                      <a:lnTo>
                        <a:pt x="53481" y="103941"/>
                      </a:lnTo>
                      <a:lnTo>
                        <a:pt x="53100" y="100899"/>
                      </a:lnTo>
                      <a:lnTo>
                        <a:pt x="53782" y="97033"/>
                      </a:lnTo>
                      <a:lnTo>
                        <a:pt x="55251" y="93733"/>
                      </a:lnTo>
                      <a:lnTo>
                        <a:pt x="55819" y="91886"/>
                      </a:lnTo>
                      <a:lnTo>
                        <a:pt x="55355" y="91074"/>
                      </a:lnTo>
                      <a:lnTo>
                        <a:pt x="50741" y="86918"/>
                      </a:lnTo>
                      <a:lnTo>
                        <a:pt x="49828" y="84362"/>
                      </a:lnTo>
                      <a:lnTo>
                        <a:pt x="47705" y="81403"/>
                      </a:lnTo>
                      <a:lnTo>
                        <a:pt x="43491" y="76813"/>
                      </a:lnTo>
                      <a:lnTo>
                        <a:pt x="45953" y="72462"/>
                      </a:lnTo>
                      <a:lnTo>
                        <a:pt x="46122" y="70306"/>
                      </a:lnTo>
                      <a:lnTo>
                        <a:pt x="44495" y="68377"/>
                      </a:lnTo>
                      <a:lnTo>
                        <a:pt x="41911" y="67499"/>
                      </a:lnTo>
                      <a:lnTo>
                        <a:pt x="36427" y="67142"/>
                      </a:lnTo>
                      <a:lnTo>
                        <a:pt x="34186" y="66115"/>
                      </a:lnTo>
                      <a:lnTo>
                        <a:pt x="32346" y="63832"/>
                      </a:lnTo>
                      <a:lnTo>
                        <a:pt x="31079" y="61473"/>
                      </a:lnTo>
                      <a:lnTo>
                        <a:pt x="29534" y="59326"/>
                      </a:lnTo>
                      <a:lnTo>
                        <a:pt x="26870" y="57687"/>
                      </a:lnTo>
                      <a:lnTo>
                        <a:pt x="24096" y="57531"/>
                      </a:lnTo>
                      <a:lnTo>
                        <a:pt x="21031" y="57941"/>
                      </a:lnTo>
                      <a:lnTo>
                        <a:pt x="18572" y="57620"/>
                      </a:lnTo>
                      <a:lnTo>
                        <a:pt x="17601" y="55315"/>
                      </a:lnTo>
                      <a:lnTo>
                        <a:pt x="19541" y="54055"/>
                      </a:lnTo>
                      <a:lnTo>
                        <a:pt x="20930" y="52868"/>
                      </a:lnTo>
                      <a:lnTo>
                        <a:pt x="21715" y="51635"/>
                      </a:lnTo>
                      <a:lnTo>
                        <a:pt x="21342" y="50959"/>
                      </a:lnTo>
                      <a:lnTo>
                        <a:pt x="19553" y="45692"/>
                      </a:lnTo>
                      <a:lnTo>
                        <a:pt x="17110" y="42419"/>
                      </a:lnTo>
                      <a:lnTo>
                        <a:pt x="16461" y="41046"/>
                      </a:lnTo>
                      <a:lnTo>
                        <a:pt x="16293" y="39787"/>
                      </a:lnTo>
                      <a:lnTo>
                        <a:pt x="16525" y="37245"/>
                      </a:lnTo>
                      <a:lnTo>
                        <a:pt x="16453" y="36182"/>
                      </a:lnTo>
                      <a:lnTo>
                        <a:pt x="15329" y="33369"/>
                      </a:lnTo>
                      <a:lnTo>
                        <a:pt x="12658" y="30442"/>
                      </a:lnTo>
                      <a:lnTo>
                        <a:pt x="11307" y="27866"/>
                      </a:lnTo>
                      <a:lnTo>
                        <a:pt x="11157" y="25465"/>
                      </a:lnTo>
                      <a:lnTo>
                        <a:pt x="11728" y="23424"/>
                      </a:lnTo>
                      <a:lnTo>
                        <a:pt x="11567" y="21529"/>
                      </a:lnTo>
                      <a:lnTo>
                        <a:pt x="9241" y="19545"/>
                      </a:lnTo>
                      <a:lnTo>
                        <a:pt x="5640" y="18361"/>
                      </a:lnTo>
                      <a:lnTo>
                        <a:pt x="2700" y="17847"/>
                      </a:lnTo>
                      <a:lnTo>
                        <a:pt x="725" y="16237"/>
                      </a:lnTo>
                      <a:lnTo>
                        <a:pt x="0" y="11767"/>
                      </a:lnTo>
                      <a:lnTo>
                        <a:pt x="809" y="7233"/>
                      </a:lnTo>
                      <a:lnTo>
                        <a:pt x="823" y="7237"/>
                      </a:lnTo>
                      <a:lnTo>
                        <a:pt x="835" y="7237"/>
                      </a:lnTo>
                      <a:lnTo>
                        <a:pt x="845" y="7237"/>
                      </a:lnTo>
                      <a:lnTo>
                        <a:pt x="860" y="7242"/>
                      </a:lnTo>
                      <a:lnTo>
                        <a:pt x="875" y="7242"/>
                      </a:lnTo>
                      <a:lnTo>
                        <a:pt x="890" y="7242"/>
                      </a:lnTo>
                      <a:lnTo>
                        <a:pt x="904" y="7242"/>
                      </a:lnTo>
                      <a:lnTo>
                        <a:pt x="915" y="7242"/>
                      </a:lnTo>
                      <a:lnTo>
                        <a:pt x="930" y="7242"/>
                      </a:lnTo>
                      <a:lnTo>
                        <a:pt x="945" y="7242"/>
                      </a:lnTo>
                      <a:lnTo>
                        <a:pt x="959" y="7242"/>
                      </a:lnTo>
                      <a:lnTo>
                        <a:pt x="974" y="7242"/>
                      </a:lnTo>
                      <a:lnTo>
                        <a:pt x="985" y="7242"/>
                      </a:lnTo>
                      <a:lnTo>
                        <a:pt x="1000" y="7242"/>
                      </a:lnTo>
                      <a:lnTo>
                        <a:pt x="1014" y="7242"/>
                      </a:lnTo>
                      <a:lnTo>
                        <a:pt x="1029" y="7242"/>
                      </a:lnTo>
                      <a:lnTo>
                        <a:pt x="1040" y="7242"/>
                      </a:lnTo>
                      <a:lnTo>
                        <a:pt x="1051" y="7242"/>
                      </a:lnTo>
                      <a:lnTo>
                        <a:pt x="1065" y="7242"/>
                      </a:lnTo>
                      <a:lnTo>
                        <a:pt x="1077" y="7242"/>
                      </a:lnTo>
                      <a:lnTo>
                        <a:pt x="1092" y="7242"/>
                      </a:lnTo>
                      <a:lnTo>
                        <a:pt x="1106" y="7242"/>
                      </a:lnTo>
                      <a:lnTo>
                        <a:pt x="1120" y="7242"/>
                      </a:lnTo>
                      <a:lnTo>
                        <a:pt x="1135" y="7242"/>
                      </a:lnTo>
                      <a:lnTo>
                        <a:pt x="1147" y="7242"/>
                      </a:lnTo>
                      <a:lnTo>
                        <a:pt x="1161" y="7242"/>
                      </a:lnTo>
                      <a:lnTo>
                        <a:pt x="1175" y="7242"/>
                      </a:lnTo>
                      <a:lnTo>
                        <a:pt x="1190" y="7242"/>
                      </a:lnTo>
                      <a:lnTo>
                        <a:pt x="1205" y="7242"/>
                      </a:lnTo>
                      <a:lnTo>
                        <a:pt x="1216" y="7242"/>
                      </a:lnTo>
                      <a:lnTo>
                        <a:pt x="1227" y="7242"/>
                      </a:lnTo>
                      <a:lnTo>
                        <a:pt x="1242" y="7242"/>
                      </a:lnTo>
                      <a:lnTo>
                        <a:pt x="1257" y="7242"/>
                      </a:lnTo>
                      <a:lnTo>
                        <a:pt x="1267" y="7242"/>
                      </a:lnTo>
                      <a:lnTo>
                        <a:pt x="1278" y="7242"/>
                      </a:lnTo>
                      <a:lnTo>
                        <a:pt x="1294" y="7242"/>
                      </a:lnTo>
                      <a:lnTo>
                        <a:pt x="1307" y="7242"/>
                      </a:lnTo>
                      <a:lnTo>
                        <a:pt x="1319" y="7242"/>
                      </a:lnTo>
                      <a:lnTo>
                        <a:pt x="1330" y="7242"/>
                      </a:lnTo>
                      <a:lnTo>
                        <a:pt x="1344" y="7242"/>
                      </a:lnTo>
                      <a:lnTo>
                        <a:pt x="1359" y="7242"/>
                      </a:lnTo>
                      <a:lnTo>
                        <a:pt x="1374" y="7242"/>
                      </a:lnTo>
                      <a:lnTo>
                        <a:pt x="1389" y="7242"/>
                      </a:lnTo>
                      <a:lnTo>
                        <a:pt x="1399" y="7242"/>
                      </a:lnTo>
                      <a:lnTo>
                        <a:pt x="1410" y="7246"/>
                      </a:lnTo>
                      <a:lnTo>
                        <a:pt x="1425" y="7246"/>
                      </a:lnTo>
                      <a:lnTo>
                        <a:pt x="1440" y="7246"/>
                      </a:lnTo>
                      <a:lnTo>
                        <a:pt x="1451" y="7250"/>
                      </a:lnTo>
                      <a:lnTo>
                        <a:pt x="1462" y="7254"/>
                      </a:lnTo>
                      <a:lnTo>
                        <a:pt x="1477" y="7254"/>
                      </a:lnTo>
                      <a:lnTo>
                        <a:pt x="1490" y="7254"/>
                      </a:lnTo>
                      <a:lnTo>
                        <a:pt x="1506" y="7254"/>
                      </a:lnTo>
                      <a:lnTo>
                        <a:pt x="1520" y="7254"/>
                      </a:lnTo>
                      <a:lnTo>
                        <a:pt x="1532" y="7254"/>
                      </a:lnTo>
                      <a:lnTo>
                        <a:pt x="1542" y="7254"/>
                      </a:lnTo>
                      <a:lnTo>
                        <a:pt x="1557" y="7254"/>
                      </a:lnTo>
                      <a:lnTo>
                        <a:pt x="1572" y="7254"/>
                      </a:lnTo>
                      <a:lnTo>
                        <a:pt x="1587" y="7254"/>
                      </a:lnTo>
                      <a:lnTo>
                        <a:pt x="1601" y="7254"/>
                      </a:lnTo>
                      <a:lnTo>
                        <a:pt x="1616" y="7254"/>
                      </a:lnTo>
                      <a:lnTo>
                        <a:pt x="1630" y="7254"/>
                      </a:lnTo>
                      <a:lnTo>
                        <a:pt x="1642" y="7254"/>
                      </a:lnTo>
                      <a:lnTo>
                        <a:pt x="1652" y="7254"/>
                      </a:lnTo>
                      <a:lnTo>
                        <a:pt x="1667" y="7254"/>
                      </a:lnTo>
                      <a:lnTo>
                        <a:pt x="16307" y="7602"/>
                      </a:lnTo>
                      <a:lnTo>
                        <a:pt x="30949" y="7945"/>
                      </a:lnTo>
                      <a:lnTo>
                        <a:pt x="45590" y="8285"/>
                      </a:lnTo>
                      <a:lnTo>
                        <a:pt x="60234" y="8619"/>
                      </a:lnTo>
                      <a:lnTo>
                        <a:pt x="77136" y="9068"/>
                      </a:lnTo>
                      <a:lnTo>
                        <a:pt x="94041" y="9509"/>
                      </a:lnTo>
                      <a:lnTo>
                        <a:pt x="110945" y="9946"/>
                      </a:lnTo>
                      <a:lnTo>
                        <a:pt x="127852" y="10377"/>
                      </a:lnTo>
                      <a:lnTo>
                        <a:pt x="144523" y="10691"/>
                      </a:lnTo>
                      <a:lnTo>
                        <a:pt x="161195" y="10996"/>
                      </a:lnTo>
                      <a:lnTo>
                        <a:pt x="177867" y="11293"/>
                      </a:lnTo>
                      <a:lnTo>
                        <a:pt x="194540" y="11591"/>
                      </a:lnTo>
                      <a:lnTo>
                        <a:pt x="211910" y="11419"/>
                      </a:lnTo>
                      <a:lnTo>
                        <a:pt x="229282" y="11245"/>
                      </a:lnTo>
                      <a:lnTo>
                        <a:pt x="246651" y="11065"/>
                      </a:lnTo>
                      <a:lnTo>
                        <a:pt x="264020" y="10874"/>
                      </a:lnTo>
                      <a:lnTo>
                        <a:pt x="281070" y="10317"/>
                      </a:lnTo>
                      <a:lnTo>
                        <a:pt x="298118" y="9754"/>
                      </a:lnTo>
                      <a:lnTo>
                        <a:pt x="315162" y="9189"/>
                      </a:lnTo>
                      <a:lnTo>
                        <a:pt x="332208" y="8614"/>
                      </a:lnTo>
                      <a:lnTo>
                        <a:pt x="349736" y="8665"/>
                      </a:lnTo>
                      <a:lnTo>
                        <a:pt x="367262" y="8707"/>
                      </a:lnTo>
                      <a:lnTo>
                        <a:pt x="384790" y="8746"/>
                      </a:lnTo>
                      <a:lnTo>
                        <a:pt x="402319" y="8777"/>
                      </a:lnTo>
                      <a:lnTo>
                        <a:pt x="430373" y="7707"/>
                      </a:lnTo>
                      <a:lnTo>
                        <a:pt x="458427" y="6619"/>
                      </a:lnTo>
                      <a:lnTo>
                        <a:pt x="486476" y="5514"/>
                      </a:lnTo>
                      <a:lnTo>
                        <a:pt x="497014" y="5094"/>
                      </a:lnTo>
                      <a:lnTo>
                        <a:pt x="514516" y="4392"/>
                      </a:lnTo>
                      <a:lnTo>
                        <a:pt x="529637" y="3982"/>
                      </a:lnTo>
                      <a:lnTo>
                        <a:pt x="544756" y="3567"/>
                      </a:lnTo>
                      <a:lnTo>
                        <a:pt x="559873" y="3148"/>
                      </a:lnTo>
                      <a:lnTo>
                        <a:pt x="574991" y="2723"/>
                      </a:lnTo>
                      <a:lnTo>
                        <a:pt x="591234" y="1155"/>
                      </a:lnTo>
                      <a:lnTo>
                        <a:pt x="606904" y="0"/>
                      </a:lnTo>
                      <a:lnTo>
                        <a:pt x="608136" y="1713"/>
                      </a:lnTo>
                      <a:lnTo>
                        <a:pt x="608793" y="2602"/>
                      </a:lnTo>
                      <a:lnTo>
                        <a:pt x="611625" y="4236"/>
                      </a:lnTo>
                      <a:lnTo>
                        <a:pt x="612292" y="5282"/>
                      </a:lnTo>
                      <a:lnTo>
                        <a:pt x="612471" y="7546"/>
                      </a:lnTo>
                      <a:lnTo>
                        <a:pt x="612863" y="9213"/>
                      </a:lnTo>
                      <a:lnTo>
                        <a:pt x="613571" y="10526"/>
                      </a:lnTo>
                      <a:lnTo>
                        <a:pt x="614703" y="11735"/>
                      </a:lnTo>
                      <a:lnTo>
                        <a:pt x="616164" y="12541"/>
                      </a:lnTo>
                      <a:lnTo>
                        <a:pt x="619425" y="13233"/>
                      </a:lnTo>
                      <a:lnTo>
                        <a:pt x="623063" y="15303"/>
                      </a:lnTo>
                      <a:lnTo>
                        <a:pt x="623389" y="15975"/>
                      </a:lnTo>
                      <a:lnTo>
                        <a:pt x="624175" y="18410"/>
                      </a:lnTo>
                      <a:lnTo>
                        <a:pt x="624824" y="19438"/>
                      </a:lnTo>
                      <a:lnTo>
                        <a:pt x="625526" y="19905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9" name="Freeform 49">
                  <a:extLst>
                    <a:ext uri="{FF2B5EF4-FFF2-40B4-BE49-F238E27FC236}">
                      <a16:creationId xmlns:a16="http://schemas.microsoft.com/office/drawing/2014/main" id="{3B1687C8-C63A-46BF-9F2B-B6B42EDE7D1D}"/>
                    </a:ext>
                  </a:extLst>
                </p:cNvPr>
                <p:cNvSpPr/>
                <p:nvPr>
                  <p:custDataLst>
                    <p:tags r:id="rId21"/>
                  </p:custDataLst>
                </p:nvPr>
              </p:nvSpPr>
              <p:spPr>
                <a:xfrm>
                  <a:off x="2453627" y="3962809"/>
                  <a:ext cx="882671" cy="3634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05529" h="537629">
                      <a:moveTo>
                        <a:pt x="256679" y="5850"/>
                      </a:moveTo>
                      <a:lnTo>
                        <a:pt x="281470" y="6414"/>
                      </a:lnTo>
                      <a:lnTo>
                        <a:pt x="306264" y="6965"/>
                      </a:lnTo>
                      <a:lnTo>
                        <a:pt x="331054" y="7500"/>
                      </a:lnTo>
                      <a:lnTo>
                        <a:pt x="355850" y="8021"/>
                      </a:lnTo>
                      <a:lnTo>
                        <a:pt x="380650" y="8527"/>
                      </a:lnTo>
                      <a:lnTo>
                        <a:pt x="405455" y="9018"/>
                      </a:lnTo>
                      <a:lnTo>
                        <a:pt x="430263" y="9495"/>
                      </a:lnTo>
                      <a:lnTo>
                        <a:pt x="455071" y="9957"/>
                      </a:lnTo>
                      <a:lnTo>
                        <a:pt x="479884" y="10405"/>
                      </a:lnTo>
                      <a:lnTo>
                        <a:pt x="504696" y="10838"/>
                      </a:lnTo>
                      <a:lnTo>
                        <a:pt x="529507" y="11265"/>
                      </a:lnTo>
                      <a:lnTo>
                        <a:pt x="554323" y="11677"/>
                      </a:lnTo>
                      <a:lnTo>
                        <a:pt x="579142" y="12066"/>
                      </a:lnTo>
                      <a:lnTo>
                        <a:pt x="603967" y="12441"/>
                      </a:lnTo>
                      <a:lnTo>
                        <a:pt x="628793" y="12801"/>
                      </a:lnTo>
                      <a:lnTo>
                        <a:pt x="653619" y="13147"/>
                      </a:lnTo>
                      <a:lnTo>
                        <a:pt x="678446" y="13478"/>
                      </a:lnTo>
                      <a:lnTo>
                        <a:pt x="703271" y="13794"/>
                      </a:lnTo>
                      <a:lnTo>
                        <a:pt x="728102" y="14095"/>
                      </a:lnTo>
                      <a:lnTo>
                        <a:pt x="752941" y="14382"/>
                      </a:lnTo>
                      <a:lnTo>
                        <a:pt x="777774" y="14655"/>
                      </a:lnTo>
                      <a:lnTo>
                        <a:pt x="802613" y="14913"/>
                      </a:lnTo>
                      <a:lnTo>
                        <a:pt x="827450" y="15161"/>
                      </a:lnTo>
                      <a:lnTo>
                        <a:pt x="839997" y="15278"/>
                      </a:lnTo>
                      <a:lnTo>
                        <a:pt x="840855" y="15287"/>
                      </a:lnTo>
                      <a:lnTo>
                        <a:pt x="841293" y="15645"/>
                      </a:lnTo>
                      <a:lnTo>
                        <a:pt x="844149" y="18838"/>
                      </a:lnTo>
                      <a:lnTo>
                        <a:pt x="845231" y="19741"/>
                      </a:lnTo>
                      <a:lnTo>
                        <a:pt x="860309" y="28710"/>
                      </a:lnTo>
                      <a:lnTo>
                        <a:pt x="861177" y="28908"/>
                      </a:lnTo>
                      <a:lnTo>
                        <a:pt x="862914" y="28994"/>
                      </a:lnTo>
                      <a:lnTo>
                        <a:pt x="863711" y="29170"/>
                      </a:lnTo>
                      <a:lnTo>
                        <a:pt x="869707" y="32866"/>
                      </a:lnTo>
                      <a:lnTo>
                        <a:pt x="875585" y="37660"/>
                      </a:lnTo>
                      <a:lnTo>
                        <a:pt x="895578" y="45440"/>
                      </a:lnTo>
                      <a:lnTo>
                        <a:pt x="897059" y="46873"/>
                      </a:lnTo>
                      <a:lnTo>
                        <a:pt x="897637" y="48920"/>
                      </a:lnTo>
                      <a:lnTo>
                        <a:pt x="899307" y="49937"/>
                      </a:lnTo>
                      <a:lnTo>
                        <a:pt x="909696" y="53197"/>
                      </a:lnTo>
                      <a:lnTo>
                        <a:pt x="913638" y="53530"/>
                      </a:lnTo>
                      <a:lnTo>
                        <a:pt x="917593" y="53256"/>
                      </a:lnTo>
                      <a:lnTo>
                        <a:pt x="919216" y="52525"/>
                      </a:lnTo>
                      <a:lnTo>
                        <a:pt x="922288" y="50239"/>
                      </a:lnTo>
                      <a:lnTo>
                        <a:pt x="923252" y="49757"/>
                      </a:lnTo>
                      <a:lnTo>
                        <a:pt x="923821" y="48926"/>
                      </a:lnTo>
                      <a:lnTo>
                        <a:pt x="925776" y="44363"/>
                      </a:lnTo>
                      <a:lnTo>
                        <a:pt x="926309" y="42064"/>
                      </a:lnTo>
                      <a:lnTo>
                        <a:pt x="927569" y="40613"/>
                      </a:lnTo>
                      <a:lnTo>
                        <a:pt x="929234" y="39693"/>
                      </a:lnTo>
                      <a:lnTo>
                        <a:pt x="930980" y="38980"/>
                      </a:lnTo>
                      <a:lnTo>
                        <a:pt x="934604" y="38271"/>
                      </a:lnTo>
                      <a:lnTo>
                        <a:pt x="944551" y="40360"/>
                      </a:lnTo>
                      <a:lnTo>
                        <a:pt x="950561" y="39113"/>
                      </a:lnTo>
                      <a:lnTo>
                        <a:pt x="952417" y="39458"/>
                      </a:lnTo>
                      <a:lnTo>
                        <a:pt x="955341" y="41046"/>
                      </a:lnTo>
                      <a:lnTo>
                        <a:pt x="957037" y="41626"/>
                      </a:lnTo>
                      <a:lnTo>
                        <a:pt x="960484" y="41446"/>
                      </a:lnTo>
                      <a:lnTo>
                        <a:pt x="966261" y="38812"/>
                      </a:lnTo>
                      <a:lnTo>
                        <a:pt x="969530" y="38162"/>
                      </a:lnTo>
                      <a:lnTo>
                        <a:pt x="980040" y="40498"/>
                      </a:lnTo>
                      <a:lnTo>
                        <a:pt x="983993" y="40605"/>
                      </a:lnTo>
                      <a:lnTo>
                        <a:pt x="1013178" y="36054"/>
                      </a:lnTo>
                      <a:lnTo>
                        <a:pt x="1016868" y="36557"/>
                      </a:lnTo>
                      <a:lnTo>
                        <a:pt x="1019842" y="37925"/>
                      </a:lnTo>
                      <a:lnTo>
                        <a:pt x="1022321" y="40008"/>
                      </a:lnTo>
                      <a:lnTo>
                        <a:pt x="1026624" y="45048"/>
                      </a:lnTo>
                      <a:lnTo>
                        <a:pt x="1031898" y="49481"/>
                      </a:lnTo>
                      <a:lnTo>
                        <a:pt x="1034985" y="51486"/>
                      </a:lnTo>
                      <a:lnTo>
                        <a:pt x="1038337" y="53012"/>
                      </a:lnTo>
                      <a:lnTo>
                        <a:pt x="1041787" y="53748"/>
                      </a:lnTo>
                      <a:lnTo>
                        <a:pt x="1049427" y="54017"/>
                      </a:lnTo>
                      <a:lnTo>
                        <a:pt x="1050865" y="54377"/>
                      </a:lnTo>
                      <a:lnTo>
                        <a:pt x="1054062" y="55943"/>
                      </a:lnTo>
                      <a:lnTo>
                        <a:pt x="1058017" y="56676"/>
                      </a:lnTo>
                      <a:lnTo>
                        <a:pt x="1059401" y="57589"/>
                      </a:lnTo>
                      <a:lnTo>
                        <a:pt x="1060426" y="58782"/>
                      </a:lnTo>
                      <a:lnTo>
                        <a:pt x="1061925" y="59966"/>
                      </a:lnTo>
                      <a:lnTo>
                        <a:pt x="1064591" y="60808"/>
                      </a:lnTo>
                      <a:lnTo>
                        <a:pt x="1077771" y="61729"/>
                      </a:lnTo>
                      <a:lnTo>
                        <a:pt x="1080335" y="63097"/>
                      </a:lnTo>
                      <a:lnTo>
                        <a:pt x="1082308" y="65007"/>
                      </a:lnTo>
                      <a:lnTo>
                        <a:pt x="1083918" y="67130"/>
                      </a:lnTo>
                      <a:lnTo>
                        <a:pt x="1084853" y="68817"/>
                      </a:lnTo>
                      <a:lnTo>
                        <a:pt x="1085334" y="70030"/>
                      </a:lnTo>
                      <a:lnTo>
                        <a:pt x="1086096" y="70970"/>
                      </a:lnTo>
                      <a:lnTo>
                        <a:pt x="1087868" y="71862"/>
                      </a:lnTo>
                      <a:lnTo>
                        <a:pt x="1089715" y="72218"/>
                      </a:lnTo>
                      <a:lnTo>
                        <a:pt x="1095819" y="71887"/>
                      </a:lnTo>
                      <a:lnTo>
                        <a:pt x="1097332" y="72068"/>
                      </a:lnTo>
                      <a:lnTo>
                        <a:pt x="1099337" y="72619"/>
                      </a:lnTo>
                      <a:lnTo>
                        <a:pt x="1101095" y="73544"/>
                      </a:lnTo>
                      <a:lnTo>
                        <a:pt x="1101837" y="74860"/>
                      </a:lnTo>
                      <a:lnTo>
                        <a:pt x="1101381" y="76453"/>
                      </a:lnTo>
                      <a:lnTo>
                        <a:pt x="1100476" y="77669"/>
                      </a:lnTo>
                      <a:lnTo>
                        <a:pt x="1099725" y="79102"/>
                      </a:lnTo>
                      <a:lnTo>
                        <a:pt x="1099775" y="81344"/>
                      </a:lnTo>
                      <a:lnTo>
                        <a:pt x="1101477" y="83396"/>
                      </a:lnTo>
                      <a:lnTo>
                        <a:pt x="1107491" y="87495"/>
                      </a:lnTo>
                      <a:lnTo>
                        <a:pt x="1108790" y="90271"/>
                      </a:lnTo>
                      <a:lnTo>
                        <a:pt x="1109316" y="93616"/>
                      </a:lnTo>
                      <a:lnTo>
                        <a:pt x="1110896" y="95977"/>
                      </a:lnTo>
                      <a:lnTo>
                        <a:pt x="1113412" y="97414"/>
                      </a:lnTo>
                      <a:lnTo>
                        <a:pt x="1132266" y="100223"/>
                      </a:lnTo>
                      <a:lnTo>
                        <a:pt x="1138748" y="101187"/>
                      </a:lnTo>
                      <a:lnTo>
                        <a:pt x="1142249" y="102275"/>
                      </a:lnTo>
                      <a:lnTo>
                        <a:pt x="1144750" y="103994"/>
                      </a:lnTo>
                      <a:lnTo>
                        <a:pt x="1146749" y="111139"/>
                      </a:lnTo>
                      <a:lnTo>
                        <a:pt x="1144690" y="118761"/>
                      </a:lnTo>
                      <a:lnTo>
                        <a:pt x="1143916" y="126079"/>
                      </a:lnTo>
                      <a:lnTo>
                        <a:pt x="1148841" y="131378"/>
                      </a:lnTo>
                      <a:lnTo>
                        <a:pt x="1149009" y="134175"/>
                      </a:lnTo>
                      <a:lnTo>
                        <a:pt x="1151075" y="135720"/>
                      </a:lnTo>
                      <a:lnTo>
                        <a:pt x="1152643" y="138001"/>
                      </a:lnTo>
                      <a:lnTo>
                        <a:pt x="1153489" y="140922"/>
                      </a:lnTo>
                      <a:lnTo>
                        <a:pt x="1153721" y="144924"/>
                      </a:lnTo>
                      <a:lnTo>
                        <a:pt x="1153024" y="148269"/>
                      </a:lnTo>
                      <a:lnTo>
                        <a:pt x="1151785" y="151154"/>
                      </a:lnTo>
                      <a:lnTo>
                        <a:pt x="1151228" y="154347"/>
                      </a:lnTo>
                      <a:lnTo>
                        <a:pt x="1152548" y="158563"/>
                      </a:lnTo>
                      <a:lnTo>
                        <a:pt x="1154643" y="161264"/>
                      </a:lnTo>
                      <a:lnTo>
                        <a:pt x="1159568" y="164223"/>
                      </a:lnTo>
                      <a:lnTo>
                        <a:pt x="1162161" y="166319"/>
                      </a:lnTo>
                      <a:lnTo>
                        <a:pt x="1163776" y="169294"/>
                      </a:lnTo>
                      <a:lnTo>
                        <a:pt x="1164036" y="172562"/>
                      </a:lnTo>
                      <a:lnTo>
                        <a:pt x="1163946" y="176126"/>
                      </a:lnTo>
                      <a:lnTo>
                        <a:pt x="1164523" y="179975"/>
                      </a:lnTo>
                      <a:lnTo>
                        <a:pt x="1168612" y="184992"/>
                      </a:lnTo>
                      <a:lnTo>
                        <a:pt x="1174766" y="188252"/>
                      </a:lnTo>
                      <a:lnTo>
                        <a:pt x="1180113" y="192128"/>
                      </a:lnTo>
                      <a:lnTo>
                        <a:pt x="1181771" y="199029"/>
                      </a:lnTo>
                      <a:lnTo>
                        <a:pt x="1181263" y="200695"/>
                      </a:lnTo>
                      <a:lnTo>
                        <a:pt x="1179786" y="204081"/>
                      </a:lnTo>
                      <a:lnTo>
                        <a:pt x="1179638" y="206120"/>
                      </a:lnTo>
                      <a:lnTo>
                        <a:pt x="1180192" y="207682"/>
                      </a:lnTo>
                      <a:lnTo>
                        <a:pt x="1182509" y="212267"/>
                      </a:lnTo>
                      <a:lnTo>
                        <a:pt x="1183191" y="213228"/>
                      </a:lnTo>
                      <a:lnTo>
                        <a:pt x="1191895" y="221411"/>
                      </a:lnTo>
                      <a:lnTo>
                        <a:pt x="1193338" y="225391"/>
                      </a:lnTo>
                      <a:lnTo>
                        <a:pt x="1192765" y="228759"/>
                      </a:lnTo>
                      <a:lnTo>
                        <a:pt x="1191480" y="231890"/>
                      </a:lnTo>
                      <a:lnTo>
                        <a:pt x="1190754" y="235183"/>
                      </a:lnTo>
                      <a:lnTo>
                        <a:pt x="1190932" y="237528"/>
                      </a:lnTo>
                      <a:lnTo>
                        <a:pt x="1191118" y="238506"/>
                      </a:lnTo>
                      <a:lnTo>
                        <a:pt x="1190725" y="239301"/>
                      </a:lnTo>
                      <a:lnTo>
                        <a:pt x="1189171" y="241103"/>
                      </a:lnTo>
                      <a:lnTo>
                        <a:pt x="1188204" y="242500"/>
                      </a:lnTo>
                      <a:lnTo>
                        <a:pt x="1187809" y="243816"/>
                      </a:lnTo>
                      <a:lnTo>
                        <a:pt x="1187682" y="251199"/>
                      </a:lnTo>
                      <a:lnTo>
                        <a:pt x="1188093" y="255083"/>
                      </a:lnTo>
                      <a:lnTo>
                        <a:pt x="1189194" y="258214"/>
                      </a:lnTo>
                      <a:lnTo>
                        <a:pt x="1191238" y="259511"/>
                      </a:lnTo>
                      <a:lnTo>
                        <a:pt x="1191251" y="261032"/>
                      </a:lnTo>
                      <a:lnTo>
                        <a:pt x="1190386" y="264453"/>
                      </a:lnTo>
                      <a:lnTo>
                        <a:pt x="1190565" y="268074"/>
                      </a:lnTo>
                      <a:lnTo>
                        <a:pt x="1193696" y="270174"/>
                      </a:lnTo>
                      <a:lnTo>
                        <a:pt x="1195560" y="269993"/>
                      </a:lnTo>
                      <a:lnTo>
                        <a:pt x="1198527" y="268326"/>
                      </a:lnTo>
                      <a:lnTo>
                        <a:pt x="1199790" y="267916"/>
                      </a:lnTo>
                      <a:lnTo>
                        <a:pt x="1201557" y="268460"/>
                      </a:lnTo>
                      <a:lnTo>
                        <a:pt x="1203405" y="269642"/>
                      </a:lnTo>
                      <a:lnTo>
                        <a:pt x="1204592" y="270825"/>
                      </a:lnTo>
                      <a:lnTo>
                        <a:pt x="1204389" y="271363"/>
                      </a:lnTo>
                      <a:lnTo>
                        <a:pt x="1203625" y="272210"/>
                      </a:lnTo>
                      <a:lnTo>
                        <a:pt x="1202776" y="274170"/>
                      </a:lnTo>
                      <a:lnTo>
                        <a:pt x="1202079" y="276398"/>
                      </a:lnTo>
                      <a:lnTo>
                        <a:pt x="1201792" y="278041"/>
                      </a:lnTo>
                      <a:lnTo>
                        <a:pt x="1202674" y="280131"/>
                      </a:lnTo>
                      <a:lnTo>
                        <a:pt x="1204734" y="281234"/>
                      </a:lnTo>
                      <a:lnTo>
                        <a:pt x="1210803" y="282439"/>
                      </a:lnTo>
                      <a:lnTo>
                        <a:pt x="1212055" y="282381"/>
                      </a:lnTo>
                      <a:lnTo>
                        <a:pt x="1213013" y="282817"/>
                      </a:lnTo>
                      <a:lnTo>
                        <a:pt x="1213962" y="284614"/>
                      </a:lnTo>
                      <a:lnTo>
                        <a:pt x="1212523" y="291724"/>
                      </a:lnTo>
                      <a:lnTo>
                        <a:pt x="1212466" y="293686"/>
                      </a:lnTo>
                      <a:lnTo>
                        <a:pt x="1208951" y="304763"/>
                      </a:lnTo>
                      <a:lnTo>
                        <a:pt x="1211367" y="305950"/>
                      </a:lnTo>
                      <a:lnTo>
                        <a:pt x="1218095" y="307979"/>
                      </a:lnTo>
                      <a:lnTo>
                        <a:pt x="1220684" y="308323"/>
                      </a:lnTo>
                      <a:lnTo>
                        <a:pt x="1222083" y="309913"/>
                      </a:lnTo>
                      <a:lnTo>
                        <a:pt x="1219887" y="313300"/>
                      </a:lnTo>
                      <a:lnTo>
                        <a:pt x="1216680" y="316431"/>
                      </a:lnTo>
                      <a:lnTo>
                        <a:pt x="1215034" y="317266"/>
                      </a:lnTo>
                      <a:lnTo>
                        <a:pt x="1213866" y="324626"/>
                      </a:lnTo>
                      <a:lnTo>
                        <a:pt x="1214008" y="327484"/>
                      </a:lnTo>
                      <a:lnTo>
                        <a:pt x="1216045" y="329660"/>
                      </a:lnTo>
                      <a:lnTo>
                        <a:pt x="1222726" y="331603"/>
                      </a:lnTo>
                      <a:lnTo>
                        <a:pt x="1224604" y="333003"/>
                      </a:lnTo>
                      <a:lnTo>
                        <a:pt x="1221132" y="334516"/>
                      </a:lnTo>
                      <a:lnTo>
                        <a:pt x="1221895" y="337151"/>
                      </a:lnTo>
                      <a:lnTo>
                        <a:pt x="1222217" y="342690"/>
                      </a:lnTo>
                      <a:lnTo>
                        <a:pt x="1223160" y="345189"/>
                      </a:lnTo>
                      <a:lnTo>
                        <a:pt x="1221100" y="350088"/>
                      </a:lnTo>
                      <a:lnTo>
                        <a:pt x="1220188" y="351229"/>
                      </a:lnTo>
                      <a:lnTo>
                        <a:pt x="1220187" y="352306"/>
                      </a:lnTo>
                      <a:lnTo>
                        <a:pt x="1220879" y="352701"/>
                      </a:lnTo>
                      <a:lnTo>
                        <a:pt x="1221178" y="353218"/>
                      </a:lnTo>
                      <a:lnTo>
                        <a:pt x="1221441" y="353897"/>
                      </a:lnTo>
                      <a:lnTo>
                        <a:pt x="1222046" y="354788"/>
                      </a:lnTo>
                      <a:lnTo>
                        <a:pt x="1222854" y="356116"/>
                      </a:lnTo>
                      <a:lnTo>
                        <a:pt x="1222325" y="357033"/>
                      </a:lnTo>
                      <a:lnTo>
                        <a:pt x="1221427" y="357979"/>
                      </a:lnTo>
                      <a:lnTo>
                        <a:pt x="1221116" y="359425"/>
                      </a:lnTo>
                      <a:lnTo>
                        <a:pt x="1221874" y="361458"/>
                      </a:lnTo>
                      <a:lnTo>
                        <a:pt x="1223118" y="362778"/>
                      </a:lnTo>
                      <a:lnTo>
                        <a:pt x="1225748" y="364818"/>
                      </a:lnTo>
                      <a:lnTo>
                        <a:pt x="1226763" y="366631"/>
                      </a:lnTo>
                      <a:lnTo>
                        <a:pt x="1226824" y="368286"/>
                      </a:lnTo>
                      <a:lnTo>
                        <a:pt x="1226214" y="371941"/>
                      </a:lnTo>
                      <a:lnTo>
                        <a:pt x="1226484" y="374257"/>
                      </a:lnTo>
                      <a:lnTo>
                        <a:pt x="1228346" y="378522"/>
                      </a:lnTo>
                      <a:lnTo>
                        <a:pt x="1228776" y="382865"/>
                      </a:lnTo>
                      <a:lnTo>
                        <a:pt x="1227957" y="386167"/>
                      </a:lnTo>
                      <a:lnTo>
                        <a:pt x="1226794" y="389381"/>
                      </a:lnTo>
                      <a:lnTo>
                        <a:pt x="1226207" y="393469"/>
                      </a:lnTo>
                      <a:lnTo>
                        <a:pt x="1226536" y="395541"/>
                      </a:lnTo>
                      <a:lnTo>
                        <a:pt x="1228014" y="397889"/>
                      </a:lnTo>
                      <a:lnTo>
                        <a:pt x="1228343" y="399354"/>
                      </a:lnTo>
                      <a:lnTo>
                        <a:pt x="1225275" y="403562"/>
                      </a:lnTo>
                      <a:lnTo>
                        <a:pt x="1223126" y="405515"/>
                      </a:lnTo>
                      <a:lnTo>
                        <a:pt x="1222458" y="406488"/>
                      </a:lnTo>
                      <a:lnTo>
                        <a:pt x="1222015" y="408314"/>
                      </a:lnTo>
                      <a:lnTo>
                        <a:pt x="1222093" y="410705"/>
                      </a:lnTo>
                      <a:lnTo>
                        <a:pt x="1222855" y="412093"/>
                      </a:lnTo>
                      <a:lnTo>
                        <a:pt x="1223733" y="413240"/>
                      </a:lnTo>
                      <a:lnTo>
                        <a:pt x="1224154" y="414905"/>
                      </a:lnTo>
                      <a:lnTo>
                        <a:pt x="1225779" y="417780"/>
                      </a:lnTo>
                      <a:lnTo>
                        <a:pt x="1233678" y="420775"/>
                      </a:lnTo>
                      <a:lnTo>
                        <a:pt x="1236537" y="422572"/>
                      </a:lnTo>
                      <a:lnTo>
                        <a:pt x="1238030" y="426348"/>
                      </a:lnTo>
                      <a:lnTo>
                        <a:pt x="1237872" y="430176"/>
                      </a:lnTo>
                      <a:lnTo>
                        <a:pt x="1237352" y="433048"/>
                      </a:lnTo>
                      <a:lnTo>
                        <a:pt x="1236543" y="437582"/>
                      </a:lnTo>
                      <a:lnTo>
                        <a:pt x="1237268" y="442052"/>
                      </a:lnTo>
                      <a:lnTo>
                        <a:pt x="1239243" y="443662"/>
                      </a:lnTo>
                      <a:lnTo>
                        <a:pt x="1242183" y="444176"/>
                      </a:lnTo>
                      <a:lnTo>
                        <a:pt x="1245784" y="445360"/>
                      </a:lnTo>
                      <a:lnTo>
                        <a:pt x="1248110" y="447344"/>
                      </a:lnTo>
                      <a:lnTo>
                        <a:pt x="1248271" y="449239"/>
                      </a:lnTo>
                      <a:lnTo>
                        <a:pt x="1247700" y="451280"/>
                      </a:lnTo>
                      <a:lnTo>
                        <a:pt x="1247850" y="453681"/>
                      </a:lnTo>
                      <a:lnTo>
                        <a:pt x="1249201" y="456257"/>
                      </a:lnTo>
                      <a:lnTo>
                        <a:pt x="1251872" y="459184"/>
                      </a:lnTo>
                      <a:lnTo>
                        <a:pt x="1252996" y="461997"/>
                      </a:lnTo>
                      <a:lnTo>
                        <a:pt x="1253068" y="463060"/>
                      </a:lnTo>
                      <a:lnTo>
                        <a:pt x="1252836" y="465602"/>
                      </a:lnTo>
                      <a:lnTo>
                        <a:pt x="1253004" y="466861"/>
                      </a:lnTo>
                      <a:lnTo>
                        <a:pt x="1253653" y="468234"/>
                      </a:lnTo>
                      <a:lnTo>
                        <a:pt x="1256096" y="471507"/>
                      </a:lnTo>
                      <a:lnTo>
                        <a:pt x="1257885" y="476774"/>
                      </a:lnTo>
                      <a:lnTo>
                        <a:pt x="1258258" y="477450"/>
                      </a:lnTo>
                      <a:lnTo>
                        <a:pt x="1257473" y="478683"/>
                      </a:lnTo>
                      <a:lnTo>
                        <a:pt x="1256084" y="479870"/>
                      </a:lnTo>
                      <a:lnTo>
                        <a:pt x="1254144" y="481130"/>
                      </a:lnTo>
                      <a:lnTo>
                        <a:pt x="1255115" y="483435"/>
                      </a:lnTo>
                      <a:lnTo>
                        <a:pt x="1257574" y="483756"/>
                      </a:lnTo>
                      <a:lnTo>
                        <a:pt x="1260639" y="483346"/>
                      </a:lnTo>
                      <a:lnTo>
                        <a:pt x="1263413" y="483502"/>
                      </a:lnTo>
                      <a:lnTo>
                        <a:pt x="1266077" y="485141"/>
                      </a:lnTo>
                      <a:lnTo>
                        <a:pt x="1267622" y="487288"/>
                      </a:lnTo>
                      <a:lnTo>
                        <a:pt x="1268889" y="489647"/>
                      </a:lnTo>
                      <a:lnTo>
                        <a:pt x="1270729" y="491930"/>
                      </a:lnTo>
                      <a:lnTo>
                        <a:pt x="1272970" y="492957"/>
                      </a:lnTo>
                      <a:lnTo>
                        <a:pt x="1278454" y="493314"/>
                      </a:lnTo>
                      <a:lnTo>
                        <a:pt x="1281038" y="494192"/>
                      </a:lnTo>
                      <a:lnTo>
                        <a:pt x="1282665" y="496121"/>
                      </a:lnTo>
                      <a:lnTo>
                        <a:pt x="1282496" y="498277"/>
                      </a:lnTo>
                      <a:lnTo>
                        <a:pt x="1280034" y="502628"/>
                      </a:lnTo>
                      <a:lnTo>
                        <a:pt x="1284248" y="507218"/>
                      </a:lnTo>
                      <a:lnTo>
                        <a:pt x="1286371" y="510177"/>
                      </a:lnTo>
                      <a:lnTo>
                        <a:pt x="1287284" y="512733"/>
                      </a:lnTo>
                      <a:lnTo>
                        <a:pt x="1291898" y="516889"/>
                      </a:lnTo>
                      <a:lnTo>
                        <a:pt x="1292362" y="517701"/>
                      </a:lnTo>
                      <a:lnTo>
                        <a:pt x="1291794" y="519548"/>
                      </a:lnTo>
                      <a:lnTo>
                        <a:pt x="1290325" y="522848"/>
                      </a:lnTo>
                      <a:lnTo>
                        <a:pt x="1289643" y="526714"/>
                      </a:lnTo>
                      <a:lnTo>
                        <a:pt x="1290024" y="529756"/>
                      </a:lnTo>
                      <a:lnTo>
                        <a:pt x="1291740" y="531755"/>
                      </a:lnTo>
                      <a:lnTo>
                        <a:pt x="1298793" y="532941"/>
                      </a:lnTo>
                      <a:lnTo>
                        <a:pt x="1301435" y="534235"/>
                      </a:lnTo>
                      <a:lnTo>
                        <a:pt x="1305528" y="537571"/>
                      </a:lnTo>
                      <a:lnTo>
                        <a:pt x="1273824" y="537610"/>
                      </a:lnTo>
                      <a:lnTo>
                        <a:pt x="1242120" y="537628"/>
                      </a:lnTo>
                      <a:lnTo>
                        <a:pt x="1210412" y="537625"/>
                      </a:lnTo>
                      <a:lnTo>
                        <a:pt x="1178708" y="537602"/>
                      </a:lnTo>
                      <a:lnTo>
                        <a:pt x="1147004" y="537557"/>
                      </a:lnTo>
                      <a:lnTo>
                        <a:pt x="1115301" y="537490"/>
                      </a:lnTo>
                      <a:lnTo>
                        <a:pt x="1083598" y="537403"/>
                      </a:lnTo>
                      <a:lnTo>
                        <a:pt x="1051891" y="537295"/>
                      </a:lnTo>
                      <a:lnTo>
                        <a:pt x="1020189" y="537165"/>
                      </a:lnTo>
                      <a:lnTo>
                        <a:pt x="988489" y="537015"/>
                      </a:lnTo>
                      <a:lnTo>
                        <a:pt x="956790" y="536843"/>
                      </a:lnTo>
                      <a:lnTo>
                        <a:pt x="925092" y="536650"/>
                      </a:lnTo>
                      <a:lnTo>
                        <a:pt x="893392" y="536437"/>
                      </a:lnTo>
                      <a:lnTo>
                        <a:pt x="861697" y="536201"/>
                      </a:lnTo>
                      <a:lnTo>
                        <a:pt x="830004" y="535945"/>
                      </a:lnTo>
                      <a:lnTo>
                        <a:pt x="798312" y="535668"/>
                      </a:lnTo>
                      <a:lnTo>
                        <a:pt x="766623" y="535369"/>
                      </a:lnTo>
                      <a:lnTo>
                        <a:pt x="734932" y="535050"/>
                      </a:lnTo>
                      <a:lnTo>
                        <a:pt x="703251" y="534709"/>
                      </a:lnTo>
                      <a:lnTo>
                        <a:pt x="671568" y="534347"/>
                      </a:lnTo>
                      <a:lnTo>
                        <a:pt x="639889" y="533964"/>
                      </a:lnTo>
                      <a:lnTo>
                        <a:pt x="608212" y="533560"/>
                      </a:lnTo>
                      <a:lnTo>
                        <a:pt x="576537" y="533135"/>
                      </a:lnTo>
                      <a:lnTo>
                        <a:pt x="544863" y="532688"/>
                      </a:lnTo>
                      <a:lnTo>
                        <a:pt x="513195" y="532221"/>
                      </a:lnTo>
                      <a:lnTo>
                        <a:pt x="481531" y="531732"/>
                      </a:lnTo>
                      <a:lnTo>
                        <a:pt x="449870" y="531222"/>
                      </a:lnTo>
                      <a:lnTo>
                        <a:pt x="418212" y="530691"/>
                      </a:lnTo>
                      <a:lnTo>
                        <a:pt x="386555" y="530138"/>
                      </a:lnTo>
                      <a:lnTo>
                        <a:pt x="354906" y="529564"/>
                      </a:lnTo>
                      <a:lnTo>
                        <a:pt x="323257" y="528970"/>
                      </a:lnTo>
                      <a:lnTo>
                        <a:pt x="287565" y="528274"/>
                      </a:lnTo>
                      <a:lnTo>
                        <a:pt x="288234" y="517372"/>
                      </a:lnTo>
                      <a:lnTo>
                        <a:pt x="288912" y="506472"/>
                      </a:lnTo>
                      <a:lnTo>
                        <a:pt x="289584" y="495579"/>
                      </a:lnTo>
                      <a:lnTo>
                        <a:pt x="290257" y="484689"/>
                      </a:lnTo>
                      <a:lnTo>
                        <a:pt x="290938" y="473796"/>
                      </a:lnTo>
                      <a:lnTo>
                        <a:pt x="291609" y="462905"/>
                      </a:lnTo>
                      <a:lnTo>
                        <a:pt x="292286" y="452013"/>
                      </a:lnTo>
                      <a:lnTo>
                        <a:pt x="292966" y="441130"/>
                      </a:lnTo>
                      <a:lnTo>
                        <a:pt x="293648" y="430247"/>
                      </a:lnTo>
                      <a:lnTo>
                        <a:pt x="294327" y="419369"/>
                      </a:lnTo>
                      <a:lnTo>
                        <a:pt x="295015" y="408494"/>
                      </a:lnTo>
                      <a:lnTo>
                        <a:pt x="295696" y="397616"/>
                      </a:lnTo>
                      <a:lnTo>
                        <a:pt x="296384" y="386733"/>
                      </a:lnTo>
                      <a:lnTo>
                        <a:pt x="297075" y="375869"/>
                      </a:lnTo>
                      <a:lnTo>
                        <a:pt x="297763" y="364998"/>
                      </a:lnTo>
                      <a:lnTo>
                        <a:pt x="298445" y="354135"/>
                      </a:lnTo>
                      <a:lnTo>
                        <a:pt x="288725" y="353934"/>
                      </a:lnTo>
                      <a:lnTo>
                        <a:pt x="270965" y="353564"/>
                      </a:lnTo>
                      <a:lnTo>
                        <a:pt x="253208" y="353183"/>
                      </a:lnTo>
                      <a:lnTo>
                        <a:pt x="235453" y="352791"/>
                      </a:lnTo>
                      <a:lnTo>
                        <a:pt x="217703" y="352399"/>
                      </a:lnTo>
                      <a:lnTo>
                        <a:pt x="199950" y="352002"/>
                      </a:lnTo>
                      <a:lnTo>
                        <a:pt x="182203" y="351597"/>
                      </a:lnTo>
                      <a:lnTo>
                        <a:pt x="164445" y="351184"/>
                      </a:lnTo>
                      <a:lnTo>
                        <a:pt x="146705" y="350757"/>
                      </a:lnTo>
                      <a:lnTo>
                        <a:pt x="128959" y="350326"/>
                      </a:lnTo>
                      <a:lnTo>
                        <a:pt x="111215" y="349893"/>
                      </a:lnTo>
                      <a:lnTo>
                        <a:pt x="93472" y="349454"/>
                      </a:lnTo>
                      <a:lnTo>
                        <a:pt x="75735" y="349007"/>
                      </a:lnTo>
                      <a:lnTo>
                        <a:pt x="57991" y="348553"/>
                      </a:lnTo>
                      <a:lnTo>
                        <a:pt x="40251" y="348088"/>
                      </a:lnTo>
                      <a:lnTo>
                        <a:pt x="22523" y="347608"/>
                      </a:lnTo>
                      <a:lnTo>
                        <a:pt x="0" y="347004"/>
                      </a:lnTo>
                      <a:lnTo>
                        <a:pt x="1957" y="325251"/>
                      </a:lnTo>
                      <a:lnTo>
                        <a:pt x="3801" y="303505"/>
                      </a:lnTo>
                      <a:lnTo>
                        <a:pt x="5716" y="281770"/>
                      </a:lnTo>
                      <a:lnTo>
                        <a:pt x="7590" y="260039"/>
                      </a:lnTo>
                      <a:lnTo>
                        <a:pt x="9362" y="238316"/>
                      </a:lnTo>
                      <a:lnTo>
                        <a:pt x="11239" y="216607"/>
                      </a:lnTo>
                      <a:lnTo>
                        <a:pt x="13099" y="194898"/>
                      </a:lnTo>
                      <a:lnTo>
                        <a:pt x="15022" y="173204"/>
                      </a:lnTo>
                      <a:lnTo>
                        <a:pt x="16921" y="151526"/>
                      </a:lnTo>
                      <a:lnTo>
                        <a:pt x="18783" y="129845"/>
                      </a:lnTo>
                      <a:lnTo>
                        <a:pt x="20681" y="108177"/>
                      </a:lnTo>
                      <a:lnTo>
                        <a:pt x="22541" y="86526"/>
                      </a:lnTo>
                      <a:lnTo>
                        <a:pt x="24521" y="64879"/>
                      </a:lnTo>
                      <a:lnTo>
                        <a:pt x="26407" y="43247"/>
                      </a:lnTo>
                      <a:lnTo>
                        <a:pt x="28301" y="21613"/>
                      </a:lnTo>
                      <a:lnTo>
                        <a:pt x="30209" y="0"/>
                      </a:lnTo>
                      <a:lnTo>
                        <a:pt x="58491" y="797"/>
                      </a:lnTo>
                      <a:lnTo>
                        <a:pt x="83258" y="1479"/>
                      </a:lnTo>
                      <a:lnTo>
                        <a:pt x="108025" y="2146"/>
                      </a:lnTo>
                      <a:lnTo>
                        <a:pt x="132792" y="2799"/>
                      </a:lnTo>
                      <a:lnTo>
                        <a:pt x="157566" y="3437"/>
                      </a:lnTo>
                      <a:lnTo>
                        <a:pt x="182337" y="4060"/>
                      </a:lnTo>
                      <a:lnTo>
                        <a:pt x="207111" y="4668"/>
                      </a:lnTo>
                      <a:lnTo>
                        <a:pt x="231896" y="5266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0" name="Freeform 50">
                  <a:extLst>
                    <a:ext uri="{FF2B5EF4-FFF2-40B4-BE49-F238E27FC236}">
                      <a16:creationId xmlns:a16="http://schemas.microsoft.com/office/drawing/2014/main" id="{08FCE552-6FEC-46A3-A661-D237A2BFFC3F}"/>
                    </a:ext>
                  </a:extLst>
                </p:cNvPr>
                <p:cNvSpPr/>
                <p:nvPr>
                  <p:custDataLst>
                    <p:tags r:id="rId22"/>
                  </p:custDataLst>
                </p:nvPr>
              </p:nvSpPr>
              <p:spPr>
                <a:xfrm>
                  <a:off x="2523069" y="4673664"/>
                  <a:ext cx="910024" cy="40845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45986" h="604132">
                      <a:moveTo>
                        <a:pt x="1315460" y="99521"/>
                      </a:moveTo>
                      <a:lnTo>
                        <a:pt x="1319247" y="124046"/>
                      </a:lnTo>
                      <a:lnTo>
                        <a:pt x="1323042" y="148580"/>
                      </a:lnTo>
                      <a:lnTo>
                        <a:pt x="1326846" y="173129"/>
                      </a:lnTo>
                      <a:lnTo>
                        <a:pt x="1330659" y="197679"/>
                      </a:lnTo>
                      <a:lnTo>
                        <a:pt x="1334472" y="222238"/>
                      </a:lnTo>
                      <a:lnTo>
                        <a:pt x="1338301" y="246806"/>
                      </a:lnTo>
                      <a:lnTo>
                        <a:pt x="1342142" y="271384"/>
                      </a:lnTo>
                      <a:lnTo>
                        <a:pt x="1345985" y="295980"/>
                      </a:lnTo>
                      <a:lnTo>
                        <a:pt x="1345543" y="334425"/>
                      </a:lnTo>
                      <a:lnTo>
                        <a:pt x="1345097" y="372880"/>
                      </a:lnTo>
                      <a:lnTo>
                        <a:pt x="1344640" y="411367"/>
                      </a:lnTo>
                      <a:lnTo>
                        <a:pt x="1344181" y="449876"/>
                      </a:lnTo>
                      <a:lnTo>
                        <a:pt x="1343713" y="488404"/>
                      </a:lnTo>
                      <a:lnTo>
                        <a:pt x="1343245" y="526959"/>
                      </a:lnTo>
                      <a:lnTo>
                        <a:pt x="1342763" y="565536"/>
                      </a:lnTo>
                      <a:lnTo>
                        <a:pt x="1342275" y="604131"/>
                      </a:lnTo>
                      <a:lnTo>
                        <a:pt x="1341419" y="603948"/>
                      </a:lnTo>
                      <a:lnTo>
                        <a:pt x="1337328" y="603818"/>
                      </a:lnTo>
                      <a:lnTo>
                        <a:pt x="1334382" y="602479"/>
                      </a:lnTo>
                      <a:lnTo>
                        <a:pt x="1334395" y="603698"/>
                      </a:lnTo>
                      <a:lnTo>
                        <a:pt x="1326718" y="601330"/>
                      </a:lnTo>
                      <a:lnTo>
                        <a:pt x="1324347" y="600201"/>
                      </a:lnTo>
                      <a:lnTo>
                        <a:pt x="1324856" y="599194"/>
                      </a:lnTo>
                      <a:lnTo>
                        <a:pt x="1325381" y="598533"/>
                      </a:lnTo>
                      <a:lnTo>
                        <a:pt x="1321925" y="598224"/>
                      </a:lnTo>
                      <a:lnTo>
                        <a:pt x="1317721" y="598900"/>
                      </a:lnTo>
                      <a:lnTo>
                        <a:pt x="1316478" y="597399"/>
                      </a:lnTo>
                      <a:lnTo>
                        <a:pt x="1314617" y="596377"/>
                      </a:lnTo>
                      <a:lnTo>
                        <a:pt x="1312406" y="595703"/>
                      </a:lnTo>
                      <a:lnTo>
                        <a:pt x="1310082" y="595290"/>
                      </a:lnTo>
                      <a:lnTo>
                        <a:pt x="1309055" y="595374"/>
                      </a:lnTo>
                      <a:lnTo>
                        <a:pt x="1307192" y="596187"/>
                      </a:lnTo>
                      <a:lnTo>
                        <a:pt x="1306087" y="596402"/>
                      </a:lnTo>
                      <a:lnTo>
                        <a:pt x="1305158" y="596046"/>
                      </a:lnTo>
                      <a:lnTo>
                        <a:pt x="1303770" y="594449"/>
                      </a:lnTo>
                      <a:lnTo>
                        <a:pt x="1300947" y="593148"/>
                      </a:lnTo>
                      <a:lnTo>
                        <a:pt x="1298352" y="588993"/>
                      </a:lnTo>
                      <a:lnTo>
                        <a:pt x="1296052" y="588051"/>
                      </a:lnTo>
                      <a:lnTo>
                        <a:pt x="1294079" y="587900"/>
                      </a:lnTo>
                      <a:lnTo>
                        <a:pt x="1289988" y="586748"/>
                      </a:lnTo>
                      <a:lnTo>
                        <a:pt x="1279414" y="585051"/>
                      </a:lnTo>
                      <a:lnTo>
                        <a:pt x="1273325" y="579620"/>
                      </a:lnTo>
                      <a:lnTo>
                        <a:pt x="1270936" y="575747"/>
                      </a:lnTo>
                      <a:lnTo>
                        <a:pt x="1270086" y="574670"/>
                      </a:lnTo>
                      <a:lnTo>
                        <a:pt x="1268505" y="573624"/>
                      </a:lnTo>
                      <a:lnTo>
                        <a:pt x="1267088" y="573068"/>
                      </a:lnTo>
                      <a:lnTo>
                        <a:pt x="1266061" y="571969"/>
                      </a:lnTo>
                      <a:lnTo>
                        <a:pt x="1265649" y="569280"/>
                      </a:lnTo>
                      <a:lnTo>
                        <a:pt x="1265219" y="568430"/>
                      </a:lnTo>
                      <a:lnTo>
                        <a:pt x="1264174" y="567449"/>
                      </a:lnTo>
                      <a:lnTo>
                        <a:pt x="1262887" y="566646"/>
                      </a:lnTo>
                      <a:lnTo>
                        <a:pt x="1261728" y="566320"/>
                      </a:lnTo>
                      <a:lnTo>
                        <a:pt x="1256131" y="566167"/>
                      </a:lnTo>
                      <a:lnTo>
                        <a:pt x="1253654" y="565436"/>
                      </a:lnTo>
                      <a:lnTo>
                        <a:pt x="1251115" y="563806"/>
                      </a:lnTo>
                      <a:lnTo>
                        <a:pt x="1245940" y="559002"/>
                      </a:lnTo>
                      <a:lnTo>
                        <a:pt x="1243099" y="557245"/>
                      </a:lnTo>
                      <a:lnTo>
                        <a:pt x="1238051" y="556127"/>
                      </a:lnTo>
                      <a:lnTo>
                        <a:pt x="1237176" y="555097"/>
                      </a:lnTo>
                      <a:lnTo>
                        <a:pt x="1236533" y="553863"/>
                      </a:lnTo>
                      <a:lnTo>
                        <a:pt x="1235663" y="552812"/>
                      </a:lnTo>
                      <a:lnTo>
                        <a:pt x="1233842" y="551723"/>
                      </a:lnTo>
                      <a:lnTo>
                        <a:pt x="1223205" y="548414"/>
                      </a:lnTo>
                      <a:lnTo>
                        <a:pt x="1220562" y="548820"/>
                      </a:lnTo>
                      <a:lnTo>
                        <a:pt x="1217524" y="551083"/>
                      </a:lnTo>
                      <a:lnTo>
                        <a:pt x="1216554" y="553727"/>
                      </a:lnTo>
                      <a:lnTo>
                        <a:pt x="1216332" y="556851"/>
                      </a:lnTo>
                      <a:lnTo>
                        <a:pt x="1215480" y="558786"/>
                      </a:lnTo>
                      <a:lnTo>
                        <a:pt x="1213609" y="557814"/>
                      </a:lnTo>
                      <a:lnTo>
                        <a:pt x="1212641" y="559227"/>
                      </a:lnTo>
                      <a:lnTo>
                        <a:pt x="1211436" y="559940"/>
                      </a:lnTo>
                      <a:lnTo>
                        <a:pt x="1209973" y="560496"/>
                      </a:lnTo>
                      <a:lnTo>
                        <a:pt x="1208228" y="561452"/>
                      </a:lnTo>
                      <a:lnTo>
                        <a:pt x="1206432" y="560436"/>
                      </a:lnTo>
                      <a:lnTo>
                        <a:pt x="1205319" y="560407"/>
                      </a:lnTo>
                      <a:lnTo>
                        <a:pt x="1204830" y="562007"/>
                      </a:lnTo>
                      <a:lnTo>
                        <a:pt x="1204728" y="563407"/>
                      </a:lnTo>
                      <a:lnTo>
                        <a:pt x="1204378" y="564160"/>
                      </a:lnTo>
                      <a:lnTo>
                        <a:pt x="1203700" y="564621"/>
                      </a:lnTo>
                      <a:lnTo>
                        <a:pt x="1202647" y="565095"/>
                      </a:lnTo>
                      <a:lnTo>
                        <a:pt x="1201265" y="565257"/>
                      </a:lnTo>
                      <a:lnTo>
                        <a:pt x="1187808" y="564860"/>
                      </a:lnTo>
                      <a:lnTo>
                        <a:pt x="1186051" y="565113"/>
                      </a:lnTo>
                      <a:lnTo>
                        <a:pt x="1185029" y="563862"/>
                      </a:lnTo>
                      <a:lnTo>
                        <a:pt x="1183965" y="563092"/>
                      </a:lnTo>
                      <a:lnTo>
                        <a:pt x="1182742" y="562689"/>
                      </a:lnTo>
                      <a:lnTo>
                        <a:pt x="1181196" y="562582"/>
                      </a:lnTo>
                      <a:lnTo>
                        <a:pt x="1180478" y="562978"/>
                      </a:lnTo>
                      <a:lnTo>
                        <a:pt x="1179533" y="563688"/>
                      </a:lnTo>
                      <a:lnTo>
                        <a:pt x="1178708" y="564019"/>
                      </a:lnTo>
                      <a:lnTo>
                        <a:pt x="1178347" y="563248"/>
                      </a:lnTo>
                      <a:lnTo>
                        <a:pt x="1177682" y="562382"/>
                      </a:lnTo>
                      <a:lnTo>
                        <a:pt x="1177314" y="561766"/>
                      </a:lnTo>
                      <a:lnTo>
                        <a:pt x="1177340" y="561485"/>
                      </a:lnTo>
                      <a:lnTo>
                        <a:pt x="1172254" y="561433"/>
                      </a:lnTo>
                      <a:lnTo>
                        <a:pt x="1170215" y="560402"/>
                      </a:lnTo>
                      <a:lnTo>
                        <a:pt x="1171742" y="557858"/>
                      </a:lnTo>
                      <a:lnTo>
                        <a:pt x="1170475" y="555112"/>
                      </a:lnTo>
                      <a:lnTo>
                        <a:pt x="1168695" y="553748"/>
                      </a:lnTo>
                      <a:lnTo>
                        <a:pt x="1166639" y="552749"/>
                      </a:lnTo>
                      <a:lnTo>
                        <a:pt x="1164534" y="551138"/>
                      </a:lnTo>
                      <a:lnTo>
                        <a:pt x="1162414" y="550407"/>
                      </a:lnTo>
                      <a:lnTo>
                        <a:pt x="1160583" y="551937"/>
                      </a:lnTo>
                      <a:lnTo>
                        <a:pt x="1158446" y="555327"/>
                      </a:lnTo>
                      <a:lnTo>
                        <a:pt x="1157228" y="555275"/>
                      </a:lnTo>
                      <a:lnTo>
                        <a:pt x="1154554" y="554372"/>
                      </a:lnTo>
                      <a:lnTo>
                        <a:pt x="1154052" y="554779"/>
                      </a:lnTo>
                      <a:lnTo>
                        <a:pt x="1150254" y="556657"/>
                      </a:lnTo>
                      <a:lnTo>
                        <a:pt x="1148607" y="557025"/>
                      </a:lnTo>
                      <a:lnTo>
                        <a:pt x="1146804" y="557949"/>
                      </a:lnTo>
                      <a:lnTo>
                        <a:pt x="1145206" y="559136"/>
                      </a:lnTo>
                      <a:lnTo>
                        <a:pt x="1144160" y="560290"/>
                      </a:lnTo>
                      <a:lnTo>
                        <a:pt x="1142486" y="560139"/>
                      </a:lnTo>
                      <a:lnTo>
                        <a:pt x="1140072" y="560430"/>
                      </a:lnTo>
                      <a:lnTo>
                        <a:pt x="1134817" y="560291"/>
                      </a:lnTo>
                      <a:lnTo>
                        <a:pt x="1133701" y="561431"/>
                      </a:lnTo>
                      <a:lnTo>
                        <a:pt x="1134390" y="566428"/>
                      </a:lnTo>
                      <a:lnTo>
                        <a:pt x="1132621" y="567567"/>
                      </a:lnTo>
                      <a:lnTo>
                        <a:pt x="1131513" y="567187"/>
                      </a:lnTo>
                      <a:lnTo>
                        <a:pt x="1130639" y="566359"/>
                      </a:lnTo>
                      <a:lnTo>
                        <a:pt x="1129774" y="565141"/>
                      </a:lnTo>
                      <a:lnTo>
                        <a:pt x="1128496" y="565539"/>
                      </a:lnTo>
                      <a:lnTo>
                        <a:pt x="1127552" y="566359"/>
                      </a:lnTo>
                      <a:lnTo>
                        <a:pt x="1126574" y="567568"/>
                      </a:lnTo>
                      <a:lnTo>
                        <a:pt x="1122051" y="568270"/>
                      </a:lnTo>
                      <a:lnTo>
                        <a:pt x="1120198" y="567832"/>
                      </a:lnTo>
                      <a:lnTo>
                        <a:pt x="1111092" y="562487"/>
                      </a:lnTo>
                      <a:lnTo>
                        <a:pt x="1109383" y="560896"/>
                      </a:lnTo>
                      <a:lnTo>
                        <a:pt x="1107725" y="560445"/>
                      </a:lnTo>
                      <a:lnTo>
                        <a:pt x="1105700" y="561527"/>
                      </a:lnTo>
                      <a:lnTo>
                        <a:pt x="1104002" y="563207"/>
                      </a:lnTo>
                      <a:lnTo>
                        <a:pt x="1103286" y="564529"/>
                      </a:lnTo>
                      <a:lnTo>
                        <a:pt x="1102142" y="564442"/>
                      </a:lnTo>
                      <a:lnTo>
                        <a:pt x="1099674" y="565641"/>
                      </a:lnTo>
                      <a:lnTo>
                        <a:pt x="1096679" y="567560"/>
                      </a:lnTo>
                      <a:lnTo>
                        <a:pt x="1091233" y="569716"/>
                      </a:lnTo>
                      <a:lnTo>
                        <a:pt x="1088975" y="569978"/>
                      </a:lnTo>
                      <a:lnTo>
                        <a:pt x="1080727" y="569972"/>
                      </a:lnTo>
                      <a:lnTo>
                        <a:pt x="1079134" y="570343"/>
                      </a:lnTo>
                      <a:lnTo>
                        <a:pt x="1075818" y="572015"/>
                      </a:lnTo>
                      <a:lnTo>
                        <a:pt x="1074071" y="572385"/>
                      </a:lnTo>
                      <a:lnTo>
                        <a:pt x="1072501" y="573628"/>
                      </a:lnTo>
                      <a:lnTo>
                        <a:pt x="1069636" y="579741"/>
                      </a:lnTo>
                      <a:lnTo>
                        <a:pt x="1068047" y="582080"/>
                      </a:lnTo>
                      <a:lnTo>
                        <a:pt x="1065007" y="583828"/>
                      </a:lnTo>
                      <a:lnTo>
                        <a:pt x="1062098" y="584116"/>
                      </a:lnTo>
                      <a:lnTo>
                        <a:pt x="1055232" y="583397"/>
                      </a:lnTo>
                      <a:lnTo>
                        <a:pt x="1051016" y="583925"/>
                      </a:lnTo>
                      <a:lnTo>
                        <a:pt x="1049986" y="585520"/>
                      </a:lnTo>
                      <a:lnTo>
                        <a:pt x="1050038" y="588172"/>
                      </a:lnTo>
                      <a:lnTo>
                        <a:pt x="1049098" y="591865"/>
                      </a:lnTo>
                      <a:lnTo>
                        <a:pt x="1044641" y="594781"/>
                      </a:lnTo>
                      <a:lnTo>
                        <a:pt x="1039848" y="590556"/>
                      </a:lnTo>
                      <a:lnTo>
                        <a:pt x="1035293" y="583942"/>
                      </a:lnTo>
                      <a:lnTo>
                        <a:pt x="1031539" y="579719"/>
                      </a:lnTo>
                      <a:lnTo>
                        <a:pt x="1028603" y="579155"/>
                      </a:lnTo>
                      <a:lnTo>
                        <a:pt x="1017681" y="579695"/>
                      </a:lnTo>
                      <a:lnTo>
                        <a:pt x="1016461" y="579099"/>
                      </a:lnTo>
                      <a:lnTo>
                        <a:pt x="1015863" y="577689"/>
                      </a:lnTo>
                      <a:lnTo>
                        <a:pt x="1015486" y="576042"/>
                      </a:lnTo>
                      <a:lnTo>
                        <a:pt x="1014962" y="574731"/>
                      </a:lnTo>
                      <a:lnTo>
                        <a:pt x="1014094" y="573976"/>
                      </a:lnTo>
                      <a:lnTo>
                        <a:pt x="1010575" y="572296"/>
                      </a:lnTo>
                      <a:lnTo>
                        <a:pt x="1010564" y="572296"/>
                      </a:lnTo>
                      <a:lnTo>
                        <a:pt x="1003955" y="570410"/>
                      </a:lnTo>
                      <a:lnTo>
                        <a:pt x="1001994" y="568447"/>
                      </a:lnTo>
                      <a:lnTo>
                        <a:pt x="1001380" y="567804"/>
                      </a:lnTo>
                      <a:lnTo>
                        <a:pt x="1000902" y="567023"/>
                      </a:lnTo>
                      <a:lnTo>
                        <a:pt x="1000676" y="566121"/>
                      </a:lnTo>
                      <a:lnTo>
                        <a:pt x="1000675" y="565159"/>
                      </a:lnTo>
                      <a:lnTo>
                        <a:pt x="1000979" y="564280"/>
                      </a:lnTo>
                      <a:lnTo>
                        <a:pt x="1002746" y="560969"/>
                      </a:lnTo>
                      <a:lnTo>
                        <a:pt x="1002328" y="559915"/>
                      </a:lnTo>
                      <a:lnTo>
                        <a:pt x="1001000" y="558660"/>
                      </a:lnTo>
                      <a:lnTo>
                        <a:pt x="997024" y="557143"/>
                      </a:lnTo>
                      <a:lnTo>
                        <a:pt x="994819" y="556645"/>
                      </a:lnTo>
                      <a:lnTo>
                        <a:pt x="993195" y="556676"/>
                      </a:lnTo>
                      <a:lnTo>
                        <a:pt x="992359" y="557116"/>
                      </a:lnTo>
                      <a:lnTo>
                        <a:pt x="991667" y="557700"/>
                      </a:lnTo>
                      <a:lnTo>
                        <a:pt x="990635" y="559209"/>
                      </a:lnTo>
                      <a:lnTo>
                        <a:pt x="988516" y="564708"/>
                      </a:lnTo>
                      <a:lnTo>
                        <a:pt x="988074" y="565552"/>
                      </a:lnTo>
                      <a:lnTo>
                        <a:pt x="987549" y="566296"/>
                      </a:lnTo>
                      <a:lnTo>
                        <a:pt x="986963" y="566971"/>
                      </a:lnTo>
                      <a:lnTo>
                        <a:pt x="986258" y="567550"/>
                      </a:lnTo>
                      <a:lnTo>
                        <a:pt x="985044" y="568067"/>
                      </a:lnTo>
                      <a:lnTo>
                        <a:pt x="983397" y="568497"/>
                      </a:lnTo>
                      <a:lnTo>
                        <a:pt x="980307" y="568858"/>
                      </a:lnTo>
                      <a:lnTo>
                        <a:pt x="978542" y="568776"/>
                      </a:lnTo>
                      <a:lnTo>
                        <a:pt x="977160" y="568547"/>
                      </a:lnTo>
                      <a:lnTo>
                        <a:pt x="976309" y="568103"/>
                      </a:lnTo>
                      <a:lnTo>
                        <a:pt x="972125" y="565162"/>
                      </a:lnTo>
                      <a:lnTo>
                        <a:pt x="970476" y="564391"/>
                      </a:lnTo>
                      <a:lnTo>
                        <a:pt x="969157" y="564183"/>
                      </a:lnTo>
                      <a:lnTo>
                        <a:pt x="963411" y="564888"/>
                      </a:lnTo>
                      <a:lnTo>
                        <a:pt x="961871" y="564771"/>
                      </a:lnTo>
                      <a:lnTo>
                        <a:pt x="960705" y="564412"/>
                      </a:lnTo>
                      <a:lnTo>
                        <a:pt x="959939" y="563895"/>
                      </a:lnTo>
                      <a:lnTo>
                        <a:pt x="958013" y="562026"/>
                      </a:lnTo>
                      <a:lnTo>
                        <a:pt x="957016" y="560545"/>
                      </a:lnTo>
                      <a:lnTo>
                        <a:pt x="956281" y="558809"/>
                      </a:lnTo>
                      <a:lnTo>
                        <a:pt x="955327" y="553810"/>
                      </a:lnTo>
                      <a:lnTo>
                        <a:pt x="954626" y="552053"/>
                      </a:lnTo>
                      <a:lnTo>
                        <a:pt x="953853" y="551197"/>
                      </a:lnTo>
                      <a:lnTo>
                        <a:pt x="952760" y="550385"/>
                      </a:lnTo>
                      <a:lnTo>
                        <a:pt x="950575" y="549473"/>
                      </a:lnTo>
                      <a:lnTo>
                        <a:pt x="949038" y="549221"/>
                      </a:lnTo>
                      <a:lnTo>
                        <a:pt x="947651" y="549216"/>
                      </a:lnTo>
                      <a:lnTo>
                        <a:pt x="942142" y="550132"/>
                      </a:lnTo>
                      <a:lnTo>
                        <a:pt x="941219" y="550497"/>
                      </a:lnTo>
                      <a:lnTo>
                        <a:pt x="940367" y="550933"/>
                      </a:lnTo>
                      <a:lnTo>
                        <a:pt x="939194" y="552285"/>
                      </a:lnTo>
                      <a:lnTo>
                        <a:pt x="939317" y="554603"/>
                      </a:lnTo>
                      <a:lnTo>
                        <a:pt x="938895" y="558896"/>
                      </a:lnTo>
                      <a:lnTo>
                        <a:pt x="936332" y="563738"/>
                      </a:lnTo>
                      <a:lnTo>
                        <a:pt x="933806" y="566707"/>
                      </a:lnTo>
                      <a:lnTo>
                        <a:pt x="930231" y="567575"/>
                      </a:lnTo>
                      <a:lnTo>
                        <a:pt x="924540" y="566127"/>
                      </a:lnTo>
                      <a:lnTo>
                        <a:pt x="924736" y="568871"/>
                      </a:lnTo>
                      <a:lnTo>
                        <a:pt x="925895" y="570079"/>
                      </a:lnTo>
                      <a:lnTo>
                        <a:pt x="927180" y="570968"/>
                      </a:lnTo>
                      <a:lnTo>
                        <a:pt x="927771" y="572747"/>
                      </a:lnTo>
                      <a:lnTo>
                        <a:pt x="927050" y="574015"/>
                      </a:lnTo>
                      <a:lnTo>
                        <a:pt x="923945" y="575664"/>
                      </a:lnTo>
                      <a:lnTo>
                        <a:pt x="923221" y="577578"/>
                      </a:lnTo>
                      <a:lnTo>
                        <a:pt x="922802" y="582761"/>
                      </a:lnTo>
                      <a:lnTo>
                        <a:pt x="921325" y="587300"/>
                      </a:lnTo>
                      <a:lnTo>
                        <a:pt x="918280" y="590172"/>
                      </a:lnTo>
                      <a:lnTo>
                        <a:pt x="913184" y="590329"/>
                      </a:lnTo>
                      <a:lnTo>
                        <a:pt x="909429" y="588104"/>
                      </a:lnTo>
                      <a:lnTo>
                        <a:pt x="906309" y="584091"/>
                      </a:lnTo>
                      <a:lnTo>
                        <a:pt x="904203" y="579384"/>
                      </a:lnTo>
                      <a:lnTo>
                        <a:pt x="903445" y="575085"/>
                      </a:lnTo>
                      <a:lnTo>
                        <a:pt x="904163" y="572084"/>
                      </a:lnTo>
                      <a:lnTo>
                        <a:pt x="907261" y="567613"/>
                      </a:lnTo>
                      <a:lnTo>
                        <a:pt x="908060" y="564742"/>
                      </a:lnTo>
                      <a:lnTo>
                        <a:pt x="907658" y="562526"/>
                      </a:lnTo>
                      <a:lnTo>
                        <a:pt x="906426" y="560520"/>
                      </a:lnTo>
                      <a:lnTo>
                        <a:pt x="904661" y="558810"/>
                      </a:lnTo>
                      <a:lnTo>
                        <a:pt x="902648" y="557455"/>
                      </a:lnTo>
                      <a:lnTo>
                        <a:pt x="901644" y="557997"/>
                      </a:lnTo>
                      <a:lnTo>
                        <a:pt x="899607" y="558748"/>
                      </a:lnTo>
                      <a:lnTo>
                        <a:pt x="898727" y="559308"/>
                      </a:lnTo>
                      <a:lnTo>
                        <a:pt x="898006" y="560142"/>
                      </a:lnTo>
                      <a:lnTo>
                        <a:pt x="897472" y="561462"/>
                      </a:lnTo>
                      <a:lnTo>
                        <a:pt x="894552" y="565997"/>
                      </a:lnTo>
                      <a:lnTo>
                        <a:pt x="893638" y="567115"/>
                      </a:lnTo>
                      <a:lnTo>
                        <a:pt x="889380" y="563550"/>
                      </a:lnTo>
                      <a:lnTo>
                        <a:pt x="887448" y="563091"/>
                      </a:lnTo>
                      <a:lnTo>
                        <a:pt x="884873" y="564654"/>
                      </a:lnTo>
                      <a:lnTo>
                        <a:pt x="884513" y="565190"/>
                      </a:lnTo>
                      <a:lnTo>
                        <a:pt x="883582" y="566994"/>
                      </a:lnTo>
                      <a:lnTo>
                        <a:pt x="883089" y="567733"/>
                      </a:lnTo>
                      <a:lnTo>
                        <a:pt x="882230" y="568509"/>
                      </a:lnTo>
                      <a:lnTo>
                        <a:pt x="880534" y="569465"/>
                      </a:lnTo>
                      <a:lnTo>
                        <a:pt x="879807" y="570087"/>
                      </a:lnTo>
                      <a:lnTo>
                        <a:pt x="878546" y="570926"/>
                      </a:lnTo>
                      <a:lnTo>
                        <a:pt x="876717" y="571478"/>
                      </a:lnTo>
                      <a:lnTo>
                        <a:pt x="866287" y="572063"/>
                      </a:lnTo>
                      <a:lnTo>
                        <a:pt x="863727" y="570561"/>
                      </a:lnTo>
                      <a:lnTo>
                        <a:pt x="862757" y="566439"/>
                      </a:lnTo>
                      <a:lnTo>
                        <a:pt x="862417" y="562757"/>
                      </a:lnTo>
                      <a:lnTo>
                        <a:pt x="861159" y="560468"/>
                      </a:lnTo>
                      <a:lnTo>
                        <a:pt x="858803" y="559188"/>
                      </a:lnTo>
                      <a:lnTo>
                        <a:pt x="855167" y="558577"/>
                      </a:lnTo>
                      <a:lnTo>
                        <a:pt x="844807" y="559180"/>
                      </a:lnTo>
                      <a:lnTo>
                        <a:pt x="842443" y="557859"/>
                      </a:lnTo>
                      <a:lnTo>
                        <a:pt x="841042" y="554542"/>
                      </a:lnTo>
                      <a:lnTo>
                        <a:pt x="841271" y="547957"/>
                      </a:lnTo>
                      <a:lnTo>
                        <a:pt x="839882" y="544955"/>
                      </a:lnTo>
                      <a:lnTo>
                        <a:pt x="833841" y="542171"/>
                      </a:lnTo>
                      <a:lnTo>
                        <a:pt x="827484" y="544093"/>
                      </a:lnTo>
                      <a:lnTo>
                        <a:pt x="821792" y="548229"/>
                      </a:lnTo>
                      <a:lnTo>
                        <a:pt x="807779" y="560972"/>
                      </a:lnTo>
                      <a:lnTo>
                        <a:pt x="801365" y="564457"/>
                      </a:lnTo>
                      <a:lnTo>
                        <a:pt x="794297" y="565550"/>
                      </a:lnTo>
                      <a:lnTo>
                        <a:pt x="787465" y="563470"/>
                      </a:lnTo>
                      <a:lnTo>
                        <a:pt x="783852" y="561672"/>
                      </a:lnTo>
                      <a:lnTo>
                        <a:pt x="782303" y="559913"/>
                      </a:lnTo>
                      <a:lnTo>
                        <a:pt x="782739" y="557280"/>
                      </a:lnTo>
                      <a:lnTo>
                        <a:pt x="783037" y="556181"/>
                      </a:lnTo>
                      <a:lnTo>
                        <a:pt x="783403" y="554354"/>
                      </a:lnTo>
                      <a:lnTo>
                        <a:pt x="784559" y="550694"/>
                      </a:lnTo>
                      <a:lnTo>
                        <a:pt x="784569" y="548983"/>
                      </a:lnTo>
                      <a:lnTo>
                        <a:pt x="783531" y="547087"/>
                      </a:lnTo>
                      <a:lnTo>
                        <a:pt x="784569" y="545008"/>
                      </a:lnTo>
                      <a:lnTo>
                        <a:pt x="784287" y="543165"/>
                      </a:lnTo>
                      <a:lnTo>
                        <a:pt x="783130" y="541760"/>
                      </a:lnTo>
                      <a:lnTo>
                        <a:pt x="781518" y="542114"/>
                      </a:lnTo>
                      <a:lnTo>
                        <a:pt x="775841" y="540253"/>
                      </a:lnTo>
                      <a:lnTo>
                        <a:pt x="767977" y="538724"/>
                      </a:lnTo>
                      <a:lnTo>
                        <a:pt x="761938" y="535862"/>
                      </a:lnTo>
                      <a:lnTo>
                        <a:pt x="761781" y="529990"/>
                      </a:lnTo>
                      <a:lnTo>
                        <a:pt x="761005" y="526225"/>
                      </a:lnTo>
                      <a:lnTo>
                        <a:pt x="761755" y="520957"/>
                      </a:lnTo>
                      <a:lnTo>
                        <a:pt x="761942" y="516263"/>
                      </a:lnTo>
                      <a:lnTo>
                        <a:pt x="759435" y="514229"/>
                      </a:lnTo>
                      <a:lnTo>
                        <a:pt x="755350" y="514767"/>
                      </a:lnTo>
                      <a:lnTo>
                        <a:pt x="747769" y="517228"/>
                      </a:lnTo>
                      <a:lnTo>
                        <a:pt x="742817" y="517759"/>
                      </a:lnTo>
                      <a:lnTo>
                        <a:pt x="721389" y="515083"/>
                      </a:lnTo>
                      <a:lnTo>
                        <a:pt x="717300" y="516108"/>
                      </a:lnTo>
                      <a:lnTo>
                        <a:pt x="714725" y="518685"/>
                      </a:lnTo>
                      <a:lnTo>
                        <a:pt x="712709" y="521895"/>
                      </a:lnTo>
                      <a:lnTo>
                        <a:pt x="710309" y="524811"/>
                      </a:lnTo>
                      <a:lnTo>
                        <a:pt x="709375" y="526438"/>
                      </a:lnTo>
                      <a:lnTo>
                        <a:pt x="705482" y="527069"/>
                      </a:lnTo>
                      <a:lnTo>
                        <a:pt x="697446" y="527034"/>
                      </a:lnTo>
                      <a:lnTo>
                        <a:pt x="695051" y="525704"/>
                      </a:lnTo>
                      <a:lnTo>
                        <a:pt x="689814" y="519916"/>
                      </a:lnTo>
                      <a:lnTo>
                        <a:pt x="687805" y="518589"/>
                      </a:lnTo>
                      <a:lnTo>
                        <a:pt x="686729" y="517619"/>
                      </a:lnTo>
                      <a:lnTo>
                        <a:pt x="684254" y="513360"/>
                      </a:lnTo>
                      <a:lnTo>
                        <a:pt x="682464" y="512385"/>
                      </a:lnTo>
                      <a:lnTo>
                        <a:pt x="677263" y="511315"/>
                      </a:lnTo>
                      <a:lnTo>
                        <a:pt x="675316" y="511227"/>
                      </a:lnTo>
                      <a:lnTo>
                        <a:pt x="671691" y="511849"/>
                      </a:lnTo>
                      <a:lnTo>
                        <a:pt x="660852" y="515855"/>
                      </a:lnTo>
                      <a:lnTo>
                        <a:pt x="658935" y="514870"/>
                      </a:lnTo>
                      <a:lnTo>
                        <a:pt x="638901" y="510680"/>
                      </a:lnTo>
                      <a:lnTo>
                        <a:pt x="635691" y="509593"/>
                      </a:lnTo>
                      <a:lnTo>
                        <a:pt x="623820" y="502229"/>
                      </a:lnTo>
                      <a:lnTo>
                        <a:pt x="620238" y="501458"/>
                      </a:lnTo>
                      <a:lnTo>
                        <a:pt x="617643" y="501994"/>
                      </a:lnTo>
                      <a:lnTo>
                        <a:pt x="615090" y="502952"/>
                      </a:lnTo>
                      <a:lnTo>
                        <a:pt x="611632" y="503442"/>
                      </a:lnTo>
                      <a:lnTo>
                        <a:pt x="608438" y="503015"/>
                      </a:lnTo>
                      <a:lnTo>
                        <a:pt x="602401" y="501230"/>
                      </a:lnTo>
                      <a:lnTo>
                        <a:pt x="599106" y="500798"/>
                      </a:lnTo>
                      <a:lnTo>
                        <a:pt x="591639" y="501026"/>
                      </a:lnTo>
                      <a:lnTo>
                        <a:pt x="588065" y="500340"/>
                      </a:lnTo>
                      <a:lnTo>
                        <a:pt x="585377" y="498253"/>
                      </a:lnTo>
                      <a:lnTo>
                        <a:pt x="584800" y="495397"/>
                      </a:lnTo>
                      <a:lnTo>
                        <a:pt x="584655" y="485789"/>
                      </a:lnTo>
                      <a:lnTo>
                        <a:pt x="585289" y="483720"/>
                      </a:lnTo>
                      <a:lnTo>
                        <a:pt x="585982" y="482293"/>
                      </a:lnTo>
                      <a:lnTo>
                        <a:pt x="583292" y="479159"/>
                      </a:lnTo>
                      <a:lnTo>
                        <a:pt x="578470" y="475070"/>
                      </a:lnTo>
                      <a:lnTo>
                        <a:pt x="577064" y="472260"/>
                      </a:lnTo>
                      <a:lnTo>
                        <a:pt x="576163" y="469017"/>
                      </a:lnTo>
                      <a:lnTo>
                        <a:pt x="574668" y="466344"/>
                      </a:lnTo>
                      <a:lnTo>
                        <a:pt x="571494" y="465206"/>
                      </a:lnTo>
                      <a:lnTo>
                        <a:pt x="568411" y="464986"/>
                      </a:lnTo>
                      <a:lnTo>
                        <a:pt x="566806" y="464629"/>
                      </a:lnTo>
                      <a:lnTo>
                        <a:pt x="565466" y="464049"/>
                      </a:lnTo>
                      <a:lnTo>
                        <a:pt x="564111" y="462793"/>
                      </a:lnTo>
                      <a:lnTo>
                        <a:pt x="563484" y="461502"/>
                      </a:lnTo>
                      <a:lnTo>
                        <a:pt x="563059" y="460259"/>
                      </a:lnTo>
                      <a:lnTo>
                        <a:pt x="562325" y="459174"/>
                      </a:lnTo>
                      <a:lnTo>
                        <a:pt x="559420" y="457207"/>
                      </a:lnTo>
                      <a:lnTo>
                        <a:pt x="557022" y="457106"/>
                      </a:lnTo>
                      <a:lnTo>
                        <a:pt x="555356" y="459086"/>
                      </a:lnTo>
                      <a:lnTo>
                        <a:pt x="554134" y="467902"/>
                      </a:lnTo>
                      <a:lnTo>
                        <a:pt x="552771" y="470600"/>
                      </a:lnTo>
                      <a:lnTo>
                        <a:pt x="550322" y="471641"/>
                      </a:lnTo>
                      <a:lnTo>
                        <a:pt x="546555" y="471241"/>
                      </a:lnTo>
                      <a:lnTo>
                        <a:pt x="543268" y="469987"/>
                      </a:lnTo>
                      <a:lnTo>
                        <a:pt x="537244" y="466818"/>
                      </a:lnTo>
                      <a:lnTo>
                        <a:pt x="529544" y="465745"/>
                      </a:lnTo>
                      <a:lnTo>
                        <a:pt x="528117" y="466103"/>
                      </a:lnTo>
                      <a:lnTo>
                        <a:pt x="526671" y="466924"/>
                      </a:lnTo>
                      <a:lnTo>
                        <a:pt x="524765" y="468857"/>
                      </a:lnTo>
                      <a:lnTo>
                        <a:pt x="523624" y="469686"/>
                      </a:lnTo>
                      <a:lnTo>
                        <a:pt x="520671" y="470518"/>
                      </a:lnTo>
                      <a:lnTo>
                        <a:pt x="511006" y="469557"/>
                      </a:lnTo>
                      <a:lnTo>
                        <a:pt x="508061" y="468677"/>
                      </a:lnTo>
                      <a:lnTo>
                        <a:pt x="506082" y="466621"/>
                      </a:lnTo>
                      <a:lnTo>
                        <a:pt x="503089" y="462211"/>
                      </a:lnTo>
                      <a:lnTo>
                        <a:pt x="476867" y="438148"/>
                      </a:lnTo>
                      <a:lnTo>
                        <a:pt x="475351" y="437157"/>
                      </a:lnTo>
                      <a:lnTo>
                        <a:pt x="471832" y="436512"/>
                      </a:lnTo>
                      <a:lnTo>
                        <a:pt x="470399" y="435713"/>
                      </a:lnTo>
                      <a:lnTo>
                        <a:pt x="467955" y="435023"/>
                      </a:lnTo>
                      <a:lnTo>
                        <a:pt x="460740" y="435877"/>
                      </a:lnTo>
                      <a:lnTo>
                        <a:pt x="458181" y="436069"/>
                      </a:lnTo>
                      <a:lnTo>
                        <a:pt x="458245" y="434255"/>
                      </a:lnTo>
                      <a:lnTo>
                        <a:pt x="458518" y="426043"/>
                      </a:lnTo>
                      <a:lnTo>
                        <a:pt x="459198" y="405904"/>
                      </a:lnTo>
                      <a:lnTo>
                        <a:pt x="459889" y="385772"/>
                      </a:lnTo>
                      <a:lnTo>
                        <a:pt x="460574" y="365642"/>
                      </a:lnTo>
                      <a:lnTo>
                        <a:pt x="461262" y="345522"/>
                      </a:lnTo>
                      <a:lnTo>
                        <a:pt x="461952" y="325413"/>
                      </a:lnTo>
                      <a:lnTo>
                        <a:pt x="462645" y="305307"/>
                      </a:lnTo>
                      <a:lnTo>
                        <a:pt x="463344" y="285202"/>
                      </a:lnTo>
                      <a:lnTo>
                        <a:pt x="464038" y="265107"/>
                      </a:lnTo>
                      <a:lnTo>
                        <a:pt x="464739" y="245012"/>
                      </a:lnTo>
                      <a:lnTo>
                        <a:pt x="465441" y="224939"/>
                      </a:lnTo>
                      <a:lnTo>
                        <a:pt x="466153" y="204869"/>
                      </a:lnTo>
                      <a:lnTo>
                        <a:pt x="466861" y="184792"/>
                      </a:lnTo>
                      <a:lnTo>
                        <a:pt x="467572" y="164734"/>
                      </a:lnTo>
                      <a:lnTo>
                        <a:pt x="468293" y="144671"/>
                      </a:lnTo>
                      <a:lnTo>
                        <a:pt x="469003" y="124622"/>
                      </a:lnTo>
                      <a:lnTo>
                        <a:pt x="469724" y="104584"/>
                      </a:lnTo>
                      <a:lnTo>
                        <a:pt x="470047" y="95872"/>
                      </a:lnTo>
                      <a:lnTo>
                        <a:pt x="468317" y="95817"/>
                      </a:lnTo>
                      <a:lnTo>
                        <a:pt x="459777" y="95712"/>
                      </a:lnTo>
                      <a:lnTo>
                        <a:pt x="454609" y="95649"/>
                      </a:lnTo>
                      <a:lnTo>
                        <a:pt x="440003" y="95466"/>
                      </a:lnTo>
                      <a:lnTo>
                        <a:pt x="417314" y="95175"/>
                      </a:lnTo>
                      <a:lnTo>
                        <a:pt x="387886" y="94774"/>
                      </a:lnTo>
                      <a:lnTo>
                        <a:pt x="353072" y="94290"/>
                      </a:lnTo>
                      <a:lnTo>
                        <a:pt x="314215" y="93715"/>
                      </a:lnTo>
                      <a:lnTo>
                        <a:pt x="272671" y="93077"/>
                      </a:lnTo>
                      <a:lnTo>
                        <a:pt x="229786" y="92386"/>
                      </a:lnTo>
                      <a:lnTo>
                        <a:pt x="186910" y="91661"/>
                      </a:lnTo>
                      <a:lnTo>
                        <a:pt x="145382" y="90926"/>
                      </a:lnTo>
                      <a:lnTo>
                        <a:pt x="106554" y="90205"/>
                      </a:lnTo>
                      <a:lnTo>
                        <a:pt x="71777" y="89539"/>
                      </a:lnTo>
                      <a:lnTo>
                        <a:pt x="42389" y="88956"/>
                      </a:lnTo>
                      <a:lnTo>
                        <a:pt x="19731" y="88498"/>
                      </a:lnTo>
                      <a:lnTo>
                        <a:pt x="5151" y="88198"/>
                      </a:lnTo>
                      <a:lnTo>
                        <a:pt x="0" y="88091"/>
                      </a:lnTo>
                      <a:lnTo>
                        <a:pt x="1399" y="66052"/>
                      </a:lnTo>
                      <a:lnTo>
                        <a:pt x="2795" y="44029"/>
                      </a:lnTo>
                      <a:lnTo>
                        <a:pt x="4200" y="22016"/>
                      </a:lnTo>
                      <a:lnTo>
                        <a:pt x="5615" y="0"/>
                      </a:lnTo>
                      <a:lnTo>
                        <a:pt x="24862" y="403"/>
                      </a:lnTo>
                      <a:lnTo>
                        <a:pt x="44115" y="799"/>
                      </a:lnTo>
                      <a:lnTo>
                        <a:pt x="63367" y="1187"/>
                      </a:lnTo>
                      <a:lnTo>
                        <a:pt x="82627" y="1568"/>
                      </a:lnTo>
                      <a:lnTo>
                        <a:pt x="101884" y="1943"/>
                      </a:lnTo>
                      <a:lnTo>
                        <a:pt x="121143" y="2311"/>
                      </a:lnTo>
                      <a:lnTo>
                        <a:pt x="140408" y="2671"/>
                      </a:lnTo>
                      <a:lnTo>
                        <a:pt x="155478" y="2949"/>
                      </a:lnTo>
                      <a:lnTo>
                        <a:pt x="195703" y="3667"/>
                      </a:lnTo>
                      <a:lnTo>
                        <a:pt x="231746" y="4286"/>
                      </a:lnTo>
                      <a:lnTo>
                        <a:pt x="267797" y="4880"/>
                      </a:lnTo>
                      <a:lnTo>
                        <a:pt x="303857" y="5448"/>
                      </a:lnTo>
                      <a:lnTo>
                        <a:pt x="339923" y="5993"/>
                      </a:lnTo>
                      <a:lnTo>
                        <a:pt x="375987" y="6514"/>
                      </a:lnTo>
                      <a:lnTo>
                        <a:pt x="412060" y="7009"/>
                      </a:lnTo>
                      <a:lnTo>
                        <a:pt x="448133" y="7481"/>
                      </a:lnTo>
                      <a:lnTo>
                        <a:pt x="484210" y="7928"/>
                      </a:lnTo>
                      <a:lnTo>
                        <a:pt x="520293" y="8350"/>
                      </a:lnTo>
                      <a:lnTo>
                        <a:pt x="556376" y="8749"/>
                      </a:lnTo>
                      <a:lnTo>
                        <a:pt x="592466" y="9122"/>
                      </a:lnTo>
                      <a:lnTo>
                        <a:pt x="628556" y="9472"/>
                      </a:lnTo>
                      <a:lnTo>
                        <a:pt x="664652" y="9796"/>
                      </a:lnTo>
                      <a:lnTo>
                        <a:pt x="700743" y="10097"/>
                      </a:lnTo>
                      <a:lnTo>
                        <a:pt x="736843" y="10373"/>
                      </a:lnTo>
                      <a:lnTo>
                        <a:pt x="772942" y="10625"/>
                      </a:lnTo>
                      <a:lnTo>
                        <a:pt x="809040" y="10852"/>
                      </a:lnTo>
                      <a:lnTo>
                        <a:pt x="845143" y="11055"/>
                      </a:lnTo>
                      <a:lnTo>
                        <a:pt x="881247" y="11233"/>
                      </a:lnTo>
                      <a:lnTo>
                        <a:pt x="917356" y="11387"/>
                      </a:lnTo>
                      <a:lnTo>
                        <a:pt x="953467" y="11517"/>
                      </a:lnTo>
                      <a:lnTo>
                        <a:pt x="989575" y="11623"/>
                      </a:lnTo>
                      <a:lnTo>
                        <a:pt x="1025683" y="11704"/>
                      </a:lnTo>
                      <a:lnTo>
                        <a:pt x="1061796" y="11760"/>
                      </a:lnTo>
                      <a:lnTo>
                        <a:pt x="1097905" y="11793"/>
                      </a:lnTo>
                      <a:lnTo>
                        <a:pt x="1134019" y="11801"/>
                      </a:lnTo>
                      <a:lnTo>
                        <a:pt x="1170128" y="11785"/>
                      </a:lnTo>
                      <a:lnTo>
                        <a:pt x="1206241" y="11744"/>
                      </a:lnTo>
                      <a:lnTo>
                        <a:pt x="1242350" y="11679"/>
                      </a:lnTo>
                      <a:lnTo>
                        <a:pt x="1278454" y="11590"/>
                      </a:lnTo>
                      <a:lnTo>
                        <a:pt x="1314558" y="11476"/>
                      </a:lnTo>
                      <a:lnTo>
                        <a:pt x="1314793" y="33476"/>
                      </a:lnTo>
                      <a:lnTo>
                        <a:pt x="1315012" y="55484"/>
                      </a:lnTo>
                      <a:lnTo>
                        <a:pt x="1315240" y="7750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1" name="Freeform 51">
                  <a:extLst>
                    <a:ext uri="{FF2B5EF4-FFF2-40B4-BE49-F238E27FC236}">
                      <a16:creationId xmlns:a16="http://schemas.microsoft.com/office/drawing/2014/main" id="{3DD4F62A-033C-447B-A383-3781F795BA70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2474052" y="3620857"/>
                  <a:ext cx="750290" cy="40971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109728" h="605994">
                      <a:moveTo>
                        <a:pt x="85453" y="1127"/>
                      </a:moveTo>
                      <a:lnTo>
                        <a:pt x="117986" y="2078"/>
                      </a:lnTo>
                      <a:lnTo>
                        <a:pt x="150515" y="2999"/>
                      </a:lnTo>
                      <a:lnTo>
                        <a:pt x="183060" y="3893"/>
                      </a:lnTo>
                      <a:lnTo>
                        <a:pt x="215609" y="4758"/>
                      </a:lnTo>
                      <a:lnTo>
                        <a:pt x="248166" y="5595"/>
                      </a:lnTo>
                      <a:lnTo>
                        <a:pt x="280728" y="6404"/>
                      </a:lnTo>
                      <a:lnTo>
                        <a:pt x="313296" y="7184"/>
                      </a:lnTo>
                      <a:lnTo>
                        <a:pt x="345870" y="7936"/>
                      </a:lnTo>
                      <a:lnTo>
                        <a:pt x="378446" y="8660"/>
                      </a:lnTo>
                      <a:lnTo>
                        <a:pt x="411034" y="9356"/>
                      </a:lnTo>
                      <a:lnTo>
                        <a:pt x="443623" y="10032"/>
                      </a:lnTo>
                      <a:lnTo>
                        <a:pt x="476216" y="10679"/>
                      </a:lnTo>
                      <a:lnTo>
                        <a:pt x="508823" y="11290"/>
                      </a:lnTo>
                      <a:lnTo>
                        <a:pt x="541422" y="11872"/>
                      </a:lnTo>
                      <a:lnTo>
                        <a:pt x="574031" y="12427"/>
                      </a:lnTo>
                      <a:lnTo>
                        <a:pt x="606642" y="12954"/>
                      </a:lnTo>
                      <a:lnTo>
                        <a:pt x="639253" y="13452"/>
                      </a:lnTo>
                      <a:lnTo>
                        <a:pt x="671880" y="13921"/>
                      </a:lnTo>
                      <a:lnTo>
                        <a:pt x="704502" y="14367"/>
                      </a:lnTo>
                      <a:lnTo>
                        <a:pt x="737127" y="14785"/>
                      </a:lnTo>
                      <a:lnTo>
                        <a:pt x="769755" y="15170"/>
                      </a:lnTo>
                      <a:lnTo>
                        <a:pt x="802387" y="15527"/>
                      </a:lnTo>
                      <a:lnTo>
                        <a:pt x="835017" y="15856"/>
                      </a:lnTo>
                      <a:lnTo>
                        <a:pt x="867653" y="16157"/>
                      </a:lnTo>
                      <a:lnTo>
                        <a:pt x="900292" y="16430"/>
                      </a:lnTo>
                      <a:lnTo>
                        <a:pt x="932931" y="16674"/>
                      </a:lnTo>
                      <a:lnTo>
                        <a:pt x="965573" y="16899"/>
                      </a:lnTo>
                      <a:lnTo>
                        <a:pt x="998216" y="17095"/>
                      </a:lnTo>
                      <a:lnTo>
                        <a:pt x="1030857" y="17255"/>
                      </a:lnTo>
                      <a:lnTo>
                        <a:pt x="1063510" y="17387"/>
                      </a:lnTo>
                      <a:lnTo>
                        <a:pt x="1096153" y="17491"/>
                      </a:lnTo>
                      <a:lnTo>
                        <a:pt x="1095234" y="19257"/>
                      </a:lnTo>
                      <a:lnTo>
                        <a:pt x="1094777" y="19906"/>
                      </a:lnTo>
                      <a:lnTo>
                        <a:pt x="1094276" y="20815"/>
                      </a:lnTo>
                      <a:lnTo>
                        <a:pt x="1093909" y="21706"/>
                      </a:lnTo>
                      <a:lnTo>
                        <a:pt x="1092565" y="32116"/>
                      </a:lnTo>
                      <a:lnTo>
                        <a:pt x="1091600" y="35063"/>
                      </a:lnTo>
                      <a:lnTo>
                        <a:pt x="1088711" y="39490"/>
                      </a:lnTo>
                      <a:lnTo>
                        <a:pt x="1084427" y="47916"/>
                      </a:lnTo>
                      <a:lnTo>
                        <a:pt x="1083899" y="48686"/>
                      </a:lnTo>
                      <a:lnTo>
                        <a:pt x="1082763" y="50035"/>
                      </a:lnTo>
                      <a:lnTo>
                        <a:pt x="1081404" y="51250"/>
                      </a:lnTo>
                      <a:lnTo>
                        <a:pt x="1077613" y="53863"/>
                      </a:lnTo>
                      <a:lnTo>
                        <a:pt x="1067312" y="58943"/>
                      </a:lnTo>
                      <a:lnTo>
                        <a:pt x="1065851" y="60036"/>
                      </a:lnTo>
                      <a:lnTo>
                        <a:pt x="1062608" y="63189"/>
                      </a:lnTo>
                      <a:lnTo>
                        <a:pt x="1057235" y="66481"/>
                      </a:lnTo>
                      <a:lnTo>
                        <a:pt x="1055950" y="67374"/>
                      </a:lnTo>
                      <a:lnTo>
                        <a:pt x="1054886" y="68434"/>
                      </a:lnTo>
                      <a:lnTo>
                        <a:pt x="1053096" y="72031"/>
                      </a:lnTo>
                      <a:lnTo>
                        <a:pt x="1052455" y="75641"/>
                      </a:lnTo>
                      <a:lnTo>
                        <a:pt x="1056143" y="79962"/>
                      </a:lnTo>
                      <a:lnTo>
                        <a:pt x="1063023" y="86907"/>
                      </a:lnTo>
                      <a:lnTo>
                        <a:pt x="1065859" y="90874"/>
                      </a:lnTo>
                      <a:lnTo>
                        <a:pt x="1070856" y="101291"/>
                      </a:lnTo>
                      <a:lnTo>
                        <a:pt x="1073936" y="106373"/>
                      </a:lnTo>
                      <a:lnTo>
                        <a:pt x="1076750" y="108548"/>
                      </a:lnTo>
                      <a:lnTo>
                        <a:pt x="1087917" y="109618"/>
                      </a:lnTo>
                      <a:lnTo>
                        <a:pt x="1093909" y="111239"/>
                      </a:lnTo>
                      <a:lnTo>
                        <a:pt x="1098004" y="113863"/>
                      </a:lnTo>
                      <a:lnTo>
                        <a:pt x="1099523" y="115372"/>
                      </a:lnTo>
                      <a:lnTo>
                        <a:pt x="1102869" y="117867"/>
                      </a:lnTo>
                      <a:lnTo>
                        <a:pt x="1104233" y="119146"/>
                      </a:lnTo>
                      <a:lnTo>
                        <a:pt x="1108055" y="125606"/>
                      </a:lnTo>
                      <a:lnTo>
                        <a:pt x="1108995" y="127343"/>
                      </a:lnTo>
                      <a:lnTo>
                        <a:pt x="1109727" y="127884"/>
                      </a:lnTo>
                      <a:lnTo>
                        <a:pt x="1109726" y="127930"/>
                      </a:lnTo>
                      <a:lnTo>
                        <a:pt x="1109677" y="134565"/>
                      </a:lnTo>
                      <a:lnTo>
                        <a:pt x="1109406" y="172205"/>
                      </a:lnTo>
                      <a:lnTo>
                        <a:pt x="1109130" y="209865"/>
                      </a:lnTo>
                      <a:lnTo>
                        <a:pt x="1108856" y="247569"/>
                      </a:lnTo>
                      <a:lnTo>
                        <a:pt x="1108583" y="285301"/>
                      </a:lnTo>
                      <a:lnTo>
                        <a:pt x="1108311" y="323059"/>
                      </a:lnTo>
                      <a:lnTo>
                        <a:pt x="1108041" y="360847"/>
                      </a:lnTo>
                      <a:lnTo>
                        <a:pt x="1107772" y="398664"/>
                      </a:lnTo>
                      <a:lnTo>
                        <a:pt x="1107505" y="436509"/>
                      </a:lnTo>
                      <a:lnTo>
                        <a:pt x="1086966" y="436669"/>
                      </a:lnTo>
                      <a:lnTo>
                        <a:pt x="1086488" y="437088"/>
                      </a:lnTo>
                      <a:lnTo>
                        <a:pt x="1086793" y="438246"/>
                      </a:lnTo>
                      <a:lnTo>
                        <a:pt x="1087278" y="439173"/>
                      </a:lnTo>
                      <a:lnTo>
                        <a:pt x="1087607" y="440268"/>
                      </a:lnTo>
                      <a:lnTo>
                        <a:pt x="1087675" y="441518"/>
                      </a:lnTo>
                      <a:lnTo>
                        <a:pt x="1087323" y="443398"/>
                      </a:lnTo>
                      <a:lnTo>
                        <a:pt x="1087199" y="444959"/>
                      </a:lnTo>
                      <a:lnTo>
                        <a:pt x="1087283" y="446399"/>
                      </a:lnTo>
                      <a:lnTo>
                        <a:pt x="1087981" y="448013"/>
                      </a:lnTo>
                      <a:lnTo>
                        <a:pt x="1088663" y="448974"/>
                      </a:lnTo>
                      <a:lnTo>
                        <a:pt x="1091315" y="451603"/>
                      </a:lnTo>
                      <a:lnTo>
                        <a:pt x="1092448" y="453004"/>
                      </a:lnTo>
                      <a:lnTo>
                        <a:pt x="1094932" y="455505"/>
                      </a:lnTo>
                      <a:lnTo>
                        <a:pt x="1095458" y="456210"/>
                      </a:lnTo>
                      <a:lnTo>
                        <a:pt x="1095812" y="458038"/>
                      </a:lnTo>
                      <a:lnTo>
                        <a:pt x="1095686" y="466925"/>
                      </a:lnTo>
                      <a:lnTo>
                        <a:pt x="1095177" y="471164"/>
                      </a:lnTo>
                      <a:lnTo>
                        <a:pt x="1094803" y="471761"/>
                      </a:lnTo>
                      <a:lnTo>
                        <a:pt x="1094231" y="472344"/>
                      </a:lnTo>
                      <a:lnTo>
                        <a:pt x="1093443" y="472768"/>
                      </a:lnTo>
                      <a:lnTo>
                        <a:pt x="1092441" y="472937"/>
                      </a:lnTo>
                      <a:lnTo>
                        <a:pt x="1090322" y="472700"/>
                      </a:lnTo>
                      <a:lnTo>
                        <a:pt x="1089352" y="472842"/>
                      </a:lnTo>
                      <a:lnTo>
                        <a:pt x="1088931" y="473632"/>
                      </a:lnTo>
                      <a:lnTo>
                        <a:pt x="1089066" y="474811"/>
                      </a:lnTo>
                      <a:lnTo>
                        <a:pt x="1090260" y="476684"/>
                      </a:lnTo>
                      <a:lnTo>
                        <a:pt x="1091315" y="477445"/>
                      </a:lnTo>
                      <a:lnTo>
                        <a:pt x="1092111" y="478158"/>
                      </a:lnTo>
                      <a:lnTo>
                        <a:pt x="1092287" y="478787"/>
                      </a:lnTo>
                      <a:lnTo>
                        <a:pt x="1091853" y="479400"/>
                      </a:lnTo>
                      <a:lnTo>
                        <a:pt x="1090576" y="480669"/>
                      </a:lnTo>
                      <a:lnTo>
                        <a:pt x="1090094" y="481417"/>
                      </a:lnTo>
                      <a:lnTo>
                        <a:pt x="1089915" y="482339"/>
                      </a:lnTo>
                      <a:lnTo>
                        <a:pt x="1090153" y="483291"/>
                      </a:lnTo>
                      <a:lnTo>
                        <a:pt x="1091033" y="484174"/>
                      </a:lnTo>
                      <a:lnTo>
                        <a:pt x="1092145" y="484552"/>
                      </a:lnTo>
                      <a:lnTo>
                        <a:pt x="1093348" y="484643"/>
                      </a:lnTo>
                      <a:lnTo>
                        <a:pt x="1095610" y="484544"/>
                      </a:lnTo>
                      <a:lnTo>
                        <a:pt x="1098926" y="485070"/>
                      </a:lnTo>
                      <a:lnTo>
                        <a:pt x="1099931" y="485072"/>
                      </a:lnTo>
                      <a:lnTo>
                        <a:pt x="1101416" y="484925"/>
                      </a:lnTo>
                      <a:lnTo>
                        <a:pt x="1102361" y="485006"/>
                      </a:lnTo>
                      <a:lnTo>
                        <a:pt x="1103199" y="485383"/>
                      </a:lnTo>
                      <a:lnTo>
                        <a:pt x="1103774" y="486029"/>
                      </a:lnTo>
                      <a:lnTo>
                        <a:pt x="1104147" y="486855"/>
                      </a:lnTo>
                      <a:lnTo>
                        <a:pt x="1104613" y="488718"/>
                      </a:lnTo>
                      <a:lnTo>
                        <a:pt x="1105804" y="496240"/>
                      </a:lnTo>
                      <a:lnTo>
                        <a:pt x="1106217" y="497968"/>
                      </a:lnTo>
                      <a:lnTo>
                        <a:pt x="1106638" y="499266"/>
                      </a:lnTo>
                      <a:lnTo>
                        <a:pt x="1106823" y="500388"/>
                      </a:lnTo>
                      <a:lnTo>
                        <a:pt x="1106781" y="501765"/>
                      </a:lnTo>
                      <a:lnTo>
                        <a:pt x="1105185" y="508697"/>
                      </a:lnTo>
                      <a:lnTo>
                        <a:pt x="1104615" y="509897"/>
                      </a:lnTo>
                      <a:lnTo>
                        <a:pt x="1103986" y="510835"/>
                      </a:lnTo>
                      <a:lnTo>
                        <a:pt x="1099109" y="514945"/>
                      </a:lnTo>
                      <a:lnTo>
                        <a:pt x="1098811" y="515754"/>
                      </a:lnTo>
                      <a:lnTo>
                        <a:pt x="1098814" y="516715"/>
                      </a:lnTo>
                      <a:lnTo>
                        <a:pt x="1099416" y="517702"/>
                      </a:lnTo>
                      <a:lnTo>
                        <a:pt x="1099945" y="518327"/>
                      </a:lnTo>
                      <a:lnTo>
                        <a:pt x="1100197" y="518855"/>
                      </a:lnTo>
                      <a:lnTo>
                        <a:pt x="1100319" y="519647"/>
                      </a:lnTo>
                      <a:lnTo>
                        <a:pt x="1099958" y="520852"/>
                      </a:lnTo>
                      <a:lnTo>
                        <a:pt x="1098978" y="523214"/>
                      </a:lnTo>
                      <a:lnTo>
                        <a:pt x="1098335" y="524073"/>
                      </a:lnTo>
                      <a:lnTo>
                        <a:pt x="1098276" y="524275"/>
                      </a:lnTo>
                      <a:lnTo>
                        <a:pt x="1098224" y="524730"/>
                      </a:lnTo>
                      <a:lnTo>
                        <a:pt x="1098304" y="525329"/>
                      </a:lnTo>
                      <a:lnTo>
                        <a:pt x="1098485" y="528710"/>
                      </a:lnTo>
                      <a:lnTo>
                        <a:pt x="1097882" y="530715"/>
                      </a:lnTo>
                      <a:lnTo>
                        <a:pt x="1097322" y="531818"/>
                      </a:lnTo>
                      <a:lnTo>
                        <a:pt x="1094593" y="534459"/>
                      </a:lnTo>
                      <a:lnTo>
                        <a:pt x="1094400" y="534863"/>
                      </a:lnTo>
                      <a:lnTo>
                        <a:pt x="1094195" y="536031"/>
                      </a:lnTo>
                      <a:lnTo>
                        <a:pt x="1093855" y="540744"/>
                      </a:lnTo>
                      <a:lnTo>
                        <a:pt x="1093502" y="542092"/>
                      </a:lnTo>
                      <a:lnTo>
                        <a:pt x="1093201" y="542863"/>
                      </a:lnTo>
                      <a:lnTo>
                        <a:pt x="1092658" y="543267"/>
                      </a:lnTo>
                      <a:lnTo>
                        <a:pt x="1091957" y="543914"/>
                      </a:lnTo>
                      <a:lnTo>
                        <a:pt x="1091666" y="544660"/>
                      </a:lnTo>
                      <a:lnTo>
                        <a:pt x="1091408" y="545709"/>
                      </a:lnTo>
                      <a:lnTo>
                        <a:pt x="1091251" y="547985"/>
                      </a:lnTo>
                      <a:lnTo>
                        <a:pt x="1091033" y="548930"/>
                      </a:lnTo>
                      <a:lnTo>
                        <a:pt x="1090660" y="549591"/>
                      </a:lnTo>
                      <a:lnTo>
                        <a:pt x="1090112" y="549868"/>
                      </a:lnTo>
                      <a:lnTo>
                        <a:pt x="1087810" y="550735"/>
                      </a:lnTo>
                      <a:lnTo>
                        <a:pt x="1087315" y="551025"/>
                      </a:lnTo>
                      <a:lnTo>
                        <a:pt x="1086730" y="551504"/>
                      </a:lnTo>
                      <a:lnTo>
                        <a:pt x="1086154" y="552144"/>
                      </a:lnTo>
                      <a:lnTo>
                        <a:pt x="1085690" y="552889"/>
                      </a:lnTo>
                      <a:lnTo>
                        <a:pt x="1085329" y="553774"/>
                      </a:lnTo>
                      <a:lnTo>
                        <a:pt x="1085018" y="554743"/>
                      </a:lnTo>
                      <a:lnTo>
                        <a:pt x="1084650" y="555635"/>
                      </a:lnTo>
                      <a:lnTo>
                        <a:pt x="1084194" y="556389"/>
                      </a:lnTo>
                      <a:lnTo>
                        <a:pt x="1081905" y="559273"/>
                      </a:lnTo>
                      <a:lnTo>
                        <a:pt x="1080660" y="561703"/>
                      </a:lnTo>
                      <a:lnTo>
                        <a:pt x="1080045" y="563338"/>
                      </a:lnTo>
                      <a:lnTo>
                        <a:pt x="1079624" y="565708"/>
                      </a:lnTo>
                      <a:lnTo>
                        <a:pt x="1079964" y="567113"/>
                      </a:lnTo>
                      <a:lnTo>
                        <a:pt x="1080685" y="568921"/>
                      </a:lnTo>
                      <a:lnTo>
                        <a:pt x="1082973" y="572088"/>
                      </a:lnTo>
                      <a:lnTo>
                        <a:pt x="1084309" y="573517"/>
                      </a:lnTo>
                      <a:lnTo>
                        <a:pt x="1085451" y="574495"/>
                      </a:lnTo>
                      <a:lnTo>
                        <a:pt x="1093231" y="579672"/>
                      </a:lnTo>
                      <a:lnTo>
                        <a:pt x="1094535" y="580789"/>
                      </a:lnTo>
                      <a:lnTo>
                        <a:pt x="1095691" y="581994"/>
                      </a:lnTo>
                      <a:lnTo>
                        <a:pt x="1096141" y="582666"/>
                      </a:lnTo>
                      <a:lnTo>
                        <a:pt x="1096306" y="583376"/>
                      </a:lnTo>
                      <a:lnTo>
                        <a:pt x="1095793" y="584126"/>
                      </a:lnTo>
                      <a:lnTo>
                        <a:pt x="1094217" y="585299"/>
                      </a:lnTo>
                      <a:lnTo>
                        <a:pt x="1094033" y="585514"/>
                      </a:lnTo>
                      <a:lnTo>
                        <a:pt x="1093605" y="586201"/>
                      </a:lnTo>
                      <a:lnTo>
                        <a:pt x="1093548" y="586635"/>
                      </a:lnTo>
                      <a:lnTo>
                        <a:pt x="1093759" y="587138"/>
                      </a:lnTo>
                      <a:lnTo>
                        <a:pt x="1096286" y="588474"/>
                      </a:lnTo>
                      <a:lnTo>
                        <a:pt x="1096987" y="588944"/>
                      </a:lnTo>
                      <a:lnTo>
                        <a:pt x="1097577" y="589527"/>
                      </a:lnTo>
                      <a:lnTo>
                        <a:pt x="1098101" y="590234"/>
                      </a:lnTo>
                      <a:lnTo>
                        <a:pt x="1099055" y="591852"/>
                      </a:lnTo>
                      <a:lnTo>
                        <a:pt x="1099467" y="592854"/>
                      </a:lnTo>
                      <a:lnTo>
                        <a:pt x="1099659" y="593888"/>
                      </a:lnTo>
                      <a:lnTo>
                        <a:pt x="1099542" y="595294"/>
                      </a:lnTo>
                      <a:lnTo>
                        <a:pt x="1099662" y="596366"/>
                      </a:lnTo>
                      <a:lnTo>
                        <a:pt x="1100344" y="597321"/>
                      </a:lnTo>
                      <a:lnTo>
                        <a:pt x="1101141" y="597792"/>
                      </a:lnTo>
                      <a:lnTo>
                        <a:pt x="1102173" y="599880"/>
                      </a:lnTo>
                      <a:lnTo>
                        <a:pt x="1102057" y="605993"/>
                      </a:lnTo>
                      <a:lnTo>
                        <a:pt x="1083203" y="603184"/>
                      </a:lnTo>
                      <a:lnTo>
                        <a:pt x="1080687" y="601747"/>
                      </a:lnTo>
                      <a:lnTo>
                        <a:pt x="1079107" y="599386"/>
                      </a:lnTo>
                      <a:lnTo>
                        <a:pt x="1078581" y="596041"/>
                      </a:lnTo>
                      <a:lnTo>
                        <a:pt x="1077282" y="593265"/>
                      </a:lnTo>
                      <a:lnTo>
                        <a:pt x="1071268" y="589166"/>
                      </a:lnTo>
                      <a:lnTo>
                        <a:pt x="1069566" y="587114"/>
                      </a:lnTo>
                      <a:lnTo>
                        <a:pt x="1069516" y="584872"/>
                      </a:lnTo>
                      <a:lnTo>
                        <a:pt x="1070267" y="583439"/>
                      </a:lnTo>
                      <a:lnTo>
                        <a:pt x="1071172" y="582223"/>
                      </a:lnTo>
                      <a:lnTo>
                        <a:pt x="1071628" y="580630"/>
                      </a:lnTo>
                      <a:lnTo>
                        <a:pt x="1070886" y="579314"/>
                      </a:lnTo>
                      <a:lnTo>
                        <a:pt x="1069128" y="578389"/>
                      </a:lnTo>
                      <a:lnTo>
                        <a:pt x="1067123" y="577838"/>
                      </a:lnTo>
                      <a:lnTo>
                        <a:pt x="1065610" y="577657"/>
                      </a:lnTo>
                      <a:lnTo>
                        <a:pt x="1059506" y="577988"/>
                      </a:lnTo>
                      <a:lnTo>
                        <a:pt x="1057659" y="577632"/>
                      </a:lnTo>
                      <a:lnTo>
                        <a:pt x="1055887" y="576740"/>
                      </a:lnTo>
                      <a:lnTo>
                        <a:pt x="1055125" y="575800"/>
                      </a:lnTo>
                      <a:lnTo>
                        <a:pt x="1054644" y="574587"/>
                      </a:lnTo>
                      <a:lnTo>
                        <a:pt x="1053709" y="572900"/>
                      </a:lnTo>
                      <a:lnTo>
                        <a:pt x="1052099" y="570777"/>
                      </a:lnTo>
                      <a:lnTo>
                        <a:pt x="1050126" y="568867"/>
                      </a:lnTo>
                      <a:lnTo>
                        <a:pt x="1047562" y="567499"/>
                      </a:lnTo>
                      <a:lnTo>
                        <a:pt x="1034382" y="566578"/>
                      </a:lnTo>
                      <a:lnTo>
                        <a:pt x="1031716" y="565736"/>
                      </a:lnTo>
                      <a:lnTo>
                        <a:pt x="1030217" y="564552"/>
                      </a:lnTo>
                      <a:lnTo>
                        <a:pt x="1029192" y="563359"/>
                      </a:lnTo>
                      <a:lnTo>
                        <a:pt x="1027808" y="562446"/>
                      </a:lnTo>
                      <a:lnTo>
                        <a:pt x="1023853" y="561713"/>
                      </a:lnTo>
                      <a:lnTo>
                        <a:pt x="1020656" y="560147"/>
                      </a:lnTo>
                      <a:lnTo>
                        <a:pt x="1019218" y="559787"/>
                      </a:lnTo>
                      <a:lnTo>
                        <a:pt x="1011578" y="559518"/>
                      </a:lnTo>
                      <a:lnTo>
                        <a:pt x="1008128" y="558782"/>
                      </a:lnTo>
                      <a:lnTo>
                        <a:pt x="1004776" y="557256"/>
                      </a:lnTo>
                      <a:lnTo>
                        <a:pt x="1001689" y="555251"/>
                      </a:lnTo>
                      <a:lnTo>
                        <a:pt x="996415" y="550818"/>
                      </a:lnTo>
                      <a:lnTo>
                        <a:pt x="992112" y="545778"/>
                      </a:lnTo>
                      <a:lnTo>
                        <a:pt x="989633" y="543695"/>
                      </a:lnTo>
                      <a:lnTo>
                        <a:pt x="986659" y="542327"/>
                      </a:lnTo>
                      <a:lnTo>
                        <a:pt x="982969" y="541824"/>
                      </a:lnTo>
                      <a:lnTo>
                        <a:pt x="953784" y="546375"/>
                      </a:lnTo>
                      <a:lnTo>
                        <a:pt x="949831" y="546268"/>
                      </a:lnTo>
                      <a:lnTo>
                        <a:pt x="939321" y="543932"/>
                      </a:lnTo>
                      <a:lnTo>
                        <a:pt x="936052" y="544582"/>
                      </a:lnTo>
                      <a:lnTo>
                        <a:pt x="930275" y="547216"/>
                      </a:lnTo>
                      <a:lnTo>
                        <a:pt x="926828" y="547396"/>
                      </a:lnTo>
                      <a:lnTo>
                        <a:pt x="925132" y="546816"/>
                      </a:lnTo>
                      <a:lnTo>
                        <a:pt x="922208" y="545228"/>
                      </a:lnTo>
                      <a:lnTo>
                        <a:pt x="920352" y="544883"/>
                      </a:lnTo>
                      <a:lnTo>
                        <a:pt x="914342" y="546130"/>
                      </a:lnTo>
                      <a:lnTo>
                        <a:pt x="904395" y="544041"/>
                      </a:lnTo>
                      <a:lnTo>
                        <a:pt x="900771" y="544750"/>
                      </a:lnTo>
                      <a:lnTo>
                        <a:pt x="899025" y="545463"/>
                      </a:lnTo>
                      <a:lnTo>
                        <a:pt x="897360" y="546383"/>
                      </a:lnTo>
                      <a:lnTo>
                        <a:pt x="896100" y="547834"/>
                      </a:lnTo>
                      <a:lnTo>
                        <a:pt x="895567" y="550133"/>
                      </a:lnTo>
                      <a:lnTo>
                        <a:pt x="893612" y="554696"/>
                      </a:lnTo>
                      <a:lnTo>
                        <a:pt x="893043" y="555527"/>
                      </a:lnTo>
                      <a:lnTo>
                        <a:pt x="892079" y="556009"/>
                      </a:lnTo>
                      <a:lnTo>
                        <a:pt x="889007" y="558295"/>
                      </a:lnTo>
                      <a:lnTo>
                        <a:pt x="887384" y="559026"/>
                      </a:lnTo>
                      <a:lnTo>
                        <a:pt x="883429" y="559300"/>
                      </a:lnTo>
                      <a:lnTo>
                        <a:pt x="879487" y="558967"/>
                      </a:lnTo>
                      <a:lnTo>
                        <a:pt x="869098" y="555707"/>
                      </a:lnTo>
                      <a:lnTo>
                        <a:pt x="867428" y="554690"/>
                      </a:lnTo>
                      <a:lnTo>
                        <a:pt x="866850" y="552643"/>
                      </a:lnTo>
                      <a:lnTo>
                        <a:pt x="865369" y="551210"/>
                      </a:lnTo>
                      <a:lnTo>
                        <a:pt x="845376" y="543430"/>
                      </a:lnTo>
                      <a:lnTo>
                        <a:pt x="839498" y="538636"/>
                      </a:lnTo>
                      <a:lnTo>
                        <a:pt x="833502" y="534940"/>
                      </a:lnTo>
                      <a:lnTo>
                        <a:pt x="832705" y="534764"/>
                      </a:lnTo>
                      <a:lnTo>
                        <a:pt x="830968" y="534678"/>
                      </a:lnTo>
                      <a:lnTo>
                        <a:pt x="830100" y="534480"/>
                      </a:lnTo>
                      <a:lnTo>
                        <a:pt x="815022" y="525511"/>
                      </a:lnTo>
                      <a:lnTo>
                        <a:pt x="813940" y="524608"/>
                      </a:lnTo>
                      <a:lnTo>
                        <a:pt x="811084" y="521415"/>
                      </a:lnTo>
                      <a:lnTo>
                        <a:pt x="810646" y="521057"/>
                      </a:lnTo>
                      <a:lnTo>
                        <a:pt x="809788" y="521048"/>
                      </a:lnTo>
                      <a:lnTo>
                        <a:pt x="797241" y="520931"/>
                      </a:lnTo>
                      <a:lnTo>
                        <a:pt x="772404" y="520683"/>
                      </a:lnTo>
                      <a:lnTo>
                        <a:pt x="747565" y="520425"/>
                      </a:lnTo>
                      <a:lnTo>
                        <a:pt x="722732" y="520152"/>
                      </a:lnTo>
                      <a:lnTo>
                        <a:pt x="697893" y="519865"/>
                      </a:lnTo>
                      <a:lnTo>
                        <a:pt x="673062" y="519564"/>
                      </a:lnTo>
                      <a:lnTo>
                        <a:pt x="648237" y="519248"/>
                      </a:lnTo>
                      <a:lnTo>
                        <a:pt x="623410" y="518917"/>
                      </a:lnTo>
                      <a:lnTo>
                        <a:pt x="598584" y="518571"/>
                      </a:lnTo>
                      <a:lnTo>
                        <a:pt x="573758" y="518211"/>
                      </a:lnTo>
                      <a:lnTo>
                        <a:pt x="548933" y="517836"/>
                      </a:lnTo>
                      <a:lnTo>
                        <a:pt x="524114" y="517447"/>
                      </a:lnTo>
                      <a:lnTo>
                        <a:pt x="499298" y="517035"/>
                      </a:lnTo>
                      <a:lnTo>
                        <a:pt x="474487" y="516608"/>
                      </a:lnTo>
                      <a:lnTo>
                        <a:pt x="449675" y="516175"/>
                      </a:lnTo>
                      <a:lnTo>
                        <a:pt x="424862" y="515727"/>
                      </a:lnTo>
                      <a:lnTo>
                        <a:pt x="400054" y="515265"/>
                      </a:lnTo>
                      <a:lnTo>
                        <a:pt x="375246" y="514788"/>
                      </a:lnTo>
                      <a:lnTo>
                        <a:pt x="350441" y="514297"/>
                      </a:lnTo>
                      <a:lnTo>
                        <a:pt x="325641" y="513791"/>
                      </a:lnTo>
                      <a:lnTo>
                        <a:pt x="300845" y="513270"/>
                      </a:lnTo>
                      <a:lnTo>
                        <a:pt x="276055" y="512735"/>
                      </a:lnTo>
                      <a:lnTo>
                        <a:pt x="251261" y="512184"/>
                      </a:lnTo>
                      <a:lnTo>
                        <a:pt x="226470" y="511620"/>
                      </a:lnTo>
                      <a:lnTo>
                        <a:pt x="201687" y="511036"/>
                      </a:lnTo>
                      <a:lnTo>
                        <a:pt x="176902" y="510438"/>
                      </a:lnTo>
                      <a:lnTo>
                        <a:pt x="152128" y="509830"/>
                      </a:lnTo>
                      <a:lnTo>
                        <a:pt x="127357" y="509207"/>
                      </a:lnTo>
                      <a:lnTo>
                        <a:pt x="102583" y="508569"/>
                      </a:lnTo>
                      <a:lnTo>
                        <a:pt x="77816" y="507916"/>
                      </a:lnTo>
                      <a:lnTo>
                        <a:pt x="53049" y="507249"/>
                      </a:lnTo>
                      <a:lnTo>
                        <a:pt x="28282" y="506567"/>
                      </a:lnTo>
                      <a:lnTo>
                        <a:pt x="0" y="505770"/>
                      </a:lnTo>
                      <a:lnTo>
                        <a:pt x="1879" y="484166"/>
                      </a:lnTo>
                      <a:lnTo>
                        <a:pt x="3750" y="462566"/>
                      </a:lnTo>
                      <a:lnTo>
                        <a:pt x="5588" y="440988"/>
                      </a:lnTo>
                      <a:lnTo>
                        <a:pt x="7517" y="419418"/>
                      </a:lnTo>
                      <a:lnTo>
                        <a:pt x="9455" y="397862"/>
                      </a:lnTo>
                      <a:lnTo>
                        <a:pt x="11389" y="376310"/>
                      </a:lnTo>
                      <a:lnTo>
                        <a:pt x="13326" y="354764"/>
                      </a:lnTo>
                      <a:lnTo>
                        <a:pt x="15398" y="333235"/>
                      </a:lnTo>
                      <a:lnTo>
                        <a:pt x="17392" y="311710"/>
                      </a:lnTo>
                      <a:lnTo>
                        <a:pt x="19263" y="290191"/>
                      </a:lnTo>
                      <a:lnTo>
                        <a:pt x="21221" y="268683"/>
                      </a:lnTo>
                      <a:lnTo>
                        <a:pt x="23180" y="247194"/>
                      </a:lnTo>
                      <a:lnTo>
                        <a:pt x="25219" y="225595"/>
                      </a:lnTo>
                      <a:lnTo>
                        <a:pt x="27186" y="204437"/>
                      </a:lnTo>
                      <a:lnTo>
                        <a:pt x="29179" y="182775"/>
                      </a:lnTo>
                      <a:lnTo>
                        <a:pt x="31127" y="161315"/>
                      </a:lnTo>
                      <a:lnTo>
                        <a:pt x="33579" y="161419"/>
                      </a:lnTo>
                      <a:lnTo>
                        <a:pt x="33882" y="159273"/>
                      </a:lnTo>
                      <a:lnTo>
                        <a:pt x="34803" y="149394"/>
                      </a:lnTo>
                      <a:lnTo>
                        <a:pt x="36472" y="130091"/>
                      </a:lnTo>
                      <a:lnTo>
                        <a:pt x="38136" y="111494"/>
                      </a:lnTo>
                      <a:lnTo>
                        <a:pt x="39800" y="92886"/>
                      </a:lnTo>
                      <a:lnTo>
                        <a:pt x="41471" y="74295"/>
                      </a:lnTo>
                      <a:lnTo>
                        <a:pt x="43147" y="55710"/>
                      </a:lnTo>
                      <a:lnTo>
                        <a:pt x="44827" y="37134"/>
                      </a:lnTo>
                      <a:lnTo>
                        <a:pt x="46510" y="18561"/>
                      </a:lnTo>
                      <a:lnTo>
                        <a:pt x="48203" y="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2" name="Freeform 52">
                  <a:extLst>
                    <a:ext uri="{FF2B5EF4-FFF2-40B4-BE49-F238E27FC236}">
                      <a16:creationId xmlns:a16="http://schemas.microsoft.com/office/drawing/2014/main" id="{CC69DFF2-89A0-41E0-89DE-AF249BB23C9E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>
                <a:xfrm>
                  <a:off x="3479990" y="5155393"/>
                  <a:ext cx="593109" cy="491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7247" h="727395">
                      <a:moveTo>
                        <a:pt x="528049" y="706853"/>
                      </a:moveTo>
                      <a:lnTo>
                        <a:pt x="534854" y="707422"/>
                      </a:lnTo>
                      <a:lnTo>
                        <a:pt x="538834" y="708445"/>
                      </a:lnTo>
                      <a:lnTo>
                        <a:pt x="532896" y="708511"/>
                      </a:lnTo>
                      <a:close/>
                      <a:moveTo>
                        <a:pt x="578432" y="704092"/>
                      </a:moveTo>
                      <a:lnTo>
                        <a:pt x="578154" y="704512"/>
                      </a:lnTo>
                      <a:lnTo>
                        <a:pt x="576132" y="705867"/>
                      </a:lnTo>
                      <a:lnTo>
                        <a:pt x="573419" y="706967"/>
                      </a:lnTo>
                      <a:lnTo>
                        <a:pt x="560692" y="710049"/>
                      </a:lnTo>
                      <a:lnTo>
                        <a:pt x="558050" y="710079"/>
                      </a:lnTo>
                      <a:lnTo>
                        <a:pt x="557685" y="708986"/>
                      </a:lnTo>
                      <a:lnTo>
                        <a:pt x="562197" y="707888"/>
                      </a:lnTo>
                      <a:lnTo>
                        <a:pt x="562998" y="707030"/>
                      </a:lnTo>
                      <a:lnTo>
                        <a:pt x="566448" y="705585"/>
                      </a:lnTo>
                      <a:lnTo>
                        <a:pt x="567429" y="705573"/>
                      </a:lnTo>
                      <a:lnTo>
                        <a:pt x="567922" y="706226"/>
                      </a:lnTo>
                      <a:lnTo>
                        <a:pt x="569376" y="706663"/>
                      </a:lnTo>
                      <a:lnTo>
                        <a:pt x="571503" y="706346"/>
                      </a:lnTo>
                      <a:lnTo>
                        <a:pt x="572721" y="705556"/>
                      </a:lnTo>
                      <a:lnTo>
                        <a:pt x="573214" y="705053"/>
                      </a:lnTo>
                      <a:lnTo>
                        <a:pt x="575979" y="705218"/>
                      </a:lnTo>
                      <a:lnTo>
                        <a:pt x="576814" y="705142"/>
                      </a:lnTo>
                      <a:lnTo>
                        <a:pt x="577345" y="704741"/>
                      </a:lnTo>
                      <a:close/>
                      <a:moveTo>
                        <a:pt x="600341" y="702506"/>
                      </a:moveTo>
                      <a:lnTo>
                        <a:pt x="610230" y="704318"/>
                      </a:lnTo>
                      <a:lnTo>
                        <a:pt x="614255" y="705770"/>
                      </a:lnTo>
                      <a:lnTo>
                        <a:pt x="616166" y="706778"/>
                      </a:lnTo>
                      <a:lnTo>
                        <a:pt x="616758" y="707320"/>
                      </a:lnTo>
                      <a:lnTo>
                        <a:pt x="616880" y="708014"/>
                      </a:lnTo>
                      <a:lnTo>
                        <a:pt x="615748" y="707998"/>
                      </a:lnTo>
                      <a:lnTo>
                        <a:pt x="608252" y="706458"/>
                      </a:lnTo>
                      <a:lnTo>
                        <a:pt x="600146" y="703490"/>
                      </a:lnTo>
                      <a:close/>
                      <a:moveTo>
                        <a:pt x="636667" y="701014"/>
                      </a:moveTo>
                      <a:lnTo>
                        <a:pt x="638302" y="701015"/>
                      </a:lnTo>
                      <a:lnTo>
                        <a:pt x="638353" y="702354"/>
                      </a:lnTo>
                      <a:lnTo>
                        <a:pt x="628002" y="706172"/>
                      </a:lnTo>
                      <a:lnTo>
                        <a:pt x="632539" y="702427"/>
                      </a:lnTo>
                      <a:lnTo>
                        <a:pt x="633820" y="701716"/>
                      </a:lnTo>
                      <a:lnTo>
                        <a:pt x="635178" y="701252"/>
                      </a:lnTo>
                      <a:close/>
                      <a:moveTo>
                        <a:pt x="611886" y="669252"/>
                      </a:moveTo>
                      <a:lnTo>
                        <a:pt x="612072" y="670932"/>
                      </a:lnTo>
                      <a:lnTo>
                        <a:pt x="611048" y="672277"/>
                      </a:lnTo>
                      <a:lnTo>
                        <a:pt x="609997" y="673292"/>
                      </a:lnTo>
                      <a:lnTo>
                        <a:pt x="609501" y="674563"/>
                      </a:lnTo>
                      <a:lnTo>
                        <a:pt x="609154" y="676557"/>
                      </a:lnTo>
                      <a:lnTo>
                        <a:pt x="608883" y="674051"/>
                      </a:lnTo>
                      <a:lnTo>
                        <a:pt x="609956" y="670022"/>
                      </a:lnTo>
                      <a:close/>
                      <a:moveTo>
                        <a:pt x="691872" y="667054"/>
                      </a:moveTo>
                      <a:lnTo>
                        <a:pt x="690672" y="668299"/>
                      </a:lnTo>
                      <a:lnTo>
                        <a:pt x="691973" y="669511"/>
                      </a:lnTo>
                      <a:lnTo>
                        <a:pt x="688610" y="671759"/>
                      </a:lnTo>
                      <a:lnTo>
                        <a:pt x="683006" y="674643"/>
                      </a:lnTo>
                      <a:lnTo>
                        <a:pt x="680865" y="677020"/>
                      </a:lnTo>
                      <a:lnTo>
                        <a:pt x="679715" y="677035"/>
                      </a:lnTo>
                      <a:lnTo>
                        <a:pt x="680615" y="673050"/>
                      </a:lnTo>
                      <a:lnTo>
                        <a:pt x="684311" y="671091"/>
                      </a:lnTo>
                      <a:lnTo>
                        <a:pt x="688442" y="669632"/>
                      </a:lnTo>
                      <a:lnTo>
                        <a:pt x="690622" y="667071"/>
                      </a:lnTo>
                      <a:close/>
                      <a:moveTo>
                        <a:pt x="698798" y="663500"/>
                      </a:moveTo>
                      <a:lnTo>
                        <a:pt x="698620" y="664469"/>
                      </a:lnTo>
                      <a:lnTo>
                        <a:pt x="696208" y="665987"/>
                      </a:lnTo>
                      <a:lnTo>
                        <a:pt x="694585" y="665891"/>
                      </a:lnTo>
                      <a:lnTo>
                        <a:pt x="695387" y="664563"/>
                      </a:lnTo>
                      <a:lnTo>
                        <a:pt x="696360" y="663907"/>
                      </a:lnTo>
                      <a:lnTo>
                        <a:pt x="697201" y="663690"/>
                      </a:lnTo>
                      <a:close/>
                      <a:moveTo>
                        <a:pt x="669039" y="624159"/>
                      </a:moveTo>
                      <a:lnTo>
                        <a:pt x="672535" y="625326"/>
                      </a:lnTo>
                      <a:lnTo>
                        <a:pt x="673819" y="626040"/>
                      </a:lnTo>
                      <a:lnTo>
                        <a:pt x="674614" y="626718"/>
                      </a:lnTo>
                      <a:lnTo>
                        <a:pt x="675955" y="627284"/>
                      </a:lnTo>
                      <a:lnTo>
                        <a:pt x="677805" y="627706"/>
                      </a:lnTo>
                      <a:lnTo>
                        <a:pt x="679451" y="628452"/>
                      </a:lnTo>
                      <a:lnTo>
                        <a:pt x="680487" y="629886"/>
                      </a:lnTo>
                      <a:lnTo>
                        <a:pt x="679934" y="630654"/>
                      </a:lnTo>
                      <a:lnTo>
                        <a:pt x="678203" y="630487"/>
                      </a:lnTo>
                      <a:lnTo>
                        <a:pt x="678270" y="631115"/>
                      </a:lnTo>
                      <a:lnTo>
                        <a:pt x="680029" y="632993"/>
                      </a:lnTo>
                      <a:lnTo>
                        <a:pt x="681550" y="633646"/>
                      </a:lnTo>
                      <a:lnTo>
                        <a:pt x="682743" y="633264"/>
                      </a:lnTo>
                      <a:lnTo>
                        <a:pt x="683302" y="632964"/>
                      </a:lnTo>
                      <a:lnTo>
                        <a:pt x="683459" y="632186"/>
                      </a:lnTo>
                      <a:lnTo>
                        <a:pt x="683730" y="632329"/>
                      </a:lnTo>
                      <a:lnTo>
                        <a:pt x="683912" y="633292"/>
                      </a:lnTo>
                      <a:lnTo>
                        <a:pt x="683920" y="633790"/>
                      </a:lnTo>
                      <a:lnTo>
                        <a:pt x="684191" y="633456"/>
                      </a:lnTo>
                      <a:lnTo>
                        <a:pt x="684496" y="633943"/>
                      </a:lnTo>
                      <a:lnTo>
                        <a:pt x="684520" y="635215"/>
                      </a:lnTo>
                      <a:lnTo>
                        <a:pt x="683856" y="635911"/>
                      </a:lnTo>
                      <a:lnTo>
                        <a:pt x="682982" y="635762"/>
                      </a:lnTo>
                      <a:lnTo>
                        <a:pt x="680545" y="636138"/>
                      </a:lnTo>
                      <a:lnTo>
                        <a:pt x="679582" y="635339"/>
                      </a:lnTo>
                      <a:lnTo>
                        <a:pt x="678922" y="633813"/>
                      </a:lnTo>
                      <a:lnTo>
                        <a:pt x="677776" y="632672"/>
                      </a:lnTo>
                      <a:lnTo>
                        <a:pt x="676478" y="632484"/>
                      </a:lnTo>
                      <a:lnTo>
                        <a:pt x="675645" y="633036"/>
                      </a:lnTo>
                      <a:lnTo>
                        <a:pt x="674708" y="633049"/>
                      </a:lnTo>
                      <a:lnTo>
                        <a:pt x="674055" y="632677"/>
                      </a:lnTo>
                      <a:lnTo>
                        <a:pt x="673384" y="632203"/>
                      </a:lnTo>
                      <a:lnTo>
                        <a:pt x="672603" y="631023"/>
                      </a:lnTo>
                      <a:lnTo>
                        <a:pt x="672693" y="630231"/>
                      </a:lnTo>
                      <a:lnTo>
                        <a:pt x="673108" y="630087"/>
                      </a:lnTo>
                      <a:lnTo>
                        <a:pt x="672207" y="629982"/>
                      </a:lnTo>
                      <a:lnTo>
                        <a:pt x="669819" y="630379"/>
                      </a:lnTo>
                      <a:lnTo>
                        <a:pt x="667616" y="630964"/>
                      </a:lnTo>
                      <a:lnTo>
                        <a:pt x="665939" y="630123"/>
                      </a:lnTo>
                      <a:lnTo>
                        <a:pt x="662939" y="626945"/>
                      </a:lnTo>
                      <a:lnTo>
                        <a:pt x="662730" y="625280"/>
                      </a:lnTo>
                      <a:lnTo>
                        <a:pt x="663751" y="624331"/>
                      </a:lnTo>
                      <a:lnTo>
                        <a:pt x="665225" y="624195"/>
                      </a:lnTo>
                      <a:lnTo>
                        <a:pt x="666707" y="624409"/>
                      </a:lnTo>
                      <a:close/>
                      <a:moveTo>
                        <a:pt x="822223" y="623200"/>
                      </a:moveTo>
                      <a:lnTo>
                        <a:pt x="822491" y="623430"/>
                      </a:lnTo>
                      <a:lnTo>
                        <a:pt x="822553" y="623882"/>
                      </a:lnTo>
                      <a:lnTo>
                        <a:pt x="822742" y="624443"/>
                      </a:lnTo>
                      <a:lnTo>
                        <a:pt x="821893" y="627178"/>
                      </a:lnTo>
                      <a:lnTo>
                        <a:pt x="819244" y="628879"/>
                      </a:lnTo>
                      <a:lnTo>
                        <a:pt x="815838" y="629648"/>
                      </a:lnTo>
                      <a:lnTo>
                        <a:pt x="812734" y="629607"/>
                      </a:lnTo>
                      <a:lnTo>
                        <a:pt x="818315" y="627591"/>
                      </a:lnTo>
                      <a:lnTo>
                        <a:pt x="820709" y="625945"/>
                      </a:lnTo>
                      <a:lnTo>
                        <a:pt x="821449" y="623344"/>
                      </a:lnTo>
                      <a:close/>
                      <a:moveTo>
                        <a:pt x="840574" y="612029"/>
                      </a:moveTo>
                      <a:lnTo>
                        <a:pt x="839938" y="613027"/>
                      </a:lnTo>
                      <a:lnTo>
                        <a:pt x="835185" y="618507"/>
                      </a:lnTo>
                      <a:lnTo>
                        <a:pt x="834012" y="619521"/>
                      </a:lnTo>
                      <a:lnTo>
                        <a:pt x="832857" y="620072"/>
                      </a:lnTo>
                      <a:lnTo>
                        <a:pt x="839414" y="612574"/>
                      </a:lnTo>
                      <a:lnTo>
                        <a:pt x="839773" y="612290"/>
                      </a:lnTo>
                      <a:close/>
                      <a:moveTo>
                        <a:pt x="362218" y="602994"/>
                      </a:moveTo>
                      <a:lnTo>
                        <a:pt x="371560" y="604873"/>
                      </a:lnTo>
                      <a:lnTo>
                        <a:pt x="374243" y="606456"/>
                      </a:lnTo>
                      <a:lnTo>
                        <a:pt x="378622" y="610382"/>
                      </a:lnTo>
                      <a:lnTo>
                        <a:pt x="383688" y="612402"/>
                      </a:lnTo>
                      <a:lnTo>
                        <a:pt x="383909" y="612788"/>
                      </a:lnTo>
                      <a:lnTo>
                        <a:pt x="388967" y="613770"/>
                      </a:lnTo>
                      <a:lnTo>
                        <a:pt x="393075" y="614039"/>
                      </a:lnTo>
                      <a:lnTo>
                        <a:pt x="395385" y="614609"/>
                      </a:lnTo>
                      <a:lnTo>
                        <a:pt x="396465" y="616037"/>
                      </a:lnTo>
                      <a:lnTo>
                        <a:pt x="395001" y="618696"/>
                      </a:lnTo>
                      <a:lnTo>
                        <a:pt x="389018" y="621953"/>
                      </a:lnTo>
                      <a:lnTo>
                        <a:pt x="386824" y="623799"/>
                      </a:lnTo>
                      <a:lnTo>
                        <a:pt x="386019" y="626803"/>
                      </a:lnTo>
                      <a:lnTo>
                        <a:pt x="386056" y="629272"/>
                      </a:lnTo>
                      <a:lnTo>
                        <a:pt x="385726" y="630568"/>
                      </a:lnTo>
                      <a:lnTo>
                        <a:pt x="384586" y="631083"/>
                      </a:lnTo>
                      <a:lnTo>
                        <a:pt x="382198" y="631193"/>
                      </a:lnTo>
                      <a:lnTo>
                        <a:pt x="375819" y="632370"/>
                      </a:lnTo>
                      <a:lnTo>
                        <a:pt x="366052" y="626496"/>
                      </a:lnTo>
                      <a:lnTo>
                        <a:pt x="364333" y="625773"/>
                      </a:lnTo>
                      <a:lnTo>
                        <a:pt x="362578" y="624204"/>
                      </a:lnTo>
                      <a:lnTo>
                        <a:pt x="345365" y="617394"/>
                      </a:lnTo>
                      <a:lnTo>
                        <a:pt x="342627" y="615022"/>
                      </a:lnTo>
                      <a:lnTo>
                        <a:pt x="342749" y="612493"/>
                      </a:lnTo>
                      <a:lnTo>
                        <a:pt x="346512" y="609313"/>
                      </a:lnTo>
                      <a:lnTo>
                        <a:pt x="349663" y="608365"/>
                      </a:lnTo>
                      <a:lnTo>
                        <a:pt x="352919" y="608036"/>
                      </a:lnTo>
                      <a:lnTo>
                        <a:pt x="356983" y="606787"/>
                      </a:lnTo>
                      <a:lnTo>
                        <a:pt x="357898" y="606012"/>
                      </a:lnTo>
                      <a:lnTo>
                        <a:pt x="359533" y="603770"/>
                      </a:lnTo>
                      <a:lnTo>
                        <a:pt x="360196" y="603194"/>
                      </a:lnTo>
                      <a:close/>
                      <a:moveTo>
                        <a:pt x="854124" y="597836"/>
                      </a:moveTo>
                      <a:lnTo>
                        <a:pt x="853443" y="598600"/>
                      </a:lnTo>
                      <a:lnTo>
                        <a:pt x="851931" y="599868"/>
                      </a:lnTo>
                      <a:lnTo>
                        <a:pt x="851697" y="599652"/>
                      </a:lnTo>
                      <a:lnTo>
                        <a:pt x="853222" y="598385"/>
                      </a:lnTo>
                      <a:close/>
                      <a:moveTo>
                        <a:pt x="868248" y="578790"/>
                      </a:moveTo>
                      <a:lnTo>
                        <a:pt x="865872" y="582808"/>
                      </a:lnTo>
                      <a:lnTo>
                        <a:pt x="860279" y="590489"/>
                      </a:lnTo>
                      <a:lnTo>
                        <a:pt x="858131" y="592286"/>
                      </a:lnTo>
                      <a:close/>
                      <a:moveTo>
                        <a:pt x="767704" y="569942"/>
                      </a:moveTo>
                      <a:lnTo>
                        <a:pt x="769807" y="571073"/>
                      </a:lnTo>
                      <a:lnTo>
                        <a:pt x="770627" y="571689"/>
                      </a:lnTo>
                      <a:lnTo>
                        <a:pt x="771225" y="572345"/>
                      </a:lnTo>
                      <a:lnTo>
                        <a:pt x="773591" y="573582"/>
                      </a:lnTo>
                      <a:lnTo>
                        <a:pt x="774707" y="575781"/>
                      </a:lnTo>
                      <a:lnTo>
                        <a:pt x="775340" y="578403"/>
                      </a:lnTo>
                      <a:lnTo>
                        <a:pt x="776251" y="580846"/>
                      </a:lnTo>
                      <a:lnTo>
                        <a:pt x="774062" y="580068"/>
                      </a:lnTo>
                      <a:lnTo>
                        <a:pt x="772794" y="578412"/>
                      </a:lnTo>
                      <a:lnTo>
                        <a:pt x="771893" y="576766"/>
                      </a:lnTo>
                      <a:lnTo>
                        <a:pt x="770823" y="576028"/>
                      </a:lnTo>
                      <a:lnTo>
                        <a:pt x="769482" y="576911"/>
                      </a:lnTo>
                      <a:lnTo>
                        <a:pt x="768034" y="581012"/>
                      </a:lnTo>
                      <a:lnTo>
                        <a:pt x="765885" y="582345"/>
                      </a:lnTo>
                      <a:lnTo>
                        <a:pt x="764867" y="574757"/>
                      </a:lnTo>
                      <a:lnTo>
                        <a:pt x="765321" y="572060"/>
                      </a:lnTo>
                      <a:close/>
                      <a:moveTo>
                        <a:pt x="800662" y="568240"/>
                      </a:moveTo>
                      <a:lnTo>
                        <a:pt x="800832" y="569445"/>
                      </a:lnTo>
                      <a:lnTo>
                        <a:pt x="798756" y="575610"/>
                      </a:lnTo>
                      <a:lnTo>
                        <a:pt x="790754" y="569370"/>
                      </a:lnTo>
                      <a:lnTo>
                        <a:pt x="790972" y="568366"/>
                      </a:lnTo>
                      <a:lnTo>
                        <a:pt x="796198" y="569515"/>
                      </a:lnTo>
                      <a:lnTo>
                        <a:pt x="797970" y="569173"/>
                      </a:lnTo>
                      <a:lnTo>
                        <a:pt x="799575" y="568447"/>
                      </a:lnTo>
                      <a:close/>
                      <a:moveTo>
                        <a:pt x="806628" y="543655"/>
                      </a:moveTo>
                      <a:lnTo>
                        <a:pt x="805958" y="544937"/>
                      </a:lnTo>
                      <a:lnTo>
                        <a:pt x="805989" y="545850"/>
                      </a:lnTo>
                      <a:lnTo>
                        <a:pt x="806582" y="546674"/>
                      </a:lnTo>
                      <a:lnTo>
                        <a:pt x="805755" y="547096"/>
                      </a:lnTo>
                      <a:lnTo>
                        <a:pt x="803316" y="547134"/>
                      </a:lnTo>
                      <a:lnTo>
                        <a:pt x="800218" y="547723"/>
                      </a:lnTo>
                      <a:lnTo>
                        <a:pt x="798457" y="548261"/>
                      </a:lnTo>
                      <a:lnTo>
                        <a:pt x="796971" y="548897"/>
                      </a:lnTo>
                      <a:lnTo>
                        <a:pt x="796677" y="548083"/>
                      </a:lnTo>
                      <a:lnTo>
                        <a:pt x="799302" y="545785"/>
                      </a:lnTo>
                      <a:lnTo>
                        <a:pt x="802238" y="544636"/>
                      </a:lnTo>
                      <a:close/>
                      <a:moveTo>
                        <a:pt x="799938" y="537714"/>
                      </a:moveTo>
                      <a:lnTo>
                        <a:pt x="798798" y="540662"/>
                      </a:lnTo>
                      <a:lnTo>
                        <a:pt x="796475" y="544929"/>
                      </a:lnTo>
                      <a:lnTo>
                        <a:pt x="795179" y="546718"/>
                      </a:lnTo>
                      <a:lnTo>
                        <a:pt x="792237" y="549488"/>
                      </a:lnTo>
                      <a:lnTo>
                        <a:pt x="791368" y="549728"/>
                      </a:lnTo>
                      <a:lnTo>
                        <a:pt x="792966" y="547876"/>
                      </a:lnTo>
                      <a:lnTo>
                        <a:pt x="794258" y="545986"/>
                      </a:lnTo>
                      <a:lnTo>
                        <a:pt x="795024" y="544272"/>
                      </a:lnTo>
                      <a:lnTo>
                        <a:pt x="796639" y="541353"/>
                      </a:lnTo>
                      <a:lnTo>
                        <a:pt x="799086" y="537720"/>
                      </a:lnTo>
                      <a:close/>
                      <a:moveTo>
                        <a:pt x="865752" y="522918"/>
                      </a:moveTo>
                      <a:lnTo>
                        <a:pt x="869504" y="524983"/>
                      </a:lnTo>
                      <a:lnTo>
                        <a:pt x="871418" y="528789"/>
                      </a:lnTo>
                      <a:lnTo>
                        <a:pt x="872947" y="533003"/>
                      </a:lnTo>
                      <a:lnTo>
                        <a:pt x="875497" y="536250"/>
                      </a:lnTo>
                      <a:lnTo>
                        <a:pt x="877247" y="548496"/>
                      </a:lnTo>
                      <a:lnTo>
                        <a:pt x="876310" y="563346"/>
                      </a:lnTo>
                      <a:lnTo>
                        <a:pt x="875090" y="567388"/>
                      </a:lnTo>
                      <a:lnTo>
                        <a:pt x="871304" y="574836"/>
                      </a:lnTo>
                      <a:lnTo>
                        <a:pt x="871451" y="573861"/>
                      </a:lnTo>
                      <a:lnTo>
                        <a:pt x="871368" y="572853"/>
                      </a:lnTo>
                      <a:lnTo>
                        <a:pt x="871005" y="571828"/>
                      </a:lnTo>
                      <a:lnTo>
                        <a:pt x="870304" y="570808"/>
                      </a:lnTo>
                      <a:lnTo>
                        <a:pt x="874733" y="561442"/>
                      </a:lnTo>
                      <a:lnTo>
                        <a:pt x="875573" y="558328"/>
                      </a:lnTo>
                      <a:lnTo>
                        <a:pt x="875205" y="548931"/>
                      </a:lnTo>
                      <a:lnTo>
                        <a:pt x="874961" y="546077"/>
                      </a:lnTo>
                      <a:lnTo>
                        <a:pt x="875932" y="544943"/>
                      </a:lnTo>
                      <a:lnTo>
                        <a:pt x="873302" y="540095"/>
                      </a:lnTo>
                      <a:lnTo>
                        <a:pt x="872476" y="537221"/>
                      </a:lnTo>
                      <a:lnTo>
                        <a:pt x="873178" y="535185"/>
                      </a:lnTo>
                      <a:lnTo>
                        <a:pt x="871976" y="533852"/>
                      </a:lnTo>
                      <a:lnTo>
                        <a:pt x="870033" y="527438"/>
                      </a:lnTo>
                      <a:lnTo>
                        <a:pt x="868312" y="524783"/>
                      </a:lnTo>
                      <a:close/>
                      <a:moveTo>
                        <a:pt x="773079" y="508264"/>
                      </a:moveTo>
                      <a:lnTo>
                        <a:pt x="773377" y="509304"/>
                      </a:lnTo>
                      <a:lnTo>
                        <a:pt x="772400" y="510969"/>
                      </a:lnTo>
                      <a:lnTo>
                        <a:pt x="771031" y="510420"/>
                      </a:lnTo>
                      <a:lnTo>
                        <a:pt x="772009" y="508762"/>
                      </a:lnTo>
                      <a:close/>
                      <a:moveTo>
                        <a:pt x="813639" y="504024"/>
                      </a:moveTo>
                      <a:lnTo>
                        <a:pt x="813697" y="505251"/>
                      </a:lnTo>
                      <a:lnTo>
                        <a:pt x="811500" y="506439"/>
                      </a:lnTo>
                      <a:lnTo>
                        <a:pt x="809462" y="508056"/>
                      </a:lnTo>
                      <a:lnTo>
                        <a:pt x="804985" y="512750"/>
                      </a:lnTo>
                      <a:lnTo>
                        <a:pt x="802748" y="516138"/>
                      </a:lnTo>
                      <a:lnTo>
                        <a:pt x="805094" y="517628"/>
                      </a:lnTo>
                      <a:lnTo>
                        <a:pt x="808068" y="518796"/>
                      </a:lnTo>
                      <a:lnTo>
                        <a:pt x="807653" y="521286"/>
                      </a:lnTo>
                      <a:lnTo>
                        <a:pt x="808613" y="523009"/>
                      </a:lnTo>
                      <a:lnTo>
                        <a:pt x="808801" y="523825"/>
                      </a:lnTo>
                      <a:lnTo>
                        <a:pt x="810011" y="522995"/>
                      </a:lnTo>
                      <a:lnTo>
                        <a:pt x="810951" y="522141"/>
                      </a:lnTo>
                      <a:lnTo>
                        <a:pt x="811662" y="521173"/>
                      </a:lnTo>
                      <a:lnTo>
                        <a:pt x="812132" y="519989"/>
                      </a:lnTo>
                      <a:lnTo>
                        <a:pt x="813151" y="519973"/>
                      </a:lnTo>
                      <a:lnTo>
                        <a:pt x="813448" y="522935"/>
                      </a:lnTo>
                      <a:lnTo>
                        <a:pt x="812846" y="525472"/>
                      </a:lnTo>
                      <a:lnTo>
                        <a:pt x="811350" y="526855"/>
                      </a:lnTo>
                      <a:lnTo>
                        <a:pt x="808918" y="526279"/>
                      </a:lnTo>
                      <a:lnTo>
                        <a:pt x="807945" y="528310"/>
                      </a:lnTo>
                      <a:lnTo>
                        <a:pt x="806799" y="527934"/>
                      </a:lnTo>
                      <a:lnTo>
                        <a:pt x="804316" y="525013"/>
                      </a:lnTo>
                      <a:lnTo>
                        <a:pt x="803776" y="524181"/>
                      </a:lnTo>
                      <a:lnTo>
                        <a:pt x="803238" y="522947"/>
                      </a:lnTo>
                      <a:lnTo>
                        <a:pt x="802497" y="521840"/>
                      </a:lnTo>
                      <a:lnTo>
                        <a:pt x="801259" y="521385"/>
                      </a:lnTo>
                      <a:lnTo>
                        <a:pt x="800137" y="521811"/>
                      </a:lnTo>
                      <a:lnTo>
                        <a:pt x="799294" y="522701"/>
                      </a:lnTo>
                      <a:lnTo>
                        <a:pt x="798802" y="523586"/>
                      </a:lnTo>
                      <a:lnTo>
                        <a:pt x="798705" y="523982"/>
                      </a:lnTo>
                      <a:lnTo>
                        <a:pt x="797476" y="523847"/>
                      </a:lnTo>
                      <a:lnTo>
                        <a:pt x="796726" y="523412"/>
                      </a:lnTo>
                      <a:lnTo>
                        <a:pt x="796216" y="522909"/>
                      </a:lnTo>
                      <a:lnTo>
                        <a:pt x="795665" y="522699"/>
                      </a:lnTo>
                      <a:lnTo>
                        <a:pt x="794548" y="523095"/>
                      </a:lnTo>
                      <a:lnTo>
                        <a:pt x="793635" y="523950"/>
                      </a:lnTo>
                      <a:lnTo>
                        <a:pt x="793060" y="524798"/>
                      </a:lnTo>
                      <a:lnTo>
                        <a:pt x="792890" y="525189"/>
                      </a:lnTo>
                      <a:lnTo>
                        <a:pt x="789556" y="525860"/>
                      </a:lnTo>
                      <a:lnTo>
                        <a:pt x="788336" y="525214"/>
                      </a:lnTo>
                      <a:lnTo>
                        <a:pt x="787217" y="522828"/>
                      </a:lnTo>
                      <a:lnTo>
                        <a:pt x="789170" y="522527"/>
                      </a:lnTo>
                      <a:lnTo>
                        <a:pt x="791390" y="521887"/>
                      </a:lnTo>
                      <a:lnTo>
                        <a:pt x="793170" y="520939"/>
                      </a:lnTo>
                      <a:lnTo>
                        <a:pt x="793874" y="519657"/>
                      </a:lnTo>
                      <a:lnTo>
                        <a:pt x="794967" y="519494"/>
                      </a:lnTo>
                      <a:lnTo>
                        <a:pt x="797094" y="519462"/>
                      </a:lnTo>
                      <a:lnTo>
                        <a:pt x="798412" y="518448"/>
                      </a:lnTo>
                      <a:lnTo>
                        <a:pt x="797061" y="515313"/>
                      </a:lnTo>
                      <a:lnTo>
                        <a:pt x="799562" y="514470"/>
                      </a:lnTo>
                      <a:lnTo>
                        <a:pt x="801857" y="513280"/>
                      </a:lnTo>
                      <a:lnTo>
                        <a:pt x="805889" y="510281"/>
                      </a:lnTo>
                      <a:lnTo>
                        <a:pt x="808939" y="506567"/>
                      </a:lnTo>
                      <a:lnTo>
                        <a:pt x="811085" y="504700"/>
                      </a:lnTo>
                      <a:close/>
                      <a:moveTo>
                        <a:pt x="466267" y="0"/>
                      </a:moveTo>
                      <a:lnTo>
                        <a:pt x="466211" y="5845"/>
                      </a:lnTo>
                      <a:lnTo>
                        <a:pt x="467174" y="7572"/>
                      </a:lnTo>
                      <a:lnTo>
                        <a:pt x="469396" y="8872"/>
                      </a:lnTo>
                      <a:lnTo>
                        <a:pt x="472159" y="9674"/>
                      </a:lnTo>
                      <a:lnTo>
                        <a:pt x="474724" y="9942"/>
                      </a:lnTo>
                      <a:lnTo>
                        <a:pt x="476821" y="10682"/>
                      </a:lnTo>
                      <a:lnTo>
                        <a:pt x="478931" y="12444"/>
                      </a:lnTo>
                      <a:lnTo>
                        <a:pt x="482204" y="16039"/>
                      </a:lnTo>
                      <a:lnTo>
                        <a:pt x="480725" y="19145"/>
                      </a:lnTo>
                      <a:lnTo>
                        <a:pt x="478537" y="22343"/>
                      </a:lnTo>
                      <a:lnTo>
                        <a:pt x="476170" y="24842"/>
                      </a:lnTo>
                      <a:lnTo>
                        <a:pt x="474162" y="25871"/>
                      </a:lnTo>
                      <a:lnTo>
                        <a:pt x="472671" y="27673"/>
                      </a:lnTo>
                      <a:lnTo>
                        <a:pt x="470305" y="36271"/>
                      </a:lnTo>
                      <a:lnTo>
                        <a:pt x="469363" y="43338"/>
                      </a:lnTo>
                      <a:lnTo>
                        <a:pt x="469903" y="45999"/>
                      </a:lnTo>
                      <a:lnTo>
                        <a:pt x="471968" y="47448"/>
                      </a:lnTo>
                      <a:lnTo>
                        <a:pt x="480041" y="48604"/>
                      </a:lnTo>
                      <a:lnTo>
                        <a:pt x="483032" y="50718"/>
                      </a:lnTo>
                      <a:lnTo>
                        <a:pt x="483903" y="53840"/>
                      </a:lnTo>
                      <a:lnTo>
                        <a:pt x="481450" y="57638"/>
                      </a:lnTo>
                      <a:lnTo>
                        <a:pt x="478441" y="58419"/>
                      </a:lnTo>
                      <a:lnTo>
                        <a:pt x="473977" y="58647"/>
                      </a:lnTo>
                      <a:lnTo>
                        <a:pt x="469957" y="59457"/>
                      </a:lnTo>
                      <a:lnTo>
                        <a:pt x="468279" y="62000"/>
                      </a:lnTo>
                      <a:lnTo>
                        <a:pt x="468719" y="65868"/>
                      </a:lnTo>
                      <a:lnTo>
                        <a:pt x="469710" y="69260"/>
                      </a:lnTo>
                      <a:lnTo>
                        <a:pt x="471215" y="72184"/>
                      </a:lnTo>
                      <a:lnTo>
                        <a:pt x="473193" y="74667"/>
                      </a:lnTo>
                      <a:lnTo>
                        <a:pt x="474889" y="75918"/>
                      </a:lnTo>
                      <a:lnTo>
                        <a:pt x="478871" y="78190"/>
                      </a:lnTo>
                      <a:lnTo>
                        <a:pt x="480143" y="79564"/>
                      </a:lnTo>
                      <a:lnTo>
                        <a:pt x="480570" y="81657"/>
                      </a:lnTo>
                      <a:lnTo>
                        <a:pt x="480168" y="83795"/>
                      </a:lnTo>
                      <a:lnTo>
                        <a:pt x="479527" y="85797"/>
                      </a:lnTo>
                      <a:lnTo>
                        <a:pt x="479224" y="87489"/>
                      </a:lnTo>
                      <a:lnTo>
                        <a:pt x="479156" y="94809"/>
                      </a:lnTo>
                      <a:lnTo>
                        <a:pt x="479844" y="97718"/>
                      </a:lnTo>
                      <a:lnTo>
                        <a:pt x="481919" y="100240"/>
                      </a:lnTo>
                      <a:lnTo>
                        <a:pt x="487455" y="103200"/>
                      </a:lnTo>
                      <a:lnTo>
                        <a:pt x="492552" y="105093"/>
                      </a:lnTo>
                      <a:lnTo>
                        <a:pt x="496369" y="108361"/>
                      </a:lnTo>
                      <a:lnTo>
                        <a:pt x="498072" y="115434"/>
                      </a:lnTo>
                      <a:lnTo>
                        <a:pt x="499252" y="116731"/>
                      </a:lnTo>
                      <a:lnTo>
                        <a:pt x="501970" y="117669"/>
                      </a:lnTo>
                      <a:lnTo>
                        <a:pt x="507701" y="118413"/>
                      </a:lnTo>
                      <a:lnTo>
                        <a:pt x="511424" y="119677"/>
                      </a:lnTo>
                      <a:lnTo>
                        <a:pt x="512625" y="122433"/>
                      </a:lnTo>
                      <a:lnTo>
                        <a:pt x="512170" y="124982"/>
                      </a:lnTo>
                      <a:lnTo>
                        <a:pt x="510909" y="125573"/>
                      </a:lnTo>
                      <a:lnTo>
                        <a:pt x="510955" y="126792"/>
                      </a:lnTo>
                      <a:lnTo>
                        <a:pt x="503803" y="133724"/>
                      </a:lnTo>
                      <a:lnTo>
                        <a:pt x="499097" y="145149"/>
                      </a:lnTo>
                      <a:lnTo>
                        <a:pt x="493827" y="154212"/>
                      </a:lnTo>
                      <a:lnTo>
                        <a:pt x="485013" y="154021"/>
                      </a:lnTo>
                      <a:lnTo>
                        <a:pt x="483557" y="155441"/>
                      </a:lnTo>
                      <a:lnTo>
                        <a:pt x="483022" y="157286"/>
                      </a:lnTo>
                      <a:lnTo>
                        <a:pt x="483003" y="159052"/>
                      </a:lnTo>
                      <a:lnTo>
                        <a:pt x="483111" y="160253"/>
                      </a:lnTo>
                      <a:lnTo>
                        <a:pt x="488258" y="165491"/>
                      </a:lnTo>
                      <a:lnTo>
                        <a:pt x="488457" y="172009"/>
                      </a:lnTo>
                      <a:lnTo>
                        <a:pt x="485040" y="178135"/>
                      </a:lnTo>
                      <a:lnTo>
                        <a:pt x="479341" y="182234"/>
                      </a:lnTo>
                      <a:lnTo>
                        <a:pt x="474287" y="183772"/>
                      </a:lnTo>
                      <a:lnTo>
                        <a:pt x="472724" y="184753"/>
                      </a:lnTo>
                      <a:lnTo>
                        <a:pt x="471499" y="186345"/>
                      </a:lnTo>
                      <a:lnTo>
                        <a:pt x="470033" y="190047"/>
                      </a:lnTo>
                      <a:lnTo>
                        <a:pt x="469011" y="191554"/>
                      </a:lnTo>
                      <a:lnTo>
                        <a:pt x="461792" y="199786"/>
                      </a:lnTo>
                      <a:lnTo>
                        <a:pt x="458714" y="202092"/>
                      </a:lnTo>
                      <a:lnTo>
                        <a:pt x="455615" y="203222"/>
                      </a:lnTo>
                      <a:lnTo>
                        <a:pt x="448770" y="204729"/>
                      </a:lnTo>
                      <a:lnTo>
                        <a:pt x="446002" y="206448"/>
                      </a:lnTo>
                      <a:lnTo>
                        <a:pt x="443602" y="209574"/>
                      </a:lnTo>
                      <a:lnTo>
                        <a:pt x="442181" y="212708"/>
                      </a:lnTo>
                      <a:lnTo>
                        <a:pt x="440287" y="219370"/>
                      </a:lnTo>
                      <a:lnTo>
                        <a:pt x="435567" y="227944"/>
                      </a:lnTo>
                      <a:lnTo>
                        <a:pt x="434988" y="231073"/>
                      </a:lnTo>
                      <a:lnTo>
                        <a:pt x="434861" y="234599"/>
                      </a:lnTo>
                      <a:lnTo>
                        <a:pt x="432263" y="250070"/>
                      </a:lnTo>
                      <a:lnTo>
                        <a:pt x="432289" y="254346"/>
                      </a:lnTo>
                      <a:lnTo>
                        <a:pt x="431531" y="256273"/>
                      </a:lnTo>
                      <a:lnTo>
                        <a:pt x="431388" y="257505"/>
                      </a:lnTo>
                      <a:lnTo>
                        <a:pt x="420120" y="265345"/>
                      </a:lnTo>
                      <a:lnTo>
                        <a:pt x="416498" y="270637"/>
                      </a:lnTo>
                      <a:lnTo>
                        <a:pt x="417496" y="278399"/>
                      </a:lnTo>
                      <a:lnTo>
                        <a:pt x="418245" y="279722"/>
                      </a:lnTo>
                      <a:lnTo>
                        <a:pt x="419977" y="281759"/>
                      </a:lnTo>
                      <a:lnTo>
                        <a:pt x="422178" y="285499"/>
                      </a:lnTo>
                      <a:lnTo>
                        <a:pt x="422501" y="286547"/>
                      </a:lnTo>
                      <a:lnTo>
                        <a:pt x="422367" y="290057"/>
                      </a:lnTo>
                      <a:lnTo>
                        <a:pt x="422064" y="291645"/>
                      </a:lnTo>
                      <a:lnTo>
                        <a:pt x="420576" y="293289"/>
                      </a:lnTo>
                      <a:lnTo>
                        <a:pt x="418702" y="304869"/>
                      </a:lnTo>
                      <a:lnTo>
                        <a:pt x="417719" y="307656"/>
                      </a:lnTo>
                      <a:lnTo>
                        <a:pt x="415770" y="309637"/>
                      </a:lnTo>
                      <a:lnTo>
                        <a:pt x="412299" y="310420"/>
                      </a:lnTo>
                      <a:lnTo>
                        <a:pt x="404528" y="310203"/>
                      </a:lnTo>
                      <a:lnTo>
                        <a:pt x="400670" y="310553"/>
                      </a:lnTo>
                      <a:lnTo>
                        <a:pt x="398245" y="311782"/>
                      </a:lnTo>
                      <a:lnTo>
                        <a:pt x="398062" y="314670"/>
                      </a:lnTo>
                      <a:lnTo>
                        <a:pt x="399882" y="318259"/>
                      </a:lnTo>
                      <a:lnTo>
                        <a:pt x="402547" y="321314"/>
                      </a:lnTo>
                      <a:lnTo>
                        <a:pt x="404868" y="322596"/>
                      </a:lnTo>
                      <a:lnTo>
                        <a:pt x="405741" y="323513"/>
                      </a:lnTo>
                      <a:lnTo>
                        <a:pt x="405503" y="325533"/>
                      </a:lnTo>
                      <a:lnTo>
                        <a:pt x="404855" y="327465"/>
                      </a:lnTo>
                      <a:lnTo>
                        <a:pt x="404484" y="328150"/>
                      </a:lnTo>
                      <a:lnTo>
                        <a:pt x="404110" y="330093"/>
                      </a:lnTo>
                      <a:lnTo>
                        <a:pt x="402467" y="333224"/>
                      </a:lnTo>
                      <a:lnTo>
                        <a:pt x="402340" y="334941"/>
                      </a:lnTo>
                      <a:lnTo>
                        <a:pt x="404423" y="339938"/>
                      </a:lnTo>
                      <a:lnTo>
                        <a:pt x="409636" y="345590"/>
                      </a:lnTo>
                      <a:lnTo>
                        <a:pt x="410803" y="350182"/>
                      </a:lnTo>
                      <a:lnTo>
                        <a:pt x="398203" y="360319"/>
                      </a:lnTo>
                      <a:lnTo>
                        <a:pt x="399177" y="360308"/>
                      </a:lnTo>
                      <a:lnTo>
                        <a:pt x="406819" y="360231"/>
                      </a:lnTo>
                      <a:lnTo>
                        <a:pt x="410124" y="360198"/>
                      </a:lnTo>
                      <a:lnTo>
                        <a:pt x="419489" y="360101"/>
                      </a:lnTo>
                      <a:lnTo>
                        <a:pt x="434052" y="359948"/>
                      </a:lnTo>
                      <a:lnTo>
                        <a:pt x="452925" y="359753"/>
                      </a:lnTo>
                      <a:lnTo>
                        <a:pt x="475256" y="359507"/>
                      </a:lnTo>
                      <a:lnTo>
                        <a:pt x="500174" y="359227"/>
                      </a:lnTo>
                      <a:lnTo>
                        <a:pt x="526824" y="358914"/>
                      </a:lnTo>
                      <a:lnTo>
                        <a:pt x="554330" y="358579"/>
                      </a:lnTo>
                      <a:lnTo>
                        <a:pt x="581838" y="358233"/>
                      </a:lnTo>
                      <a:lnTo>
                        <a:pt x="608482" y="357886"/>
                      </a:lnTo>
                      <a:lnTo>
                        <a:pt x="612613" y="357831"/>
                      </a:lnTo>
                      <a:lnTo>
                        <a:pt x="633397" y="357553"/>
                      </a:lnTo>
                      <a:lnTo>
                        <a:pt x="655717" y="357247"/>
                      </a:lnTo>
                      <a:lnTo>
                        <a:pt x="674577" y="356982"/>
                      </a:lnTo>
                      <a:lnTo>
                        <a:pt x="689117" y="356784"/>
                      </a:lnTo>
                      <a:lnTo>
                        <a:pt x="698478" y="356649"/>
                      </a:lnTo>
                      <a:lnTo>
                        <a:pt x="701786" y="356600"/>
                      </a:lnTo>
                      <a:lnTo>
                        <a:pt x="708873" y="356497"/>
                      </a:lnTo>
                      <a:lnTo>
                        <a:pt x="715052" y="356406"/>
                      </a:lnTo>
                      <a:lnTo>
                        <a:pt x="715681" y="359073"/>
                      </a:lnTo>
                      <a:lnTo>
                        <a:pt x="714847" y="365309"/>
                      </a:lnTo>
                      <a:lnTo>
                        <a:pt x="712991" y="371765"/>
                      </a:lnTo>
                      <a:lnTo>
                        <a:pt x="709462" y="378400"/>
                      </a:lnTo>
                      <a:lnTo>
                        <a:pt x="707343" y="388841"/>
                      </a:lnTo>
                      <a:lnTo>
                        <a:pt x="703449" y="393473"/>
                      </a:lnTo>
                      <a:lnTo>
                        <a:pt x="702118" y="396560"/>
                      </a:lnTo>
                      <a:lnTo>
                        <a:pt x="703323" y="399911"/>
                      </a:lnTo>
                      <a:lnTo>
                        <a:pt x="700456" y="406420"/>
                      </a:lnTo>
                      <a:lnTo>
                        <a:pt x="699401" y="410329"/>
                      </a:lnTo>
                      <a:lnTo>
                        <a:pt x="699308" y="413542"/>
                      </a:lnTo>
                      <a:lnTo>
                        <a:pt x="701051" y="416199"/>
                      </a:lnTo>
                      <a:lnTo>
                        <a:pt x="703713" y="418918"/>
                      </a:lnTo>
                      <a:lnTo>
                        <a:pt x="705149" y="421992"/>
                      </a:lnTo>
                      <a:lnTo>
                        <a:pt x="703226" y="425722"/>
                      </a:lnTo>
                      <a:lnTo>
                        <a:pt x="707930" y="434325"/>
                      </a:lnTo>
                      <a:lnTo>
                        <a:pt x="710593" y="436747"/>
                      </a:lnTo>
                      <a:lnTo>
                        <a:pt x="715960" y="438604"/>
                      </a:lnTo>
                      <a:lnTo>
                        <a:pt x="718732" y="440338"/>
                      </a:lnTo>
                      <a:lnTo>
                        <a:pt x="721204" y="445869"/>
                      </a:lnTo>
                      <a:lnTo>
                        <a:pt x="725999" y="448869"/>
                      </a:lnTo>
                      <a:lnTo>
                        <a:pt x="728954" y="453573"/>
                      </a:lnTo>
                      <a:lnTo>
                        <a:pt x="729483" y="454839"/>
                      </a:lnTo>
                      <a:lnTo>
                        <a:pt x="729669" y="456364"/>
                      </a:lnTo>
                      <a:lnTo>
                        <a:pt x="729565" y="459549"/>
                      </a:lnTo>
                      <a:lnTo>
                        <a:pt x="729761" y="461066"/>
                      </a:lnTo>
                      <a:lnTo>
                        <a:pt x="730992" y="463890"/>
                      </a:lnTo>
                      <a:lnTo>
                        <a:pt x="736058" y="470775"/>
                      </a:lnTo>
                      <a:lnTo>
                        <a:pt x="736986" y="473796"/>
                      </a:lnTo>
                      <a:lnTo>
                        <a:pt x="737037" y="481168"/>
                      </a:lnTo>
                      <a:lnTo>
                        <a:pt x="740447" y="486340"/>
                      </a:lnTo>
                      <a:lnTo>
                        <a:pt x="745785" y="497227"/>
                      </a:lnTo>
                      <a:lnTo>
                        <a:pt x="749784" y="501308"/>
                      </a:lnTo>
                      <a:lnTo>
                        <a:pt x="751036" y="499428"/>
                      </a:lnTo>
                      <a:lnTo>
                        <a:pt x="752991" y="498707"/>
                      </a:lnTo>
                      <a:lnTo>
                        <a:pt x="755068" y="499267"/>
                      </a:lnTo>
                      <a:lnTo>
                        <a:pt x="756205" y="500546"/>
                      </a:lnTo>
                      <a:lnTo>
                        <a:pt x="756203" y="500548"/>
                      </a:lnTo>
                      <a:lnTo>
                        <a:pt x="754584" y="502806"/>
                      </a:lnTo>
                      <a:lnTo>
                        <a:pt x="749890" y="505900"/>
                      </a:lnTo>
                      <a:lnTo>
                        <a:pt x="744902" y="507332"/>
                      </a:lnTo>
                      <a:lnTo>
                        <a:pt x="741986" y="505110"/>
                      </a:lnTo>
                      <a:lnTo>
                        <a:pt x="743599" y="505065"/>
                      </a:lnTo>
                      <a:lnTo>
                        <a:pt x="744623" y="504735"/>
                      </a:lnTo>
                      <a:lnTo>
                        <a:pt x="746467" y="503832"/>
                      </a:lnTo>
                      <a:lnTo>
                        <a:pt x="744639" y="501756"/>
                      </a:lnTo>
                      <a:lnTo>
                        <a:pt x="742368" y="502016"/>
                      </a:lnTo>
                      <a:lnTo>
                        <a:pt x="739755" y="503229"/>
                      </a:lnTo>
                      <a:lnTo>
                        <a:pt x="736891" y="503972"/>
                      </a:lnTo>
                      <a:lnTo>
                        <a:pt x="731363" y="503096"/>
                      </a:lnTo>
                      <a:lnTo>
                        <a:pt x="728725" y="503010"/>
                      </a:lnTo>
                      <a:lnTo>
                        <a:pt x="726094" y="504128"/>
                      </a:lnTo>
                      <a:lnTo>
                        <a:pt x="724894" y="503401"/>
                      </a:lnTo>
                      <a:lnTo>
                        <a:pt x="721429" y="502458"/>
                      </a:lnTo>
                      <a:lnTo>
                        <a:pt x="720211" y="501759"/>
                      </a:lnTo>
                      <a:lnTo>
                        <a:pt x="719328" y="500290"/>
                      </a:lnTo>
                      <a:lnTo>
                        <a:pt x="719379" y="499129"/>
                      </a:lnTo>
                      <a:lnTo>
                        <a:pt x="719770" y="497896"/>
                      </a:lnTo>
                      <a:lnTo>
                        <a:pt x="719966" y="496185"/>
                      </a:lnTo>
                      <a:lnTo>
                        <a:pt x="718466" y="493096"/>
                      </a:lnTo>
                      <a:lnTo>
                        <a:pt x="715319" y="492725"/>
                      </a:lnTo>
                      <a:lnTo>
                        <a:pt x="709701" y="494557"/>
                      </a:lnTo>
                      <a:lnTo>
                        <a:pt x="706114" y="494309"/>
                      </a:lnTo>
                      <a:lnTo>
                        <a:pt x="699972" y="489657"/>
                      </a:lnTo>
                      <a:lnTo>
                        <a:pt x="696319" y="488504"/>
                      </a:lnTo>
                      <a:lnTo>
                        <a:pt x="694507" y="488734"/>
                      </a:lnTo>
                      <a:lnTo>
                        <a:pt x="691426" y="489602"/>
                      </a:lnTo>
                      <a:lnTo>
                        <a:pt x="689634" y="489838"/>
                      </a:lnTo>
                      <a:lnTo>
                        <a:pt x="682169" y="488701"/>
                      </a:lnTo>
                      <a:lnTo>
                        <a:pt x="680537" y="486811"/>
                      </a:lnTo>
                      <a:lnTo>
                        <a:pt x="676719" y="480105"/>
                      </a:lnTo>
                      <a:lnTo>
                        <a:pt x="675971" y="478385"/>
                      </a:lnTo>
                      <a:lnTo>
                        <a:pt x="674488" y="477771"/>
                      </a:lnTo>
                      <a:lnTo>
                        <a:pt x="666642" y="471769"/>
                      </a:lnTo>
                      <a:lnTo>
                        <a:pt x="660328" y="469448"/>
                      </a:lnTo>
                      <a:lnTo>
                        <a:pt x="652385" y="467519"/>
                      </a:lnTo>
                      <a:lnTo>
                        <a:pt x="644728" y="466593"/>
                      </a:lnTo>
                      <a:lnTo>
                        <a:pt x="639293" y="467242"/>
                      </a:lnTo>
                      <a:lnTo>
                        <a:pt x="635572" y="469780"/>
                      </a:lnTo>
                      <a:lnTo>
                        <a:pt x="631923" y="473600"/>
                      </a:lnTo>
                      <a:lnTo>
                        <a:pt x="626106" y="482112"/>
                      </a:lnTo>
                      <a:lnTo>
                        <a:pt x="622075" y="487478"/>
                      </a:lnTo>
                      <a:lnTo>
                        <a:pt x="610225" y="497652"/>
                      </a:lnTo>
                      <a:lnTo>
                        <a:pt x="606555" y="503297"/>
                      </a:lnTo>
                      <a:lnTo>
                        <a:pt x="606124" y="511493"/>
                      </a:lnTo>
                      <a:lnTo>
                        <a:pt x="609520" y="518035"/>
                      </a:lnTo>
                      <a:lnTo>
                        <a:pt x="615358" y="522663"/>
                      </a:lnTo>
                      <a:lnTo>
                        <a:pt x="622249" y="525144"/>
                      </a:lnTo>
                      <a:lnTo>
                        <a:pt x="634392" y="526053"/>
                      </a:lnTo>
                      <a:lnTo>
                        <a:pt x="640384" y="529633"/>
                      </a:lnTo>
                      <a:lnTo>
                        <a:pt x="650901" y="532233"/>
                      </a:lnTo>
                      <a:lnTo>
                        <a:pt x="654758" y="532299"/>
                      </a:lnTo>
                      <a:lnTo>
                        <a:pt x="661432" y="530194"/>
                      </a:lnTo>
                      <a:lnTo>
                        <a:pt x="672604" y="529109"/>
                      </a:lnTo>
                      <a:lnTo>
                        <a:pt x="676011" y="528288"/>
                      </a:lnTo>
                      <a:lnTo>
                        <a:pt x="679242" y="526834"/>
                      </a:lnTo>
                      <a:lnTo>
                        <a:pt x="690393" y="518947"/>
                      </a:lnTo>
                      <a:lnTo>
                        <a:pt x="694797" y="514000"/>
                      </a:lnTo>
                      <a:lnTo>
                        <a:pt x="697718" y="508198"/>
                      </a:lnTo>
                      <a:lnTo>
                        <a:pt x="701586" y="508801"/>
                      </a:lnTo>
                      <a:lnTo>
                        <a:pt x="702962" y="509833"/>
                      </a:lnTo>
                      <a:lnTo>
                        <a:pt x="703575" y="512468"/>
                      </a:lnTo>
                      <a:lnTo>
                        <a:pt x="704573" y="514308"/>
                      </a:lnTo>
                      <a:lnTo>
                        <a:pt x="706818" y="515928"/>
                      </a:lnTo>
                      <a:lnTo>
                        <a:pt x="709521" y="517174"/>
                      </a:lnTo>
                      <a:lnTo>
                        <a:pt x="711850" y="517923"/>
                      </a:lnTo>
                      <a:lnTo>
                        <a:pt x="713354" y="518026"/>
                      </a:lnTo>
                      <a:lnTo>
                        <a:pt x="713747" y="517261"/>
                      </a:lnTo>
                      <a:lnTo>
                        <a:pt x="714134" y="515736"/>
                      </a:lnTo>
                      <a:lnTo>
                        <a:pt x="717577" y="511203"/>
                      </a:lnTo>
                      <a:lnTo>
                        <a:pt x="718930" y="508927"/>
                      </a:lnTo>
                      <a:lnTo>
                        <a:pt x="719809" y="506629"/>
                      </a:lnTo>
                      <a:lnTo>
                        <a:pt x="720318" y="504211"/>
                      </a:lnTo>
                      <a:lnTo>
                        <a:pt x="721452" y="504195"/>
                      </a:lnTo>
                      <a:lnTo>
                        <a:pt x="722800" y="506615"/>
                      </a:lnTo>
                      <a:lnTo>
                        <a:pt x="721183" y="508858"/>
                      </a:lnTo>
                      <a:lnTo>
                        <a:pt x="719544" y="513541"/>
                      </a:lnTo>
                      <a:lnTo>
                        <a:pt x="718532" y="515250"/>
                      </a:lnTo>
                      <a:lnTo>
                        <a:pt x="719010" y="515696"/>
                      </a:lnTo>
                      <a:lnTo>
                        <a:pt x="719665" y="516139"/>
                      </a:lnTo>
                      <a:lnTo>
                        <a:pt x="720341" y="516773"/>
                      </a:lnTo>
                      <a:lnTo>
                        <a:pt x="720913" y="517794"/>
                      </a:lnTo>
                      <a:lnTo>
                        <a:pt x="722994" y="513470"/>
                      </a:lnTo>
                      <a:lnTo>
                        <a:pt x="723074" y="512855"/>
                      </a:lnTo>
                      <a:lnTo>
                        <a:pt x="724082" y="512731"/>
                      </a:lnTo>
                      <a:lnTo>
                        <a:pt x="726610" y="513068"/>
                      </a:lnTo>
                      <a:lnTo>
                        <a:pt x="727496" y="512792"/>
                      </a:lnTo>
                      <a:lnTo>
                        <a:pt x="729718" y="511262"/>
                      </a:lnTo>
                      <a:lnTo>
                        <a:pt x="730518" y="510389"/>
                      </a:lnTo>
                      <a:lnTo>
                        <a:pt x="730832" y="508953"/>
                      </a:lnTo>
                      <a:lnTo>
                        <a:pt x="730377" y="507842"/>
                      </a:lnTo>
                      <a:lnTo>
                        <a:pt x="729449" y="507615"/>
                      </a:lnTo>
                      <a:lnTo>
                        <a:pt x="728632" y="508065"/>
                      </a:lnTo>
                      <a:lnTo>
                        <a:pt x="728564" y="508986"/>
                      </a:lnTo>
                      <a:lnTo>
                        <a:pt x="727945" y="509017"/>
                      </a:lnTo>
                      <a:lnTo>
                        <a:pt x="726617" y="508620"/>
                      </a:lnTo>
                      <a:lnTo>
                        <a:pt x="725663" y="507815"/>
                      </a:lnTo>
                      <a:lnTo>
                        <a:pt x="726202" y="506566"/>
                      </a:lnTo>
                      <a:lnTo>
                        <a:pt x="730669" y="505275"/>
                      </a:lnTo>
                      <a:lnTo>
                        <a:pt x="732986" y="506052"/>
                      </a:lnTo>
                      <a:lnTo>
                        <a:pt x="736008" y="509163"/>
                      </a:lnTo>
                      <a:lnTo>
                        <a:pt x="737790" y="510189"/>
                      </a:lnTo>
                      <a:lnTo>
                        <a:pt x="735705" y="513286"/>
                      </a:lnTo>
                      <a:lnTo>
                        <a:pt x="733536" y="515093"/>
                      </a:lnTo>
                      <a:lnTo>
                        <a:pt x="731906" y="517337"/>
                      </a:lnTo>
                      <a:lnTo>
                        <a:pt x="731400" y="521807"/>
                      </a:lnTo>
                      <a:lnTo>
                        <a:pt x="726594" y="523461"/>
                      </a:lnTo>
                      <a:lnTo>
                        <a:pt x="725230" y="524415"/>
                      </a:lnTo>
                      <a:lnTo>
                        <a:pt x="724813" y="526306"/>
                      </a:lnTo>
                      <a:lnTo>
                        <a:pt x="725449" y="528021"/>
                      </a:lnTo>
                      <a:lnTo>
                        <a:pt x="725634" y="529625"/>
                      </a:lnTo>
                      <a:lnTo>
                        <a:pt x="723879" y="531228"/>
                      </a:lnTo>
                      <a:lnTo>
                        <a:pt x="720635" y="528309"/>
                      </a:lnTo>
                      <a:lnTo>
                        <a:pt x="716258" y="526669"/>
                      </a:lnTo>
                      <a:lnTo>
                        <a:pt x="711794" y="526601"/>
                      </a:lnTo>
                      <a:lnTo>
                        <a:pt x="708275" y="528382"/>
                      </a:lnTo>
                      <a:lnTo>
                        <a:pt x="706230" y="531150"/>
                      </a:lnTo>
                      <a:lnTo>
                        <a:pt x="705466" y="533834"/>
                      </a:lnTo>
                      <a:lnTo>
                        <a:pt x="705833" y="536714"/>
                      </a:lnTo>
                      <a:lnTo>
                        <a:pt x="707139" y="540042"/>
                      </a:lnTo>
                      <a:lnTo>
                        <a:pt x="708951" y="543494"/>
                      </a:lnTo>
                      <a:lnTo>
                        <a:pt x="710821" y="545294"/>
                      </a:lnTo>
                      <a:lnTo>
                        <a:pt x="713643" y="545956"/>
                      </a:lnTo>
                      <a:lnTo>
                        <a:pt x="718219" y="546015"/>
                      </a:lnTo>
                      <a:lnTo>
                        <a:pt x="720782" y="545212"/>
                      </a:lnTo>
                      <a:lnTo>
                        <a:pt x="726422" y="542676"/>
                      </a:lnTo>
                      <a:lnTo>
                        <a:pt x="727821" y="543431"/>
                      </a:lnTo>
                      <a:lnTo>
                        <a:pt x="727450" y="544561"/>
                      </a:lnTo>
                      <a:lnTo>
                        <a:pt x="725201" y="547560"/>
                      </a:lnTo>
                      <a:lnTo>
                        <a:pt x="724681" y="549606"/>
                      </a:lnTo>
                      <a:lnTo>
                        <a:pt x="728791" y="553888"/>
                      </a:lnTo>
                      <a:lnTo>
                        <a:pt x="732037" y="556596"/>
                      </a:lnTo>
                      <a:lnTo>
                        <a:pt x="735745" y="557815"/>
                      </a:lnTo>
                      <a:lnTo>
                        <a:pt x="739562" y="557818"/>
                      </a:lnTo>
                      <a:lnTo>
                        <a:pt x="743165" y="556918"/>
                      </a:lnTo>
                      <a:lnTo>
                        <a:pt x="745951" y="554919"/>
                      </a:lnTo>
                      <a:lnTo>
                        <a:pt x="748381" y="551588"/>
                      </a:lnTo>
                      <a:lnTo>
                        <a:pt x="750086" y="547624"/>
                      </a:lnTo>
                      <a:lnTo>
                        <a:pt x="750630" y="543773"/>
                      </a:lnTo>
                      <a:lnTo>
                        <a:pt x="750355" y="537311"/>
                      </a:lnTo>
                      <a:lnTo>
                        <a:pt x="751188" y="535063"/>
                      </a:lnTo>
                      <a:lnTo>
                        <a:pt x="753454" y="533145"/>
                      </a:lnTo>
                      <a:lnTo>
                        <a:pt x="755054" y="532500"/>
                      </a:lnTo>
                      <a:lnTo>
                        <a:pt x="758417" y="531646"/>
                      </a:lnTo>
                      <a:lnTo>
                        <a:pt x="760145" y="530700"/>
                      </a:lnTo>
                      <a:lnTo>
                        <a:pt x="761324" y="529558"/>
                      </a:lnTo>
                      <a:lnTo>
                        <a:pt x="761967" y="528409"/>
                      </a:lnTo>
                      <a:lnTo>
                        <a:pt x="762485" y="527137"/>
                      </a:lnTo>
                      <a:lnTo>
                        <a:pt x="763321" y="525634"/>
                      </a:lnTo>
                      <a:lnTo>
                        <a:pt x="763561" y="524667"/>
                      </a:lnTo>
                      <a:lnTo>
                        <a:pt x="763283" y="522384"/>
                      </a:lnTo>
                      <a:lnTo>
                        <a:pt x="763748" y="521333"/>
                      </a:lnTo>
                      <a:lnTo>
                        <a:pt x="764907" y="520665"/>
                      </a:lnTo>
                      <a:lnTo>
                        <a:pt x="765825" y="520951"/>
                      </a:lnTo>
                      <a:lnTo>
                        <a:pt x="766760" y="521909"/>
                      </a:lnTo>
                      <a:lnTo>
                        <a:pt x="768612" y="522202"/>
                      </a:lnTo>
                      <a:lnTo>
                        <a:pt x="772410" y="523679"/>
                      </a:lnTo>
                      <a:lnTo>
                        <a:pt x="773672" y="524362"/>
                      </a:lnTo>
                      <a:lnTo>
                        <a:pt x="773723" y="525479"/>
                      </a:lnTo>
                      <a:lnTo>
                        <a:pt x="772494" y="525497"/>
                      </a:lnTo>
                      <a:lnTo>
                        <a:pt x="772555" y="526834"/>
                      </a:lnTo>
                      <a:lnTo>
                        <a:pt x="773154" y="527219"/>
                      </a:lnTo>
                      <a:lnTo>
                        <a:pt x="773344" y="527230"/>
                      </a:lnTo>
                      <a:lnTo>
                        <a:pt x="773470" y="527346"/>
                      </a:lnTo>
                      <a:lnTo>
                        <a:pt x="773842" y="528056"/>
                      </a:lnTo>
                      <a:lnTo>
                        <a:pt x="774882" y="528040"/>
                      </a:lnTo>
                      <a:lnTo>
                        <a:pt x="775835" y="527025"/>
                      </a:lnTo>
                      <a:lnTo>
                        <a:pt x="779267" y="524658"/>
                      </a:lnTo>
                      <a:lnTo>
                        <a:pt x="780472" y="524260"/>
                      </a:lnTo>
                      <a:lnTo>
                        <a:pt x="782794" y="524940"/>
                      </a:lnTo>
                      <a:lnTo>
                        <a:pt x="783926" y="526004"/>
                      </a:lnTo>
                      <a:lnTo>
                        <a:pt x="783639" y="527412"/>
                      </a:lnTo>
                      <a:lnTo>
                        <a:pt x="781727" y="529041"/>
                      </a:lnTo>
                      <a:lnTo>
                        <a:pt x="779494" y="529578"/>
                      </a:lnTo>
                      <a:lnTo>
                        <a:pt x="774789" y="529269"/>
                      </a:lnTo>
                      <a:lnTo>
                        <a:pt x="772724" y="530514"/>
                      </a:lnTo>
                      <a:lnTo>
                        <a:pt x="771835" y="532368"/>
                      </a:lnTo>
                      <a:lnTo>
                        <a:pt x="772192" y="533823"/>
                      </a:lnTo>
                      <a:lnTo>
                        <a:pt x="772897" y="535187"/>
                      </a:lnTo>
                      <a:lnTo>
                        <a:pt x="773010" y="536756"/>
                      </a:lnTo>
                      <a:lnTo>
                        <a:pt x="771821" y="537965"/>
                      </a:lnTo>
                      <a:lnTo>
                        <a:pt x="770240" y="538602"/>
                      </a:lnTo>
                      <a:lnTo>
                        <a:pt x="769800" y="539193"/>
                      </a:lnTo>
                      <a:lnTo>
                        <a:pt x="772037" y="540329"/>
                      </a:lnTo>
                      <a:lnTo>
                        <a:pt x="774141" y="540509"/>
                      </a:lnTo>
                      <a:lnTo>
                        <a:pt x="778789" y="539658"/>
                      </a:lnTo>
                      <a:lnTo>
                        <a:pt x="781207" y="540191"/>
                      </a:lnTo>
                      <a:lnTo>
                        <a:pt x="784042" y="543583"/>
                      </a:lnTo>
                      <a:lnTo>
                        <a:pt x="782255" y="546343"/>
                      </a:lnTo>
                      <a:lnTo>
                        <a:pt x="779120" y="547004"/>
                      </a:lnTo>
                      <a:lnTo>
                        <a:pt x="777873" y="544027"/>
                      </a:lnTo>
                      <a:lnTo>
                        <a:pt x="773457" y="546548"/>
                      </a:lnTo>
                      <a:lnTo>
                        <a:pt x="773508" y="547666"/>
                      </a:lnTo>
                      <a:lnTo>
                        <a:pt x="776013" y="550661"/>
                      </a:lnTo>
                      <a:lnTo>
                        <a:pt x="777184" y="551403"/>
                      </a:lnTo>
                      <a:lnTo>
                        <a:pt x="776959" y="551524"/>
                      </a:lnTo>
                      <a:lnTo>
                        <a:pt x="777250" y="551695"/>
                      </a:lnTo>
                      <a:lnTo>
                        <a:pt x="777235" y="552522"/>
                      </a:lnTo>
                      <a:lnTo>
                        <a:pt x="778262" y="552506"/>
                      </a:lnTo>
                      <a:lnTo>
                        <a:pt x="779161" y="551133"/>
                      </a:lnTo>
                      <a:lnTo>
                        <a:pt x="780966" y="549790"/>
                      </a:lnTo>
                      <a:lnTo>
                        <a:pt x="782961" y="549022"/>
                      </a:lnTo>
                      <a:lnTo>
                        <a:pt x="784423" y="549343"/>
                      </a:lnTo>
                      <a:lnTo>
                        <a:pt x="784984" y="551243"/>
                      </a:lnTo>
                      <a:lnTo>
                        <a:pt x="783800" y="552868"/>
                      </a:lnTo>
                      <a:lnTo>
                        <a:pt x="780651" y="555021"/>
                      </a:lnTo>
                      <a:lnTo>
                        <a:pt x="780713" y="556365"/>
                      </a:lnTo>
                      <a:lnTo>
                        <a:pt x="783176" y="555626"/>
                      </a:lnTo>
                      <a:lnTo>
                        <a:pt x="784127" y="554961"/>
                      </a:lnTo>
                      <a:lnTo>
                        <a:pt x="785139" y="553740"/>
                      </a:lnTo>
                      <a:lnTo>
                        <a:pt x="786268" y="554447"/>
                      </a:lnTo>
                      <a:lnTo>
                        <a:pt x="791033" y="556209"/>
                      </a:lnTo>
                      <a:lnTo>
                        <a:pt x="787672" y="558160"/>
                      </a:lnTo>
                      <a:lnTo>
                        <a:pt x="786602" y="558615"/>
                      </a:lnTo>
                      <a:lnTo>
                        <a:pt x="787622" y="559162"/>
                      </a:lnTo>
                      <a:lnTo>
                        <a:pt x="788093" y="559681"/>
                      </a:lnTo>
                      <a:lnTo>
                        <a:pt x="788405" y="560283"/>
                      </a:lnTo>
                      <a:lnTo>
                        <a:pt x="788988" y="561027"/>
                      </a:lnTo>
                      <a:lnTo>
                        <a:pt x="786909" y="561300"/>
                      </a:lnTo>
                      <a:lnTo>
                        <a:pt x="785348" y="562230"/>
                      </a:lnTo>
                      <a:lnTo>
                        <a:pt x="784207" y="563475"/>
                      </a:lnTo>
                      <a:lnTo>
                        <a:pt x="783369" y="564687"/>
                      </a:lnTo>
                      <a:lnTo>
                        <a:pt x="784783" y="566726"/>
                      </a:lnTo>
                      <a:lnTo>
                        <a:pt x="785877" y="568889"/>
                      </a:lnTo>
                      <a:lnTo>
                        <a:pt x="787244" y="570798"/>
                      </a:lnTo>
                      <a:lnTo>
                        <a:pt x="789497" y="572072"/>
                      </a:lnTo>
                      <a:lnTo>
                        <a:pt x="787780" y="571967"/>
                      </a:lnTo>
                      <a:lnTo>
                        <a:pt x="783864" y="571053"/>
                      </a:lnTo>
                      <a:lnTo>
                        <a:pt x="782625" y="571057"/>
                      </a:lnTo>
                      <a:lnTo>
                        <a:pt x="781303" y="572349"/>
                      </a:lnTo>
                      <a:lnTo>
                        <a:pt x="779858" y="575879"/>
                      </a:lnTo>
                      <a:lnTo>
                        <a:pt x="778359" y="577145"/>
                      </a:lnTo>
                      <a:lnTo>
                        <a:pt x="778621" y="575928"/>
                      </a:lnTo>
                      <a:lnTo>
                        <a:pt x="778839" y="573417"/>
                      </a:lnTo>
                      <a:lnTo>
                        <a:pt x="779164" y="572228"/>
                      </a:lnTo>
                      <a:lnTo>
                        <a:pt x="777070" y="572207"/>
                      </a:lnTo>
                      <a:lnTo>
                        <a:pt x="775823" y="571137"/>
                      </a:lnTo>
                      <a:lnTo>
                        <a:pt x="773864" y="567957"/>
                      </a:lnTo>
                      <a:lnTo>
                        <a:pt x="772431" y="566670"/>
                      </a:lnTo>
                      <a:lnTo>
                        <a:pt x="770656" y="565607"/>
                      </a:lnTo>
                      <a:lnTo>
                        <a:pt x="768584" y="564980"/>
                      </a:lnTo>
                      <a:lnTo>
                        <a:pt x="766340" y="564940"/>
                      </a:lnTo>
                      <a:lnTo>
                        <a:pt x="767222" y="568099"/>
                      </a:lnTo>
                      <a:lnTo>
                        <a:pt x="765815" y="570408"/>
                      </a:lnTo>
                      <a:lnTo>
                        <a:pt x="763368" y="572461"/>
                      </a:lnTo>
                      <a:lnTo>
                        <a:pt x="761105" y="574827"/>
                      </a:lnTo>
                      <a:lnTo>
                        <a:pt x="759489" y="578082"/>
                      </a:lnTo>
                      <a:lnTo>
                        <a:pt x="758648" y="578971"/>
                      </a:lnTo>
                      <a:lnTo>
                        <a:pt x="756685" y="579907"/>
                      </a:lnTo>
                      <a:lnTo>
                        <a:pt x="755074" y="580105"/>
                      </a:lnTo>
                      <a:lnTo>
                        <a:pt x="751396" y="579661"/>
                      </a:lnTo>
                      <a:lnTo>
                        <a:pt x="749867" y="580005"/>
                      </a:lnTo>
                      <a:lnTo>
                        <a:pt x="747346" y="582908"/>
                      </a:lnTo>
                      <a:lnTo>
                        <a:pt x="747102" y="586252"/>
                      </a:lnTo>
                      <a:lnTo>
                        <a:pt x="748373" y="589260"/>
                      </a:lnTo>
                      <a:lnTo>
                        <a:pt x="750360" y="591154"/>
                      </a:lnTo>
                      <a:lnTo>
                        <a:pt x="753694" y="591603"/>
                      </a:lnTo>
                      <a:lnTo>
                        <a:pt x="757524" y="591138"/>
                      </a:lnTo>
                      <a:lnTo>
                        <a:pt x="760931" y="591249"/>
                      </a:lnTo>
                      <a:lnTo>
                        <a:pt x="762966" y="593428"/>
                      </a:lnTo>
                      <a:lnTo>
                        <a:pt x="761832" y="593210"/>
                      </a:lnTo>
                      <a:lnTo>
                        <a:pt x="761022" y="593280"/>
                      </a:lnTo>
                      <a:lnTo>
                        <a:pt x="760338" y="593437"/>
                      </a:lnTo>
                      <a:lnTo>
                        <a:pt x="759567" y="593478"/>
                      </a:lnTo>
                      <a:lnTo>
                        <a:pt x="762108" y="594830"/>
                      </a:lnTo>
                      <a:lnTo>
                        <a:pt x="767896" y="599497"/>
                      </a:lnTo>
                      <a:lnTo>
                        <a:pt x="767950" y="600711"/>
                      </a:lnTo>
                      <a:lnTo>
                        <a:pt x="765046" y="600504"/>
                      </a:lnTo>
                      <a:lnTo>
                        <a:pt x="762660" y="599011"/>
                      </a:lnTo>
                      <a:lnTo>
                        <a:pt x="760592" y="597177"/>
                      </a:lnTo>
                      <a:lnTo>
                        <a:pt x="758633" y="595948"/>
                      </a:lnTo>
                      <a:lnTo>
                        <a:pt x="753424" y="594970"/>
                      </a:lnTo>
                      <a:lnTo>
                        <a:pt x="748810" y="594745"/>
                      </a:lnTo>
                      <a:lnTo>
                        <a:pt x="744111" y="593774"/>
                      </a:lnTo>
                      <a:lnTo>
                        <a:pt x="735786" y="589068"/>
                      </a:lnTo>
                      <a:lnTo>
                        <a:pt x="730769" y="587648"/>
                      </a:lnTo>
                      <a:lnTo>
                        <a:pt x="732311" y="589600"/>
                      </a:lnTo>
                      <a:lnTo>
                        <a:pt x="736795" y="592015"/>
                      </a:lnTo>
                      <a:lnTo>
                        <a:pt x="739095" y="593773"/>
                      </a:lnTo>
                      <a:lnTo>
                        <a:pt x="738427" y="594017"/>
                      </a:lnTo>
                      <a:lnTo>
                        <a:pt x="736880" y="594916"/>
                      </a:lnTo>
                      <a:lnTo>
                        <a:pt x="740341" y="596212"/>
                      </a:lnTo>
                      <a:lnTo>
                        <a:pt x="740452" y="597073"/>
                      </a:lnTo>
                      <a:lnTo>
                        <a:pt x="740395" y="597439"/>
                      </a:lnTo>
                      <a:lnTo>
                        <a:pt x="740700" y="598232"/>
                      </a:lnTo>
                      <a:lnTo>
                        <a:pt x="745162" y="602270"/>
                      </a:lnTo>
                      <a:lnTo>
                        <a:pt x="741991" y="603573"/>
                      </a:lnTo>
                      <a:lnTo>
                        <a:pt x="727987" y="600248"/>
                      </a:lnTo>
                      <a:lnTo>
                        <a:pt x="722258" y="601367"/>
                      </a:lnTo>
                      <a:lnTo>
                        <a:pt x="726342" y="602384"/>
                      </a:lnTo>
                      <a:lnTo>
                        <a:pt x="728027" y="603245"/>
                      </a:lnTo>
                      <a:lnTo>
                        <a:pt x="729240" y="604954"/>
                      </a:lnTo>
                      <a:lnTo>
                        <a:pt x="727604" y="604911"/>
                      </a:lnTo>
                      <a:lnTo>
                        <a:pt x="727078" y="604984"/>
                      </a:lnTo>
                      <a:lnTo>
                        <a:pt x="728113" y="607119"/>
                      </a:lnTo>
                      <a:lnTo>
                        <a:pt x="733081" y="612373"/>
                      </a:lnTo>
                      <a:lnTo>
                        <a:pt x="734040" y="614465"/>
                      </a:lnTo>
                      <a:lnTo>
                        <a:pt x="735190" y="618457"/>
                      </a:lnTo>
                      <a:lnTo>
                        <a:pt x="736218" y="620256"/>
                      </a:lnTo>
                      <a:lnTo>
                        <a:pt x="737880" y="621329"/>
                      </a:lnTo>
                      <a:lnTo>
                        <a:pt x="742507" y="622726"/>
                      </a:lnTo>
                      <a:lnTo>
                        <a:pt x="746517" y="625024"/>
                      </a:lnTo>
                      <a:lnTo>
                        <a:pt x="750684" y="624547"/>
                      </a:lnTo>
                      <a:lnTo>
                        <a:pt x="753114" y="625478"/>
                      </a:lnTo>
                      <a:lnTo>
                        <a:pt x="752385" y="626037"/>
                      </a:lnTo>
                      <a:lnTo>
                        <a:pt x="752292" y="626236"/>
                      </a:lnTo>
                      <a:lnTo>
                        <a:pt x="751931" y="626834"/>
                      </a:lnTo>
                      <a:lnTo>
                        <a:pt x="754709" y="627774"/>
                      </a:lnTo>
                      <a:lnTo>
                        <a:pt x="759417" y="630178"/>
                      </a:lnTo>
                      <a:lnTo>
                        <a:pt x="762439" y="630354"/>
                      </a:lnTo>
                      <a:lnTo>
                        <a:pt x="762494" y="631582"/>
                      </a:lnTo>
                      <a:lnTo>
                        <a:pt x="760905" y="634063"/>
                      </a:lnTo>
                      <a:lnTo>
                        <a:pt x="760394" y="636609"/>
                      </a:lnTo>
                      <a:lnTo>
                        <a:pt x="761278" y="637891"/>
                      </a:lnTo>
                      <a:lnTo>
                        <a:pt x="763856" y="636595"/>
                      </a:lnTo>
                      <a:lnTo>
                        <a:pt x="763608" y="639591"/>
                      </a:lnTo>
                      <a:lnTo>
                        <a:pt x="762017" y="640799"/>
                      </a:lnTo>
                      <a:lnTo>
                        <a:pt x="760226" y="641111"/>
                      </a:lnTo>
                      <a:lnTo>
                        <a:pt x="759411" y="641452"/>
                      </a:lnTo>
                      <a:lnTo>
                        <a:pt x="760281" y="643305"/>
                      </a:lnTo>
                      <a:lnTo>
                        <a:pt x="762102" y="644098"/>
                      </a:lnTo>
                      <a:lnTo>
                        <a:pt x="764341" y="644190"/>
                      </a:lnTo>
                      <a:lnTo>
                        <a:pt x="774205" y="642071"/>
                      </a:lnTo>
                      <a:lnTo>
                        <a:pt x="777904" y="642025"/>
                      </a:lnTo>
                      <a:lnTo>
                        <a:pt x="781369" y="643700"/>
                      </a:lnTo>
                      <a:lnTo>
                        <a:pt x="781896" y="644249"/>
                      </a:lnTo>
                      <a:lnTo>
                        <a:pt x="783490" y="643918"/>
                      </a:lnTo>
                      <a:lnTo>
                        <a:pt x="784874" y="644022"/>
                      </a:lnTo>
                      <a:lnTo>
                        <a:pt x="785973" y="644752"/>
                      </a:lnTo>
                      <a:lnTo>
                        <a:pt x="787012" y="644736"/>
                      </a:lnTo>
                      <a:lnTo>
                        <a:pt x="788302" y="643817"/>
                      </a:lnTo>
                      <a:lnTo>
                        <a:pt x="790040" y="643485"/>
                      </a:lnTo>
                      <a:lnTo>
                        <a:pt x="791968" y="643763"/>
                      </a:lnTo>
                      <a:lnTo>
                        <a:pt x="794217" y="644103"/>
                      </a:lnTo>
                      <a:lnTo>
                        <a:pt x="794220" y="645061"/>
                      </a:lnTo>
                      <a:lnTo>
                        <a:pt x="793160" y="645787"/>
                      </a:lnTo>
                      <a:lnTo>
                        <a:pt x="791797" y="646005"/>
                      </a:lnTo>
                      <a:lnTo>
                        <a:pt x="789978" y="646032"/>
                      </a:lnTo>
                      <a:lnTo>
                        <a:pt x="788198" y="646629"/>
                      </a:lnTo>
                      <a:lnTo>
                        <a:pt x="787210" y="647902"/>
                      </a:lnTo>
                      <a:lnTo>
                        <a:pt x="787077" y="649177"/>
                      </a:lnTo>
                      <a:lnTo>
                        <a:pt x="787863" y="649737"/>
                      </a:lnTo>
                      <a:lnTo>
                        <a:pt x="789320" y="650103"/>
                      </a:lnTo>
                      <a:lnTo>
                        <a:pt x="791827" y="651756"/>
                      </a:lnTo>
                      <a:lnTo>
                        <a:pt x="793663" y="652109"/>
                      </a:lnTo>
                      <a:lnTo>
                        <a:pt x="795020" y="651898"/>
                      </a:lnTo>
                      <a:lnTo>
                        <a:pt x="797467" y="651028"/>
                      </a:lnTo>
                      <a:lnTo>
                        <a:pt x="800942" y="650493"/>
                      </a:lnTo>
                      <a:lnTo>
                        <a:pt x="802291" y="649997"/>
                      </a:lnTo>
                      <a:lnTo>
                        <a:pt x="803733" y="649888"/>
                      </a:lnTo>
                      <a:lnTo>
                        <a:pt x="805625" y="650701"/>
                      </a:lnTo>
                      <a:lnTo>
                        <a:pt x="806721" y="652061"/>
                      </a:lnTo>
                      <a:lnTo>
                        <a:pt x="807380" y="655461"/>
                      </a:lnTo>
                      <a:lnTo>
                        <a:pt x="808087" y="656804"/>
                      </a:lnTo>
                      <a:lnTo>
                        <a:pt x="810236" y="657277"/>
                      </a:lnTo>
                      <a:lnTo>
                        <a:pt x="813078" y="656114"/>
                      </a:lnTo>
                      <a:lnTo>
                        <a:pt x="815651" y="653726"/>
                      </a:lnTo>
                      <a:lnTo>
                        <a:pt x="817019" y="650529"/>
                      </a:lnTo>
                      <a:lnTo>
                        <a:pt x="817829" y="650421"/>
                      </a:lnTo>
                      <a:lnTo>
                        <a:pt x="818078" y="650674"/>
                      </a:lnTo>
                      <a:lnTo>
                        <a:pt x="818120" y="651156"/>
                      </a:lnTo>
                      <a:lnTo>
                        <a:pt x="818324" y="651739"/>
                      </a:lnTo>
                      <a:lnTo>
                        <a:pt x="819082" y="651676"/>
                      </a:lnTo>
                      <a:lnTo>
                        <a:pt x="819499" y="652746"/>
                      </a:lnTo>
                      <a:lnTo>
                        <a:pt x="819643" y="654544"/>
                      </a:lnTo>
                      <a:lnTo>
                        <a:pt x="819577" y="656631"/>
                      </a:lnTo>
                      <a:lnTo>
                        <a:pt x="821261" y="655851"/>
                      </a:lnTo>
                      <a:lnTo>
                        <a:pt x="821904" y="655366"/>
                      </a:lnTo>
                      <a:lnTo>
                        <a:pt x="822865" y="657042"/>
                      </a:lnTo>
                      <a:lnTo>
                        <a:pt x="824017" y="658122"/>
                      </a:lnTo>
                      <a:lnTo>
                        <a:pt x="825047" y="659394"/>
                      </a:lnTo>
                      <a:lnTo>
                        <a:pt x="825617" y="661567"/>
                      </a:lnTo>
                      <a:lnTo>
                        <a:pt x="827233" y="660642"/>
                      </a:lnTo>
                      <a:lnTo>
                        <a:pt x="827837" y="660194"/>
                      </a:lnTo>
                      <a:lnTo>
                        <a:pt x="829504" y="662108"/>
                      </a:lnTo>
                      <a:lnTo>
                        <a:pt x="830179" y="664074"/>
                      </a:lnTo>
                      <a:lnTo>
                        <a:pt x="830884" y="665615"/>
                      </a:lnTo>
                      <a:lnTo>
                        <a:pt x="832675" y="666261"/>
                      </a:lnTo>
                      <a:lnTo>
                        <a:pt x="831756" y="667842"/>
                      </a:lnTo>
                      <a:lnTo>
                        <a:pt x="830474" y="668894"/>
                      </a:lnTo>
                      <a:lnTo>
                        <a:pt x="828901" y="669598"/>
                      </a:lnTo>
                      <a:lnTo>
                        <a:pt x="827050" y="670139"/>
                      </a:lnTo>
                      <a:lnTo>
                        <a:pt x="827102" y="671266"/>
                      </a:lnTo>
                      <a:lnTo>
                        <a:pt x="834135" y="673054"/>
                      </a:lnTo>
                      <a:lnTo>
                        <a:pt x="835157" y="675139"/>
                      </a:lnTo>
                      <a:lnTo>
                        <a:pt x="837410" y="676481"/>
                      </a:lnTo>
                      <a:lnTo>
                        <a:pt x="840082" y="677180"/>
                      </a:lnTo>
                      <a:lnTo>
                        <a:pt x="842324" y="677277"/>
                      </a:lnTo>
                      <a:lnTo>
                        <a:pt x="841794" y="676561"/>
                      </a:lnTo>
                      <a:lnTo>
                        <a:pt x="841061" y="674727"/>
                      </a:lnTo>
                      <a:lnTo>
                        <a:pt x="844020" y="674308"/>
                      </a:lnTo>
                      <a:lnTo>
                        <a:pt x="846461" y="674599"/>
                      </a:lnTo>
                      <a:lnTo>
                        <a:pt x="848534" y="675856"/>
                      </a:lnTo>
                      <a:lnTo>
                        <a:pt x="850363" y="678273"/>
                      </a:lnTo>
                      <a:lnTo>
                        <a:pt x="846943" y="678326"/>
                      </a:lnTo>
                      <a:lnTo>
                        <a:pt x="847007" y="679665"/>
                      </a:lnTo>
                      <a:lnTo>
                        <a:pt x="848550" y="679927"/>
                      </a:lnTo>
                      <a:lnTo>
                        <a:pt x="849250" y="680333"/>
                      </a:lnTo>
                      <a:lnTo>
                        <a:pt x="850542" y="682071"/>
                      </a:lnTo>
                      <a:lnTo>
                        <a:pt x="846868" y="681168"/>
                      </a:lnTo>
                      <a:lnTo>
                        <a:pt x="845709" y="681574"/>
                      </a:lnTo>
                      <a:lnTo>
                        <a:pt x="844999" y="683387"/>
                      </a:lnTo>
                      <a:lnTo>
                        <a:pt x="843755" y="683406"/>
                      </a:lnTo>
                      <a:lnTo>
                        <a:pt x="843718" y="682183"/>
                      </a:lnTo>
                      <a:lnTo>
                        <a:pt x="843475" y="680774"/>
                      </a:lnTo>
                      <a:lnTo>
                        <a:pt x="843581" y="679718"/>
                      </a:lnTo>
                      <a:lnTo>
                        <a:pt x="841253" y="680376"/>
                      </a:lnTo>
                      <a:lnTo>
                        <a:pt x="838363" y="682457"/>
                      </a:lnTo>
                      <a:lnTo>
                        <a:pt x="836164" y="685016"/>
                      </a:lnTo>
                      <a:lnTo>
                        <a:pt x="835940" y="687216"/>
                      </a:lnTo>
                      <a:lnTo>
                        <a:pt x="837548" y="686972"/>
                      </a:lnTo>
                      <a:lnTo>
                        <a:pt x="848599" y="687021"/>
                      </a:lnTo>
                      <a:lnTo>
                        <a:pt x="844277" y="696095"/>
                      </a:lnTo>
                      <a:lnTo>
                        <a:pt x="842161" y="698171"/>
                      </a:lnTo>
                      <a:lnTo>
                        <a:pt x="841911" y="695451"/>
                      </a:lnTo>
                      <a:lnTo>
                        <a:pt x="840816" y="693424"/>
                      </a:lnTo>
                      <a:lnTo>
                        <a:pt x="838904" y="692275"/>
                      </a:lnTo>
                      <a:lnTo>
                        <a:pt x="836174" y="692228"/>
                      </a:lnTo>
                      <a:lnTo>
                        <a:pt x="837279" y="693764"/>
                      </a:lnTo>
                      <a:lnTo>
                        <a:pt x="838239" y="695522"/>
                      </a:lnTo>
                      <a:lnTo>
                        <a:pt x="838855" y="697475"/>
                      </a:lnTo>
                      <a:lnTo>
                        <a:pt x="838911" y="699561"/>
                      </a:lnTo>
                      <a:lnTo>
                        <a:pt x="836889" y="698098"/>
                      </a:lnTo>
                      <a:lnTo>
                        <a:pt x="836010" y="697210"/>
                      </a:lnTo>
                      <a:lnTo>
                        <a:pt x="835198" y="695817"/>
                      </a:lnTo>
                      <a:lnTo>
                        <a:pt x="834426" y="698268"/>
                      </a:lnTo>
                      <a:lnTo>
                        <a:pt x="832449" y="700824"/>
                      </a:lnTo>
                      <a:lnTo>
                        <a:pt x="828150" y="705196"/>
                      </a:lnTo>
                      <a:lnTo>
                        <a:pt x="827811" y="708482"/>
                      </a:lnTo>
                      <a:lnTo>
                        <a:pt x="831399" y="714492"/>
                      </a:lnTo>
                      <a:lnTo>
                        <a:pt x="829153" y="715574"/>
                      </a:lnTo>
                      <a:lnTo>
                        <a:pt x="827353" y="714334"/>
                      </a:lnTo>
                      <a:lnTo>
                        <a:pt x="822002" y="708474"/>
                      </a:lnTo>
                      <a:lnTo>
                        <a:pt x="820851" y="706537"/>
                      </a:lnTo>
                      <a:lnTo>
                        <a:pt x="819855" y="704427"/>
                      </a:lnTo>
                      <a:lnTo>
                        <a:pt x="815376" y="697596"/>
                      </a:lnTo>
                      <a:lnTo>
                        <a:pt x="814029" y="696137"/>
                      </a:lnTo>
                      <a:lnTo>
                        <a:pt x="812242" y="695007"/>
                      </a:lnTo>
                      <a:lnTo>
                        <a:pt x="811427" y="695056"/>
                      </a:lnTo>
                      <a:lnTo>
                        <a:pt x="811162" y="696854"/>
                      </a:lnTo>
                      <a:lnTo>
                        <a:pt x="811526" y="698569"/>
                      </a:lnTo>
                      <a:lnTo>
                        <a:pt x="812055" y="699857"/>
                      </a:lnTo>
                      <a:lnTo>
                        <a:pt x="812210" y="701019"/>
                      </a:lnTo>
                      <a:lnTo>
                        <a:pt x="811416" y="702437"/>
                      </a:lnTo>
                      <a:lnTo>
                        <a:pt x="808822" y="703464"/>
                      </a:lnTo>
                      <a:lnTo>
                        <a:pt x="804973" y="704049"/>
                      </a:lnTo>
                      <a:lnTo>
                        <a:pt x="801533" y="705227"/>
                      </a:lnTo>
                      <a:lnTo>
                        <a:pt x="800137" y="708089"/>
                      </a:lnTo>
                      <a:lnTo>
                        <a:pt x="799846" y="710408"/>
                      </a:lnTo>
                      <a:lnTo>
                        <a:pt x="798945" y="712780"/>
                      </a:lnTo>
                      <a:lnTo>
                        <a:pt x="791577" y="723866"/>
                      </a:lnTo>
                      <a:lnTo>
                        <a:pt x="788729" y="726331"/>
                      </a:lnTo>
                      <a:lnTo>
                        <a:pt x="785096" y="727395"/>
                      </a:lnTo>
                      <a:lnTo>
                        <a:pt x="785428" y="721677"/>
                      </a:lnTo>
                      <a:lnTo>
                        <a:pt x="785805" y="720017"/>
                      </a:lnTo>
                      <a:lnTo>
                        <a:pt x="786713" y="718993"/>
                      </a:lnTo>
                      <a:lnTo>
                        <a:pt x="789601" y="716666"/>
                      </a:lnTo>
                      <a:lnTo>
                        <a:pt x="790644" y="714849"/>
                      </a:lnTo>
                      <a:lnTo>
                        <a:pt x="794075" y="710682"/>
                      </a:lnTo>
                      <a:lnTo>
                        <a:pt x="794831" y="708834"/>
                      </a:lnTo>
                      <a:lnTo>
                        <a:pt x="794718" y="706770"/>
                      </a:lnTo>
                      <a:lnTo>
                        <a:pt x="794359" y="704981"/>
                      </a:lnTo>
                      <a:lnTo>
                        <a:pt x="794345" y="703920"/>
                      </a:lnTo>
                      <a:lnTo>
                        <a:pt x="795772" y="702764"/>
                      </a:lnTo>
                      <a:lnTo>
                        <a:pt x="799487" y="701977"/>
                      </a:lnTo>
                      <a:lnTo>
                        <a:pt x="800973" y="701252"/>
                      </a:lnTo>
                      <a:lnTo>
                        <a:pt x="803607" y="695062"/>
                      </a:lnTo>
                      <a:lnTo>
                        <a:pt x="804720" y="693054"/>
                      </a:lnTo>
                      <a:lnTo>
                        <a:pt x="806064" y="688919"/>
                      </a:lnTo>
                      <a:lnTo>
                        <a:pt x="806217" y="685381"/>
                      </a:lnTo>
                      <a:lnTo>
                        <a:pt x="803788" y="685234"/>
                      </a:lnTo>
                      <a:lnTo>
                        <a:pt x="803506" y="686527"/>
                      </a:lnTo>
                      <a:lnTo>
                        <a:pt x="803549" y="688825"/>
                      </a:lnTo>
                      <a:lnTo>
                        <a:pt x="803193" y="690873"/>
                      </a:lnTo>
                      <a:lnTo>
                        <a:pt x="801782" y="691413"/>
                      </a:lnTo>
                      <a:lnTo>
                        <a:pt x="800622" y="690164"/>
                      </a:lnTo>
                      <a:lnTo>
                        <a:pt x="800193" y="687887"/>
                      </a:lnTo>
                      <a:lnTo>
                        <a:pt x="800170" y="683450"/>
                      </a:lnTo>
                      <a:lnTo>
                        <a:pt x="799571" y="681658"/>
                      </a:lnTo>
                      <a:lnTo>
                        <a:pt x="798424" y="681565"/>
                      </a:lnTo>
                      <a:lnTo>
                        <a:pt x="797334" y="682745"/>
                      </a:lnTo>
                      <a:lnTo>
                        <a:pt x="796907" y="684728"/>
                      </a:lnTo>
                      <a:lnTo>
                        <a:pt x="797260" y="686832"/>
                      </a:lnTo>
                      <a:lnTo>
                        <a:pt x="798384" y="690637"/>
                      </a:lnTo>
                      <a:lnTo>
                        <a:pt x="798413" y="692796"/>
                      </a:lnTo>
                      <a:lnTo>
                        <a:pt x="796428" y="695717"/>
                      </a:lnTo>
                      <a:lnTo>
                        <a:pt x="792598" y="697890"/>
                      </a:lnTo>
                      <a:lnTo>
                        <a:pt x="788839" y="698641"/>
                      </a:lnTo>
                      <a:lnTo>
                        <a:pt x="787080" y="697209"/>
                      </a:lnTo>
                      <a:lnTo>
                        <a:pt x="785007" y="692393"/>
                      </a:lnTo>
                      <a:lnTo>
                        <a:pt x="785104" y="691044"/>
                      </a:lnTo>
                      <a:lnTo>
                        <a:pt x="785924" y="688953"/>
                      </a:lnTo>
                      <a:lnTo>
                        <a:pt x="784581" y="687852"/>
                      </a:lnTo>
                      <a:lnTo>
                        <a:pt x="781004" y="686682"/>
                      </a:lnTo>
                      <a:lnTo>
                        <a:pt x="771077" y="670971"/>
                      </a:lnTo>
                      <a:lnTo>
                        <a:pt x="772522" y="670899"/>
                      </a:lnTo>
                      <a:lnTo>
                        <a:pt x="775585" y="669573"/>
                      </a:lnTo>
                      <a:lnTo>
                        <a:pt x="772294" y="668055"/>
                      </a:lnTo>
                      <a:lnTo>
                        <a:pt x="768847" y="668046"/>
                      </a:lnTo>
                      <a:lnTo>
                        <a:pt x="767086" y="669755"/>
                      </a:lnTo>
                      <a:lnTo>
                        <a:pt x="768902" y="673461"/>
                      </a:lnTo>
                      <a:lnTo>
                        <a:pt x="758932" y="670179"/>
                      </a:lnTo>
                      <a:lnTo>
                        <a:pt x="754431" y="669878"/>
                      </a:lnTo>
                      <a:lnTo>
                        <a:pt x="749983" y="668938"/>
                      </a:lnTo>
                      <a:lnTo>
                        <a:pt x="748412" y="666568"/>
                      </a:lnTo>
                      <a:lnTo>
                        <a:pt x="747344" y="663743"/>
                      </a:lnTo>
                      <a:lnTo>
                        <a:pt x="745121" y="662319"/>
                      </a:lnTo>
                      <a:lnTo>
                        <a:pt x="740655" y="660999"/>
                      </a:lnTo>
                      <a:lnTo>
                        <a:pt x="739532" y="662129"/>
                      </a:lnTo>
                      <a:lnTo>
                        <a:pt x="736569" y="661887"/>
                      </a:lnTo>
                      <a:lnTo>
                        <a:pt x="728870" y="660233"/>
                      </a:lnTo>
                      <a:lnTo>
                        <a:pt x="718359" y="659196"/>
                      </a:lnTo>
                      <a:lnTo>
                        <a:pt x="714469" y="658624"/>
                      </a:lnTo>
                      <a:lnTo>
                        <a:pt x="718487" y="656424"/>
                      </a:lnTo>
                      <a:lnTo>
                        <a:pt x="721611" y="655603"/>
                      </a:lnTo>
                      <a:lnTo>
                        <a:pt x="724354" y="653632"/>
                      </a:lnTo>
                      <a:lnTo>
                        <a:pt x="725579" y="651341"/>
                      </a:lnTo>
                      <a:lnTo>
                        <a:pt x="726470" y="648806"/>
                      </a:lnTo>
                      <a:lnTo>
                        <a:pt x="726119" y="646094"/>
                      </a:lnTo>
                      <a:lnTo>
                        <a:pt x="725249" y="644804"/>
                      </a:lnTo>
                      <a:lnTo>
                        <a:pt x="723074" y="644534"/>
                      </a:lnTo>
                      <a:lnTo>
                        <a:pt x="722235" y="645401"/>
                      </a:lnTo>
                      <a:lnTo>
                        <a:pt x="721679" y="645761"/>
                      </a:lnTo>
                      <a:lnTo>
                        <a:pt x="721248" y="646154"/>
                      </a:lnTo>
                      <a:lnTo>
                        <a:pt x="720795" y="647023"/>
                      </a:lnTo>
                      <a:lnTo>
                        <a:pt x="719962" y="644972"/>
                      </a:lnTo>
                      <a:lnTo>
                        <a:pt x="720396" y="643671"/>
                      </a:lnTo>
                      <a:lnTo>
                        <a:pt x="721260" y="642613"/>
                      </a:lnTo>
                      <a:lnTo>
                        <a:pt x="721684" y="641371"/>
                      </a:lnTo>
                      <a:lnTo>
                        <a:pt x="720791" y="639723"/>
                      </a:lnTo>
                      <a:lnTo>
                        <a:pt x="718895" y="640159"/>
                      </a:lnTo>
                      <a:lnTo>
                        <a:pt x="715397" y="642073"/>
                      </a:lnTo>
                      <a:lnTo>
                        <a:pt x="714358" y="641604"/>
                      </a:lnTo>
                      <a:lnTo>
                        <a:pt x="713428" y="640498"/>
                      </a:lnTo>
                      <a:lnTo>
                        <a:pt x="712711" y="639264"/>
                      </a:lnTo>
                      <a:lnTo>
                        <a:pt x="712342" y="638435"/>
                      </a:lnTo>
                      <a:lnTo>
                        <a:pt x="712064" y="638103"/>
                      </a:lnTo>
                      <a:lnTo>
                        <a:pt x="711642" y="637757"/>
                      </a:lnTo>
                      <a:lnTo>
                        <a:pt x="711277" y="637148"/>
                      </a:lnTo>
                      <a:lnTo>
                        <a:pt x="711215" y="635993"/>
                      </a:lnTo>
                      <a:lnTo>
                        <a:pt x="711584" y="635081"/>
                      </a:lnTo>
                      <a:lnTo>
                        <a:pt x="712316" y="634091"/>
                      </a:lnTo>
                      <a:lnTo>
                        <a:pt x="713049" y="633437"/>
                      </a:lnTo>
                      <a:lnTo>
                        <a:pt x="713392" y="633506"/>
                      </a:lnTo>
                      <a:lnTo>
                        <a:pt x="714032" y="631302"/>
                      </a:lnTo>
                      <a:lnTo>
                        <a:pt x="713578" y="630197"/>
                      </a:lnTo>
                      <a:lnTo>
                        <a:pt x="709604" y="629337"/>
                      </a:lnTo>
                      <a:lnTo>
                        <a:pt x="708333" y="628821"/>
                      </a:lnTo>
                      <a:lnTo>
                        <a:pt x="707632" y="629255"/>
                      </a:lnTo>
                      <a:lnTo>
                        <a:pt x="707505" y="631743"/>
                      </a:lnTo>
                      <a:lnTo>
                        <a:pt x="706480" y="635795"/>
                      </a:lnTo>
                      <a:lnTo>
                        <a:pt x="703658" y="634905"/>
                      </a:lnTo>
                      <a:lnTo>
                        <a:pt x="698317" y="629924"/>
                      </a:lnTo>
                      <a:lnTo>
                        <a:pt x="692752" y="632266"/>
                      </a:lnTo>
                      <a:lnTo>
                        <a:pt x="687759" y="630724"/>
                      </a:lnTo>
                      <a:lnTo>
                        <a:pt x="669081" y="619493"/>
                      </a:lnTo>
                      <a:lnTo>
                        <a:pt x="665846" y="618205"/>
                      </a:lnTo>
                      <a:lnTo>
                        <a:pt x="663041" y="617818"/>
                      </a:lnTo>
                      <a:lnTo>
                        <a:pt x="660807" y="618271"/>
                      </a:lnTo>
                      <a:lnTo>
                        <a:pt x="660270" y="619273"/>
                      </a:lnTo>
                      <a:lnTo>
                        <a:pt x="662521" y="620581"/>
                      </a:lnTo>
                      <a:lnTo>
                        <a:pt x="661333" y="621935"/>
                      </a:lnTo>
                      <a:lnTo>
                        <a:pt x="658539" y="619603"/>
                      </a:lnTo>
                      <a:lnTo>
                        <a:pt x="654449" y="614217"/>
                      </a:lnTo>
                      <a:lnTo>
                        <a:pt x="651835" y="612131"/>
                      </a:lnTo>
                      <a:lnTo>
                        <a:pt x="650938" y="613977"/>
                      </a:lnTo>
                      <a:lnTo>
                        <a:pt x="648536" y="617057"/>
                      </a:lnTo>
                      <a:lnTo>
                        <a:pt x="647576" y="619555"/>
                      </a:lnTo>
                      <a:lnTo>
                        <a:pt x="651007" y="619627"/>
                      </a:lnTo>
                      <a:lnTo>
                        <a:pt x="652128" y="619496"/>
                      </a:lnTo>
                      <a:lnTo>
                        <a:pt x="652176" y="620717"/>
                      </a:lnTo>
                      <a:lnTo>
                        <a:pt x="649587" y="621811"/>
                      </a:lnTo>
                      <a:lnTo>
                        <a:pt x="648248" y="622127"/>
                      </a:lnTo>
                      <a:lnTo>
                        <a:pt x="646639" y="622126"/>
                      </a:lnTo>
                      <a:lnTo>
                        <a:pt x="647586" y="623752"/>
                      </a:lnTo>
                      <a:lnTo>
                        <a:pt x="648318" y="624408"/>
                      </a:lnTo>
                      <a:lnTo>
                        <a:pt x="649057" y="624216"/>
                      </a:lnTo>
                      <a:lnTo>
                        <a:pt x="649994" y="623202"/>
                      </a:lnTo>
                      <a:lnTo>
                        <a:pt x="651640" y="624285"/>
                      </a:lnTo>
                      <a:lnTo>
                        <a:pt x="659001" y="630492"/>
                      </a:lnTo>
                      <a:lnTo>
                        <a:pt x="660708" y="631398"/>
                      </a:lnTo>
                      <a:lnTo>
                        <a:pt x="662351" y="631735"/>
                      </a:lnTo>
                      <a:lnTo>
                        <a:pt x="667159" y="632096"/>
                      </a:lnTo>
                      <a:lnTo>
                        <a:pt x="671406" y="633342"/>
                      </a:lnTo>
                      <a:lnTo>
                        <a:pt x="675368" y="635585"/>
                      </a:lnTo>
                      <a:lnTo>
                        <a:pt x="679319" y="638883"/>
                      </a:lnTo>
                      <a:lnTo>
                        <a:pt x="676788" y="639969"/>
                      </a:lnTo>
                      <a:lnTo>
                        <a:pt x="675467" y="641055"/>
                      </a:lnTo>
                      <a:lnTo>
                        <a:pt x="675007" y="642772"/>
                      </a:lnTo>
                      <a:lnTo>
                        <a:pt x="675032" y="645742"/>
                      </a:lnTo>
                      <a:lnTo>
                        <a:pt x="676061" y="646664"/>
                      </a:lnTo>
                      <a:lnTo>
                        <a:pt x="676860" y="647575"/>
                      </a:lnTo>
                      <a:lnTo>
                        <a:pt x="677436" y="648731"/>
                      </a:lnTo>
                      <a:lnTo>
                        <a:pt x="677685" y="650183"/>
                      </a:lnTo>
                      <a:lnTo>
                        <a:pt x="677689" y="654967"/>
                      </a:lnTo>
                      <a:lnTo>
                        <a:pt x="677117" y="653607"/>
                      </a:lnTo>
                      <a:lnTo>
                        <a:pt x="676399" y="652497"/>
                      </a:lnTo>
                      <a:lnTo>
                        <a:pt x="675409" y="651720"/>
                      </a:lnTo>
                      <a:lnTo>
                        <a:pt x="674021" y="651329"/>
                      </a:lnTo>
                      <a:lnTo>
                        <a:pt x="674509" y="654673"/>
                      </a:lnTo>
                      <a:lnTo>
                        <a:pt x="676107" y="657548"/>
                      </a:lnTo>
                      <a:lnTo>
                        <a:pt x="678453" y="659734"/>
                      </a:lnTo>
                      <a:lnTo>
                        <a:pt x="681252" y="661058"/>
                      </a:lnTo>
                      <a:lnTo>
                        <a:pt x="681302" y="662286"/>
                      </a:lnTo>
                      <a:lnTo>
                        <a:pt x="678041" y="663668"/>
                      </a:lnTo>
                      <a:lnTo>
                        <a:pt x="675669" y="660693"/>
                      </a:lnTo>
                      <a:lnTo>
                        <a:pt x="672886" y="660268"/>
                      </a:lnTo>
                      <a:lnTo>
                        <a:pt x="671555" y="661844"/>
                      </a:lnTo>
                      <a:lnTo>
                        <a:pt x="673519" y="664847"/>
                      </a:lnTo>
                      <a:lnTo>
                        <a:pt x="668468" y="665053"/>
                      </a:lnTo>
                      <a:lnTo>
                        <a:pt x="667860" y="670452"/>
                      </a:lnTo>
                      <a:lnTo>
                        <a:pt x="670757" y="675529"/>
                      </a:lnTo>
                      <a:lnTo>
                        <a:pt x="676202" y="674740"/>
                      </a:lnTo>
                      <a:lnTo>
                        <a:pt x="675256" y="677621"/>
                      </a:lnTo>
                      <a:lnTo>
                        <a:pt x="671726" y="684633"/>
                      </a:lnTo>
                      <a:lnTo>
                        <a:pt x="670836" y="685867"/>
                      </a:lnTo>
                      <a:lnTo>
                        <a:pt x="668506" y="687690"/>
                      </a:lnTo>
                      <a:lnTo>
                        <a:pt x="666318" y="690193"/>
                      </a:lnTo>
                      <a:lnTo>
                        <a:pt x="663582" y="692416"/>
                      </a:lnTo>
                      <a:lnTo>
                        <a:pt x="660856" y="693366"/>
                      </a:lnTo>
                      <a:lnTo>
                        <a:pt x="652496" y="698625"/>
                      </a:lnTo>
                      <a:lnTo>
                        <a:pt x="647431" y="700783"/>
                      </a:lnTo>
                      <a:lnTo>
                        <a:pt x="644921" y="699944"/>
                      </a:lnTo>
                      <a:lnTo>
                        <a:pt x="645945" y="698972"/>
                      </a:lnTo>
                      <a:lnTo>
                        <a:pt x="646170" y="697213"/>
                      </a:lnTo>
                      <a:lnTo>
                        <a:pt x="645957" y="694888"/>
                      </a:lnTo>
                      <a:lnTo>
                        <a:pt x="645361" y="692686"/>
                      </a:lnTo>
                      <a:lnTo>
                        <a:pt x="644254" y="691163"/>
                      </a:lnTo>
                      <a:lnTo>
                        <a:pt x="640553" y="688034"/>
                      </a:lnTo>
                      <a:lnTo>
                        <a:pt x="639835" y="686353"/>
                      </a:lnTo>
                      <a:lnTo>
                        <a:pt x="640458" y="684508"/>
                      </a:lnTo>
                      <a:lnTo>
                        <a:pt x="641485" y="682578"/>
                      </a:lnTo>
                      <a:lnTo>
                        <a:pt x="641983" y="680663"/>
                      </a:lnTo>
                      <a:lnTo>
                        <a:pt x="642056" y="678532"/>
                      </a:lnTo>
                      <a:lnTo>
                        <a:pt x="642713" y="676000"/>
                      </a:lnTo>
                      <a:lnTo>
                        <a:pt x="642854" y="673840"/>
                      </a:lnTo>
                      <a:lnTo>
                        <a:pt x="642658" y="671940"/>
                      </a:lnTo>
                      <a:lnTo>
                        <a:pt x="642007" y="669695"/>
                      </a:lnTo>
                      <a:lnTo>
                        <a:pt x="640880" y="667990"/>
                      </a:lnTo>
                      <a:lnTo>
                        <a:pt x="639197" y="667740"/>
                      </a:lnTo>
                      <a:lnTo>
                        <a:pt x="639037" y="669074"/>
                      </a:lnTo>
                      <a:lnTo>
                        <a:pt x="637947" y="672014"/>
                      </a:lnTo>
                      <a:lnTo>
                        <a:pt x="636664" y="674211"/>
                      </a:lnTo>
                      <a:lnTo>
                        <a:pt x="635999" y="673363"/>
                      </a:lnTo>
                      <a:lnTo>
                        <a:pt x="634300" y="670217"/>
                      </a:lnTo>
                      <a:lnTo>
                        <a:pt x="627899" y="663816"/>
                      </a:lnTo>
                      <a:lnTo>
                        <a:pt x="627555" y="661750"/>
                      </a:lnTo>
                      <a:lnTo>
                        <a:pt x="627513" y="660646"/>
                      </a:lnTo>
                      <a:lnTo>
                        <a:pt x="625473" y="661162"/>
                      </a:lnTo>
                      <a:lnTo>
                        <a:pt x="624101" y="662108"/>
                      </a:lnTo>
                      <a:lnTo>
                        <a:pt x="623333" y="663690"/>
                      </a:lnTo>
                      <a:lnTo>
                        <a:pt x="623166" y="666106"/>
                      </a:lnTo>
                      <a:lnTo>
                        <a:pt x="622639" y="667964"/>
                      </a:lnTo>
                      <a:lnTo>
                        <a:pt x="618857" y="673014"/>
                      </a:lnTo>
                      <a:lnTo>
                        <a:pt x="618482" y="663092"/>
                      </a:lnTo>
                      <a:lnTo>
                        <a:pt x="617413" y="660714"/>
                      </a:lnTo>
                      <a:lnTo>
                        <a:pt x="613879" y="655550"/>
                      </a:lnTo>
                      <a:lnTo>
                        <a:pt x="612924" y="654567"/>
                      </a:lnTo>
                      <a:lnTo>
                        <a:pt x="612752" y="653794"/>
                      </a:lnTo>
                      <a:lnTo>
                        <a:pt x="611279" y="652584"/>
                      </a:lnTo>
                      <a:lnTo>
                        <a:pt x="609639" y="652530"/>
                      </a:lnTo>
                      <a:lnTo>
                        <a:pt x="608952" y="655230"/>
                      </a:lnTo>
                      <a:lnTo>
                        <a:pt x="608548" y="658029"/>
                      </a:lnTo>
                      <a:lnTo>
                        <a:pt x="607310" y="660385"/>
                      </a:lnTo>
                      <a:lnTo>
                        <a:pt x="603606" y="664614"/>
                      </a:lnTo>
                      <a:lnTo>
                        <a:pt x="601267" y="661892"/>
                      </a:lnTo>
                      <a:lnTo>
                        <a:pt x="599641" y="662204"/>
                      </a:lnTo>
                      <a:lnTo>
                        <a:pt x="598134" y="663759"/>
                      </a:lnTo>
                      <a:lnTo>
                        <a:pt x="596190" y="664704"/>
                      </a:lnTo>
                      <a:lnTo>
                        <a:pt x="590354" y="662997"/>
                      </a:lnTo>
                      <a:lnTo>
                        <a:pt x="588681" y="662227"/>
                      </a:lnTo>
                      <a:lnTo>
                        <a:pt x="590916" y="661095"/>
                      </a:lnTo>
                      <a:lnTo>
                        <a:pt x="590867" y="659744"/>
                      </a:lnTo>
                      <a:lnTo>
                        <a:pt x="588999" y="659422"/>
                      </a:lnTo>
                      <a:lnTo>
                        <a:pt x="587539" y="659651"/>
                      </a:lnTo>
                      <a:lnTo>
                        <a:pt x="586648" y="660561"/>
                      </a:lnTo>
                      <a:lnTo>
                        <a:pt x="586397" y="662254"/>
                      </a:lnTo>
                      <a:lnTo>
                        <a:pt x="584799" y="661695"/>
                      </a:lnTo>
                      <a:lnTo>
                        <a:pt x="583499" y="661850"/>
                      </a:lnTo>
                      <a:lnTo>
                        <a:pt x="582760" y="662861"/>
                      </a:lnTo>
                      <a:lnTo>
                        <a:pt x="582862" y="664863"/>
                      </a:lnTo>
                      <a:lnTo>
                        <a:pt x="583683" y="665394"/>
                      </a:lnTo>
                      <a:lnTo>
                        <a:pt x="587579" y="665926"/>
                      </a:lnTo>
                      <a:lnTo>
                        <a:pt x="587359" y="669220"/>
                      </a:lnTo>
                      <a:lnTo>
                        <a:pt x="585613" y="671311"/>
                      </a:lnTo>
                      <a:lnTo>
                        <a:pt x="584675" y="673202"/>
                      </a:lnTo>
                      <a:lnTo>
                        <a:pt x="586894" y="675860"/>
                      </a:lnTo>
                      <a:lnTo>
                        <a:pt x="585333" y="677825"/>
                      </a:lnTo>
                      <a:lnTo>
                        <a:pt x="584003" y="677168"/>
                      </a:lnTo>
                      <a:lnTo>
                        <a:pt x="582640" y="675268"/>
                      </a:lnTo>
                      <a:lnTo>
                        <a:pt x="581004" y="673473"/>
                      </a:lnTo>
                      <a:lnTo>
                        <a:pt x="579916" y="674802"/>
                      </a:lnTo>
                      <a:lnTo>
                        <a:pt x="579087" y="676692"/>
                      </a:lnTo>
                      <a:lnTo>
                        <a:pt x="577842" y="680876"/>
                      </a:lnTo>
                      <a:lnTo>
                        <a:pt x="578653" y="681635"/>
                      </a:lnTo>
                      <a:lnTo>
                        <a:pt x="579025" y="681981"/>
                      </a:lnTo>
                      <a:lnTo>
                        <a:pt x="578111" y="688905"/>
                      </a:lnTo>
                      <a:lnTo>
                        <a:pt x="578240" y="691926"/>
                      </a:lnTo>
                      <a:lnTo>
                        <a:pt x="577101" y="689584"/>
                      </a:lnTo>
                      <a:lnTo>
                        <a:pt x="576148" y="688051"/>
                      </a:lnTo>
                      <a:lnTo>
                        <a:pt x="574247" y="687656"/>
                      </a:lnTo>
                      <a:lnTo>
                        <a:pt x="572399" y="688307"/>
                      </a:lnTo>
                      <a:lnTo>
                        <a:pt x="572106" y="689452"/>
                      </a:lnTo>
                      <a:lnTo>
                        <a:pt x="572403" y="691080"/>
                      </a:lnTo>
                      <a:lnTo>
                        <a:pt x="572299" y="692573"/>
                      </a:lnTo>
                      <a:lnTo>
                        <a:pt x="570009" y="693654"/>
                      </a:lnTo>
                      <a:lnTo>
                        <a:pt x="569489" y="694538"/>
                      </a:lnTo>
                      <a:lnTo>
                        <a:pt x="568805" y="695424"/>
                      </a:lnTo>
                      <a:lnTo>
                        <a:pt x="567472" y="695841"/>
                      </a:lnTo>
                      <a:lnTo>
                        <a:pt x="566506" y="695099"/>
                      </a:lnTo>
                      <a:lnTo>
                        <a:pt x="563858" y="693937"/>
                      </a:lnTo>
                      <a:lnTo>
                        <a:pt x="561160" y="693881"/>
                      </a:lnTo>
                      <a:lnTo>
                        <a:pt x="560018" y="696491"/>
                      </a:lnTo>
                      <a:lnTo>
                        <a:pt x="558790" y="696593"/>
                      </a:lnTo>
                      <a:lnTo>
                        <a:pt x="552850" y="694809"/>
                      </a:lnTo>
                      <a:lnTo>
                        <a:pt x="550811" y="694701"/>
                      </a:lnTo>
                      <a:lnTo>
                        <a:pt x="552125" y="692551"/>
                      </a:lnTo>
                      <a:lnTo>
                        <a:pt x="554809" y="691810"/>
                      </a:lnTo>
                      <a:lnTo>
                        <a:pt x="556593" y="690648"/>
                      </a:lnTo>
                      <a:lnTo>
                        <a:pt x="555236" y="687284"/>
                      </a:lnTo>
                      <a:lnTo>
                        <a:pt x="552260" y="688627"/>
                      </a:lnTo>
                      <a:lnTo>
                        <a:pt x="549422" y="687650"/>
                      </a:lnTo>
                      <a:lnTo>
                        <a:pt x="546596" y="685868"/>
                      </a:lnTo>
                      <a:lnTo>
                        <a:pt x="543620" y="684849"/>
                      </a:lnTo>
                      <a:lnTo>
                        <a:pt x="544768" y="687703"/>
                      </a:lnTo>
                      <a:lnTo>
                        <a:pt x="544115" y="689320"/>
                      </a:lnTo>
                      <a:lnTo>
                        <a:pt x="540406" y="691139"/>
                      </a:lnTo>
                      <a:lnTo>
                        <a:pt x="539898" y="691811"/>
                      </a:lnTo>
                      <a:lnTo>
                        <a:pt x="539804" y="692631"/>
                      </a:lnTo>
                      <a:lnTo>
                        <a:pt x="539317" y="693309"/>
                      </a:lnTo>
                      <a:lnTo>
                        <a:pt x="537591" y="693621"/>
                      </a:lnTo>
                      <a:lnTo>
                        <a:pt x="529684" y="686965"/>
                      </a:lnTo>
                      <a:lnTo>
                        <a:pt x="525370" y="684417"/>
                      </a:lnTo>
                      <a:lnTo>
                        <a:pt x="520797" y="683421"/>
                      </a:lnTo>
                      <a:lnTo>
                        <a:pt x="516118" y="685155"/>
                      </a:lnTo>
                      <a:lnTo>
                        <a:pt x="515956" y="683159"/>
                      </a:lnTo>
                      <a:lnTo>
                        <a:pt x="516465" y="681669"/>
                      </a:lnTo>
                      <a:lnTo>
                        <a:pt x="517617" y="680720"/>
                      </a:lnTo>
                      <a:lnTo>
                        <a:pt x="519386" y="680313"/>
                      </a:lnTo>
                      <a:lnTo>
                        <a:pt x="517807" y="678685"/>
                      </a:lnTo>
                      <a:lnTo>
                        <a:pt x="515059" y="677735"/>
                      </a:lnTo>
                      <a:lnTo>
                        <a:pt x="512463" y="677625"/>
                      </a:lnTo>
                      <a:lnTo>
                        <a:pt x="511327" y="678448"/>
                      </a:lnTo>
                      <a:lnTo>
                        <a:pt x="510867" y="681175"/>
                      </a:lnTo>
                      <a:lnTo>
                        <a:pt x="509430" y="682565"/>
                      </a:lnTo>
                      <a:lnTo>
                        <a:pt x="507231" y="682984"/>
                      </a:lnTo>
                      <a:lnTo>
                        <a:pt x="504510" y="682823"/>
                      </a:lnTo>
                      <a:lnTo>
                        <a:pt x="502903" y="681977"/>
                      </a:lnTo>
                      <a:lnTo>
                        <a:pt x="498903" y="678715"/>
                      </a:lnTo>
                      <a:lnTo>
                        <a:pt x="496933" y="677990"/>
                      </a:lnTo>
                      <a:lnTo>
                        <a:pt x="479349" y="675411"/>
                      </a:lnTo>
                      <a:lnTo>
                        <a:pt x="469766" y="671503"/>
                      </a:lnTo>
                      <a:lnTo>
                        <a:pt x="462413" y="665474"/>
                      </a:lnTo>
                      <a:lnTo>
                        <a:pt x="460213" y="657520"/>
                      </a:lnTo>
                      <a:lnTo>
                        <a:pt x="461998" y="660258"/>
                      </a:lnTo>
                      <a:lnTo>
                        <a:pt x="464926" y="661054"/>
                      </a:lnTo>
                      <a:lnTo>
                        <a:pt x="468080" y="660320"/>
                      </a:lnTo>
                      <a:lnTo>
                        <a:pt x="470518" y="658525"/>
                      </a:lnTo>
                      <a:lnTo>
                        <a:pt x="472354" y="655318"/>
                      </a:lnTo>
                      <a:lnTo>
                        <a:pt x="473593" y="652381"/>
                      </a:lnTo>
                      <a:lnTo>
                        <a:pt x="475540" y="650379"/>
                      </a:lnTo>
                      <a:lnTo>
                        <a:pt x="479470" y="649966"/>
                      </a:lnTo>
                      <a:lnTo>
                        <a:pt x="478866" y="652969"/>
                      </a:lnTo>
                      <a:lnTo>
                        <a:pt x="481029" y="656573"/>
                      </a:lnTo>
                      <a:lnTo>
                        <a:pt x="485040" y="658665"/>
                      </a:lnTo>
                      <a:lnTo>
                        <a:pt x="489976" y="657209"/>
                      </a:lnTo>
                      <a:lnTo>
                        <a:pt x="490057" y="663219"/>
                      </a:lnTo>
                      <a:lnTo>
                        <a:pt x="489477" y="665900"/>
                      </a:lnTo>
                      <a:lnTo>
                        <a:pt x="487949" y="668278"/>
                      </a:lnTo>
                      <a:lnTo>
                        <a:pt x="489720" y="668764"/>
                      </a:lnTo>
                      <a:lnTo>
                        <a:pt x="491015" y="669686"/>
                      </a:lnTo>
                      <a:lnTo>
                        <a:pt x="491735" y="671127"/>
                      </a:lnTo>
                      <a:lnTo>
                        <a:pt x="491740" y="673145"/>
                      </a:lnTo>
                      <a:lnTo>
                        <a:pt x="495318" y="671864"/>
                      </a:lnTo>
                      <a:lnTo>
                        <a:pt x="496985" y="670837"/>
                      </a:lnTo>
                      <a:lnTo>
                        <a:pt x="498462" y="669388"/>
                      </a:lnTo>
                      <a:lnTo>
                        <a:pt x="497618" y="668534"/>
                      </a:lnTo>
                      <a:lnTo>
                        <a:pt x="496818" y="667401"/>
                      </a:lnTo>
                      <a:lnTo>
                        <a:pt x="496001" y="666964"/>
                      </a:lnTo>
                      <a:lnTo>
                        <a:pt x="495965" y="665846"/>
                      </a:lnTo>
                      <a:lnTo>
                        <a:pt x="498735" y="661195"/>
                      </a:lnTo>
                      <a:lnTo>
                        <a:pt x="496651" y="657342"/>
                      </a:lnTo>
                      <a:lnTo>
                        <a:pt x="487132" y="650038"/>
                      </a:lnTo>
                      <a:lnTo>
                        <a:pt x="481778" y="647156"/>
                      </a:lnTo>
                      <a:lnTo>
                        <a:pt x="479852" y="645605"/>
                      </a:lnTo>
                      <a:lnTo>
                        <a:pt x="479383" y="644323"/>
                      </a:lnTo>
                      <a:lnTo>
                        <a:pt x="479510" y="641325"/>
                      </a:lnTo>
                      <a:lnTo>
                        <a:pt x="479154" y="640159"/>
                      </a:lnTo>
                      <a:lnTo>
                        <a:pt x="478290" y="639525"/>
                      </a:lnTo>
                      <a:lnTo>
                        <a:pt x="476084" y="638948"/>
                      </a:lnTo>
                      <a:lnTo>
                        <a:pt x="475008" y="638243"/>
                      </a:lnTo>
                      <a:lnTo>
                        <a:pt x="472347" y="634076"/>
                      </a:lnTo>
                      <a:lnTo>
                        <a:pt x="471373" y="629284"/>
                      </a:lnTo>
                      <a:lnTo>
                        <a:pt x="471919" y="624521"/>
                      </a:lnTo>
                      <a:lnTo>
                        <a:pt x="473867" y="620481"/>
                      </a:lnTo>
                      <a:lnTo>
                        <a:pt x="475548" y="618959"/>
                      </a:lnTo>
                      <a:lnTo>
                        <a:pt x="477402" y="617711"/>
                      </a:lnTo>
                      <a:lnTo>
                        <a:pt x="478853" y="615986"/>
                      </a:lnTo>
                      <a:lnTo>
                        <a:pt x="479322" y="613065"/>
                      </a:lnTo>
                      <a:lnTo>
                        <a:pt x="478689" y="610697"/>
                      </a:lnTo>
                      <a:lnTo>
                        <a:pt x="477244" y="609061"/>
                      </a:lnTo>
                      <a:lnTo>
                        <a:pt x="475079" y="608200"/>
                      </a:lnTo>
                      <a:lnTo>
                        <a:pt x="472328" y="608119"/>
                      </a:lnTo>
                      <a:lnTo>
                        <a:pt x="474110" y="612243"/>
                      </a:lnTo>
                      <a:lnTo>
                        <a:pt x="473297" y="614802"/>
                      </a:lnTo>
                      <a:lnTo>
                        <a:pt x="468626" y="618578"/>
                      </a:lnTo>
                      <a:lnTo>
                        <a:pt x="467975" y="620295"/>
                      </a:lnTo>
                      <a:lnTo>
                        <a:pt x="468308" y="622191"/>
                      </a:lnTo>
                      <a:lnTo>
                        <a:pt x="469020" y="623689"/>
                      </a:lnTo>
                      <a:lnTo>
                        <a:pt x="469423" y="624197"/>
                      </a:lnTo>
                      <a:lnTo>
                        <a:pt x="468784" y="626074"/>
                      </a:lnTo>
                      <a:lnTo>
                        <a:pt x="466886" y="629594"/>
                      </a:lnTo>
                      <a:lnTo>
                        <a:pt x="466241" y="631487"/>
                      </a:lnTo>
                      <a:lnTo>
                        <a:pt x="462453" y="629224"/>
                      </a:lnTo>
                      <a:lnTo>
                        <a:pt x="455258" y="626521"/>
                      </a:lnTo>
                      <a:lnTo>
                        <a:pt x="451233" y="625502"/>
                      </a:lnTo>
                      <a:lnTo>
                        <a:pt x="447155" y="625376"/>
                      </a:lnTo>
                      <a:lnTo>
                        <a:pt x="445134" y="624994"/>
                      </a:lnTo>
                      <a:lnTo>
                        <a:pt x="444241" y="623798"/>
                      </a:lnTo>
                      <a:lnTo>
                        <a:pt x="444957" y="621905"/>
                      </a:lnTo>
                      <a:lnTo>
                        <a:pt x="446179" y="620183"/>
                      </a:lnTo>
                      <a:lnTo>
                        <a:pt x="446394" y="618580"/>
                      </a:lnTo>
                      <a:lnTo>
                        <a:pt x="444031" y="616990"/>
                      </a:lnTo>
                      <a:lnTo>
                        <a:pt x="440193" y="619586"/>
                      </a:lnTo>
                      <a:lnTo>
                        <a:pt x="433466" y="621801"/>
                      </a:lnTo>
                      <a:lnTo>
                        <a:pt x="426641" y="622877"/>
                      </a:lnTo>
                      <a:lnTo>
                        <a:pt x="422448" y="622115"/>
                      </a:lnTo>
                      <a:lnTo>
                        <a:pt x="424714" y="620237"/>
                      </a:lnTo>
                      <a:lnTo>
                        <a:pt x="425297" y="616599"/>
                      </a:lnTo>
                      <a:lnTo>
                        <a:pt x="424522" y="612508"/>
                      </a:lnTo>
                      <a:lnTo>
                        <a:pt x="422674" y="609297"/>
                      </a:lnTo>
                      <a:lnTo>
                        <a:pt x="422094" y="607622"/>
                      </a:lnTo>
                      <a:lnTo>
                        <a:pt x="422000" y="605388"/>
                      </a:lnTo>
                      <a:lnTo>
                        <a:pt x="421643" y="603448"/>
                      </a:lnTo>
                      <a:lnTo>
                        <a:pt x="420254" y="602629"/>
                      </a:lnTo>
                      <a:lnTo>
                        <a:pt x="418474" y="602990"/>
                      </a:lnTo>
                      <a:lnTo>
                        <a:pt x="414837" y="604567"/>
                      </a:lnTo>
                      <a:lnTo>
                        <a:pt x="412925" y="605038"/>
                      </a:lnTo>
                      <a:lnTo>
                        <a:pt x="408523" y="604832"/>
                      </a:lnTo>
                      <a:lnTo>
                        <a:pt x="407731" y="603102"/>
                      </a:lnTo>
                      <a:lnTo>
                        <a:pt x="408618" y="600054"/>
                      </a:lnTo>
                      <a:lnTo>
                        <a:pt x="409235" y="595885"/>
                      </a:lnTo>
                      <a:lnTo>
                        <a:pt x="409572" y="588067"/>
                      </a:lnTo>
                      <a:lnTo>
                        <a:pt x="408253" y="585699"/>
                      </a:lnTo>
                      <a:lnTo>
                        <a:pt x="404243" y="584175"/>
                      </a:lnTo>
                      <a:lnTo>
                        <a:pt x="400408" y="583796"/>
                      </a:lnTo>
                      <a:lnTo>
                        <a:pt x="384818" y="584776"/>
                      </a:lnTo>
                      <a:lnTo>
                        <a:pt x="381970" y="585898"/>
                      </a:lnTo>
                      <a:lnTo>
                        <a:pt x="375844" y="589350"/>
                      </a:lnTo>
                      <a:lnTo>
                        <a:pt x="371636" y="590178"/>
                      </a:lnTo>
                      <a:lnTo>
                        <a:pt x="370214" y="588336"/>
                      </a:lnTo>
                      <a:lnTo>
                        <a:pt x="370007" y="585781"/>
                      </a:lnTo>
                      <a:lnTo>
                        <a:pt x="369455" y="584502"/>
                      </a:lnTo>
                      <a:lnTo>
                        <a:pt x="368192" y="582980"/>
                      </a:lnTo>
                      <a:lnTo>
                        <a:pt x="368681" y="579602"/>
                      </a:lnTo>
                      <a:lnTo>
                        <a:pt x="370212" y="576214"/>
                      </a:lnTo>
                      <a:lnTo>
                        <a:pt x="372013" y="574686"/>
                      </a:lnTo>
                      <a:lnTo>
                        <a:pt x="373299" y="575857"/>
                      </a:lnTo>
                      <a:lnTo>
                        <a:pt x="374853" y="577836"/>
                      </a:lnTo>
                      <a:lnTo>
                        <a:pt x="376136" y="578409"/>
                      </a:lnTo>
                      <a:lnTo>
                        <a:pt x="376576" y="575302"/>
                      </a:lnTo>
                      <a:lnTo>
                        <a:pt x="376108" y="572859"/>
                      </a:lnTo>
                      <a:lnTo>
                        <a:pt x="374871" y="571089"/>
                      </a:lnTo>
                      <a:lnTo>
                        <a:pt x="372890" y="570034"/>
                      </a:lnTo>
                      <a:lnTo>
                        <a:pt x="365130" y="568959"/>
                      </a:lnTo>
                      <a:lnTo>
                        <a:pt x="363006" y="569074"/>
                      </a:lnTo>
                      <a:lnTo>
                        <a:pt x="358637" y="572289"/>
                      </a:lnTo>
                      <a:lnTo>
                        <a:pt x="356689" y="571869"/>
                      </a:lnTo>
                      <a:lnTo>
                        <a:pt x="354917" y="570570"/>
                      </a:lnTo>
                      <a:lnTo>
                        <a:pt x="353015" y="569843"/>
                      </a:lnTo>
                      <a:lnTo>
                        <a:pt x="350095" y="570110"/>
                      </a:lnTo>
                      <a:lnTo>
                        <a:pt x="349805" y="570937"/>
                      </a:lnTo>
                      <a:lnTo>
                        <a:pt x="350152" y="572475"/>
                      </a:lnTo>
                      <a:lnTo>
                        <a:pt x="349181" y="574893"/>
                      </a:lnTo>
                      <a:lnTo>
                        <a:pt x="347587" y="576068"/>
                      </a:lnTo>
                      <a:lnTo>
                        <a:pt x="333408" y="581113"/>
                      </a:lnTo>
                      <a:lnTo>
                        <a:pt x="331185" y="582403"/>
                      </a:lnTo>
                      <a:lnTo>
                        <a:pt x="327534" y="586114"/>
                      </a:lnTo>
                      <a:lnTo>
                        <a:pt x="325543" y="587519"/>
                      </a:lnTo>
                      <a:lnTo>
                        <a:pt x="323149" y="587481"/>
                      </a:lnTo>
                      <a:lnTo>
                        <a:pt x="325195" y="585879"/>
                      </a:lnTo>
                      <a:lnTo>
                        <a:pt x="325527" y="583810"/>
                      </a:lnTo>
                      <a:lnTo>
                        <a:pt x="324260" y="582010"/>
                      </a:lnTo>
                      <a:lnTo>
                        <a:pt x="321434" y="581259"/>
                      </a:lnTo>
                      <a:lnTo>
                        <a:pt x="320838" y="581791"/>
                      </a:lnTo>
                      <a:lnTo>
                        <a:pt x="319526" y="584255"/>
                      </a:lnTo>
                      <a:lnTo>
                        <a:pt x="318635" y="584949"/>
                      </a:lnTo>
                      <a:lnTo>
                        <a:pt x="317762" y="584752"/>
                      </a:lnTo>
                      <a:lnTo>
                        <a:pt x="314126" y="582548"/>
                      </a:lnTo>
                      <a:lnTo>
                        <a:pt x="314805" y="585711"/>
                      </a:lnTo>
                      <a:lnTo>
                        <a:pt x="316205" y="589817"/>
                      </a:lnTo>
                      <a:lnTo>
                        <a:pt x="317883" y="593353"/>
                      </a:lnTo>
                      <a:lnTo>
                        <a:pt x="319462" y="594865"/>
                      </a:lnTo>
                      <a:lnTo>
                        <a:pt x="320719" y="594453"/>
                      </a:lnTo>
                      <a:lnTo>
                        <a:pt x="323081" y="592680"/>
                      </a:lnTo>
                      <a:lnTo>
                        <a:pt x="327009" y="591954"/>
                      </a:lnTo>
                      <a:lnTo>
                        <a:pt x="328556" y="591480"/>
                      </a:lnTo>
                      <a:lnTo>
                        <a:pt x="329951" y="591381"/>
                      </a:lnTo>
                      <a:lnTo>
                        <a:pt x="331444" y="592200"/>
                      </a:lnTo>
                      <a:lnTo>
                        <a:pt x="326642" y="595323"/>
                      </a:lnTo>
                      <a:lnTo>
                        <a:pt x="324620" y="596041"/>
                      </a:lnTo>
                      <a:lnTo>
                        <a:pt x="329513" y="605165"/>
                      </a:lnTo>
                      <a:lnTo>
                        <a:pt x="330624" y="608245"/>
                      </a:lnTo>
                      <a:lnTo>
                        <a:pt x="331866" y="608235"/>
                      </a:lnTo>
                      <a:lnTo>
                        <a:pt x="334404" y="606438"/>
                      </a:lnTo>
                      <a:lnTo>
                        <a:pt x="338423" y="605212"/>
                      </a:lnTo>
                      <a:lnTo>
                        <a:pt x="342282" y="605164"/>
                      </a:lnTo>
                      <a:lnTo>
                        <a:pt x="344351" y="606899"/>
                      </a:lnTo>
                      <a:lnTo>
                        <a:pt x="339310" y="607973"/>
                      </a:lnTo>
                      <a:lnTo>
                        <a:pt x="337321" y="608954"/>
                      </a:lnTo>
                      <a:lnTo>
                        <a:pt x="336379" y="610759"/>
                      </a:lnTo>
                      <a:lnTo>
                        <a:pt x="339828" y="611847"/>
                      </a:lnTo>
                      <a:lnTo>
                        <a:pt x="337700" y="614035"/>
                      </a:lnTo>
                      <a:lnTo>
                        <a:pt x="333122" y="614198"/>
                      </a:lnTo>
                      <a:lnTo>
                        <a:pt x="325870" y="614311"/>
                      </a:lnTo>
                      <a:lnTo>
                        <a:pt x="319748" y="616278"/>
                      </a:lnTo>
                      <a:lnTo>
                        <a:pt x="308662" y="621875"/>
                      </a:lnTo>
                      <a:lnTo>
                        <a:pt x="302819" y="624021"/>
                      </a:lnTo>
                      <a:lnTo>
                        <a:pt x="296507" y="623977"/>
                      </a:lnTo>
                      <a:lnTo>
                        <a:pt x="271240" y="619557"/>
                      </a:lnTo>
                      <a:lnTo>
                        <a:pt x="267109" y="619070"/>
                      </a:lnTo>
                      <a:lnTo>
                        <a:pt x="262985" y="618497"/>
                      </a:lnTo>
                      <a:lnTo>
                        <a:pt x="257655" y="617582"/>
                      </a:lnTo>
                      <a:lnTo>
                        <a:pt x="234696" y="611927"/>
                      </a:lnTo>
                      <a:lnTo>
                        <a:pt x="215813" y="604863"/>
                      </a:lnTo>
                      <a:lnTo>
                        <a:pt x="206168" y="600771"/>
                      </a:lnTo>
                      <a:lnTo>
                        <a:pt x="195569" y="596256"/>
                      </a:lnTo>
                      <a:lnTo>
                        <a:pt x="176895" y="589225"/>
                      </a:lnTo>
                      <a:lnTo>
                        <a:pt x="165564" y="585947"/>
                      </a:lnTo>
                      <a:lnTo>
                        <a:pt x="147974" y="582238"/>
                      </a:lnTo>
                      <a:lnTo>
                        <a:pt x="138975" y="581656"/>
                      </a:lnTo>
                      <a:lnTo>
                        <a:pt x="129838" y="583002"/>
                      </a:lnTo>
                      <a:lnTo>
                        <a:pt x="123699" y="584312"/>
                      </a:lnTo>
                      <a:lnTo>
                        <a:pt x="117029" y="583358"/>
                      </a:lnTo>
                      <a:lnTo>
                        <a:pt x="111132" y="583268"/>
                      </a:lnTo>
                      <a:lnTo>
                        <a:pt x="105695" y="582910"/>
                      </a:lnTo>
                      <a:lnTo>
                        <a:pt x="98363" y="583171"/>
                      </a:lnTo>
                      <a:lnTo>
                        <a:pt x="88203" y="584314"/>
                      </a:lnTo>
                      <a:lnTo>
                        <a:pt x="74524" y="586681"/>
                      </a:lnTo>
                      <a:lnTo>
                        <a:pt x="64484" y="588108"/>
                      </a:lnTo>
                      <a:lnTo>
                        <a:pt x="58133" y="589106"/>
                      </a:lnTo>
                      <a:lnTo>
                        <a:pt x="53565" y="591085"/>
                      </a:lnTo>
                      <a:lnTo>
                        <a:pt x="49258" y="592680"/>
                      </a:lnTo>
                      <a:lnTo>
                        <a:pt x="44538" y="594156"/>
                      </a:lnTo>
                      <a:lnTo>
                        <a:pt x="42953" y="595834"/>
                      </a:lnTo>
                      <a:lnTo>
                        <a:pt x="39569" y="591697"/>
                      </a:lnTo>
                      <a:lnTo>
                        <a:pt x="34805" y="586947"/>
                      </a:lnTo>
                      <a:lnTo>
                        <a:pt x="32282" y="579618"/>
                      </a:lnTo>
                      <a:lnTo>
                        <a:pt x="33151" y="576679"/>
                      </a:lnTo>
                      <a:lnTo>
                        <a:pt x="38267" y="574562"/>
                      </a:lnTo>
                      <a:lnTo>
                        <a:pt x="44363" y="573573"/>
                      </a:lnTo>
                      <a:lnTo>
                        <a:pt x="50729" y="567750"/>
                      </a:lnTo>
                      <a:lnTo>
                        <a:pt x="52245" y="559105"/>
                      </a:lnTo>
                      <a:lnTo>
                        <a:pt x="54118" y="549075"/>
                      </a:lnTo>
                      <a:lnTo>
                        <a:pt x="52505" y="545903"/>
                      </a:lnTo>
                      <a:lnTo>
                        <a:pt x="49237" y="544709"/>
                      </a:lnTo>
                      <a:lnTo>
                        <a:pt x="47651" y="544619"/>
                      </a:lnTo>
                      <a:lnTo>
                        <a:pt x="47976" y="543787"/>
                      </a:lnTo>
                      <a:lnTo>
                        <a:pt x="51271" y="538113"/>
                      </a:lnTo>
                      <a:lnTo>
                        <a:pt x="60907" y="527668"/>
                      </a:lnTo>
                      <a:lnTo>
                        <a:pt x="59596" y="525522"/>
                      </a:lnTo>
                      <a:lnTo>
                        <a:pt x="59840" y="523867"/>
                      </a:lnTo>
                      <a:lnTo>
                        <a:pt x="61928" y="520321"/>
                      </a:lnTo>
                      <a:lnTo>
                        <a:pt x="62933" y="516199"/>
                      </a:lnTo>
                      <a:lnTo>
                        <a:pt x="62772" y="513347"/>
                      </a:lnTo>
                      <a:lnTo>
                        <a:pt x="62141" y="510782"/>
                      </a:lnTo>
                      <a:lnTo>
                        <a:pt x="61733" y="507473"/>
                      </a:lnTo>
                      <a:lnTo>
                        <a:pt x="61353" y="506275"/>
                      </a:lnTo>
                      <a:lnTo>
                        <a:pt x="59705" y="503663"/>
                      </a:lnTo>
                      <a:lnTo>
                        <a:pt x="59276" y="501872"/>
                      </a:lnTo>
                      <a:lnTo>
                        <a:pt x="59553" y="499841"/>
                      </a:lnTo>
                      <a:lnTo>
                        <a:pt x="61077" y="496313"/>
                      </a:lnTo>
                      <a:lnTo>
                        <a:pt x="61536" y="494521"/>
                      </a:lnTo>
                      <a:lnTo>
                        <a:pt x="60680" y="490497"/>
                      </a:lnTo>
                      <a:lnTo>
                        <a:pt x="58238" y="487911"/>
                      </a:lnTo>
                      <a:lnTo>
                        <a:pt x="55678" y="485737"/>
                      </a:lnTo>
                      <a:lnTo>
                        <a:pt x="54462" y="482988"/>
                      </a:lnTo>
                      <a:lnTo>
                        <a:pt x="53707" y="475107"/>
                      </a:lnTo>
                      <a:lnTo>
                        <a:pt x="54219" y="471646"/>
                      </a:lnTo>
                      <a:lnTo>
                        <a:pt x="56493" y="467638"/>
                      </a:lnTo>
                      <a:lnTo>
                        <a:pt x="60461" y="462910"/>
                      </a:lnTo>
                      <a:lnTo>
                        <a:pt x="61679" y="460485"/>
                      </a:lnTo>
                      <a:lnTo>
                        <a:pt x="62093" y="457161"/>
                      </a:lnTo>
                      <a:lnTo>
                        <a:pt x="61836" y="455737"/>
                      </a:lnTo>
                      <a:lnTo>
                        <a:pt x="59731" y="450397"/>
                      </a:lnTo>
                      <a:lnTo>
                        <a:pt x="59874" y="450204"/>
                      </a:lnTo>
                      <a:lnTo>
                        <a:pt x="59675" y="446730"/>
                      </a:lnTo>
                      <a:lnTo>
                        <a:pt x="59226" y="445888"/>
                      </a:lnTo>
                      <a:lnTo>
                        <a:pt x="57855" y="445087"/>
                      </a:lnTo>
                      <a:lnTo>
                        <a:pt x="57371" y="444184"/>
                      </a:lnTo>
                      <a:lnTo>
                        <a:pt x="57374" y="440657"/>
                      </a:lnTo>
                      <a:lnTo>
                        <a:pt x="58782" y="437508"/>
                      </a:lnTo>
                      <a:lnTo>
                        <a:pt x="61273" y="435248"/>
                      </a:lnTo>
                      <a:lnTo>
                        <a:pt x="64517" y="434371"/>
                      </a:lnTo>
                      <a:lnTo>
                        <a:pt x="64799" y="432477"/>
                      </a:lnTo>
                      <a:lnTo>
                        <a:pt x="67064" y="423594"/>
                      </a:lnTo>
                      <a:lnTo>
                        <a:pt x="68414" y="420795"/>
                      </a:lnTo>
                      <a:lnTo>
                        <a:pt x="73992" y="416545"/>
                      </a:lnTo>
                      <a:lnTo>
                        <a:pt x="75542" y="413985"/>
                      </a:lnTo>
                      <a:lnTo>
                        <a:pt x="76760" y="405437"/>
                      </a:lnTo>
                      <a:lnTo>
                        <a:pt x="82571" y="395062"/>
                      </a:lnTo>
                      <a:lnTo>
                        <a:pt x="83457" y="392051"/>
                      </a:lnTo>
                      <a:lnTo>
                        <a:pt x="83656" y="390478"/>
                      </a:lnTo>
                      <a:lnTo>
                        <a:pt x="83690" y="388341"/>
                      </a:lnTo>
                      <a:lnTo>
                        <a:pt x="83463" y="386338"/>
                      </a:lnTo>
                      <a:lnTo>
                        <a:pt x="82563" y="382945"/>
                      </a:lnTo>
                      <a:lnTo>
                        <a:pt x="82337" y="380963"/>
                      </a:lnTo>
                      <a:lnTo>
                        <a:pt x="82956" y="379112"/>
                      </a:lnTo>
                      <a:lnTo>
                        <a:pt x="84394" y="377585"/>
                      </a:lnTo>
                      <a:lnTo>
                        <a:pt x="86858" y="375497"/>
                      </a:lnTo>
                      <a:lnTo>
                        <a:pt x="87862" y="373610"/>
                      </a:lnTo>
                      <a:lnTo>
                        <a:pt x="88094" y="372808"/>
                      </a:lnTo>
                      <a:lnTo>
                        <a:pt x="86774" y="370501"/>
                      </a:lnTo>
                      <a:lnTo>
                        <a:pt x="85535" y="369208"/>
                      </a:lnTo>
                      <a:lnTo>
                        <a:pt x="82863" y="365362"/>
                      </a:lnTo>
                      <a:lnTo>
                        <a:pt x="81397" y="361308"/>
                      </a:lnTo>
                      <a:lnTo>
                        <a:pt x="83768" y="359418"/>
                      </a:lnTo>
                      <a:lnTo>
                        <a:pt x="85302" y="359200"/>
                      </a:lnTo>
                      <a:lnTo>
                        <a:pt x="89755" y="357888"/>
                      </a:lnTo>
                      <a:lnTo>
                        <a:pt x="91054" y="357043"/>
                      </a:lnTo>
                      <a:lnTo>
                        <a:pt x="91656" y="355236"/>
                      </a:lnTo>
                      <a:lnTo>
                        <a:pt x="90961" y="353956"/>
                      </a:lnTo>
                      <a:lnTo>
                        <a:pt x="88613" y="352061"/>
                      </a:lnTo>
                      <a:lnTo>
                        <a:pt x="84096" y="345428"/>
                      </a:lnTo>
                      <a:lnTo>
                        <a:pt x="84416" y="343445"/>
                      </a:lnTo>
                      <a:lnTo>
                        <a:pt x="85921" y="341019"/>
                      </a:lnTo>
                      <a:lnTo>
                        <a:pt x="86246" y="339258"/>
                      </a:lnTo>
                      <a:lnTo>
                        <a:pt x="86585" y="331281"/>
                      </a:lnTo>
                      <a:lnTo>
                        <a:pt x="85643" y="328362"/>
                      </a:lnTo>
                      <a:lnTo>
                        <a:pt x="82674" y="327680"/>
                      </a:lnTo>
                      <a:lnTo>
                        <a:pt x="79486" y="328479"/>
                      </a:lnTo>
                      <a:lnTo>
                        <a:pt x="78897" y="328469"/>
                      </a:lnTo>
                      <a:lnTo>
                        <a:pt x="78390" y="328407"/>
                      </a:lnTo>
                      <a:lnTo>
                        <a:pt x="78042" y="328251"/>
                      </a:lnTo>
                      <a:lnTo>
                        <a:pt x="77577" y="327917"/>
                      </a:lnTo>
                      <a:lnTo>
                        <a:pt x="77059" y="327431"/>
                      </a:lnTo>
                      <a:lnTo>
                        <a:pt x="76602" y="326797"/>
                      </a:lnTo>
                      <a:lnTo>
                        <a:pt x="76252" y="325865"/>
                      </a:lnTo>
                      <a:lnTo>
                        <a:pt x="75530" y="321103"/>
                      </a:lnTo>
                      <a:lnTo>
                        <a:pt x="75237" y="320179"/>
                      </a:lnTo>
                      <a:lnTo>
                        <a:pt x="74327" y="318866"/>
                      </a:lnTo>
                      <a:lnTo>
                        <a:pt x="73809" y="317940"/>
                      </a:lnTo>
                      <a:lnTo>
                        <a:pt x="73399" y="316707"/>
                      </a:lnTo>
                      <a:lnTo>
                        <a:pt x="73048" y="315251"/>
                      </a:lnTo>
                      <a:lnTo>
                        <a:pt x="72670" y="314259"/>
                      </a:lnTo>
                      <a:lnTo>
                        <a:pt x="72214" y="313402"/>
                      </a:lnTo>
                      <a:lnTo>
                        <a:pt x="71680" y="312688"/>
                      </a:lnTo>
                      <a:lnTo>
                        <a:pt x="69834" y="310888"/>
                      </a:lnTo>
                      <a:lnTo>
                        <a:pt x="65567" y="307581"/>
                      </a:lnTo>
                      <a:lnTo>
                        <a:pt x="64835" y="306738"/>
                      </a:lnTo>
                      <a:lnTo>
                        <a:pt x="64280" y="305686"/>
                      </a:lnTo>
                      <a:lnTo>
                        <a:pt x="63919" y="303781"/>
                      </a:lnTo>
                      <a:lnTo>
                        <a:pt x="64075" y="302528"/>
                      </a:lnTo>
                      <a:lnTo>
                        <a:pt x="64380" y="301484"/>
                      </a:lnTo>
                      <a:lnTo>
                        <a:pt x="65058" y="299910"/>
                      </a:lnTo>
                      <a:lnTo>
                        <a:pt x="65532" y="299196"/>
                      </a:lnTo>
                      <a:lnTo>
                        <a:pt x="67560" y="296694"/>
                      </a:lnTo>
                      <a:lnTo>
                        <a:pt x="67651" y="296093"/>
                      </a:lnTo>
                      <a:lnTo>
                        <a:pt x="67351" y="295610"/>
                      </a:lnTo>
                      <a:lnTo>
                        <a:pt x="65054" y="294195"/>
                      </a:lnTo>
                      <a:lnTo>
                        <a:pt x="62467" y="291635"/>
                      </a:lnTo>
                      <a:lnTo>
                        <a:pt x="60807" y="289576"/>
                      </a:lnTo>
                      <a:lnTo>
                        <a:pt x="60250" y="288397"/>
                      </a:lnTo>
                      <a:lnTo>
                        <a:pt x="59757" y="286873"/>
                      </a:lnTo>
                      <a:lnTo>
                        <a:pt x="59233" y="283993"/>
                      </a:lnTo>
                      <a:lnTo>
                        <a:pt x="58807" y="282512"/>
                      </a:lnTo>
                      <a:lnTo>
                        <a:pt x="58252" y="281446"/>
                      </a:lnTo>
                      <a:lnTo>
                        <a:pt x="57545" y="280922"/>
                      </a:lnTo>
                      <a:lnTo>
                        <a:pt x="56640" y="280552"/>
                      </a:lnTo>
                      <a:lnTo>
                        <a:pt x="54682" y="280073"/>
                      </a:lnTo>
                      <a:lnTo>
                        <a:pt x="53909" y="279685"/>
                      </a:lnTo>
                      <a:lnTo>
                        <a:pt x="53280" y="279187"/>
                      </a:lnTo>
                      <a:lnTo>
                        <a:pt x="52766" y="278417"/>
                      </a:lnTo>
                      <a:lnTo>
                        <a:pt x="52395" y="277608"/>
                      </a:lnTo>
                      <a:lnTo>
                        <a:pt x="52025" y="276183"/>
                      </a:lnTo>
                      <a:lnTo>
                        <a:pt x="52135" y="275324"/>
                      </a:lnTo>
                      <a:lnTo>
                        <a:pt x="52630" y="274615"/>
                      </a:lnTo>
                      <a:lnTo>
                        <a:pt x="54338" y="273555"/>
                      </a:lnTo>
                      <a:lnTo>
                        <a:pt x="54414" y="273485"/>
                      </a:lnTo>
                      <a:lnTo>
                        <a:pt x="54604" y="273292"/>
                      </a:lnTo>
                      <a:lnTo>
                        <a:pt x="54992" y="272771"/>
                      </a:lnTo>
                      <a:lnTo>
                        <a:pt x="55455" y="271844"/>
                      </a:lnTo>
                      <a:lnTo>
                        <a:pt x="55369" y="270903"/>
                      </a:lnTo>
                      <a:lnTo>
                        <a:pt x="54835" y="270173"/>
                      </a:lnTo>
                      <a:lnTo>
                        <a:pt x="54033" y="269680"/>
                      </a:lnTo>
                      <a:lnTo>
                        <a:pt x="53076" y="269297"/>
                      </a:lnTo>
                      <a:lnTo>
                        <a:pt x="49055" y="268183"/>
                      </a:lnTo>
                      <a:lnTo>
                        <a:pt x="48118" y="267765"/>
                      </a:lnTo>
                      <a:lnTo>
                        <a:pt x="47319" y="267281"/>
                      </a:lnTo>
                      <a:lnTo>
                        <a:pt x="45862" y="266180"/>
                      </a:lnTo>
                      <a:lnTo>
                        <a:pt x="41393" y="261655"/>
                      </a:lnTo>
                      <a:lnTo>
                        <a:pt x="39745" y="259605"/>
                      </a:lnTo>
                      <a:lnTo>
                        <a:pt x="38703" y="257975"/>
                      </a:lnTo>
                      <a:lnTo>
                        <a:pt x="38246" y="256909"/>
                      </a:lnTo>
                      <a:lnTo>
                        <a:pt x="37679" y="255194"/>
                      </a:lnTo>
                      <a:lnTo>
                        <a:pt x="37562" y="253844"/>
                      </a:lnTo>
                      <a:lnTo>
                        <a:pt x="37640" y="252618"/>
                      </a:lnTo>
                      <a:lnTo>
                        <a:pt x="38254" y="250758"/>
                      </a:lnTo>
                      <a:lnTo>
                        <a:pt x="38919" y="249456"/>
                      </a:lnTo>
                      <a:lnTo>
                        <a:pt x="39173" y="248495"/>
                      </a:lnTo>
                      <a:lnTo>
                        <a:pt x="39363" y="246995"/>
                      </a:lnTo>
                      <a:lnTo>
                        <a:pt x="39568" y="242003"/>
                      </a:lnTo>
                      <a:lnTo>
                        <a:pt x="39799" y="240358"/>
                      </a:lnTo>
                      <a:lnTo>
                        <a:pt x="40537" y="237517"/>
                      </a:lnTo>
                      <a:lnTo>
                        <a:pt x="40589" y="236492"/>
                      </a:lnTo>
                      <a:lnTo>
                        <a:pt x="40435" y="235604"/>
                      </a:lnTo>
                      <a:lnTo>
                        <a:pt x="40004" y="234930"/>
                      </a:lnTo>
                      <a:lnTo>
                        <a:pt x="39502" y="234345"/>
                      </a:lnTo>
                      <a:lnTo>
                        <a:pt x="38922" y="233789"/>
                      </a:lnTo>
                      <a:lnTo>
                        <a:pt x="38320" y="232415"/>
                      </a:lnTo>
                      <a:lnTo>
                        <a:pt x="37684" y="230318"/>
                      </a:lnTo>
                      <a:lnTo>
                        <a:pt x="36470" y="223438"/>
                      </a:lnTo>
                      <a:lnTo>
                        <a:pt x="36002" y="221832"/>
                      </a:lnTo>
                      <a:lnTo>
                        <a:pt x="31692" y="216067"/>
                      </a:lnTo>
                      <a:lnTo>
                        <a:pt x="30490" y="213789"/>
                      </a:lnTo>
                      <a:lnTo>
                        <a:pt x="29812" y="212054"/>
                      </a:lnTo>
                      <a:lnTo>
                        <a:pt x="28994" y="210389"/>
                      </a:lnTo>
                      <a:lnTo>
                        <a:pt x="27524" y="208031"/>
                      </a:lnTo>
                      <a:lnTo>
                        <a:pt x="25248" y="205314"/>
                      </a:lnTo>
                      <a:lnTo>
                        <a:pt x="22019" y="202232"/>
                      </a:lnTo>
                      <a:lnTo>
                        <a:pt x="20567" y="201137"/>
                      </a:lnTo>
                      <a:lnTo>
                        <a:pt x="15143" y="198622"/>
                      </a:lnTo>
                      <a:lnTo>
                        <a:pt x="14410" y="198177"/>
                      </a:lnTo>
                      <a:lnTo>
                        <a:pt x="13702" y="197640"/>
                      </a:lnTo>
                      <a:lnTo>
                        <a:pt x="13126" y="197006"/>
                      </a:lnTo>
                      <a:lnTo>
                        <a:pt x="9702" y="191229"/>
                      </a:lnTo>
                      <a:lnTo>
                        <a:pt x="8927" y="190378"/>
                      </a:lnTo>
                      <a:lnTo>
                        <a:pt x="6871" y="188911"/>
                      </a:lnTo>
                      <a:lnTo>
                        <a:pt x="5830" y="188402"/>
                      </a:lnTo>
                      <a:lnTo>
                        <a:pt x="3558" y="186862"/>
                      </a:lnTo>
                      <a:lnTo>
                        <a:pt x="2667" y="185951"/>
                      </a:lnTo>
                      <a:lnTo>
                        <a:pt x="2318" y="185278"/>
                      </a:lnTo>
                      <a:lnTo>
                        <a:pt x="2185" y="184904"/>
                      </a:lnTo>
                      <a:lnTo>
                        <a:pt x="2032" y="171682"/>
                      </a:lnTo>
                      <a:lnTo>
                        <a:pt x="1785" y="150769"/>
                      </a:lnTo>
                      <a:lnTo>
                        <a:pt x="1533" y="129847"/>
                      </a:lnTo>
                      <a:lnTo>
                        <a:pt x="1284" y="108935"/>
                      </a:lnTo>
                      <a:lnTo>
                        <a:pt x="1025" y="88035"/>
                      </a:lnTo>
                      <a:lnTo>
                        <a:pt x="765" y="67136"/>
                      </a:lnTo>
                      <a:lnTo>
                        <a:pt x="513" y="46245"/>
                      </a:lnTo>
                      <a:lnTo>
                        <a:pt x="255" y="25354"/>
                      </a:lnTo>
                      <a:lnTo>
                        <a:pt x="0" y="4479"/>
                      </a:lnTo>
                      <a:lnTo>
                        <a:pt x="29008" y="4313"/>
                      </a:lnTo>
                      <a:lnTo>
                        <a:pt x="58020" y="4125"/>
                      </a:lnTo>
                      <a:lnTo>
                        <a:pt x="87027" y="3924"/>
                      </a:lnTo>
                      <a:lnTo>
                        <a:pt x="116032" y="3717"/>
                      </a:lnTo>
                      <a:lnTo>
                        <a:pt x="145040" y="3498"/>
                      </a:lnTo>
                      <a:lnTo>
                        <a:pt x="174047" y="3252"/>
                      </a:lnTo>
                      <a:lnTo>
                        <a:pt x="203052" y="3002"/>
                      </a:lnTo>
                      <a:lnTo>
                        <a:pt x="232051" y="2737"/>
                      </a:lnTo>
                      <a:lnTo>
                        <a:pt x="261049" y="2464"/>
                      </a:lnTo>
                      <a:lnTo>
                        <a:pt x="290050" y="2164"/>
                      </a:lnTo>
                      <a:lnTo>
                        <a:pt x="319043" y="1859"/>
                      </a:lnTo>
                      <a:lnTo>
                        <a:pt x="348039" y="1547"/>
                      </a:lnTo>
                      <a:lnTo>
                        <a:pt x="377030" y="1215"/>
                      </a:lnTo>
                      <a:lnTo>
                        <a:pt x="406023" y="875"/>
                      </a:lnTo>
                      <a:lnTo>
                        <a:pt x="435012" y="521"/>
                      </a:lnTo>
                      <a:lnTo>
                        <a:pt x="463999" y="14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3" name="Freeform 80">
                  <a:extLst>
                    <a:ext uri="{FF2B5EF4-FFF2-40B4-BE49-F238E27FC236}">
                      <a16:creationId xmlns:a16="http://schemas.microsoft.com/office/drawing/2014/main" id="{4B37240A-8C03-4953-9EE4-4E16AE1117C2}"/>
                    </a:ext>
                  </a:extLst>
                </p:cNvPr>
                <p:cNvSpPr/>
                <p:nvPr>
                  <p:custDataLst>
                    <p:tags r:id="rId25"/>
                  </p:custDataLst>
                </p:nvPr>
              </p:nvSpPr>
              <p:spPr>
                <a:xfrm>
                  <a:off x="5493838" y="3990986"/>
                  <a:ext cx="181172" cy="13549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7966" h="200405">
                      <a:moveTo>
                        <a:pt x="98682" y="14570"/>
                      </a:moveTo>
                      <a:lnTo>
                        <a:pt x="104728" y="13502"/>
                      </a:lnTo>
                      <a:lnTo>
                        <a:pt x="104582" y="9441"/>
                      </a:lnTo>
                      <a:lnTo>
                        <a:pt x="124312" y="8099"/>
                      </a:lnTo>
                      <a:lnTo>
                        <a:pt x="127880" y="8773"/>
                      </a:lnTo>
                      <a:lnTo>
                        <a:pt x="129790" y="8912"/>
                      </a:lnTo>
                      <a:lnTo>
                        <a:pt x="131000" y="8751"/>
                      </a:lnTo>
                      <a:lnTo>
                        <a:pt x="133318" y="7314"/>
                      </a:lnTo>
                      <a:lnTo>
                        <a:pt x="140600" y="6840"/>
                      </a:lnTo>
                      <a:lnTo>
                        <a:pt x="161857" y="5465"/>
                      </a:lnTo>
                      <a:lnTo>
                        <a:pt x="183092" y="4080"/>
                      </a:lnTo>
                      <a:lnTo>
                        <a:pt x="204320" y="2684"/>
                      </a:lnTo>
                      <a:lnTo>
                        <a:pt x="225551" y="1284"/>
                      </a:lnTo>
                      <a:lnTo>
                        <a:pt x="241907" y="0"/>
                      </a:lnTo>
                      <a:lnTo>
                        <a:pt x="242493" y="1876"/>
                      </a:lnTo>
                      <a:lnTo>
                        <a:pt x="245118" y="11980"/>
                      </a:lnTo>
                      <a:lnTo>
                        <a:pt x="247744" y="22099"/>
                      </a:lnTo>
                      <a:lnTo>
                        <a:pt x="250359" y="32212"/>
                      </a:lnTo>
                      <a:lnTo>
                        <a:pt x="252970" y="42322"/>
                      </a:lnTo>
                      <a:lnTo>
                        <a:pt x="255580" y="52439"/>
                      </a:lnTo>
                      <a:lnTo>
                        <a:pt x="258185" y="62559"/>
                      </a:lnTo>
                      <a:lnTo>
                        <a:pt x="260791" y="72685"/>
                      </a:lnTo>
                      <a:lnTo>
                        <a:pt x="263385" y="82810"/>
                      </a:lnTo>
                      <a:lnTo>
                        <a:pt x="264740" y="88084"/>
                      </a:lnTo>
                      <a:lnTo>
                        <a:pt x="266045" y="95398"/>
                      </a:lnTo>
                      <a:lnTo>
                        <a:pt x="267965" y="106301"/>
                      </a:lnTo>
                      <a:lnTo>
                        <a:pt x="266195" y="106913"/>
                      </a:lnTo>
                      <a:lnTo>
                        <a:pt x="265626" y="108379"/>
                      </a:lnTo>
                      <a:lnTo>
                        <a:pt x="265350" y="110827"/>
                      </a:lnTo>
                      <a:lnTo>
                        <a:pt x="266254" y="119795"/>
                      </a:lnTo>
                      <a:lnTo>
                        <a:pt x="266201" y="123335"/>
                      </a:lnTo>
                      <a:lnTo>
                        <a:pt x="266345" y="125241"/>
                      </a:lnTo>
                      <a:lnTo>
                        <a:pt x="263193" y="126982"/>
                      </a:lnTo>
                      <a:lnTo>
                        <a:pt x="261879" y="125489"/>
                      </a:lnTo>
                      <a:lnTo>
                        <a:pt x="264489" y="123302"/>
                      </a:lnTo>
                      <a:lnTo>
                        <a:pt x="263212" y="121600"/>
                      </a:lnTo>
                      <a:lnTo>
                        <a:pt x="261516" y="120547"/>
                      </a:lnTo>
                      <a:lnTo>
                        <a:pt x="259376" y="119763"/>
                      </a:lnTo>
                      <a:lnTo>
                        <a:pt x="257464" y="119587"/>
                      </a:lnTo>
                      <a:lnTo>
                        <a:pt x="248110" y="120571"/>
                      </a:lnTo>
                      <a:lnTo>
                        <a:pt x="246791" y="120980"/>
                      </a:lnTo>
                      <a:lnTo>
                        <a:pt x="238757" y="126277"/>
                      </a:lnTo>
                      <a:lnTo>
                        <a:pt x="230489" y="120839"/>
                      </a:lnTo>
                      <a:lnTo>
                        <a:pt x="229052" y="122022"/>
                      </a:lnTo>
                      <a:lnTo>
                        <a:pt x="229193" y="126245"/>
                      </a:lnTo>
                      <a:lnTo>
                        <a:pt x="228297" y="128352"/>
                      </a:lnTo>
                      <a:lnTo>
                        <a:pt x="224689" y="128475"/>
                      </a:lnTo>
                      <a:lnTo>
                        <a:pt x="219536" y="127042"/>
                      </a:lnTo>
                      <a:lnTo>
                        <a:pt x="215683" y="127118"/>
                      </a:lnTo>
                      <a:lnTo>
                        <a:pt x="215975" y="131817"/>
                      </a:lnTo>
                      <a:lnTo>
                        <a:pt x="211533" y="129807"/>
                      </a:lnTo>
                      <a:lnTo>
                        <a:pt x="203892" y="135403"/>
                      </a:lnTo>
                      <a:lnTo>
                        <a:pt x="198823" y="133894"/>
                      </a:lnTo>
                      <a:lnTo>
                        <a:pt x="197580" y="133092"/>
                      </a:lnTo>
                      <a:lnTo>
                        <a:pt x="195356" y="132443"/>
                      </a:lnTo>
                      <a:lnTo>
                        <a:pt x="194307" y="131822"/>
                      </a:lnTo>
                      <a:lnTo>
                        <a:pt x="193528" y="130575"/>
                      </a:lnTo>
                      <a:lnTo>
                        <a:pt x="193611" y="129322"/>
                      </a:lnTo>
                      <a:lnTo>
                        <a:pt x="193837" y="127927"/>
                      </a:lnTo>
                      <a:lnTo>
                        <a:pt x="193536" y="126328"/>
                      </a:lnTo>
                      <a:lnTo>
                        <a:pt x="192397" y="124636"/>
                      </a:lnTo>
                      <a:lnTo>
                        <a:pt x="190569" y="123060"/>
                      </a:lnTo>
                      <a:lnTo>
                        <a:pt x="188192" y="122046"/>
                      </a:lnTo>
                      <a:lnTo>
                        <a:pt x="185365" y="122000"/>
                      </a:lnTo>
                      <a:lnTo>
                        <a:pt x="187730" y="124705"/>
                      </a:lnTo>
                      <a:lnTo>
                        <a:pt x="190677" y="126824"/>
                      </a:lnTo>
                      <a:lnTo>
                        <a:pt x="192679" y="129464"/>
                      </a:lnTo>
                      <a:lnTo>
                        <a:pt x="192209" y="133763"/>
                      </a:lnTo>
                      <a:lnTo>
                        <a:pt x="193861" y="134699"/>
                      </a:lnTo>
                      <a:lnTo>
                        <a:pt x="194500" y="134910"/>
                      </a:lnTo>
                      <a:lnTo>
                        <a:pt x="192335" y="137483"/>
                      </a:lnTo>
                      <a:lnTo>
                        <a:pt x="189250" y="137523"/>
                      </a:lnTo>
                      <a:lnTo>
                        <a:pt x="182566" y="135882"/>
                      </a:lnTo>
                      <a:lnTo>
                        <a:pt x="179884" y="136471"/>
                      </a:lnTo>
                      <a:lnTo>
                        <a:pt x="176924" y="137935"/>
                      </a:lnTo>
                      <a:lnTo>
                        <a:pt x="174457" y="140058"/>
                      </a:lnTo>
                      <a:lnTo>
                        <a:pt x="173209" y="142649"/>
                      </a:lnTo>
                      <a:lnTo>
                        <a:pt x="172233" y="141898"/>
                      </a:lnTo>
                      <a:lnTo>
                        <a:pt x="171637" y="141611"/>
                      </a:lnTo>
                      <a:lnTo>
                        <a:pt x="171175" y="141284"/>
                      </a:lnTo>
                      <a:lnTo>
                        <a:pt x="170569" y="140402"/>
                      </a:lnTo>
                      <a:lnTo>
                        <a:pt x="169491" y="140489"/>
                      </a:lnTo>
                      <a:lnTo>
                        <a:pt x="168175" y="141760"/>
                      </a:lnTo>
                      <a:lnTo>
                        <a:pt x="161576" y="139592"/>
                      </a:lnTo>
                      <a:lnTo>
                        <a:pt x="158055" y="138980"/>
                      </a:lnTo>
                      <a:lnTo>
                        <a:pt x="150219" y="141344"/>
                      </a:lnTo>
                      <a:lnTo>
                        <a:pt x="149152" y="142610"/>
                      </a:lnTo>
                      <a:lnTo>
                        <a:pt x="148325" y="143927"/>
                      </a:lnTo>
                      <a:lnTo>
                        <a:pt x="147351" y="144734"/>
                      </a:lnTo>
                      <a:lnTo>
                        <a:pt x="145514" y="144852"/>
                      </a:lnTo>
                      <a:lnTo>
                        <a:pt x="143935" y="144265"/>
                      </a:lnTo>
                      <a:lnTo>
                        <a:pt x="142443" y="143439"/>
                      </a:lnTo>
                      <a:lnTo>
                        <a:pt x="140851" y="142795"/>
                      </a:lnTo>
                      <a:lnTo>
                        <a:pt x="138790" y="142603"/>
                      </a:lnTo>
                      <a:lnTo>
                        <a:pt x="133356" y="143395"/>
                      </a:lnTo>
                      <a:lnTo>
                        <a:pt x="131978" y="144014"/>
                      </a:lnTo>
                      <a:lnTo>
                        <a:pt x="130024" y="145880"/>
                      </a:lnTo>
                      <a:lnTo>
                        <a:pt x="128888" y="145643"/>
                      </a:lnTo>
                      <a:lnTo>
                        <a:pt x="127109" y="146336"/>
                      </a:lnTo>
                      <a:lnTo>
                        <a:pt x="124657" y="146180"/>
                      </a:lnTo>
                      <a:lnTo>
                        <a:pt x="123290" y="148623"/>
                      </a:lnTo>
                      <a:lnTo>
                        <a:pt x="118043" y="149120"/>
                      </a:lnTo>
                      <a:lnTo>
                        <a:pt x="117128" y="147296"/>
                      </a:lnTo>
                      <a:lnTo>
                        <a:pt x="116773" y="145488"/>
                      </a:lnTo>
                      <a:lnTo>
                        <a:pt x="115165" y="143593"/>
                      </a:lnTo>
                      <a:lnTo>
                        <a:pt x="113814" y="139526"/>
                      </a:lnTo>
                      <a:lnTo>
                        <a:pt x="113023" y="138766"/>
                      </a:lnTo>
                      <a:lnTo>
                        <a:pt x="111994" y="140004"/>
                      </a:lnTo>
                      <a:lnTo>
                        <a:pt x="111181" y="141830"/>
                      </a:lnTo>
                      <a:lnTo>
                        <a:pt x="111000" y="142746"/>
                      </a:lnTo>
                      <a:lnTo>
                        <a:pt x="106734" y="147972"/>
                      </a:lnTo>
                      <a:lnTo>
                        <a:pt x="104147" y="153078"/>
                      </a:lnTo>
                      <a:lnTo>
                        <a:pt x="103124" y="154454"/>
                      </a:lnTo>
                      <a:lnTo>
                        <a:pt x="102029" y="157226"/>
                      </a:lnTo>
                      <a:lnTo>
                        <a:pt x="98523" y="157770"/>
                      </a:lnTo>
                      <a:lnTo>
                        <a:pt x="96069" y="156800"/>
                      </a:lnTo>
                      <a:lnTo>
                        <a:pt x="94879" y="158136"/>
                      </a:lnTo>
                      <a:lnTo>
                        <a:pt x="92035" y="159750"/>
                      </a:lnTo>
                      <a:lnTo>
                        <a:pt x="90970" y="160851"/>
                      </a:lnTo>
                      <a:lnTo>
                        <a:pt x="90070" y="162878"/>
                      </a:lnTo>
                      <a:lnTo>
                        <a:pt x="89770" y="163912"/>
                      </a:lnTo>
                      <a:lnTo>
                        <a:pt x="89829" y="166190"/>
                      </a:lnTo>
                      <a:lnTo>
                        <a:pt x="90673" y="168489"/>
                      </a:lnTo>
                      <a:lnTo>
                        <a:pt x="86998" y="169045"/>
                      </a:lnTo>
                      <a:lnTo>
                        <a:pt x="83500" y="167237"/>
                      </a:lnTo>
                      <a:lnTo>
                        <a:pt x="81905" y="166245"/>
                      </a:lnTo>
                      <a:lnTo>
                        <a:pt x="80886" y="165527"/>
                      </a:lnTo>
                      <a:lnTo>
                        <a:pt x="78678" y="164888"/>
                      </a:lnTo>
                      <a:lnTo>
                        <a:pt x="79148" y="167056"/>
                      </a:lnTo>
                      <a:lnTo>
                        <a:pt x="75779" y="168222"/>
                      </a:lnTo>
                      <a:lnTo>
                        <a:pt x="74522" y="167193"/>
                      </a:lnTo>
                      <a:lnTo>
                        <a:pt x="73924" y="166709"/>
                      </a:lnTo>
                      <a:lnTo>
                        <a:pt x="73589" y="166532"/>
                      </a:lnTo>
                      <a:lnTo>
                        <a:pt x="73156" y="167256"/>
                      </a:lnTo>
                      <a:lnTo>
                        <a:pt x="73836" y="169609"/>
                      </a:lnTo>
                      <a:lnTo>
                        <a:pt x="73595" y="170881"/>
                      </a:lnTo>
                      <a:lnTo>
                        <a:pt x="72980" y="172022"/>
                      </a:lnTo>
                      <a:lnTo>
                        <a:pt x="71785" y="173671"/>
                      </a:lnTo>
                      <a:lnTo>
                        <a:pt x="69535" y="175237"/>
                      </a:lnTo>
                      <a:lnTo>
                        <a:pt x="68276" y="175793"/>
                      </a:lnTo>
                      <a:lnTo>
                        <a:pt x="66786" y="173694"/>
                      </a:lnTo>
                      <a:lnTo>
                        <a:pt x="65427" y="173001"/>
                      </a:lnTo>
                      <a:lnTo>
                        <a:pt x="64842" y="175082"/>
                      </a:lnTo>
                      <a:lnTo>
                        <a:pt x="63886" y="176247"/>
                      </a:lnTo>
                      <a:lnTo>
                        <a:pt x="61912" y="176695"/>
                      </a:lnTo>
                      <a:lnTo>
                        <a:pt x="59597" y="177165"/>
                      </a:lnTo>
                      <a:lnTo>
                        <a:pt x="57313" y="178578"/>
                      </a:lnTo>
                      <a:lnTo>
                        <a:pt x="55306" y="178871"/>
                      </a:lnTo>
                      <a:lnTo>
                        <a:pt x="54326" y="179674"/>
                      </a:lnTo>
                      <a:lnTo>
                        <a:pt x="53263" y="180075"/>
                      </a:lnTo>
                      <a:lnTo>
                        <a:pt x="47775" y="184511"/>
                      </a:lnTo>
                      <a:lnTo>
                        <a:pt x="45944" y="185481"/>
                      </a:lnTo>
                      <a:lnTo>
                        <a:pt x="41300" y="189108"/>
                      </a:lnTo>
                      <a:lnTo>
                        <a:pt x="39793" y="189385"/>
                      </a:lnTo>
                      <a:lnTo>
                        <a:pt x="37485" y="191578"/>
                      </a:lnTo>
                      <a:lnTo>
                        <a:pt x="35561" y="195490"/>
                      </a:lnTo>
                      <a:lnTo>
                        <a:pt x="33148" y="193928"/>
                      </a:lnTo>
                      <a:lnTo>
                        <a:pt x="31850" y="194455"/>
                      </a:lnTo>
                      <a:lnTo>
                        <a:pt x="29605" y="196400"/>
                      </a:lnTo>
                      <a:lnTo>
                        <a:pt x="26113" y="197410"/>
                      </a:lnTo>
                      <a:lnTo>
                        <a:pt x="24759" y="195927"/>
                      </a:lnTo>
                      <a:lnTo>
                        <a:pt x="23769" y="196155"/>
                      </a:lnTo>
                      <a:lnTo>
                        <a:pt x="23173" y="198251"/>
                      </a:lnTo>
                      <a:lnTo>
                        <a:pt x="22080" y="198797"/>
                      </a:lnTo>
                      <a:lnTo>
                        <a:pt x="19933" y="199262"/>
                      </a:lnTo>
                      <a:lnTo>
                        <a:pt x="19106" y="200268"/>
                      </a:lnTo>
                      <a:lnTo>
                        <a:pt x="18965" y="200404"/>
                      </a:lnTo>
                      <a:lnTo>
                        <a:pt x="17846" y="198481"/>
                      </a:lnTo>
                      <a:lnTo>
                        <a:pt x="17159" y="197314"/>
                      </a:lnTo>
                      <a:lnTo>
                        <a:pt x="16089" y="195857"/>
                      </a:lnTo>
                      <a:lnTo>
                        <a:pt x="15481" y="195324"/>
                      </a:lnTo>
                      <a:lnTo>
                        <a:pt x="15076" y="195062"/>
                      </a:lnTo>
                      <a:lnTo>
                        <a:pt x="14304" y="194681"/>
                      </a:lnTo>
                      <a:lnTo>
                        <a:pt x="13712" y="194207"/>
                      </a:lnTo>
                      <a:lnTo>
                        <a:pt x="8979" y="189311"/>
                      </a:lnTo>
                      <a:lnTo>
                        <a:pt x="4347" y="184507"/>
                      </a:lnTo>
                      <a:lnTo>
                        <a:pt x="3262" y="183313"/>
                      </a:lnTo>
                      <a:lnTo>
                        <a:pt x="5031" y="181906"/>
                      </a:lnTo>
                      <a:lnTo>
                        <a:pt x="10610" y="177781"/>
                      </a:lnTo>
                      <a:lnTo>
                        <a:pt x="17637" y="172590"/>
                      </a:lnTo>
                      <a:lnTo>
                        <a:pt x="25289" y="166909"/>
                      </a:lnTo>
                      <a:lnTo>
                        <a:pt x="31453" y="162351"/>
                      </a:lnTo>
                      <a:lnTo>
                        <a:pt x="33391" y="160580"/>
                      </a:lnTo>
                      <a:lnTo>
                        <a:pt x="30548" y="157853"/>
                      </a:lnTo>
                      <a:lnTo>
                        <a:pt x="27960" y="154962"/>
                      </a:lnTo>
                      <a:lnTo>
                        <a:pt x="25188" y="151864"/>
                      </a:lnTo>
                      <a:lnTo>
                        <a:pt x="21519" y="147750"/>
                      </a:lnTo>
                      <a:lnTo>
                        <a:pt x="20997" y="144401"/>
                      </a:lnTo>
                      <a:lnTo>
                        <a:pt x="19708" y="136248"/>
                      </a:lnTo>
                      <a:lnTo>
                        <a:pt x="18410" y="128085"/>
                      </a:lnTo>
                      <a:lnTo>
                        <a:pt x="17113" y="119928"/>
                      </a:lnTo>
                      <a:lnTo>
                        <a:pt x="15816" y="111767"/>
                      </a:lnTo>
                      <a:lnTo>
                        <a:pt x="14516" y="103621"/>
                      </a:lnTo>
                      <a:lnTo>
                        <a:pt x="13216" y="95457"/>
                      </a:lnTo>
                      <a:lnTo>
                        <a:pt x="11902" y="87310"/>
                      </a:lnTo>
                      <a:lnTo>
                        <a:pt x="10590" y="79156"/>
                      </a:lnTo>
                      <a:lnTo>
                        <a:pt x="9282" y="71014"/>
                      </a:lnTo>
                      <a:lnTo>
                        <a:pt x="7960" y="62862"/>
                      </a:lnTo>
                      <a:lnTo>
                        <a:pt x="6641" y="54715"/>
                      </a:lnTo>
                      <a:lnTo>
                        <a:pt x="5317" y="46566"/>
                      </a:lnTo>
                      <a:lnTo>
                        <a:pt x="3997" y="38426"/>
                      </a:lnTo>
                      <a:lnTo>
                        <a:pt x="2671" y="30274"/>
                      </a:lnTo>
                      <a:lnTo>
                        <a:pt x="1338" y="22141"/>
                      </a:lnTo>
                      <a:lnTo>
                        <a:pt x="0" y="13998"/>
                      </a:lnTo>
                      <a:lnTo>
                        <a:pt x="17621" y="13231"/>
                      </a:lnTo>
                      <a:lnTo>
                        <a:pt x="35244" y="12447"/>
                      </a:lnTo>
                      <a:lnTo>
                        <a:pt x="52865" y="11663"/>
                      </a:lnTo>
                      <a:lnTo>
                        <a:pt x="70472" y="10864"/>
                      </a:lnTo>
                      <a:lnTo>
                        <a:pt x="80225" y="10410"/>
                      </a:lnTo>
                      <a:lnTo>
                        <a:pt x="89497" y="10003"/>
                      </a:lnTo>
                      <a:lnTo>
                        <a:pt x="97409" y="10026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4" name="Freeform 81">
                  <a:extLst>
                    <a:ext uri="{FF2B5EF4-FFF2-40B4-BE49-F238E27FC236}">
                      <a16:creationId xmlns:a16="http://schemas.microsoft.com/office/drawing/2014/main" id="{D7D0B3EE-B2DC-4959-BD3D-3C295E96CB87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5554863" y="3598602"/>
                  <a:ext cx="175753" cy="31417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59951" h="464679">
                      <a:moveTo>
                        <a:pt x="253124" y="381326"/>
                      </a:moveTo>
                      <a:lnTo>
                        <a:pt x="252831" y="385795"/>
                      </a:lnTo>
                      <a:lnTo>
                        <a:pt x="255722" y="384756"/>
                      </a:lnTo>
                      <a:lnTo>
                        <a:pt x="258860" y="384133"/>
                      </a:lnTo>
                      <a:lnTo>
                        <a:pt x="259905" y="385157"/>
                      </a:lnTo>
                      <a:lnTo>
                        <a:pt x="259950" y="387600"/>
                      </a:lnTo>
                      <a:lnTo>
                        <a:pt x="259526" y="389977"/>
                      </a:lnTo>
                      <a:lnTo>
                        <a:pt x="259204" y="390829"/>
                      </a:lnTo>
                      <a:lnTo>
                        <a:pt x="258752" y="393783"/>
                      </a:lnTo>
                      <a:lnTo>
                        <a:pt x="254158" y="405332"/>
                      </a:lnTo>
                      <a:lnTo>
                        <a:pt x="252786" y="411765"/>
                      </a:lnTo>
                      <a:lnTo>
                        <a:pt x="252548" y="415501"/>
                      </a:lnTo>
                      <a:lnTo>
                        <a:pt x="252952" y="418297"/>
                      </a:lnTo>
                      <a:lnTo>
                        <a:pt x="252952" y="418299"/>
                      </a:lnTo>
                      <a:lnTo>
                        <a:pt x="248231" y="419917"/>
                      </a:lnTo>
                      <a:lnTo>
                        <a:pt x="245089" y="419483"/>
                      </a:lnTo>
                      <a:lnTo>
                        <a:pt x="239853" y="418042"/>
                      </a:lnTo>
                      <a:lnTo>
                        <a:pt x="238107" y="417952"/>
                      </a:lnTo>
                      <a:lnTo>
                        <a:pt x="236834" y="418116"/>
                      </a:lnTo>
                      <a:lnTo>
                        <a:pt x="224638" y="424909"/>
                      </a:lnTo>
                      <a:lnTo>
                        <a:pt x="223363" y="426068"/>
                      </a:lnTo>
                      <a:lnTo>
                        <a:pt x="222797" y="426757"/>
                      </a:lnTo>
                      <a:lnTo>
                        <a:pt x="221339" y="429277"/>
                      </a:lnTo>
                      <a:lnTo>
                        <a:pt x="220552" y="430344"/>
                      </a:lnTo>
                      <a:lnTo>
                        <a:pt x="219037" y="431738"/>
                      </a:lnTo>
                      <a:lnTo>
                        <a:pt x="217799" y="432265"/>
                      </a:lnTo>
                      <a:lnTo>
                        <a:pt x="216219" y="432398"/>
                      </a:lnTo>
                      <a:lnTo>
                        <a:pt x="214524" y="432263"/>
                      </a:lnTo>
                      <a:lnTo>
                        <a:pt x="212087" y="432364"/>
                      </a:lnTo>
                      <a:lnTo>
                        <a:pt x="210742" y="432695"/>
                      </a:lnTo>
                      <a:lnTo>
                        <a:pt x="209710" y="433194"/>
                      </a:lnTo>
                      <a:lnTo>
                        <a:pt x="209085" y="433744"/>
                      </a:lnTo>
                      <a:lnTo>
                        <a:pt x="208494" y="434416"/>
                      </a:lnTo>
                      <a:lnTo>
                        <a:pt x="207590" y="435982"/>
                      </a:lnTo>
                      <a:lnTo>
                        <a:pt x="207216" y="436828"/>
                      </a:lnTo>
                      <a:lnTo>
                        <a:pt x="206595" y="438783"/>
                      </a:lnTo>
                      <a:lnTo>
                        <a:pt x="206174" y="442174"/>
                      </a:lnTo>
                      <a:lnTo>
                        <a:pt x="205913" y="443407"/>
                      </a:lnTo>
                      <a:lnTo>
                        <a:pt x="204844" y="445040"/>
                      </a:lnTo>
                      <a:lnTo>
                        <a:pt x="203361" y="445898"/>
                      </a:lnTo>
                      <a:lnTo>
                        <a:pt x="200799" y="446903"/>
                      </a:lnTo>
                      <a:lnTo>
                        <a:pt x="199493" y="447610"/>
                      </a:lnTo>
                      <a:lnTo>
                        <a:pt x="198590" y="448367"/>
                      </a:lnTo>
                      <a:lnTo>
                        <a:pt x="197252" y="450771"/>
                      </a:lnTo>
                      <a:lnTo>
                        <a:pt x="195680" y="452822"/>
                      </a:lnTo>
                      <a:lnTo>
                        <a:pt x="193975" y="454463"/>
                      </a:lnTo>
                      <a:lnTo>
                        <a:pt x="192985" y="455058"/>
                      </a:lnTo>
                      <a:lnTo>
                        <a:pt x="191623" y="455393"/>
                      </a:lnTo>
                      <a:lnTo>
                        <a:pt x="188307" y="455583"/>
                      </a:lnTo>
                      <a:lnTo>
                        <a:pt x="178189" y="456170"/>
                      </a:lnTo>
                      <a:lnTo>
                        <a:pt x="168067" y="456751"/>
                      </a:lnTo>
                      <a:lnTo>
                        <a:pt x="157939" y="457338"/>
                      </a:lnTo>
                      <a:lnTo>
                        <a:pt x="147814" y="457913"/>
                      </a:lnTo>
                      <a:lnTo>
                        <a:pt x="137689" y="458490"/>
                      </a:lnTo>
                      <a:lnTo>
                        <a:pt x="127555" y="459069"/>
                      </a:lnTo>
                      <a:lnTo>
                        <a:pt x="117419" y="459641"/>
                      </a:lnTo>
                      <a:lnTo>
                        <a:pt x="107291" y="460206"/>
                      </a:lnTo>
                      <a:lnTo>
                        <a:pt x="97159" y="460768"/>
                      </a:lnTo>
                      <a:lnTo>
                        <a:pt x="87022" y="461326"/>
                      </a:lnTo>
                      <a:lnTo>
                        <a:pt x="76890" y="461897"/>
                      </a:lnTo>
                      <a:lnTo>
                        <a:pt x="66753" y="462454"/>
                      </a:lnTo>
                      <a:lnTo>
                        <a:pt x="56615" y="463010"/>
                      </a:lnTo>
                      <a:lnTo>
                        <a:pt x="46477" y="463567"/>
                      </a:lnTo>
                      <a:lnTo>
                        <a:pt x="36328" y="464113"/>
                      </a:lnTo>
                      <a:lnTo>
                        <a:pt x="26186" y="464656"/>
                      </a:lnTo>
                      <a:lnTo>
                        <a:pt x="26165" y="464658"/>
                      </a:lnTo>
                      <a:lnTo>
                        <a:pt x="26148" y="464660"/>
                      </a:lnTo>
                      <a:lnTo>
                        <a:pt x="26130" y="464661"/>
                      </a:lnTo>
                      <a:lnTo>
                        <a:pt x="26117" y="464662"/>
                      </a:lnTo>
                      <a:lnTo>
                        <a:pt x="26099" y="464663"/>
                      </a:lnTo>
                      <a:lnTo>
                        <a:pt x="26082" y="464665"/>
                      </a:lnTo>
                      <a:lnTo>
                        <a:pt x="26061" y="464667"/>
                      </a:lnTo>
                      <a:lnTo>
                        <a:pt x="26047" y="464668"/>
                      </a:lnTo>
                      <a:lnTo>
                        <a:pt x="26033" y="464669"/>
                      </a:lnTo>
                      <a:lnTo>
                        <a:pt x="26013" y="464671"/>
                      </a:lnTo>
                      <a:lnTo>
                        <a:pt x="25999" y="464672"/>
                      </a:lnTo>
                      <a:lnTo>
                        <a:pt x="25978" y="464673"/>
                      </a:lnTo>
                      <a:lnTo>
                        <a:pt x="25968" y="464675"/>
                      </a:lnTo>
                      <a:lnTo>
                        <a:pt x="25951" y="464676"/>
                      </a:lnTo>
                      <a:lnTo>
                        <a:pt x="25929" y="464678"/>
                      </a:lnTo>
                      <a:lnTo>
                        <a:pt x="25914" y="464671"/>
                      </a:lnTo>
                      <a:lnTo>
                        <a:pt x="25913" y="464641"/>
                      </a:lnTo>
                      <a:lnTo>
                        <a:pt x="23717" y="459643"/>
                      </a:lnTo>
                      <a:lnTo>
                        <a:pt x="20054" y="456267"/>
                      </a:lnTo>
                      <a:lnTo>
                        <a:pt x="12548" y="451053"/>
                      </a:lnTo>
                      <a:lnTo>
                        <a:pt x="10870" y="449233"/>
                      </a:lnTo>
                      <a:lnTo>
                        <a:pt x="9604" y="447582"/>
                      </a:lnTo>
                      <a:lnTo>
                        <a:pt x="8562" y="445643"/>
                      </a:lnTo>
                      <a:lnTo>
                        <a:pt x="7561" y="442957"/>
                      </a:lnTo>
                      <a:lnTo>
                        <a:pt x="6870" y="439785"/>
                      </a:lnTo>
                      <a:lnTo>
                        <a:pt x="7060" y="437682"/>
                      </a:lnTo>
                      <a:lnTo>
                        <a:pt x="7631" y="435772"/>
                      </a:lnTo>
                      <a:lnTo>
                        <a:pt x="8086" y="433186"/>
                      </a:lnTo>
                      <a:lnTo>
                        <a:pt x="7170" y="425528"/>
                      </a:lnTo>
                      <a:lnTo>
                        <a:pt x="7367" y="422368"/>
                      </a:lnTo>
                      <a:lnTo>
                        <a:pt x="9492" y="420910"/>
                      </a:lnTo>
                      <a:lnTo>
                        <a:pt x="12619" y="419493"/>
                      </a:lnTo>
                      <a:lnTo>
                        <a:pt x="13247" y="416487"/>
                      </a:lnTo>
                      <a:lnTo>
                        <a:pt x="11828" y="408443"/>
                      </a:lnTo>
                      <a:lnTo>
                        <a:pt x="11816" y="398415"/>
                      </a:lnTo>
                      <a:lnTo>
                        <a:pt x="11154" y="394412"/>
                      </a:lnTo>
                      <a:lnTo>
                        <a:pt x="9169" y="389966"/>
                      </a:lnTo>
                      <a:lnTo>
                        <a:pt x="8597" y="387833"/>
                      </a:lnTo>
                      <a:lnTo>
                        <a:pt x="7666" y="380620"/>
                      </a:lnTo>
                      <a:lnTo>
                        <a:pt x="8397" y="379575"/>
                      </a:lnTo>
                      <a:lnTo>
                        <a:pt x="8832" y="378643"/>
                      </a:lnTo>
                      <a:lnTo>
                        <a:pt x="8869" y="377592"/>
                      </a:lnTo>
                      <a:lnTo>
                        <a:pt x="8461" y="376580"/>
                      </a:lnTo>
                      <a:lnTo>
                        <a:pt x="7991" y="376090"/>
                      </a:lnTo>
                      <a:lnTo>
                        <a:pt x="7575" y="375778"/>
                      </a:lnTo>
                      <a:lnTo>
                        <a:pt x="7298" y="375293"/>
                      </a:lnTo>
                      <a:lnTo>
                        <a:pt x="6963" y="373027"/>
                      </a:lnTo>
                      <a:lnTo>
                        <a:pt x="7180" y="371180"/>
                      </a:lnTo>
                      <a:lnTo>
                        <a:pt x="7849" y="369515"/>
                      </a:lnTo>
                      <a:lnTo>
                        <a:pt x="8887" y="367814"/>
                      </a:lnTo>
                      <a:lnTo>
                        <a:pt x="9764" y="364354"/>
                      </a:lnTo>
                      <a:lnTo>
                        <a:pt x="9100" y="360375"/>
                      </a:lnTo>
                      <a:lnTo>
                        <a:pt x="6854" y="353843"/>
                      </a:lnTo>
                      <a:lnTo>
                        <a:pt x="315" y="324044"/>
                      </a:lnTo>
                      <a:lnTo>
                        <a:pt x="0" y="319394"/>
                      </a:lnTo>
                      <a:lnTo>
                        <a:pt x="779" y="316779"/>
                      </a:lnTo>
                      <a:lnTo>
                        <a:pt x="4545" y="312089"/>
                      </a:lnTo>
                      <a:lnTo>
                        <a:pt x="5766" y="308970"/>
                      </a:lnTo>
                      <a:lnTo>
                        <a:pt x="6011" y="305436"/>
                      </a:lnTo>
                      <a:lnTo>
                        <a:pt x="5395" y="298110"/>
                      </a:lnTo>
                      <a:lnTo>
                        <a:pt x="4308" y="291997"/>
                      </a:lnTo>
                      <a:lnTo>
                        <a:pt x="4707" y="290113"/>
                      </a:lnTo>
                      <a:lnTo>
                        <a:pt x="7771" y="286989"/>
                      </a:lnTo>
                      <a:lnTo>
                        <a:pt x="8994" y="284551"/>
                      </a:lnTo>
                      <a:lnTo>
                        <a:pt x="14777" y="277756"/>
                      </a:lnTo>
                      <a:lnTo>
                        <a:pt x="15532" y="274859"/>
                      </a:lnTo>
                      <a:lnTo>
                        <a:pt x="15825" y="271343"/>
                      </a:lnTo>
                      <a:lnTo>
                        <a:pt x="15636" y="267510"/>
                      </a:lnTo>
                      <a:lnTo>
                        <a:pt x="14928" y="263670"/>
                      </a:lnTo>
                      <a:lnTo>
                        <a:pt x="14825" y="259946"/>
                      </a:lnTo>
                      <a:lnTo>
                        <a:pt x="15942" y="256146"/>
                      </a:lnTo>
                      <a:lnTo>
                        <a:pt x="21983" y="243573"/>
                      </a:lnTo>
                      <a:lnTo>
                        <a:pt x="21946" y="242279"/>
                      </a:lnTo>
                      <a:lnTo>
                        <a:pt x="20777" y="241354"/>
                      </a:lnTo>
                      <a:lnTo>
                        <a:pt x="19290" y="240383"/>
                      </a:lnTo>
                      <a:lnTo>
                        <a:pt x="18305" y="238991"/>
                      </a:lnTo>
                      <a:lnTo>
                        <a:pt x="18427" y="236169"/>
                      </a:lnTo>
                      <a:lnTo>
                        <a:pt x="21773" y="225943"/>
                      </a:lnTo>
                      <a:lnTo>
                        <a:pt x="22359" y="220216"/>
                      </a:lnTo>
                      <a:lnTo>
                        <a:pt x="21376" y="213492"/>
                      </a:lnTo>
                      <a:lnTo>
                        <a:pt x="17274" y="198221"/>
                      </a:lnTo>
                      <a:lnTo>
                        <a:pt x="15967" y="189312"/>
                      </a:lnTo>
                      <a:lnTo>
                        <a:pt x="17382" y="182789"/>
                      </a:lnTo>
                      <a:lnTo>
                        <a:pt x="21480" y="178600"/>
                      </a:lnTo>
                      <a:lnTo>
                        <a:pt x="28217" y="176729"/>
                      </a:lnTo>
                      <a:lnTo>
                        <a:pt x="35073" y="176388"/>
                      </a:lnTo>
                      <a:lnTo>
                        <a:pt x="38264" y="175584"/>
                      </a:lnTo>
                      <a:lnTo>
                        <a:pt x="40446" y="173695"/>
                      </a:lnTo>
                      <a:lnTo>
                        <a:pt x="43617" y="167945"/>
                      </a:lnTo>
                      <a:lnTo>
                        <a:pt x="45309" y="165917"/>
                      </a:lnTo>
                      <a:lnTo>
                        <a:pt x="55540" y="157906"/>
                      </a:lnTo>
                      <a:lnTo>
                        <a:pt x="58781" y="156226"/>
                      </a:lnTo>
                      <a:lnTo>
                        <a:pt x="59603" y="154580"/>
                      </a:lnTo>
                      <a:lnTo>
                        <a:pt x="60967" y="150593"/>
                      </a:lnTo>
                      <a:lnTo>
                        <a:pt x="64724" y="146608"/>
                      </a:lnTo>
                      <a:lnTo>
                        <a:pt x="66556" y="143247"/>
                      </a:lnTo>
                      <a:lnTo>
                        <a:pt x="65858" y="140217"/>
                      </a:lnTo>
                      <a:lnTo>
                        <a:pt x="64573" y="137146"/>
                      </a:lnTo>
                      <a:lnTo>
                        <a:pt x="64641" y="133712"/>
                      </a:lnTo>
                      <a:lnTo>
                        <a:pt x="65786" y="132722"/>
                      </a:lnTo>
                      <a:lnTo>
                        <a:pt x="67495" y="132577"/>
                      </a:lnTo>
                      <a:lnTo>
                        <a:pt x="69095" y="132126"/>
                      </a:lnTo>
                      <a:lnTo>
                        <a:pt x="69932" y="130244"/>
                      </a:lnTo>
                      <a:lnTo>
                        <a:pt x="69385" y="128550"/>
                      </a:lnTo>
                      <a:lnTo>
                        <a:pt x="67985" y="126845"/>
                      </a:lnTo>
                      <a:lnTo>
                        <a:pt x="65574" y="124581"/>
                      </a:lnTo>
                      <a:lnTo>
                        <a:pt x="58597" y="115005"/>
                      </a:lnTo>
                      <a:lnTo>
                        <a:pt x="57372" y="112542"/>
                      </a:lnTo>
                      <a:lnTo>
                        <a:pt x="55557" y="109513"/>
                      </a:lnTo>
                      <a:lnTo>
                        <a:pt x="52999" y="107325"/>
                      </a:lnTo>
                      <a:lnTo>
                        <a:pt x="50851" y="104688"/>
                      </a:lnTo>
                      <a:lnTo>
                        <a:pt x="50257" y="100299"/>
                      </a:lnTo>
                      <a:lnTo>
                        <a:pt x="51914" y="93733"/>
                      </a:lnTo>
                      <a:lnTo>
                        <a:pt x="56092" y="84827"/>
                      </a:lnTo>
                      <a:lnTo>
                        <a:pt x="60049" y="76357"/>
                      </a:lnTo>
                      <a:lnTo>
                        <a:pt x="60101" y="71996"/>
                      </a:lnTo>
                      <a:lnTo>
                        <a:pt x="58193" y="69382"/>
                      </a:lnTo>
                      <a:lnTo>
                        <a:pt x="55579" y="66912"/>
                      </a:lnTo>
                      <a:lnTo>
                        <a:pt x="53469" y="62982"/>
                      </a:lnTo>
                      <a:lnTo>
                        <a:pt x="52678" y="58401"/>
                      </a:lnTo>
                      <a:lnTo>
                        <a:pt x="53616" y="56614"/>
                      </a:lnTo>
                      <a:lnTo>
                        <a:pt x="55575" y="55702"/>
                      </a:lnTo>
                      <a:lnTo>
                        <a:pt x="55817" y="55678"/>
                      </a:lnTo>
                      <a:lnTo>
                        <a:pt x="54354" y="51679"/>
                      </a:lnTo>
                      <a:lnTo>
                        <a:pt x="53845" y="48900"/>
                      </a:lnTo>
                      <a:lnTo>
                        <a:pt x="54220" y="46454"/>
                      </a:lnTo>
                      <a:lnTo>
                        <a:pt x="57655" y="38243"/>
                      </a:lnTo>
                      <a:lnTo>
                        <a:pt x="57875" y="36324"/>
                      </a:lnTo>
                      <a:lnTo>
                        <a:pt x="57694" y="33040"/>
                      </a:lnTo>
                      <a:lnTo>
                        <a:pt x="57794" y="31186"/>
                      </a:lnTo>
                      <a:lnTo>
                        <a:pt x="59991" y="24679"/>
                      </a:lnTo>
                      <a:lnTo>
                        <a:pt x="59967" y="21352"/>
                      </a:lnTo>
                      <a:lnTo>
                        <a:pt x="57172" y="19443"/>
                      </a:lnTo>
                      <a:lnTo>
                        <a:pt x="53102" y="18102"/>
                      </a:lnTo>
                      <a:lnTo>
                        <a:pt x="54183" y="16836"/>
                      </a:lnTo>
                      <a:lnTo>
                        <a:pt x="59795" y="14876"/>
                      </a:lnTo>
                      <a:lnTo>
                        <a:pt x="61211" y="13101"/>
                      </a:lnTo>
                      <a:lnTo>
                        <a:pt x="63856" y="7963"/>
                      </a:lnTo>
                      <a:lnTo>
                        <a:pt x="65779" y="5938"/>
                      </a:lnTo>
                      <a:lnTo>
                        <a:pt x="68626" y="4704"/>
                      </a:lnTo>
                      <a:lnTo>
                        <a:pt x="71189" y="4782"/>
                      </a:lnTo>
                      <a:lnTo>
                        <a:pt x="84487" y="10186"/>
                      </a:lnTo>
                      <a:lnTo>
                        <a:pt x="88099" y="10943"/>
                      </a:lnTo>
                      <a:lnTo>
                        <a:pt x="91621" y="11103"/>
                      </a:lnTo>
                      <a:lnTo>
                        <a:pt x="93840" y="9725"/>
                      </a:lnTo>
                      <a:lnTo>
                        <a:pt x="96326" y="3312"/>
                      </a:lnTo>
                      <a:lnTo>
                        <a:pt x="97802" y="720"/>
                      </a:lnTo>
                      <a:lnTo>
                        <a:pt x="98962" y="22"/>
                      </a:lnTo>
                      <a:lnTo>
                        <a:pt x="99040" y="0"/>
                      </a:lnTo>
                      <a:lnTo>
                        <a:pt x="102177" y="9141"/>
                      </a:lnTo>
                      <a:lnTo>
                        <a:pt x="105330" y="18337"/>
                      </a:lnTo>
                      <a:lnTo>
                        <a:pt x="108481" y="27538"/>
                      </a:lnTo>
                      <a:lnTo>
                        <a:pt x="111636" y="36750"/>
                      </a:lnTo>
                      <a:lnTo>
                        <a:pt x="114782" y="45965"/>
                      </a:lnTo>
                      <a:lnTo>
                        <a:pt x="117930" y="55173"/>
                      </a:lnTo>
                      <a:lnTo>
                        <a:pt x="121067" y="64380"/>
                      </a:lnTo>
                      <a:lnTo>
                        <a:pt x="124208" y="73601"/>
                      </a:lnTo>
                      <a:lnTo>
                        <a:pt x="127348" y="82825"/>
                      </a:lnTo>
                      <a:lnTo>
                        <a:pt x="130483" y="92046"/>
                      </a:lnTo>
                      <a:lnTo>
                        <a:pt x="133616" y="101270"/>
                      </a:lnTo>
                      <a:lnTo>
                        <a:pt x="136747" y="110496"/>
                      </a:lnTo>
                      <a:lnTo>
                        <a:pt x="139875" y="119723"/>
                      </a:lnTo>
                      <a:lnTo>
                        <a:pt x="143001" y="128953"/>
                      </a:lnTo>
                      <a:lnTo>
                        <a:pt x="146123" y="138182"/>
                      </a:lnTo>
                      <a:lnTo>
                        <a:pt x="149245" y="147421"/>
                      </a:lnTo>
                      <a:lnTo>
                        <a:pt x="152364" y="156658"/>
                      </a:lnTo>
                      <a:lnTo>
                        <a:pt x="155478" y="165893"/>
                      </a:lnTo>
                      <a:lnTo>
                        <a:pt x="158591" y="175129"/>
                      </a:lnTo>
                      <a:lnTo>
                        <a:pt x="161698" y="184378"/>
                      </a:lnTo>
                      <a:lnTo>
                        <a:pt x="164813" y="193627"/>
                      </a:lnTo>
                      <a:lnTo>
                        <a:pt x="167919" y="202874"/>
                      </a:lnTo>
                      <a:lnTo>
                        <a:pt x="171012" y="212117"/>
                      </a:lnTo>
                      <a:lnTo>
                        <a:pt x="174122" y="221372"/>
                      </a:lnTo>
                      <a:lnTo>
                        <a:pt x="177223" y="230634"/>
                      </a:lnTo>
                      <a:lnTo>
                        <a:pt x="180314" y="239887"/>
                      </a:lnTo>
                      <a:lnTo>
                        <a:pt x="183411" y="249141"/>
                      </a:lnTo>
                      <a:lnTo>
                        <a:pt x="186503" y="258406"/>
                      </a:lnTo>
                      <a:lnTo>
                        <a:pt x="189582" y="267661"/>
                      </a:lnTo>
                      <a:lnTo>
                        <a:pt x="192675" y="276921"/>
                      </a:lnTo>
                      <a:lnTo>
                        <a:pt x="195755" y="286193"/>
                      </a:lnTo>
                      <a:lnTo>
                        <a:pt x="198837" y="295462"/>
                      </a:lnTo>
                      <a:lnTo>
                        <a:pt x="200562" y="300665"/>
                      </a:lnTo>
                      <a:lnTo>
                        <a:pt x="201399" y="306141"/>
                      </a:lnTo>
                      <a:lnTo>
                        <a:pt x="202139" y="308763"/>
                      </a:lnTo>
                      <a:lnTo>
                        <a:pt x="202464" y="311280"/>
                      </a:lnTo>
                      <a:lnTo>
                        <a:pt x="202427" y="312150"/>
                      </a:lnTo>
                      <a:lnTo>
                        <a:pt x="202580" y="313257"/>
                      </a:lnTo>
                      <a:lnTo>
                        <a:pt x="202972" y="314777"/>
                      </a:lnTo>
                      <a:lnTo>
                        <a:pt x="204073" y="317280"/>
                      </a:lnTo>
                      <a:lnTo>
                        <a:pt x="205029" y="320174"/>
                      </a:lnTo>
                      <a:lnTo>
                        <a:pt x="205134" y="322140"/>
                      </a:lnTo>
                      <a:lnTo>
                        <a:pt x="204916" y="326551"/>
                      </a:lnTo>
                      <a:lnTo>
                        <a:pt x="205003" y="327599"/>
                      </a:lnTo>
                      <a:lnTo>
                        <a:pt x="205304" y="328805"/>
                      </a:lnTo>
                      <a:lnTo>
                        <a:pt x="205820" y="330132"/>
                      </a:lnTo>
                      <a:lnTo>
                        <a:pt x="206949" y="332065"/>
                      </a:lnTo>
                      <a:lnTo>
                        <a:pt x="208068" y="333444"/>
                      </a:lnTo>
                      <a:lnTo>
                        <a:pt x="209394" y="334784"/>
                      </a:lnTo>
                      <a:lnTo>
                        <a:pt x="214975" y="338987"/>
                      </a:lnTo>
                      <a:lnTo>
                        <a:pt x="221168" y="344744"/>
                      </a:lnTo>
                      <a:lnTo>
                        <a:pt x="227081" y="350239"/>
                      </a:lnTo>
                      <a:lnTo>
                        <a:pt x="233390" y="353009"/>
                      </a:lnTo>
                      <a:lnTo>
                        <a:pt x="234485" y="353843"/>
                      </a:lnTo>
                      <a:lnTo>
                        <a:pt x="235509" y="355032"/>
                      </a:lnTo>
                      <a:lnTo>
                        <a:pt x="236672" y="357483"/>
                      </a:lnTo>
                      <a:lnTo>
                        <a:pt x="237137" y="359020"/>
                      </a:lnTo>
                      <a:lnTo>
                        <a:pt x="237325" y="360413"/>
                      </a:lnTo>
                      <a:lnTo>
                        <a:pt x="237339" y="365821"/>
                      </a:lnTo>
                      <a:lnTo>
                        <a:pt x="237686" y="367780"/>
                      </a:lnTo>
                      <a:lnTo>
                        <a:pt x="238079" y="368822"/>
                      </a:lnTo>
                      <a:lnTo>
                        <a:pt x="241873" y="372901"/>
                      </a:lnTo>
                      <a:lnTo>
                        <a:pt x="248095" y="37756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5" name="Freeform 82">
                  <a:extLst>
                    <a:ext uri="{FF2B5EF4-FFF2-40B4-BE49-F238E27FC236}">
                      <a16:creationId xmlns:a16="http://schemas.microsoft.com/office/drawing/2014/main" id="{89996FB0-86D5-4309-B170-C26D05668A64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5657787" y="3988227"/>
                  <a:ext cx="80702" cy="1050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364" h="155320">
                      <a:moveTo>
                        <a:pt x="67029" y="140394"/>
                      </a:moveTo>
                      <a:lnTo>
                        <a:pt x="68001" y="141027"/>
                      </a:lnTo>
                      <a:lnTo>
                        <a:pt x="70398" y="142667"/>
                      </a:lnTo>
                      <a:lnTo>
                        <a:pt x="70133" y="145121"/>
                      </a:lnTo>
                      <a:lnTo>
                        <a:pt x="69484" y="146480"/>
                      </a:lnTo>
                      <a:lnTo>
                        <a:pt x="70819" y="148164"/>
                      </a:lnTo>
                      <a:lnTo>
                        <a:pt x="72331" y="149474"/>
                      </a:lnTo>
                      <a:lnTo>
                        <a:pt x="73959" y="151642"/>
                      </a:lnTo>
                      <a:lnTo>
                        <a:pt x="73764" y="153604"/>
                      </a:lnTo>
                      <a:lnTo>
                        <a:pt x="70616" y="154278"/>
                      </a:lnTo>
                      <a:lnTo>
                        <a:pt x="66748" y="155320"/>
                      </a:lnTo>
                      <a:lnTo>
                        <a:pt x="64287" y="153840"/>
                      </a:lnTo>
                      <a:lnTo>
                        <a:pt x="63903" y="151668"/>
                      </a:lnTo>
                      <a:lnTo>
                        <a:pt x="64011" y="149305"/>
                      </a:lnTo>
                      <a:lnTo>
                        <a:pt x="65225" y="147932"/>
                      </a:lnTo>
                      <a:lnTo>
                        <a:pt x="65710" y="146157"/>
                      </a:lnTo>
                      <a:lnTo>
                        <a:pt x="66652" y="144872"/>
                      </a:lnTo>
                      <a:lnTo>
                        <a:pt x="66507" y="142957"/>
                      </a:lnTo>
                      <a:lnTo>
                        <a:pt x="66215" y="141047"/>
                      </a:lnTo>
                      <a:close/>
                      <a:moveTo>
                        <a:pt x="79748" y="76680"/>
                      </a:moveTo>
                      <a:lnTo>
                        <a:pt x="81156" y="76865"/>
                      </a:lnTo>
                      <a:lnTo>
                        <a:pt x="82183" y="77456"/>
                      </a:lnTo>
                      <a:lnTo>
                        <a:pt x="82925" y="78480"/>
                      </a:lnTo>
                      <a:lnTo>
                        <a:pt x="83477" y="79906"/>
                      </a:lnTo>
                      <a:lnTo>
                        <a:pt x="84510" y="83693"/>
                      </a:lnTo>
                      <a:lnTo>
                        <a:pt x="85035" y="87597"/>
                      </a:lnTo>
                      <a:lnTo>
                        <a:pt x="85137" y="91034"/>
                      </a:lnTo>
                      <a:lnTo>
                        <a:pt x="84873" y="93385"/>
                      </a:lnTo>
                      <a:lnTo>
                        <a:pt x="84444" y="94385"/>
                      </a:lnTo>
                      <a:lnTo>
                        <a:pt x="83618" y="95807"/>
                      </a:lnTo>
                      <a:lnTo>
                        <a:pt x="82668" y="96998"/>
                      </a:lnTo>
                      <a:lnTo>
                        <a:pt x="81845" y="97317"/>
                      </a:lnTo>
                      <a:lnTo>
                        <a:pt x="81241" y="96193"/>
                      </a:lnTo>
                      <a:lnTo>
                        <a:pt x="81086" y="92177"/>
                      </a:lnTo>
                      <a:lnTo>
                        <a:pt x="80036" y="90121"/>
                      </a:lnTo>
                      <a:lnTo>
                        <a:pt x="80848" y="89504"/>
                      </a:lnTo>
                      <a:lnTo>
                        <a:pt x="81096" y="88891"/>
                      </a:lnTo>
                      <a:lnTo>
                        <a:pt x="81172" y="88228"/>
                      </a:lnTo>
                      <a:lnTo>
                        <a:pt x="81469" y="87436"/>
                      </a:lnTo>
                      <a:lnTo>
                        <a:pt x="79493" y="85941"/>
                      </a:lnTo>
                      <a:lnTo>
                        <a:pt x="79154" y="83059"/>
                      </a:lnTo>
                      <a:close/>
                      <a:moveTo>
                        <a:pt x="98612" y="60233"/>
                      </a:moveTo>
                      <a:lnTo>
                        <a:pt x="99527" y="63832"/>
                      </a:lnTo>
                      <a:lnTo>
                        <a:pt x="99335" y="69973"/>
                      </a:lnTo>
                      <a:lnTo>
                        <a:pt x="102528" y="83167"/>
                      </a:lnTo>
                      <a:lnTo>
                        <a:pt x="102845" y="85265"/>
                      </a:lnTo>
                      <a:lnTo>
                        <a:pt x="102916" y="86961"/>
                      </a:lnTo>
                      <a:lnTo>
                        <a:pt x="103255" y="88581"/>
                      </a:lnTo>
                      <a:lnTo>
                        <a:pt x="104380" y="90477"/>
                      </a:lnTo>
                      <a:lnTo>
                        <a:pt x="99596" y="89657"/>
                      </a:lnTo>
                      <a:lnTo>
                        <a:pt x="97180" y="92391"/>
                      </a:lnTo>
                      <a:lnTo>
                        <a:pt x="95392" y="95349"/>
                      </a:lnTo>
                      <a:lnTo>
                        <a:pt x="92434" y="95181"/>
                      </a:lnTo>
                      <a:lnTo>
                        <a:pt x="91152" y="97028"/>
                      </a:lnTo>
                      <a:lnTo>
                        <a:pt x="89728" y="97924"/>
                      </a:lnTo>
                      <a:lnTo>
                        <a:pt x="88366" y="97399"/>
                      </a:lnTo>
                      <a:lnTo>
                        <a:pt x="87271" y="94953"/>
                      </a:lnTo>
                      <a:lnTo>
                        <a:pt x="87969" y="93929"/>
                      </a:lnTo>
                      <a:lnTo>
                        <a:pt x="92003" y="91676"/>
                      </a:lnTo>
                      <a:lnTo>
                        <a:pt x="93296" y="90316"/>
                      </a:lnTo>
                      <a:lnTo>
                        <a:pt x="90916" y="88171"/>
                      </a:lnTo>
                      <a:lnTo>
                        <a:pt x="89806" y="86215"/>
                      </a:lnTo>
                      <a:lnTo>
                        <a:pt x="89815" y="84338"/>
                      </a:lnTo>
                      <a:lnTo>
                        <a:pt x="90760" y="82403"/>
                      </a:lnTo>
                      <a:lnTo>
                        <a:pt x="91003" y="81425"/>
                      </a:lnTo>
                      <a:lnTo>
                        <a:pt x="90829" y="80170"/>
                      </a:lnTo>
                      <a:lnTo>
                        <a:pt x="90087" y="77614"/>
                      </a:lnTo>
                      <a:lnTo>
                        <a:pt x="90349" y="76883"/>
                      </a:lnTo>
                      <a:lnTo>
                        <a:pt x="92168" y="75551"/>
                      </a:lnTo>
                      <a:lnTo>
                        <a:pt x="92814" y="74874"/>
                      </a:lnTo>
                      <a:lnTo>
                        <a:pt x="93179" y="72806"/>
                      </a:lnTo>
                      <a:lnTo>
                        <a:pt x="92777" y="67834"/>
                      </a:lnTo>
                      <a:lnTo>
                        <a:pt x="93087" y="65719"/>
                      </a:lnTo>
                      <a:lnTo>
                        <a:pt x="94164" y="64181"/>
                      </a:lnTo>
                      <a:lnTo>
                        <a:pt x="97220" y="61748"/>
                      </a:lnTo>
                      <a:close/>
                      <a:moveTo>
                        <a:pt x="80504" y="59992"/>
                      </a:moveTo>
                      <a:lnTo>
                        <a:pt x="82203" y="62180"/>
                      </a:lnTo>
                      <a:lnTo>
                        <a:pt x="83414" y="63944"/>
                      </a:lnTo>
                      <a:lnTo>
                        <a:pt x="85919" y="66296"/>
                      </a:lnTo>
                      <a:lnTo>
                        <a:pt x="88264" y="67261"/>
                      </a:lnTo>
                      <a:lnTo>
                        <a:pt x="89062" y="71163"/>
                      </a:lnTo>
                      <a:lnTo>
                        <a:pt x="88608" y="75406"/>
                      </a:lnTo>
                      <a:lnTo>
                        <a:pt x="86596" y="76514"/>
                      </a:lnTo>
                      <a:lnTo>
                        <a:pt x="85373" y="75451"/>
                      </a:lnTo>
                      <a:lnTo>
                        <a:pt x="84910" y="73623"/>
                      </a:lnTo>
                      <a:lnTo>
                        <a:pt x="85035" y="70343"/>
                      </a:lnTo>
                      <a:lnTo>
                        <a:pt x="83593" y="67665"/>
                      </a:lnTo>
                      <a:lnTo>
                        <a:pt x="80372" y="67009"/>
                      </a:lnTo>
                      <a:lnTo>
                        <a:pt x="79536" y="65213"/>
                      </a:lnTo>
                      <a:lnTo>
                        <a:pt x="79286" y="61965"/>
                      </a:lnTo>
                      <a:close/>
                      <a:moveTo>
                        <a:pt x="101702" y="57038"/>
                      </a:moveTo>
                      <a:lnTo>
                        <a:pt x="101704" y="57038"/>
                      </a:lnTo>
                      <a:lnTo>
                        <a:pt x="103794" y="57469"/>
                      </a:lnTo>
                      <a:lnTo>
                        <a:pt x="106336" y="57983"/>
                      </a:lnTo>
                      <a:lnTo>
                        <a:pt x="108872" y="58499"/>
                      </a:lnTo>
                      <a:lnTo>
                        <a:pt x="111416" y="59013"/>
                      </a:lnTo>
                      <a:lnTo>
                        <a:pt x="111637" y="61450"/>
                      </a:lnTo>
                      <a:lnTo>
                        <a:pt x="111860" y="63889"/>
                      </a:lnTo>
                      <a:lnTo>
                        <a:pt x="112079" y="66323"/>
                      </a:lnTo>
                      <a:lnTo>
                        <a:pt x="112301" y="68762"/>
                      </a:lnTo>
                      <a:lnTo>
                        <a:pt x="112815" y="69212"/>
                      </a:lnTo>
                      <a:lnTo>
                        <a:pt x="113331" y="69658"/>
                      </a:lnTo>
                      <a:lnTo>
                        <a:pt x="113846" y="70104"/>
                      </a:lnTo>
                      <a:lnTo>
                        <a:pt x="114361" y="70550"/>
                      </a:lnTo>
                      <a:lnTo>
                        <a:pt x="115857" y="74845"/>
                      </a:lnTo>
                      <a:lnTo>
                        <a:pt x="117351" y="79136"/>
                      </a:lnTo>
                      <a:lnTo>
                        <a:pt x="118846" y="83428"/>
                      </a:lnTo>
                      <a:lnTo>
                        <a:pt x="119364" y="84913"/>
                      </a:lnTo>
                      <a:lnTo>
                        <a:pt x="119364" y="84914"/>
                      </a:lnTo>
                      <a:lnTo>
                        <a:pt x="112150" y="93479"/>
                      </a:lnTo>
                      <a:lnTo>
                        <a:pt x="109209" y="89533"/>
                      </a:lnTo>
                      <a:lnTo>
                        <a:pt x="108326" y="87726"/>
                      </a:lnTo>
                      <a:lnTo>
                        <a:pt x="108652" y="85763"/>
                      </a:lnTo>
                      <a:lnTo>
                        <a:pt x="108427" y="84452"/>
                      </a:lnTo>
                      <a:lnTo>
                        <a:pt x="105143" y="78034"/>
                      </a:lnTo>
                      <a:lnTo>
                        <a:pt x="102663" y="70342"/>
                      </a:lnTo>
                      <a:lnTo>
                        <a:pt x="101711" y="66131"/>
                      </a:lnTo>
                      <a:lnTo>
                        <a:pt x="101212" y="62576"/>
                      </a:lnTo>
                      <a:close/>
                      <a:moveTo>
                        <a:pt x="58899" y="0"/>
                      </a:moveTo>
                      <a:lnTo>
                        <a:pt x="59670" y="2352"/>
                      </a:lnTo>
                      <a:lnTo>
                        <a:pt x="61334" y="7836"/>
                      </a:lnTo>
                      <a:lnTo>
                        <a:pt x="64657" y="18828"/>
                      </a:lnTo>
                      <a:lnTo>
                        <a:pt x="65168" y="19961"/>
                      </a:lnTo>
                      <a:lnTo>
                        <a:pt x="65843" y="20847"/>
                      </a:lnTo>
                      <a:lnTo>
                        <a:pt x="67048" y="21035"/>
                      </a:lnTo>
                      <a:lnTo>
                        <a:pt x="69710" y="20642"/>
                      </a:lnTo>
                      <a:lnTo>
                        <a:pt x="70909" y="20753"/>
                      </a:lnTo>
                      <a:lnTo>
                        <a:pt x="71586" y="21368"/>
                      </a:lnTo>
                      <a:lnTo>
                        <a:pt x="72378" y="23324"/>
                      </a:lnTo>
                      <a:lnTo>
                        <a:pt x="72629" y="24598"/>
                      </a:lnTo>
                      <a:lnTo>
                        <a:pt x="72741" y="25669"/>
                      </a:lnTo>
                      <a:lnTo>
                        <a:pt x="72768" y="27207"/>
                      </a:lnTo>
                      <a:lnTo>
                        <a:pt x="73002" y="28040"/>
                      </a:lnTo>
                      <a:lnTo>
                        <a:pt x="73670" y="29789"/>
                      </a:lnTo>
                      <a:lnTo>
                        <a:pt x="74497" y="35787"/>
                      </a:lnTo>
                      <a:lnTo>
                        <a:pt x="74776" y="36717"/>
                      </a:lnTo>
                      <a:lnTo>
                        <a:pt x="75317" y="37804"/>
                      </a:lnTo>
                      <a:lnTo>
                        <a:pt x="76440" y="39071"/>
                      </a:lnTo>
                      <a:lnTo>
                        <a:pt x="78589" y="40946"/>
                      </a:lnTo>
                      <a:lnTo>
                        <a:pt x="81352" y="42396"/>
                      </a:lnTo>
                      <a:lnTo>
                        <a:pt x="83204" y="43098"/>
                      </a:lnTo>
                      <a:lnTo>
                        <a:pt x="84714" y="43413"/>
                      </a:lnTo>
                      <a:lnTo>
                        <a:pt x="87853" y="45159"/>
                      </a:lnTo>
                      <a:lnTo>
                        <a:pt x="94092" y="51834"/>
                      </a:lnTo>
                      <a:lnTo>
                        <a:pt x="93970" y="52242"/>
                      </a:lnTo>
                      <a:lnTo>
                        <a:pt x="94077" y="53897"/>
                      </a:lnTo>
                      <a:lnTo>
                        <a:pt x="94723" y="56250"/>
                      </a:lnTo>
                      <a:lnTo>
                        <a:pt x="94759" y="56859"/>
                      </a:lnTo>
                      <a:lnTo>
                        <a:pt x="94251" y="57065"/>
                      </a:lnTo>
                      <a:lnTo>
                        <a:pt x="93326" y="62385"/>
                      </a:lnTo>
                      <a:lnTo>
                        <a:pt x="89317" y="61207"/>
                      </a:lnTo>
                      <a:lnTo>
                        <a:pt x="87006" y="61407"/>
                      </a:lnTo>
                      <a:lnTo>
                        <a:pt x="85503" y="59530"/>
                      </a:lnTo>
                      <a:lnTo>
                        <a:pt x="85181" y="57063"/>
                      </a:lnTo>
                      <a:lnTo>
                        <a:pt x="85136" y="53856"/>
                      </a:lnTo>
                      <a:lnTo>
                        <a:pt x="85421" y="50686"/>
                      </a:lnTo>
                      <a:lnTo>
                        <a:pt x="86356" y="46797"/>
                      </a:lnTo>
                      <a:lnTo>
                        <a:pt x="85721" y="45516"/>
                      </a:lnTo>
                      <a:lnTo>
                        <a:pt x="84530" y="44678"/>
                      </a:lnTo>
                      <a:lnTo>
                        <a:pt x="83135" y="44442"/>
                      </a:lnTo>
                      <a:lnTo>
                        <a:pt x="82876" y="45253"/>
                      </a:lnTo>
                      <a:lnTo>
                        <a:pt x="83492" y="49080"/>
                      </a:lnTo>
                      <a:lnTo>
                        <a:pt x="83222" y="50548"/>
                      </a:lnTo>
                      <a:lnTo>
                        <a:pt x="81756" y="50172"/>
                      </a:lnTo>
                      <a:lnTo>
                        <a:pt x="78650" y="48829"/>
                      </a:lnTo>
                      <a:lnTo>
                        <a:pt x="75435" y="46868"/>
                      </a:lnTo>
                      <a:lnTo>
                        <a:pt x="73629" y="44594"/>
                      </a:lnTo>
                      <a:lnTo>
                        <a:pt x="72609" y="41488"/>
                      </a:lnTo>
                      <a:lnTo>
                        <a:pt x="71285" y="39021"/>
                      </a:lnTo>
                      <a:lnTo>
                        <a:pt x="69497" y="36856"/>
                      </a:lnTo>
                      <a:lnTo>
                        <a:pt x="67088" y="34592"/>
                      </a:lnTo>
                      <a:lnTo>
                        <a:pt x="67145" y="36929"/>
                      </a:lnTo>
                      <a:lnTo>
                        <a:pt x="67959" y="40884"/>
                      </a:lnTo>
                      <a:lnTo>
                        <a:pt x="69191" y="45037"/>
                      </a:lnTo>
                      <a:lnTo>
                        <a:pt x="70483" y="47974"/>
                      </a:lnTo>
                      <a:lnTo>
                        <a:pt x="71732" y="49092"/>
                      </a:lnTo>
                      <a:lnTo>
                        <a:pt x="73272" y="49877"/>
                      </a:lnTo>
                      <a:lnTo>
                        <a:pt x="74732" y="50955"/>
                      </a:lnTo>
                      <a:lnTo>
                        <a:pt x="75756" y="52975"/>
                      </a:lnTo>
                      <a:lnTo>
                        <a:pt x="75726" y="54502"/>
                      </a:lnTo>
                      <a:lnTo>
                        <a:pt x="74685" y="58160"/>
                      </a:lnTo>
                      <a:lnTo>
                        <a:pt x="74509" y="59868"/>
                      </a:lnTo>
                      <a:lnTo>
                        <a:pt x="73109" y="58413"/>
                      </a:lnTo>
                      <a:lnTo>
                        <a:pt x="71811" y="57314"/>
                      </a:lnTo>
                      <a:lnTo>
                        <a:pt x="70417" y="56705"/>
                      </a:lnTo>
                      <a:lnTo>
                        <a:pt x="68701" y="56706"/>
                      </a:lnTo>
                      <a:lnTo>
                        <a:pt x="67189" y="57471"/>
                      </a:lnTo>
                      <a:lnTo>
                        <a:pt x="65866" y="58847"/>
                      </a:lnTo>
                      <a:lnTo>
                        <a:pt x="65434" y="60110"/>
                      </a:lnTo>
                      <a:lnTo>
                        <a:pt x="69198" y="61412"/>
                      </a:lnTo>
                      <a:lnTo>
                        <a:pt x="71240" y="63972"/>
                      </a:lnTo>
                      <a:lnTo>
                        <a:pt x="72632" y="67428"/>
                      </a:lnTo>
                      <a:lnTo>
                        <a:pt x="73212" y="71004"/>
                      </a:lnTo>
                      <a:lnTo>
                        <a:pt x="72416" y="74377"/>
                      </a:lnTo>
                      <a:lnTo>
                        <a:pt x="70873" y="76218"/>
                      </a:lnTo>
                      <a:lnTo>
                        <a:pt x="70544" y="78062"/>
                      </a:lnTo>
                      <a:lnTo>
                        <a:pt x="73346" y="81456"/>
                      </a:lnTo>
                      <a:lnTo>
                        <a:pt x="74732" y="84117"/>
                      </a:lnTo>
                      <a:lnTo>
                        <a:pt x="77225" y="93318"/>
                      </a:lnTo>
                      <a:lnTo>
                        <a:pt x="77618" y="96452"/>
                      </a:lnTo>
                      <a:lnTo>
                        <a:pt x="76246" y="107800"/>
                      </a:lnTo>
                      <a:lnTo>
                        <a:pt x="74761" y="110582"/>
                      </a:lnTo>
                      <a:lnTo>
                        <a:pt x="73197" y="112757"/>
                      </a:lnTo>
                      <a:lnTo>
                        <a:pt x="72985" y="114455"/>
                      </a:lnTo>
                      <a:lnTo>
                        <a:pt x="71816" y="115327"/>
                      </a:lnTo>
                      <a:lnTo>
                        <a:pt x="70282" y="115130"/>
                      </a:lnTo>
                      <a:lnTo>
                        <a:pt x="66663" y="113941"/>
                      </a:lnTo>
                      <a:lnTo>
                        <a:pt x="63070" y="114535"/>
                      </a:lnTo>
                      <a:lnTo>
                        <a:pt x="57186" y="116347"/>
                      </a:lnTo>
                      <a:lnTo>
                        <a:pt x="36443" y="124640"/>
                      </a:lnTo>
                      <a:lnTo>
                        <a:pt x="26211" y="128017"/>
                      </a:lnTo>
                      <a:lnTo>
                        <a:pt x="23852" y="129321"/>
                      </a:lnTo>
                      <a:lnTo>
                        <a:pt x="23708" y="127415"/>
                      </a:lnTo>
                      <a:lnTo>
                        <a:pt x="23761" y="123875"/>
                      </a:lnTo>
                      <a:lnTo>
                        <a:pt x="22857" y="114907"/>
                      </a:lnTo>
                      <a:lnTo>
                        <a:pt x="23133" y="112459"/>
                      </a:lnTo>
                      <a:lnTo>
                        <a:pt x="23702" y="110993"/>
                      </a:lnTo>
                      <a:lnTo>
                        <a:pt x="25472" y="110381"/>
                      </a:lnTo>
                      <a:lnTo>
                        <a:pt x="23552" y="99478"/>
                      </a:lnTo>
                      <a:lnTo>
                        <a:pt x="22247" y="92164"/>
                      </a:lnTo>
                      <a:lnTo>
                        <a:pt x="20892" y="86890"/>
                      </a:lnTo>
                      <a:lnTo>
                        <a:pt x="18298" y="76765"/>
                      </a:lnTo>
                      <a:lnTo>
                        <a:pt x="15692" y="66639"/>
                      </a:lnTo>
                      <a:lnTo>
                        <a:pt x="13087" y="56519"/>
                      </a:lnTo>
                      <a:lnTo>
                        <a:pt x="10477" y="46402"/>
                      </a:lnTo>
                      <a:lnTo>
                        <a:pt x="7866" y="36292"/>
                      </a:lnTo>
                      <a:lnTo>
                        <a:pt x="5251" y="26179"/>
                      </a:lnTo>
                      <a:lnTo>
                        <a:pt x="2625" y="16060"/>
                      </a:lnTo>
                      <a:lnTo>
                        <a:pt x="0" y="5956"/>
                      </a:lnTo>
                      <a:lnTo>
                        <a:pt x="12871" y="4615"/>
                      </a:lnTo>
                      <a:lnTo>
                        <a:pt x="25736" y="3256"/>
                      </a:lnTo>
                      <a:lnTo>
                        <a:pt x="38602" y="1896"/>
                      </a:lnTo>
                      <a:lnTo>
                        <a:pt x="51466" y="54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6" name="Freeform 88">
                  <a:extLst>
                    <a:ext uri="{FF2B5EF4-FFF2-40B4-BE49-F238E27FC236}">
                      <a16:creationId xmlns:a16="http://schemas.microsoft.com/office/drawing/2014/main" id="{7B4ADD37-696A-4074-B230-492943C093CA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5421173" y="3636263"/>
                  <a:ext cx="180972" cy="28094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7669" h="415539">
                      <a:moveTo>
                        <a:pt x="265231" y="76875"/>
                      </a:moveTo>
                      <a:lnTo>
                        <a:pt x="263522" y="77020"/>
                      </a:lnTo>
                      <a:lnTo>
                        <a:pt x="262377" y="78010"/>
                      </a:lnTo>
                      <a:lnTo>
                        <a:pt x="262309" y="81444"/>
                      </a:lnTo>
                      <a:lnTo>
                        <a:pt x="263594" y="84515"/>
                      </a:lnTo>
                      <a:lnTo>
                        <a:pt x="264292" y="87545"/>
                      </a:lnTo>
                      <a:lnTo>
                        <a:pt x="262460" y="90906"/>
                      </a:lnTo>
                      <a:lnTo>
                        <a:pt x="258703" y="94891"/>
                      </a:lnTo>
                      <a:lnTo>
                        <a:pt x="257339" y="98878"/>
                      </a:lnTo>
                      <a:lnTo>
                        <a:pt x="256517" y="100524"/>
                      </a:lnTo>
                      <a:lnTo>
                        <a:pt x="253276" y="102204"/>
                      </a:lnTo>
                      <a:lnTo>
                        <a:pt x="243045" y="110215"/>
                      </a:lnTo>
                      <a:lnTo>
                        <a:pt x="241353" y="112243"/>
                      </a:lnTo>
                      <a:lnTo>
                        <a:pt x="238182" y="117993"/>
                      </a:lnTo>
                      <a:lnTo>
                        <a:pt x="236000" y="119882"/>
                      </a:lnTo>
                      <a:lnTo>
                        <a:pt x="232809" y="120686"/>
                      </a:lnTo>
                      <a:lnTo>
                        <a:pt x="225953" y="121027"/>
                      </a:lnTo>
                      <a:lnTo>
                        <a:pt x="219216" y="122898"/>
                      </a:lnTo>
                      <a:lnTo>
                        <a:pt x="215118" y="127087"/>
                      </a:lnTo>
                      <a:lnTo>
                        <a:pt x="213703" y="133610"/>
                      </a:lnTo>
                      <a:lnTo>
                        <a:pt x="215010" y="142519"/>
                      </a:lnTo>
                      <a:lnTo>
                        <a:pt x="219112" y="157790"/>
                      </a:lnTo>
                      <a:lnTo>
                        <a:pt x="220095" y="164514"/>
                      </a:lnTo>
                      <a:lnTo>
                        <a:pt x="219509" y="170241"/>
                      </a:lnTo>
                      <a:lnTo>
                        <a:pt x="216163" y="180467"/>
                      </a:lnTo>
                      <a:lnTo>
                        <a:pt x="216041" y="183289"/>
                      </a:lnTo>
                      <a:lnTo>
                        <a:pt x="217026" y="184681"/>
                      </a:lnTo>
                      <a:lnTo>
                        <a:pt x="218513" y="185652"/>
                      </a:lnTo>
                      <a:lnTo>
                        <a:pt x="219682" y="186577"/>
                      </a:lnTo>
                      <a:lnTo>
                        <a:pt x="219719" y="187871"/>
                      </a:lnTo>
                      <a:lnTo>
                        <a:pt x="213678" y="200444"/>
                      </a:lnTo>
                      <a:lnTo>
                        <a:pt x="212561" y="204244"/>
                      </a:lnTo>
                      <a:lnTo>
                        <a:pt x="212664" y="207968"/>
                      </a:lnTo>
                      <a:lnTo>
                        <a:pt x="213372" y="211808"/>
                      </a:lnTo>
                      <a:lnTo>
                        <a:pt x="213561" y="215641"/>
                      </a:lnTo>
                      <a:lnTo>
                        <a:pt x="213268" y="219157"/>
                      </a:lnTo>
                      <a:lnTo>
                        <a:pt x="212513" y="222054"/>
                      </a:lnTo>
                      <a:lnTo>
                        <a:pt x="206730" y="228849"/>
                      </a:lnTo>
                      <a:lnTo>
                        <a:pt x="205507" y="231287"/>
                      </a:lnTo>
                      <a:lnTo>
                        <a:pt x="202443" y="234411"/>
                      </a:lnTo>
                      <a:lnTo>
                        <a:pt x="202044" y="236295"/>
                      </a:lnTo>
                      <a:lnTo>
                        <a:pt x="203131" y="242408"/>
                      </a:lnTo>
                      <a:lnTo>
                        <a:pt x="203747" y="249734"/>
                      </a:lnTo>
                      <a:lnTo>
                        <a:pt x="203502" y="253268"/>
                      </a:lnTo>
                      <a:lnTo>
                        <a:pt x="202281" y="256387"/>
                      </a:lnTo>
                      <a:lnTo>
                        <a:pt x="198515" y="261077"/>
                      </a:lnTo>
                      <a:lnTo>
                        <a:pt x="197736" y="263692"/>
                      </a:lnTo>
                      <a:lnTo>
                        <a:pt x="198051" y="268342"/>
                      </a:lnTo>
                      <a:lnTo>
                        <a:pt x="204590" y="298141"/>
                      </a:lnTo>
                      <a:lnTo>
                        <a:pt x="206836" y="304673"/>
                      </a:lnTo>
                      <a:lnTo>
                        <a:pt x="207500" y="308652"/>
                      </a:lnTo>
                      <a:lnTo>
                        <a:pt x="206623" y="312112"/>
                      </a:lnTo>
                      <a:lnTo>
                        <a:pt x="205585" y="313813"/>
                      </a:lnTo>
                      <a:lnTo>
                        <a:pt x="204916" y="315478"/>
                      </a:lnTo>
                      <a:lnTo>
                        <a:pt x="204699" y="317325"/>
                      </a:lnTo>
                      <a:lnTo>
                        <a:pt x="205034" y="319591"/>
                      </a:lnTo>
                      <a:lnTo>
                        <a:pt x="205311" y="320076"/>
                      </a:lnTo>
                      <a:lnTo>
                        <a:pt x="205727" y="320388"/>
                      </a:lnTo>
                      <a:lnTo>
                        <a:pt x="206197" y="320878"/>
                      </a:lnTo>
                      <a:lnTo>
                        <a:pt x="206605" y="321890"/>
                      </a:lnTo>
                      <a:lnTo>
                        <a:pt x="206568" y="322941"/>
                      </a:lnTo>
                      <a:lnTo>
                        <a:pt x="206133" y="323873"/>
                      </a:lnTo>
                      <a:lnTo>
                        <a:pt x="205402" y="324918"/>
                      </a:lnTo>
                      <a:lnTo>
                        <a:pt x="206333" y="332131"/>
                      </a:lnTo>
                      <a:lnTo>
                        <a:pt x="206905" y="334264"/>
                      </a:lnTo>
                      <a:lnTo>
                        <a:pt x="208890" y="338710"/>
                      </a:lnTo>
                      <a:lnTo>
                        <a:pt x="209552" y="342713"/>
                      </a:lnTo>
                      <a:lnTo>
                        <a:pt x="209564" y="352741"/>
                      </a:lnTo>
                      <a:lnTo>
                        <a:pt x="210983" y="360785"/>
                      </a:lnTo>
                      <a:lnTo>
                        <a:pt x="210355" y="363791"/>
                      </a:lnTo>
                      <a:lnTo>
                        <a:pt x="207228" y="365208"/>
                      </a:lnTo>
                      <a:lnTo>
                        <a:pt x="205103" y="366666"/>
                      </a:lnTo>
                      <a:lnTo>
                        <a:pt x="204906" y="369826"/>
                      </a:lnTo>
                      <a:lnTo>
                        <a:pt x="205822" y="377484"/>
                      </a:lnTo>
                      <a:lnTo>
                        <a:pt x="205367" y="380070"/>
                      </a:lnTo>
                      <a:lnTo>
                        <a:pt x="204796" y="381980"/>
                      </a:lnTo>
                      <a:lnTo>
                        <a:pt x="204606" y="384083"/>
                      </a:lnTo>
                      <a:lnTo>
                        <a:pt x="205297" y="387255"/>
                      </a:lnTo>
                      <a:lnTo>
                        <a:pt x="206298" y="389941"/>
                      </a:lnTo>
                      <a:lnTo>
                        <a:pt x="207340" y="391880"/>
                      </a:lnTo>
                      <a:lnTo>
                        <a:pt x="208606" y="393531"/>
                      </a:lnTo>
                      <a:lnTo>
                        <a:pt x="210284" y="395351"/>
                      </a:lnTo>
                      <a:lnTo>
                        <a:pt x="217790" y="400565"/>
                      </a:lnTo>
                      <a:lnTo>
                        <a:pt x="221453" y="403941"/>
                      </a:lnTo>
                      <a:lnTo>
                        <a:pt x="223649" y="408939"/>
                      </a:lnTo>
                      <a:lnTo>
                        <a:pt x="223650" y="408969"/>
                      </a:lnTo>
                      <a:lnTo>
                        <a:pt x="216617" y="409322"/>
                      </a:lnTo>
                      <a:lnTo>
                        <a:pt x="209581" y="409665"/>
                      </a:lnTo>
                      <a:lnTo>
                        <a:pt x="202545" y="410015"/>
                      </a:lnTo>
                      <a:lnTo>
                        <a:pt x="195512" y="410359"/>
                      </a:lnTo>
                      <a:lnTo>
                        <a:pt x="188469" y="410694"/>
                      </a:lnTo>
                      <a:lnTo>
                        <a:pt x="181430" y="411037"/>
                      </a:lnTo>
                      <a:lnTo>
                        <a:pt x="174397" y="411382"/>
                      </a:lnTo>
                      <a:lnTo>
                        <a:pt x="167354" y="411718"/>
                      </a:lnTo>
                      <a:lnTo>
                        <a:pt x="160319" y="412060"/>
                      </a:lnTo>
                      <a:lnTo>
                        <a:pt x="154304" y="412613"/>
                      </a:lnTo>
                      <a:lnTo>
                        <a:pt x="147387" y="413182"/>
                      </a:lnTo>
                      <a:lnTo>
                        <a:pt x="140288" y="413592"/>
                      </a:lnTo>
                      <a:lnTo>
                        <a:pt x="133425" y="413807"/>
                      </a:lnTo>
                      <a:lnTo>
                        <a:pt x="126367" y="414384"/>
                      </a:lnTo>
                      <a:lnTo>
                        <a:pt x="118082" y="414852"/>
                      </a:lnTo>
                      <a:lnTo>
                        <a:pt x="109506" y="415503"/>
                      </a:lnTo>
                      <a:lnTo>
                        <a:pt x="107960" y="415538"/>
                      </a:lnTo>
                      <a:lnTo>
                        <a:pt x="104113" y="406723"/>
                      </a:lnTo>
                      <a:lnTo>
                        <a:pt x="104628" y="404071"/>
                      </a:lnTo>
                      <a:lnTo>
                        <a:pt x="104685" y="397781"/>
                      </a:lnTo>
                      <a:lnTo>
                        <a:pt x="104386" y="394910"/>
                      </a:lnTo>
                      <a:lnTo>
                        <a:pt x="103990" y="393011"/>
                      </a:lnTo>
                      <a:lnTo>
                        <a:pt x="103707" y="391724"/>
                      </a:lnTo>
                      <a:lnTo>
                        <a:pt x="102911" y="388091"/>
                      </a:lnTo>
                      <a:lnTo>
                        <a:pt x="101678" y="382446"/>
                      </a:lnTo>
                      <a:lnTo>
                        <a:pt x="100065" y="375131"/>
                      </a:lnTo>
                      <a:lnTo>
                        <a:pt x="98162" y="366466"/>
                      </a:lnTo>
                      <a:lnTo>
                        <a:pt x="96038" y="356797"/>
                      </a:lnTo>
                      <a:lnTo>
                        <a:pt x="93760" y="346474"/>
                      </a:lnTo>
                      <a:lnTo>
                        <a:pt x="91410" y="335807"/>
                      </a:lnTo>
                      <a:lnTo>
                        <a:pt x="89047" y="325141"/>
                      </a:lnTo>
                      <a:lnTo>
                        <a:pt x="86759" y="314817"/>
                      </a:lnTo>
                      <a:lnTo>
                        <a:pt x="84611" y="305168"/>
                      </a:lnTo>
                      <a:lnTo>
                        <a:pt x="82690" y="296521"/>
                      </a:lnTo>
                      <a:lnTo>
                        <a:pt x="81057" y="289211"/>
                      </a:lnTo>
                      <a:lnTo>
                        <a:pt x="79804" y="283582"/>
                      </a:lnTo>
                      <a:lnTo>
                        <a:pt x="78987" y="279959"/>
                      </a:lnTo>
                      <a:lnTo>
                        <a:pt x="78703" y="278666"/>
                      </a:lnTo>
                      <a:lnTo>
                        <a:pt x="77845" y="274851"/>
                      </a:lnTo>
                      <a:lnTo>
                        <a:pt x="76450" y="273541"/>
                      </a:lnTo>
                      <a:lnTo>
                        <a:pt x="74828" y="272502"/>
                      </a:lnTo>
                      <a:lnTo>
                        <a:pt x="74006" y="272115"/>
                      </a:lnTo>
                      <a:lnTo>
                        <a:pt x="72490" y="270700"/>
                      </a:lnTo>
                      <a:lnTo>
                        <a:pt x="68948" y="264609"/>
                      </a:lnTo>
                      <a:lnTo>
                        <a:pt x="68092" y="263692"/>
                      </a:lnTo>
                      <a:lnTo>
                        <a:pt x="67116" y="263003"/>
                      </a:lnTo>
                      <a:lnTo>
                        <a:pt x="65968" y="262660"/>
                      </a:lnTo>
                      <a:lnTo>
                        <a:pt x="63634" y="262395"/>
                      </a:lnTo>
                      <a:lnTo>
                        <a:pt x="62548" y="262450"/>
                      </a:lnTo>
                      <a:lnTo>
                        <a:pt x="61573" y="262613"/>
                      </a:lnTo>
                      <a:lnTo>
                        <a:pt x="60699" y="262914"/>
                      </a:lnTo>
                      <a:lnTo>
                        <a:pt x="59959" y="263365"/>
                      </a:lnTo>
                      <a:lnTo>
                        <a:pt x="59368" y="264003"/>
                      </a:lnTo>
                      <a:lnTo>
                        <a:pt x="58987" y="264848"/>
                      </a:lnTo>
                      <a:lnTo>
                        <a:pt x="58791" y="265782"/>
                      </a:lnTo>
                      <a:lnTo>
                        <a:pt x="58883" y="268862"/>
                      </a:lnTo>
                      <a:lnTo>
                        <a:pt x="58709" y="269851"/>
                      </a:lnTo>
                      <a:lnTo>
                        <a:pt x="58307" y="270681"/>
                      </a:lnTo>
                      <a:lnTo>
                        <a:pt x="57812" y="271418"/>
                      </a:lnTo>
                      <a:lnTo>
                        <a:pt x="56524" y="272577"/>
                      </a:lnTo>
                      <a:lnTo>
                        <a:pt x="55118" y="273341"/>
                      </a:lnTo>
                      <a:lnTo>
                        <a:pt x="54604" y="273518"/>
                      </a:lnTo>
                      <a:lnTo>
                        <a:pt x="54316" y="273460"/>
                      </a:lnTo>
                      <a:lnTo>
                        <a:pt x="53909" y="273086"/>
                      </a:lnTo>
                      <a:lnTo>
                        <a:pt x="52478" y="271425"/>
                      </a:lnTo>
                      <a:lnTo>
                        <a:pt x="51206" y="269494"/>
                      </a:lnTo>
                      <a:lnTo>
                        <a:pt x="50467" y="267378"/>
                      </a:lnTo>
                      <a:lnTo>
                        <a:pt x="49500" y="263626"/>
                      </a:lnTo>
                      <a:lnTo>
                        <a:pt x="49272" y="261658"/>
                      </a:lnTo>
                      <a:lnTo>
                        <a:pt x="49298" y="260098"/>
                      </a:lnTo>
                      <a:lnTo>
                        <a:pt x="52420" y="242258"/>
                      </a:lnTo>
                      <a:lnTo>
                        <a:pt x="52361" y="240337"/>
                      </a:lnTo>
                      <a:lnTo>
                        <a:pt x="51735" y="236672"/>
                      </a:lnTo>
                      <a:lnTo>
                        <a:pt x="51217" y="234871"/>
                      </a:lnTo>
                      <a:lnTo>
                        <a:pt x="50657" y="233498"/>
                      </a:lnTo>
                      <a:lnTo>
                        <a:pt x="50087" y="232724"/>
                      </a:lnTo>
                      <a:lnTo>
                        <a:pt x="46473" y="228731"/>
                      </a:lnTo>
                      <a:lnTo>
                        <a:pt x="46058" y="227701"/>
                      </a:lnTo>
                      <a:lnTo>
                        <a:pt x="45935" y="226638"/>
                      </a:lnTo>
                      <a:lnTo>
                        <a:pt x="46084" y="223857"/>
                      </a:lnTo>
                      <a:lnTo>
                        <a:pt x="45849" y="221553"/>
                      </a:lnTo>
                      <a:lnTo>
                        <a:pt x="45486" y="220204"/>
                      </a:lnTo>
                      <a:lnTo>
                        <a:pt x="45077" y="219117"/>
                      </a:lnTo>
                      <a:lnTo>
                        <a:pt x="44588" y="218306"/>
                      </a:lnTo>
                      <a:lnTo>
                        <a:pt x="43985" y="217611"/>
                      </a:lnTo>
                      <a:lnTo>
                        <a:pt x="42572" y="216241"/>
                      </a:lnTo>
                      <a:lnTo>
                        <a:pt x="41613" y="214823"/>
                      </a:lnTo>
                      <a:lnTo>
                        <a:pt x="40457" y="212688"/>
                      </a:lnTo>
                      <a:lnTo>
                        <a:pt x="37269" y="205233"/>
                      </a:lnTo>
                      <a:lnTo>
                        <a:pt x="36472" y="202600"/>
                      </a:lnTo>
                      <a:lnTo>
                        <a:pt x="35458" y="197854"/>
                      </a:lnTo>
                      <a:lnTo>
                        <a:pt x="34899" y="196362"/>
                      </a:lnTo>
                      <a:lnTo>
                        <a:pt x="34281" y="195246"/>
                      </a:lnTo>
                      <a:lnTo>
                        <a:pt x="33664" y="194528"/>
                      </a:lnTo>
                      <a:lnTo>
                        <a:pt x="31337" y="192508"/>
                      </a:lnTo>
                      <a:lnTo>
                        <a:pt x="30453" y="191591"/>
                      </a:lnTo>
                      <a:lnTo>
                        <a:pt x="29459" y="190109"/>
                      </a:lnTo>
                      <a:lnTo>
                        <a:pt x="29161" y="188910"/>
                      </a:lnTo>
                      <a:lnTo>
                        <a:pt x="29233" y="187823"/>
                      </a:lnTo>
                      <a:lnTo>
                        <a:pt x="30247" y="185154"/>
                      </a:lnTo>
                      <a:lnTo>
                        <a:pt x="31603" y="170794"/>
                      </a:lnTo>
                      <a:lnTo>
                        <a:pt x="31565" y="168415"/>
                      </a:lnTo>
                      <a:lnTo>
                        <a:pt x="31061" y="164706"/>
                      </a:lnTo>
                      <a:lnTo>
                        <a:pt x="31097" y="163705"/>
                      </a:lnTo>
                      <a:lnTo>
                        <a:pt x="31359" y="162806"/>
                      </a:lnTo>
                      <a:lnTo>
                        <a:pt x="31737" y="161957"/>
                      </a:lnTo>
                      <a:lnTo>
                        <a:pt x="32831" y="160582"/>
                      </a:lnTo>
                      <a:lnTo>
                        <a:pt x="34108" y="159407"/>
                      </a:lnTo>
                      <a:lnTo>
                        <a:pt x="35516" y="158403"/>
                      </a:lnTo>
                      <a:lnTo>
                        <a:pt x="36762" y="157274"/>
                      </a:lnTo>
                      <a:lnTo>
                        <a:pt x="37164" y="155970"/>
                      </a:lnTo>
                      <a:lnTo>
                        <a:pt x="37234" y="154062"/>
                      </a:lnTo>
                      <a:lnTo>
                        <a:pt x="36768" y="150312"/>
                      </a:lnTo>
                      <a:lnTo>
                        <a:pt x="35965" y="146909"/>
                      </a:lnTo>
                      <a:lnTo>
                        <a:pt x="35279" y="145173"/>
                      </a:lnTo>
                      <a:lnTo>
                        <a:pt x="31395" y="137568"/>
                      </a:lnTo>
                      <a:lnTo>
                        <a:pt x="30963" y="136179"/>
                      </a:lnTo>
                      <a:lnTo>
                        <a:pt x="30733" y="134936"/>
                      </a:lnTo>
                      <a:lnTo>
                        <a:pt x="30816" y="133875"/>
                      </a:lnTo>
                      <a:lnTo>
                        <a:pt x="31029" y="132859"/>
                      </a:lnTo>
                      <a:lnTo>
                        <a:pt x="32529" y="128080"/>
                      </a:lnTo>
                      <a:lnTo>
                        <a:pt x="32873" y="125934"/>
                      </a:lnTo>
                      <a:lnTo>
                        <a:pt x="32840" y="122999"/>
                      </a:lnTo>
                      <a:lnTo>
                        <a:pt x="32611" y="120423"/>
                      </a:lnTo>
                      <a:lnTo>
                        <a:pt x="32275" y="118792"/>
                      </a:lnTo>
                      <a:lnTo>
                        <a:pt x="31796" y="117170"/>
                      </a:lnTo>
                      <a:lnTo>
                        <a:pt x="31384" y="116155"/>
                      </a:lnTo>
                      <a:lnTo>
                        <a:pt x="29946" y="113690"/>
                      </a:lnTo>
                      <a:lnTo>
                        <a:pt x="27895" y="111056"/>
                      </a:lnTo>
                      <a:lnTo>
                        <a:pt x="19716" y="102577"/>
                      </a:lnTo>
                      <a:lnTo>
                        <a:pt x="16826" y="98940"/>
                      </a:lnTo>
                      <a:lnTo>
                        <a:pt x="16023" y="97497"/>
                      </a:lnTo>
                      <a:lnTo>
                        <a:pt x="13399" y="91326"/>
                      </a:lnTo>
                      <a:lnTo>
                        <a:pt x="12238" y="87535"/>
                      </a:lnTo>
                      <a:lnTo>
                        <a:pt x="12115" y="86527"/>
                      </a:lnTo>
                      <a:lnTo>
                        <a:pt x="12087" y="85463"/>
                      </a:lnTo>
                      <a:lnTo>
                        <a:pt x="12662" y="78656"/>
                      </a:lnTo>
                      <a:lnTo>
                        <a:pt x="12413" y="76610"/>
                      </a:lnTo>
                      <a:lnTo>
                        <a:pt x="11628" y="72698"/>
                      </a:lnTo>
                      <a:lnTo>
                        <a:pt x="11558" y="70564"/>
                      </a:lnTo>
                      <a:lnTo>
                        <a:pt x="11943" y="66924"/>
                      </a:lnTo>
                      <a:lnTo>
                        <a:pt x="11982" y="65298"/>
                      </a:lnTo>
                      <a:lnTo>
                        <a:pt x="11822" y="62787"/>
                      </a:lnTo>
                      <a:lnTo>
                        <a:pt x="11556" y="61313"/>
                      </a:lnTo>
                      <a:lnTo>
                        <a:pt x="11220" y="60139"/>
                      </a:lnTo>
                      <a:lnTo>
                        <a:pt x="10855" y="59289"/>
                      </a:lnTo>
                      <a:lnTo>
                        <a:pt x="10349" y="58534"/>
                      </a:lnTo>
                      <a:lnTo>
                        <a:pt x="9728" y="57789"/>
                      </a:lnTo>
                      <a:lnTo>
                        <a:pt x="6482" y="55425"/>
                      </a:lnTo>
                      <a:lnTo>
                        <a:pt x="5631" y="54669"/>
                      </a:lnTo>
                      <a:lnTo>
                        <a:pt x="4763" y="53738"/>
                      </a:lnTo>
                      <a:lnTo>
                        <a:pt x="3735" y="52299"/>
                      </a:lnTo>
                      <a:lnTo>
                        <a:pt x="3212" y="51165"/>
                      </a:lnTo>
                      <a:lnTo>
                        <a:pt x="2867" y="50108"/>
                      </a:lnTo>
                      <a:lnTo>
                        <a:pt x="2571" y="48080"/>
                      </a:lnTo>
                      <a:lnTo>
                        <a:pt x="2544" y="47025"/>
                      </a:lnTo>
                      <a:lnTo>
                        <a:pt x="2768" y="44794"/>
                      </a:lnTo>
                      <a:lnTo>
                        <a:pt x="3024" y="43737"/>
                      </a:lnTo>
                      <a:lnTo>
                        <a:pt x="4449" y="40131"/>
                      </a:lnTo>
                      <a:lnTo>
                        <a:pt x="4759" y="38944"/>
                      </a:lnTo>
                      <a:lnTo>
                        <a:pt x="4906" y="37474"/>
                      </a:lnTo>
                      <a:lnTo>
                        <a:pt x="4826" y="35152"/>
                      </a:lnTo>
                      <a:lnTo>
                        <a:pt x="4537" y="33779"/>
                      </a:lnTo>
                      <a:lnTo>
                        <a:pt x="4119" y="32629"/>
                      </a:lnTo>
                      <a:lnTo>
                        <a:pt x="2768" y="30162"/>
                      </a:lnTo>
                      <a:lnTo>
                        <a:pt x="1055" y="26234"/>
                      </a:lnTo>
                      <a:lnTo>
                        <a:pt x="0" y="24269"/>
                      </a:lnTo>
                      <a:lnTo>
                        <a:pt x="7145" y="23610"/>
                      </a:lnTo>
                      <a:lnTo>
                        <a:pt x="20866" y="22339"/>
                      </a:lnTo>
                      <a:lnTo>
                        <a:pt x="34586" y="21072"/>
                      </a:lnTo>
                      <a:lnTo>
                        <a:pt x="48295" y="19799"/>
                      </a:lnTo>
                      <a:lnTo>
                        <a:pt x="62012" y="18512"/>
                      </a:lnTo>
                      <a:lnTo>
                        <a:pt x="75727" y="17228"/>
                      </a:lnTo>
                      <a:lnTo>
                        <a:pt x="89431" y="15938"/>
                      </a:lnTo>
                      <a:lnTo>
                        <a:pt x="103122" y="14636"/>
                      </a:lnTo>
                      <a:lnTo>
                        <a:pt x="116823" y="13325"/>
                      </a:lnTo>
                      <a:lnTo>
                        <a:pt x="130515" y="12020"/>
                      </a:lnTo>
                      <a:lnTo>
                        <a:pt x="144210" y="10708"/>
                      </a:lnTo>
                      <a:lnTo>
                        <a:pt x="157888" y="9374"/>
                      </a:lnTo>
                      <a:lnTo>
                        <a:pt x="171561" y="8052"/>
                      </a:lnTo>
                      <a:lnTo>
                        <a:pt x="185238" y="6725"/>
                      </a:lnTo>
                      <a:lnTo>
                        <a:pt x="198907" y="5383"/>
                      </a:lnTo>
                      <a:lnTo>
                        <a:pt x="212582" y="4043"/>
                      </a:lnTo>
                      <a:lnTo>
                        <a:pt x="226242" y="2690"/>
                      </a:lnTo>
                      <a:lnTo>
                        <a:pt x="239899" y="1332"/>
                      </a:lnTo>
                      <a:lnTo>
                        <a:pt x="253311" y="0"/>
                      </a:lnTo>
                      <a:lnTo>
                        <a:pt x="251352" y="912"/>
                      </a:lnTo>
                      <a:lnTo>
                        <a:pt x="250414" y="2699"/>
                      </a:lnTo>
                      <a:lnTo>
                        <a:pt x="251205" y="7280"/>
                      </a:lnTo>
                      <a:lnTo>
                        <a:pt x="253315" y="11210"/>
                      </a:lnTo>
                      <a:lnTo>
                        <a:pt x="255929" y="13680"/>
                      </a:lnTo>
                      <a:lnTo>
                        <a:pt x="257837" y="16294"/>
                      </a:lnTo>
                      <a:lnTo>
                        <a:pt x="257785" y="20655"/>
                      </a:lnTo>
                      <a:lnTo>
                        <a:pt x="253828" y="29125"/>
                      </a:lnTo>
                      <a:lnTo>
                        <a:pt x="249650" y="38031"/>
                      </a:lnTo>
                      <a:lnTo>
                        <a:pt x="247993" y="44597"/>
                      </a:lnTo>
                      <a:lnTo>
                        <a:pt x="248587" y="48986"/>
                      </a:lnTo>
                      <a:lnTo>
                        <a:pt x="250735" y="51623"/>
                      </a:lnTo>
                      <a:lnTo>
                        <a:pt x="253293" y="53811"/>
                      </a:lnTo>
                      <a:lnTo>
                        <a:pt x="255108" y="56840"/>
                      </a:lnTo>
                      <a:lnTo>
                        <a:pt x="256333" y="59303"/>
                      </a:lnTo>
                      <a:lnTo>
                        <a:pt x="263310" y="68879"/>
                      </a:lnTo>
                      <a:lnTo>
                        <a:pt x="265721" y="71143"/>
                      </a:lnTo>
                      <a:lnTo>
                        <a:pt x="267121" y="72848"/>
                      </a:lnTo>
                      <a:lnTo>
                        <a:pt x="267668" y="74542"/>
                      </a:lnTo>
                      <a:lnTo>
                        <a:pt x="266831" y="7642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7" name="Freeform 89">
                  <a:extLst>
                    <a:ext uri="{FF2B5EF4-FFF2-40B4-BE49-F238E27FC236}">
                      <a16:creationId xmlns:a16="http://schemas.microsoft.com/office/drawing/2014/main" id="{3D88215B-4C4B-442A-A98D-EB5FDB04D8D1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4096581" y="4906529"/>
                  <a:ext cx="393934" cy="5807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654" h="858943">
                      <a:moveTo>
                        <a:pt x="78229" y="849793"/>
                      </a:moveTo>
                      <a:lnTo>
                        <a:pt x="84692" y="852964"/>
                      </a:lnTo>
                      <a:lnTo>
                        <a:pt x="84766" y="854286"/>
                      </a:lnTo>
                      <a:lnTo>
                        <a:pt x="82661" y="855136"/>
                      </a:lnTo>
                      <a:lnTo>
                        <a:pt x="81535" y="855375"/>
                      </a:lnTo>
                      <a:lnTo>
                        <a:pt x="45131" y="857458"/>
                      </a:lnTo>
                      <a:lnTo>
                        <a:pt x="47419" y="855991"/>
                      </a:lnTo>
                      <a:lnTo>
                        <a:pt x="62552" y="853367"/>
                      </a:lnTo>
                      <a:lnTo>
                        <a:pt x="71688" y="853202"/>
                      </a:lnTo>
                      <a:lnTo>
                        <a:pt x="74152" y="852762"/>
                      </a:lnTo>
                      <a:lnTo>
                        <a:pt x="75645" y="851821"/>
                      </a:lnTo>
                      <a:lnTo>
                        <a:pt x="76790" y="850711"/>
                      </a:lnTo>
                      <a:close/>
                      <a:moveTo>
                        <a:pt x="424704" y="0"/>
                      </a:moveTo>
                      <a:lnTo>
                        <a:pt x="424986" y="1013"/>
                      </a:lnTo>
                      <a:lnTo>
                        <a:pt x="425795" y="3996"/>
                      </a:lnTo>
                      <a:lnTo>
                        <a:pt x="426237" y="6220"/>
                      </a:lnTo>
                      <a:lnTo>
                        <a:pt x="427796" y="12726"/>
                      </a:lnTo>
                      <a:lnTo>
                        <a:pt x="429863" y="20783"/>
                      </a:lnTo>
                      <a:lnTo>
                        <a:pt x="432303" y="30289"/>
                      </a:lnTo>
                      <a:lnTo>
                        <a:pt x="435104" y="41091"/>
                      </a:lnTo>
                      <a:lnTo>
                        <a:pt x="438507" y="53069"/>
                      </a:lnTo>
                      <a:lnTo>
                        <a:pt x="442248" y="66096"/>
                      </a:lnTo>
                      <a:lnTo>
                        <a:pt x="446069" y="80032"/>
                      </a:lnTo>
                      <a:lnTo>
                        <a:pt x="450210" y="94755"/>
                      </a:lnTo>
                      <a:lnTo>
                        <a:pt x="454657" y="110129"/>
                      </a:lnTo>
                      <a:lnTo>
                        <a:pt x="459026" y="126045"/>
                      </a:lnTo>
                      <a:lnTo>
                        <a:pt x="463304" y="142350"/>
                      </a:lnTo>
                      <a:lnTo>
                        <a:pt x="467782" y="159508"/>
                      </a:lnTo>
                      <a:lnTo>
                        <a:pt x="471922" y="175649"/>
                      </a:lnTo>
                      <a:lnTo>
                        <a:pt x="476362" y="192368"/>
                      </a:lnTo>
                      <a:lnTo>
                        <a:pt x="481220" y="210828"/>
                      </a:lnTo>
                      <a:lnTo>
                        <a:pt x="484951" y="225288"/>
                      </a:lnTo>
                      <a:lnTo>
                        <a:pt x="489202" y="241233"/>
                      </a:lnTo>
                      <a:lnTo>
                        <a:pt x="493408" y="256652"/>
                      </a:lnTo>
                      <a:lnTo>
                        <a:pt x="497182" y="271423"/>
                      </a:lnTo>
                      <a:lnTo>
                        <a:pt x="500890" y="285414"/>
                      </a:lnTo>
                      <a:lnTo>
                        <a:pt x="504396" y="298498"/>
                      </a:lnTo>
                      <a:lnTo>
                        <a:pt x="507182" y="310539"/>
                      </a:lnTo>
                      <a:lnTo>
                        <a:pt x="510122" y="321395"/>
                      </a:lnTo>
                      <a:lnTo>
                        <a:pt x="512642" y="330938"/>
                      </a:lnTo>
                      <a:lnTo>
                        <a:pt x="514857" y="339041"/>
                      </a:lnTo>
                      <a:lnTo>
                        <a:pt x="516638" y="345577"/>
                      </a:lnTo>
                      <a:lnTo>
                        <a:pt x="517947" y="350405"/>
                      </a:lnTo>
                      <a:lnTo>
                        <a:pt x="518768" y="353396"/>
                      </a:lnTo>
                      <a:lnTo>
                        <a:pt x="519049" y="354423"/>
                      </a:lnTo>
                      <a:lnTo>
                        <a:pt x="520961" y="361394"/>
                      </a:lnTo>
                      <a:lnTo>
                        <a:pt x="520659" y="363035"/>
                      </a:lnTo>
                      <a:lnTo>
                        <a:pt x="527016" y="375754"/>
                      </a:lnTo>
                      <a:lnTo>
                        <a:pt x="526970" y="380898"/>
                      </a:lnTo>
                      <a:lnTo>
                        <a:pt x="527266" y="382472"/>
                      </a:lnTo>
                      <a:lnTo>
                        <a:pt x="527901" y="383860"/>
                      </a:lnTo>
                      <a:lnTo>
                        <a:pt x="528802" y="385081"/>
                      </a:lnTo>
                      <a:lnTo>
                        <a:pt x="529889" y="386201"/>
                      </a:lnTo>
                      <a:lnTo>
                        <a:pt x="533429" y="389397"/>
                      </a:lnTo>
                      <a:lnTo>
                        <a:pt x="534430" y="390576"/>
                      </a:lnTo>
                      <a:lnTo>
                        <a:pt x="533235" y="392317"/>
                      </a:lnTo>
                      <a:lnTo>
                        <a:pt x="533991" y="394010"/>
                      </a:lnTo>
                      <a:lnTo>
                        <a:pt x="535658" y="395794"/>
                      </a:lnTo>
                      <a:lnTo>
                        <a:pt x="537153" y="397833"/>
                      </a:lnTo>
                      <a:lnTo>
                        <a:pt x="538626" y="404034"/>
                      </a:lnTo>
                      <a:lnTo>
                        <a:pt x="540556" y="407656"/>
                      </a:lnTo>
                      <a:lnTo>
                        <a:pt x="540852" y="409908"/>
                      </a:lnTo>
                      <a:lnTo>
                        <a:pt x="540755" y="413076"/>
                      </a:lnTo>
                      <a:lnTo>
                        <a:pt x="541882" y="414736"/>
                      </a:lnTo>
                      <a:lnTo>
                        <a:pt x="543895" y="415874"/>
                      </a:lnTo>
                      <a:lnTo>
                        <a:pt x="545276" y="417252"/>
                      </a:lnTo>
                      <a:lnTo>
                        <a:pt x="544534" y="419633"/>
                      </a:lnTo>
                      <a:lnTo>
                        <a:pt x="556838" y="432855"/>
                      </a:lnTo>
                      <a:lnTo>
                        <a:pt x="558955" y="435756"/>
                      </a:lnTo>
                      <a:lnTo>
                        <a:pt x="559817" y="438020"/>
                      </a:lnTo>
                      <a:lnTo>
                        <a:pt x="561088" y="443745"/>
                      </a:lnTo>
                      <a:lnTo>
                        <a:pt x="562542" y="446499"/>
                      </a:lnTo>
                      <a:lnTo>
                        <a:pt x="564449" y="448992"/>
                      </a:lnTo>
                      <a:lnTo>
                        <a:pt x="566042" y="451599"/>
                      </a:lnTo>
                      <a:lnTo>
                        <a:pt x="566428" y="453959"/>
                      </a:lnTo>
                      <a:lnTo>
                        <a:pt x="566379" y="456274"/>
                      </a:lnTo>
                      <a:lnTo>
                        <a:pt x="565491" y="458307"/>
                      </a:lnTo>
                      <a:lnTo>
                        <a:pt x="564948" y="460055"/>
                      </a:lnTo>
                      <a:lnTo>
                        <a:pt x="565968" y="462069"/>
                      </a:lnTo>
                      <a:lnTo>
                        <a:pt x="562746" y="465733"/>
                      </a:lnTo>
                      <a:lnTo>
                        <a:pt x="563585" y="468991"/>
                      </a:lnTo>
                      <a:lnTo>
                        <a:pt x="567010" y="471819"/>
                      </a:lnTo>
                      <a:lnTo>
                        <a:pt x="575103" y="475786"/>
                      </a:lnTo>
                      <a:lnTo>
                        <a:pt x="576771" y="476948"/>
                      </a:lnTo>
                      <a:lnTo>
                        <a:pt x="577930" y="478946"/>
                      </a:lnTo>
                      <a:lnTo>
                        <a:pt x="578662" y="479057"/>
                      </a:lnTo>
                      <a:lnTo>
                        <a:pt x="579423" y="479399"/>
                      </a:lnTo>
                      <a:lnTo>
                        <a:pt x="579864" y="480704"/>
                      </a:lnTo>
                      <a:lnTo>
                        <a:pt x="579535" y="482171"/>
                      </a:lnTo>
                      <a:lnTo>
                        <a:pt x="578483" y="483167"/>
                      </a:lnTo>
                      <a:lnTo>
                        <a:pt x="577074" y="483709"/>
                      </a:lnTo>
                      <a:lnTo>
                        <a:pt x="575681" y="483831"/>
                      </a:lnTo>
                      <a:lnTo>
                        <a:pt x="576805" y="486041"/>
                      </a:lnTo>
                      <a:lnTo>
                        <a:pt x="576476" y="487840"/>
                      </a:lnTo>
                      <a:lnTo>
                        <a:pt x="575332" y="489199"/>
                      </a:lnTo>
                      <a:lnTo>
                        <a:pt x="573992" y="490106"/>
                      </a:lnTo>
                      <a:lnTo>
                        <a:pt x="570974" y="489021"/>
                      </a:lnTo>
                      <a:lnTo>
                        <a:pt x="568603" y="489661"/>
                      </a:lnTo>
                      <a:lnTo>
                        <a:pt x="568148" y="491157"/>
                      </a:lnTo>
                      <a:lnTo>
                        <a:pt x="570865" y="492644"/>
                      </a:lnTo>
                      <a:lnTo>
                        <a:pt x="569044" y="494060"/>
                      </a:lnTo>
                      <a:lnTo>
                        <a:pt x="566492" y="495308"/>
                      </a:lnTo>
                      <a:lnTo>
                        <a:pt x="563835" y="496200"/>
                      </a:lnTo>
                      <a:lnTo>
                        <a:pt x="561694" y="496565"/>
                      </a:lnTo>
                      <a:lnTo>
                        <a:pt x="560643" y="497268"/>
                      </a:lnTo>
                      <a:lnTo>
                        <a:pt x="559668" y="498932"/>
                      </a:lnTo>
                      <a:lnTo>
                        <a:pt x="557554" y="504872"/>
                      </a:lnTo>
                      <a:lnTo>
                        <a:pt x="557396" y="506387"/>
                      </a:lnTo>
                      <a:lnTo>
                        <a:pt x="557823" y="510805"/>
                      </a:lnTo>
                      <a:lnTo>
                        <a:pt x="557616" y="513140"/>
                      </a:lnTo>
                      <a:lnTo>
                        <a:pt x="556237" y="516330"/>
                      </a:lnTo>
                      <a:lnTo>
                        <a:pt x="556059" y="520423"/>
                      </a:lnTo>
                      <a:lnTo>
                        <a:pt x="557602" y="524392"/>
                      </a:lnTo>
                      <a:lnTo>
                        <a:pt x="557414" y="528850"/>
                      </a:lnTo>
                      <a:lnTo>
                        <a:pt x="557234" y="529520"/>
                      </a:lnTo>
                      <a:lnTo>
                        <a:pt x="556063" y="532223"/>
                      </a:lnTo>
                      <a:lnTo>
                        <a:pt x="555464" y="533075"/>
                      </a:lnTo>
                      <a:lnTo>
                        <a:pt x="551459" y="540226"/>
                      </a:lnTo>
                      <a:lnTo>
                        <a:pt x="548862" y="547193"/>
                      </a:lnTo>
                      <a:lnTo>
                        <a:pt x="548051" y="553215"/>
                      </a:lnTo>
                      <a:lnTo>
                        <a:pt x="547428" y="555593"/>
                      </a:lnTo>
                      <a:lnTo>
                        <a:pt x="547280" y="556468"/>
                      </a:lnTo>
                      <a:lnTo>
                        <a:pt x="547209" y="557591"/>
                      </a:lnTo>
                      <a:lnTo>
                        <a:pt x="546461" y="561431"/>
                      </a:lnTo>
                      <a:lnTo>
                        <a:pt x="547876" y="565029"/>
                      </a:lnTo>
                      <a:lnTo>
                        <a:pt x="553999" y="584846"/>
                      </a:lnTo>
                      <a:lnTo>
                        <a:pt x="555575" y="587814"/>
                      </a:lnTo>
                      <a:lnTo>
                        <a:pt x="561776" y="594883"/>
                      </a:lnTo>
                      <a:lnTo>
                        <a:pt x="563509" y="598202"/>
                      </a:lnTo>
                      <a:lnTo>
                        <a:pt x="564013" y="600454"/>
                      </a:lnTo>
                      <a:lnTo>
                        <a:pt x="564488" y="605342"/>
                      </a:lnTo>
                      <a:lnTo>
                        <a:pt x="564940" y="606719"/>
                      </a:lnTo>
                      <a:lnTo>
                        <a:pt x="566691" y="610245"/>
                      </a:lnTo>
                      <a:lnTo>
                        <a:pt x="567225" y="612676"/>
                      </a:lnTo>
                      <a:lnTo>
                        <a:pt x="566593" y="616942"/>
                      </a:lnTo>
                      <a:lnTo>
                        <a:pt x="565053" y="620384"/>
                      </a:lnTo>
                      <a:lnTo>
                        <a:pt x="564405" y="624111"/>
                      </a:lnTo>
                      <a:lnTo>
                        <a:pt x="566429" y="629195"/>
                      </a:lnTo>
                      <a:lnTo>
                        <a:pt x="563335" y="633570"/>
                      </a:lnTo>
                      <a:lnTo>
                        <a:pt x="562718" y="640164"/>
                      </a:lnTo>
                      <a:lnTo>
                        <a:pt x="562836" y="653931"/>
                      </a:lnTo>
                      <a:lnTo>
                        <a:pt x="562189" y="655549"/>
                      </a:lnTo>
                      <a:lnTo>
                        <a:pt x="560335" y="658406"/>
                      </a:lnTo>
                      <a:lnTo>
                        <a:pt x="559982" y="660248"/>
                      </a:lnTo>
                      <a:lnTo>
                        <a:pt x="560392" y="661658"/>
                      </a:lnTo>
                      <a:lnTo>
                        <a:pt x="562158" y="665139"/>
                      </a:lnTo>
                      <a:lnTo>
                        <a:pt x="562651" y="666871"/>
                      </a:lnTo>
                      <a:lnTo>
                        <a:pt x="562301" y="673316"/>
                      </a:lnTo>
                      <a:lnTo>
                        <a:pt x="562764" y="676142"/>
                      </a:lnTo>
                      <a:lnTo>
                        <a:pt x="564803" y="678408"/>
                      </a:lnTo>
                      <a:lnTo>
                        <a:pt x="568216" y="679858"/>
                      </a:lnTo>
                      <a:lnTo>
                        <a:pt x="573161" y="685537"/>
                      </a:lnTo>
                      <a:lnTo>
                        <a:pt x="577728" y="692968"/>
                      </a:lnTo>
                      <a:lnTo>
                        <a:pt x="580471" y="701335"/>
                      </a:lnTo>
                      <a:lnTo>
                        <a:pt x="582178" y="703181"/>
                      </a:lnTo>
                      <a:lnTo>
                        <a:pt x="582654" y="705052"/>
                      </a:lnTo>
                      <a:lnTo>
                        <a:pt x="582232" y="706547"/>
                      </a:lnTo>
                      <a:lnTo>
                        <a:pt x="581276" y="707695"/>
                      </a:lnTo>
                      <a:lnTo>
                        <a:pt x="580881" y="708479"/>
                      </a:lnTo>
                      <a:lnTo>
                        <a:pt x="554801" y="709167"/>
                      </a:lnTo>
                      <a:lnTo>
                        <a:pt x="528715" y="709842"/>
                      </a:lnTo>
                      <a:lnTo>
                        <a:pt x="502627" y="710516"/>
                      </a:lnTo>
                      <a:lnTo>
                        <a:pt x="476536" y="711174"/>
                      </a:lnTo>
                      <a:lnTo>
                        <a:pt x="450437" y="711819"/>
                      </a:lnTo>
                      <a:lnTo>
                        <a:pt x="424338" y="712461"/>
                      </a:lnTo>
                      <a:lnTo>
                        <a:pt x="398236" y="713093"/>
                      </a:lnTo>
                      <a:lnTo>
                        <a:pt x="372125" y="713707"/>
                      </a:lnTo>
                      <a:lnTo>
                        <a:pt x="346014" y="714310"/>
                      </a:lnTo>
                      <a:lnTo>
                        <a:pt x="319900" y="714911"/>
                      </a:lnTo>
                      <a:lnTo>
                        <a:pt x="293779" y="715498"/>
                      </a:lnTo>
                      <a:lnTo>
                        <a:pt x="267656" y="716070"/>
                      </a:lnTo>
                      <a:lnTo>
                        <a:pt x="241531" y="716632"/>
                      </a:lnTo>
                      <a:lnTo>
                        <a:pt x="215399" y="717193"/>
                      </a:lnTo>
                      <a:lnTo>
                        <a:pt x="189268" y="717739"/>
                      </a:lnTo>
                      <a:lnTo>
                        <a:pt x="163132" y="718271"/>
                      </a:lnTo>
                      <a:lnTo>
                        <a:pt x="155707" y="718429"/>
                      </a:lnTo>
                      <a:lnTo>
                        <a:pt x="154761" y="720931"/>
                      </a:lnTo>
                      <a:lnTo>
                        <a:pt x="155608" y="729335"/>
                      </a:lnTo>
                      <a:lnTo>
                        <a:pt x="155387" y="730208"/>
                      </a:lnTo>
                      <a:lnTo>
                        <a:pt x="152435" y="737187"/>
                      </a:lnTo>
                      <a:lnTo>
                        <a:pt x="151887" y="739046"/>
                      </a:lnTo>
                      <a:lnTo>
                        <a:pt x="151695" y="740119"/>
                      </a:lnTo>
                      <a:lnTo>
                        <a:pt x="151610" y="741233"/>
                      </a:lnTo>
                      <a:lnTo>
                        <a:pt x="151960" y="742632"/>
                      </a:lnTo>
                      <a:lnTo>
                        <a:pt x="152738" y="744111"/>
                      </a:lnTo>
                      <a:lnTo>
                        <a:pt x="154546" y="746493"/>
                      </a:lnTo>
                      <a:lnTo>
                        <a:pt x="156546" y="748670"/>
                      </a:lnTo>
                      <a:lnTo>
                        <a:pt x="164936" y="755880"/>
                      </a:lnTo>
                      <a:lnTo>
                        <a:pt x="165955" y="757200"/>
                      </a:lnTo>
                      <a:lnTo>
                        <a:pt x="169718" y="763062"/>
                      </a:lnTo>
                      <a:lnTo>
                        <a:pt x="172223" y="766080"/>
                      </a:lnTo>
                      <a:lnTo>
                        <a:pt x="174689" y="767770"/>
                      </a:lnTo>
                      <a:lnTo>
                        <a:pt x="188399" y="775129"/>
                      </a:lnTo>
                      <a:lnTo>
                        <a:pt x="189794" y="776236"/>
                      </a:lnTo>
                      <a:lnTo>
                        <a:pt x="190381" y="776868"/>
                      </a:lnTo>
                      <a:lnTo>
                        <a:pt x="190723" y="778676"/>
                      </a:lnTo>
                      <a:lnTo>
                        <a:pt x="190745" y="781318"/>
                      </a:lnTo>
                      <a:lnTo>
                        <a:pt x="190045" y="787554"/>
                      </a:lnTo>
                      <a:lnTo>
                        <a:pt x="188999" y="792318"/>
                      </a:lnTo>
                      <a:lnTo>
                        <a:pt x="186474" y="797143"/>
                      </a:lnTo>
                      <a:lnTo>
                        <a:pt x="185940" y="798697"/>
                      </a:lnTo>
                      <a:lnTo>
                        <a:pt x="185794" y="799480"/>
                      </a:lnTo>
                      <a:lnTo>
                        <a:pt x="186358" y="802359"/>
                      </a:lnTo>
                      <a:lnTo>
                        <a:pt x="189983" y="810859"/>
                      </a:lnTo>
                      <a:lnTo>
                        <a:pt x="190089" y="811062"/>
                      </a:lnTo>
                      <a:lnTo>
                        <a:pt x="190103" y="811091"/>
                      </a:lnTo>
                      <a:lnTo>
                        <a:pt x="190105" y="811094"/>
                      </a:lnTo>
                      <a:lnTo>
                        <a:pt x="188874" y="810485"/>
                      </a:lnTo>
                      <a:lnTo>
                        <a:pt x="188941" y="811587"/>
                      </a:lnTo>
                      <a:lnTo>
                        <a:pt x="190235" y="813162"/>
                      </a:lnTo>
                      <a:lnTo>
                        <a:pt x="191576" y="814392"/>
                      </a:lnTo>
                      <a:lnTo>
                        <a:pt x="193127" y="815442"/>
                      </a:lnTo>
                      <a:lnTo>
                        <a:pt x="194982" y="816377"/>
                      </a:lnTo>
                      <a:lnTo>
                        <a:pt x="193752" y="816402"/>
                      </a:lnTo>
                      <a:lnTo>
                        <a:pt x="193594" y="818116"/>
                      </a:lnTo>
                      <a:lnTo>
                        <a:pt x="186909" y="824616"/>
                      </a:lnTo>
                      <a:lnTo>
                        <a:pt x="185352" y="827579"/>
                      </a:lnTo>
                      <a:lnTo>
                        <a:pt x="184347" y="830545"/>
                      </a:lnTo>
                      <a:lnTo>
                        <a:pt x="182481" y="832877"/>
                      </a:lnTo>
                      <a:lnTo>
                        <a:pt x="178378" y="833880"/>
                      </a:lnTo>
                      <a:lnTo>
                        <a:pt x="176005" y="834980"/>
                      </a:lnTo>
                      <a:lnTo>
                        <a:pt x="174661" y="837266"/>
                      </a:lnTo>
                      <a:lnTo>
                        <a:pt x="172880" y="839471"/>
                      </a:lnTo>
                      <a:lnTo>
                        <a:pt x="169103" y="840314"/>
                      </a:lnTo>
                      <a:lnTo>
                        <a:pt x="166486" y="839962"/>
                      </a:lnTo>
                      <a:lnTo>
                        <a:pt x="165717" y="839276"/>
                      </a:lnTo>
                      <a:lnTo>
                        <a:pt x="165491" y="838198"/>
                      </a:lnTo>
                      <a:lnTo>
                        <a:pt x="164473" y="836720"/>
                      </a:lnTo>
                      <a:lnTo>
                        <a:pt x="161451" y="834279"/>
                      </a:lnTo>
                      <a:lnTo>
                        <a:pt x="160660" y="833111"/>
                      </a:lnTo>
                      <a:lnTo>
                        <a:pt x="159630" y="833131"/>
                      </a:lnTo>
                      <a:lnTo>
                        <a:pt x="160112" y="836125"/>
                      </a:lnTo>
                      <a:lnTo>
                        <a:pt x="161337" y="838032"/>
                      </a:lnTo>
                      <a:lnTo>
                        <a:pt x="162111" y="839924"/>
                      </a:lnTo>
                      <a:lnTo>
                        <a:pt x="161244" y="842916"/>
                      </a:lnTo>
                      <a:lnTo>
                        <a:pt x="163090" y="843019"/>
                      </a:lnTo>
                      <a:lnTo>
                        <a:pt x="164876" y="842787"/>
                      </a:lnTo>
                      <a:lnTo>
                        <a:pt x="166502" y="842251"/>
                      </a:lnTo>
                      <a:lnTo>
                        <a:pt x="167950" y="841440"/>
                      </a:lnTo>
                      <a:lnTo>
                        <a:pt x="164120" y="848299"/>
                      </a:lnTo>
                      <a:lnTo>
                        <a:pt x="153714" y="852684"/>
                      </a:lnTo>
                      <a:lnTo>
                        <a:pt x="132030" y="855857"/>
                      </a:lnTo>
                      <a:lnTo>
                        <a:pt x="111530" y="856244"/>
                      </a:lnTo>
                      <a:lnTo>
                        <a:pt x="97077" y="858875"/>
                      </a:lnTo>
                      <a:lnTo>
                        <a:pt x="91819" y="858943"/>
                      </a:lnTo>
                      <a:lnTo>
                        <a:pt x="93698" y="857103"/>
                      </a:lnTo>
                      <a:lnTo>
                        <a:pt x="97325" y="855508"/>
                      </a:lnTo>
                      <a:lnTo>
                        <a:pt x="103575" y="853937"/>
                      </a:lnTo>
                      <a:lnTo>
                        <a:pt x="104966" y="853144"/>
                      </a:lnTo>
                      <a:lnTo>
                        <a:pt x="105868" y="851789"/>
                      </a:lnTo>
                      <a:lnTo>
                        <a:pt x="107028" y="851329"/>
                      </a:lnTo>
                      <a:lnTo>
                        <a:pt x="110715" y="854264"/>
                      </a:lnTo>
                      <a:lnTo>
                        <a:pt x="117316" y="855280"/>
                      </a:lnTo>
                      <a:lnTo>
                        <a:pt x="123309" y="853252"/>
                      </a:lnTo>
                      <a:lnTo>
                        <a:pt x="130788" y="851187"/>
                      </a:lnTo>
                      <a:lnTo>
                        <a:pt x="135269" y="848112"/>
                      </a:lnTo>
                      <a:lnTo>
                        <a:pt x="132930" y="842119"/>
                      </a:lnTo>
                      <a:lnTo>
                        <a:pt x="124711" y="835332"/>
                      </a:lnTo>
                      <a:lnTo>
                        <a:pt x="123360" y="833165"/>
                      </a:lnTo>
                      <a:lnTo>
                        <a:pt x="123662" y="831194"/>
                      </a:lnTo>
                      <a:lnTo>
                        <a:pt x="124885" y="827202"/>
                      </a:lnTo>
                      <a:lnTo>
                        <a:pt x="124523" y="825835"/>
                      </a:lnTo>
                      <a:lnTo>
                        <a:pt x="122934" y="824455"/>
                      </a:lnTo>
                      <a:lnTo>
                        <a:pt x="122262" y="824475"/>
                      </a:lnTo>
                      <a:lnTo>
                        <a:pt x="121747" y="825354"/>
                      </a:lnTo>
                      <a:lnTo>
                        <a:pt x="119702" y="827936"/>
                      </a:lnTo>
                      <a:lnTo>
                        <a:pt x="120007" y="828800"/>
                      </a:lnTo>
                      <a:lnTo>
                        <a:pt x="119839" y="829154"/>
                      </a:lnTo>
                      <a:lnTo>
                        <a:pt x="117367" y="829040"/>
                      </a:lnTo>
                      <a:lnTo>
                        <a:pt x="115449" y="828719"/>
                      </a:lnTo>
                      <a:lnTo>
                        <a:pt x="113769" y="828093"/>
                      </a:lnTo>
                      <a:lnTo>
                        <a:pt x="112275" y="827200"/>
                      </a:lnTo>
                      <a:lnTo>
                        <a:pt x="110932" y="826093"/>
                      </a:lnTo>
                      <a:lnTo>
                        <a:pt x="109535" y="824526"/>
                      </a:lnTo>
                      <a:lnTo>
                        <a:pt x="108574" y="822790"/>
                      </a:lnTo>
                      <a:lnTo>
                        <a:pt x="108005" y="820872"/>
                      </a:lnTo>
                      <a:lnTo>
                        <a:pt x="107728" y="818744"/>
                      </a:lnTo>
                      <a:lnTo>
                        <a:pt x="107097" y="816557"/>
                      </a:lnTo>
                      <a:lnTo>
                        <a:pt x="105871" y="814673"/>
                      </a:lnTo>
                      <a:lnTo>
                        <a:pt x="104620" y="813177"/>
                      </a:lnTo>
                      <a:lnTo>
                        <a:pt x="103962" y="812137"/>
                      </a:lnTo>
                      <a:lnTo>
                        <a:pt x="104105" y="809140"/>
                      </a:lnTo>
                      <a:lnTo>
                        <a:pt x="105257" y="805655"/>
                      </a:lnTo>
                      <a:lnTo>
                        <a:pt x="106836" y="802440"/>
                      </a:lnTo>
                      <a:lnTo>
                        <a:pt x="108309" y="800236"/>
                      </a:lnTo>
                      <a:lnTo>
                        <a:pt x="108721" y="797591"/>
                      </a:lnTo>
                      <a:lnTo>
                        <a:pt x="107592" y="794011"/>
                      </a:lnTo>
                      <a:lnTo>
                        <a:pt x="101840" y="780478"/>
                      </a:lnTo>
                      <a:lnTo>
                        <a:pt x="99842" y="778237"/>
                      </a:lnTo>
                      <a:lnTo>
                        <a:pt x="96167" y="776510"/>
                      </a:lnTo>
                      <a:lnTo>
                        <a:pt x="94052" y="776214"/>
                      </a:lnTo>
                      <a:lnTo>
                        <a:pt x="92284" y="776211"/>
                      </a:lnTo>
                      <a:lnTo>
                        <a:pt x="91036" y="775643"/>
                      </a:lnTo>
                      <a:lnTo>
                        <a:pt x="90458" y="773551"/>
                      </a:lnTo>
                      <a:lnTo>
                        <a:pt x="90365" y="770983"/>
                      </a:lnTo>
                      <a:lnTo>
                        <a:pt x="90038" y="768696"/>
                      </a:lnTo>
                      <a:lnTo>
                        <a:pt x="88942" y="767154"/>
                      </a:lnTo>
                      <a:lnTo>
                        <a:pt x="86582" y="766775"/>
                      </a:lnTo>
                      <a:lnTo>
                        <a:pt x="87935" y="769283"/>
                      </a:lnTo>
                      <a:lnTo>
                        <a:pt x="88049" y="771829"/>
                      </a:lnTo>
                      <a:lnTo>
                        <a:pt x="86998" y="774032"/>
                      </a:lnTo>
                      <a:lnTo>
                        <a:pt x="84824" y="775511"/>
                      </a:lnTo>
                      <a:lnTo>
                        <a:pt x="85982" y="778001"/>
                      </a:lnTo>
                      <a:lnTo>
                        <a:pt x="85158" y="779813"/>
                      </a:lnTo>
                      <a:lnTo>
                        <a:pt x="83738" y="781781"/>
                      </a:lnTo>
                      <a:lnTo>
                        <a:pt x="83102" y="784773"/>
                      </a:lnTo>
                      <a:lnTo>
                        <a:pt x="83090" y="788352"/>
                      </a:lnTo>
                      <a:lnTo>
                        <a:pt x="82540" y="790757"/>
                      </a:lnTo>
                      <a:lnTo>
                        <a:pt x="81422" y="792633"/>
                      </a:lnTo>
                      <a:lnTo>
                        <a:pt x="79760" y="794636"/>
                      </a:lnTo>
                      <a:lnTo>
                        <a:pt x="79246" y="795901"/>
                      </a:lnTo>
                      <a:lnTo>
                        <a:pt x="79177" y="797531"/>
                      </a:lnTo>
                      <a:lnTo>
                        <a:pt x="79490" y="800776"/>
                      </a:lnTo>
                      <a:lnTo>
                        <a:pt x="79234" y="802219"/>
                      </a:lnTo>
                      <a:lnTo>
                        <a:pt x="77781" y="804262"/>
                      </a:lnTo>
                      <a:lnTo>
                        <a:pt x="77526" y="805822"/>
                      </a:lnTo>
                      <a:lnTo>
                        <a:pt x="77341" y="808747"/>
                      </a:lnTo>
                      <a:lnTo>
                        <a:pt x="76124" y="814855"/>
                      </a:lnTo>
                      <a:lnTo>
                        <a:pt x="75953" y="818058"/>
                      </a:lnTo>
                      <a:lnTo>
                        <a:pt x="76677" y="825562"/>
                      </a:lnTo>
                      <a:lnTo>
                        <a:pt x="75774" y="838665"/>
                      </a:lnTo>
                      <a:lnTo>
                        <a:pt x="74866" y="840874"/>
                      </a:lnTo>
                      <a:lnTo>
                        <a:pt x="73050" y="842047"/>
                      </a:lnTo>
                      <a:lnTo>
                        <a:pt x="72269" y="841557"/>
                      </a:lnTo>
                      <a:lnTo>
                        <a:pt x="71930" y="840445"/>
                      </a:lnTo>
                      <a:lnTo>
                        <a:pt x="71525" y="839817"/>
                      </a:lnTo>
                      <a:lnTo>
                        <a:pt x="68092" y="839792"/>
                      </a:lnTo>
                      <a:lnTo>
                        <a:pt x="68024" y="839880"/>
                      </a:lnTo>
                      <a:lnTo>
                        <a:pt x="65232" y="839639"/>
                      </a:lnTo>
                      <a:lnTo>
                        <a:pt x="63545" y="839107"/>
                      </a:lnTo>
                      <a:lnTo>
                        <a:pt x="63188" y="837404"/>
                      </a:lnTo>
                      <a:lnTo>
                        <a:pt x="64392" y="833590"/>
                      </a:lnTo>
                      <a:lnTo>
                        <a:pt x="59471" y="831969"/>
                      </a:lnTo>
                      <a:lnTo>
                        <a:pt x="49156" y="830036"/>
                      </a:lnTo>
                      <a:lnTo>
                        <a:pt x="44756" y="827924"/>
                      </a:lnTo>
                      <a:lnTo>
                        <a:pt x="44582" y="829300"/>
                      </a:lnTo>
                      <a:lnTo>
                        <a:pt x="44325" y="830028"/>
                      </a:lnTo>
                      <a:lnTo>
                        <a:pt x="44049" y="830639"/>
                      </a:lnTo>
                      <a:lnTo>
                        <a:pt x="43725" y="831624"/>
                      </a:lnTo>
                      <a:lnTo>
                        <a:pt x="42695" y="831642"/>
                      </a:lnTo>
                      <a:lnTo>
                        <a:pt x="39501" y="827550"/>
                      </a:lnTo>
                      <a:lnTo>
                        <a:pt x="36211" y="827630"/>
                      </a:lnTo>
                      <a:lnTo>
                        <a:pt x="32599" y="829470"/>
                      </a:lnTo>
                      <a:lnTo>
                        <a:pt x="28611" y="830624"/>
                      </a:lnTo>
                      <a:lnTo>
                        <a:pt x="28611" y="830617"/>
                      </a:lnTo>
                      <a:lnTo>
                        <a:pt x="26838" y="813807"/>
                      </a:lnTo>
                      <a:lnTo>
                        <a:pt x="25055" y="796987"/>
                      </a:lnTo>
                      <a:lnTo>
                        <a:pt x="23279" y="780184"/>
                      </a:lnTo>
                      <a:lnTo>
                        <a:pt x="21501" y="763381"/>
                      </a:lnTo>
                      <a:lnTo>
                        <a:pt x="19714" y="746577"/>
                      </a:lnTo>
                      <a:lnTo>
                        <a:pt x="17937" y="729782"/>
                      </a:lnTo>
                      <a:lnTo>
                        <a:pt x="16147" y="712990"/>
                      </a:lnTo>
                      <a:lnTo>
                        <a:pt x="14358" y="696199"/>
                      </a:lnTo>
                      <a:lnTo>
                        <a:pt x="12569" y="679420"/>
                      </a:lnTo>
                      <a:lnTo>
                        <a:pt x="10775" y="662641"/>
                      </a:lnTo>
                      <a:lnTo>
                        <a:pt x="8982" y="645856"/>
                      </a:lnTo>
                      <a:lnTo>
                        <a:pt x="7191" y="629089"/>
                      </a:lnTo>
                      <a:lnTo>
                        <a:pt x="5400" y="612321"/>
                      </a:lnTo>
                      <a:lnTo>
                        <a:pt x="3602" y="595549"/>
                      </a:lnTo>
                      <a:lnTo>
                        <a:pt x="1800" y="578794"/>
                      </a:lnTo>
                      <a:lnTo>
                        <a:pt x="0" y="562039"/>
                      </a:lnTo>
                      <a:lnTo>
                        <a:pt x="102" y="560509"/>
                      </a:lnTo>
                      <a:lnTo>
                        <a:pt x="383" y="556071"/>
                      </a:lnTo>
                      <a:lnTo>
                        <a:pt x="841" y="548910"/>
                      </a:lnTo>
                      <a:lnTo>
                        <a:pt x="1466" y="539211"/>
                      </a:lnTo>
                      <a:lnTo>
                        <a:pt x="2237" y="527192"/>
                      </a:lnTo>
                      <a:lnTo>
                        <a:pt x="3137" y="513026"/>
                      </a:lnTo>
                      <a:lnTo>
                        <a:pt x="4156" y="496931"/>
                      </a:lnTo>
                      <a:lnTo>
                        <a:pt x="5283" y="479079"/>
                      </a:lnTo>
                      <a:lnTo>
                        <a:pt x="6497" y="459679"/>
                      </a:lnTo>
                      <a:lnTo>
                        <a:pt x="7789" y="438934"/>
                      </a:lnTo>
                      <a:lnTo>
                        <a:pt x="9135" y="417017"/>
                      </a:lnTo>
                      <a:lnTo>
                        <a:pt x="10532" y="394142"/>
                      </a:lnTo>
                      <a:lnTo>
                        <a:pt x="11970" y="370494"/>
                      </a:lnTo>
                      <a:lnTo>
                        <a:pt x="13427" y="346274"/>
                      </a:lnTo>
                      <a:lnTo>
                        <a:pt x="14901" y="321682"/>
                      </a:lnTo>
                      <a:lnTo>
                        <a:pt x="16368" y="296900"/>
                      </a:lnTo>
                      <a:lnTo>
                        <a:pt x="17813" y="272121"/>
                      </a:lnTo>
                      <a:lnTo>
                        <a:pt x="19240" y="247546"/>
                      </a:lnTo>
                      <a:lnTo>
                        <a:pt x="20635" y="223368"/>
                      </a:lnTo>
                      <a:lnTo>
                        <a:pt x="21979" y="199781"/>
                      </a:lnTo>
                      <a:lnTo>
                        <a:pt x="23268" y="176971"/>
                      </a:lnTo>
                      <a:lnTo>
                        <a:pt x="24493" y="155143"/>
                      </a:lnTo>
                      <a:lnTo>
                        <a:pt x="25640" y="134478"/>
                      </a:lnTo>
                      <a:lnTo>
                        <a:pt x="26699" y="115170"/>
                      </a:lnTo>
                      <a:lnTo>
                        <a:pt x="27665" y="97414"/>
                      </a:lnTo>
                      <a:lnTo>
                        <a:pt x="28534" y="81409"/>
                      </a:lnTo>
                      <a:lnTo>
                        <a:pt x="29297" y="67339"/>
                      </a:lnTo>
                      <a:lnTo>
                        <a:pt x="29940" y="55395"/>
                      </a:lnTo>
                      <a:lnTo>
                        <a:pt x="30453" y="45772"/>
                      </a:lnTo>
                      <a:lnTo>
                        <a:pt x="30825" y="38657"/>
                      </a:lnTo>
                      <a:lnTo>
                        <a:pt x="31066" y="34240"/>
                      </a:lnTo>
                      <a:lnTo>
                        <a:pt x="31147" y="32733"/>
                      </a:lnTo>
                      <a:lnTo>
                        <a:pt x="31477" y="26319"/>
                      </a:lnTo>
                      <a:lnTo>
                        <a:pt x="31493" y="23476"/>
                      </a:lnTo>
                      <a:lnTo>
                        <a:pt x="28786" y="23187"/>
                      </a:lnTo>
                      <a:lnTo>
                        <a:pt x="23427" y="20002"/>
                      </a:lnTo>
                      <a:lnTo>
                        <a:pt x="19243" y="14969"/>
                      </a:lnTo>
                      <a:lnTo>
                        <a:pt x="15999" y="7871"/>
                      </a:lnTo>
                      <a:lnTo>
                        <a:pt x="14838" y="5780"/>
                      </a:lnTo>
                      <a:lnTo>
                        <a:pt x="16626" y="5742"/>
                      </a:lnTo>
                      <a:lnTo>
                        <a:pt x="22137" y="5674"/>
                      </a:lnTo>
                      <a:lnTo>
                        <a:pt x="47191" y="5400"/>
                      </a:lnTo>
                      <a:lnTo>
                        <a:pt x="72237" y="5115"/>
                      </a:lnTo>
                      <a:lnTo>
                        <a:pt x="96503" y="4755"/>
                      </a:lnTo>
                      <a:lnTo>
                        <a:pt x="121523" y="4185"/>
                      </a:lnTo>
                      <a:lnTo>
                        <a:pt x="146587" y="4110"/>
                      </a:lnTo>
                      <a:lnTo>
                        <a:pt x="171640" y="4025"/>
                      </a:lnTo>
                      <a:lnTo>
                        <a:pt x="196708" y="4180"/>
                      </a:lnTo>
                      <a:lnTo>
                        <a:pt x="221767" y="4072"/>
                      </a:lnTo>
                      <a:lnTo>
                        <a:pt x="246819" y="3955"/>
                      </a:lnTo>
                      <a:lnTo>
                        <a:pt x="271828" y="3318"/>
                      </a:lnTo>
                      <a:lnTo>
                        <a:pt x="296832" y="2671"/>
                      </a:lnTo>
                      <a:lnTo>
                        <a:pt x="321828" y="1983"/>
                      </a:lnTo>
                      <a:lnTo>
                        <a:pt x="346832" y="1323"/>
                      </a:lnTo>
                      <a:lnTo>
                        <a:pt x="371242" y="797"/>
                      </a:lnTo>
                      <a:lnTo>
                        <a:pt x="396842" y="367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8" name="Freeform 91">
                  <a:extLst>
                    <a:ext uri="{FF2B5EF4-FFF2-40B4-BE49-F238E27FC236}">
                      <a16:creationId xmlns:a16="http://schemas.microsoft.com/office/drawing/2014/main" id="{A572810A-D143-4EBD-948D-927BFAB79629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4199085" y="5385533"/>
                  <a:ext cx="898920" cy="780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9562" h="1154139">
                      <a:moveTo>
                        <a:pt x="1008594" y="1152818"/>
                      </a:moveTo>
                      <a:lnTo>
                        <a:pt x="1007783" y="1153516"/>
                      </a:lnTo>
                      <a:lnTo>
                        <a:pt x="1006115" y="1154067"/>
                      </a:lnTo>
                      <a:lnTo>
                        <a:pt x="1006157" y="1153545"/>
                      </a:lnTo>
                      <a:lnTo>
                        <a:pt x="1007812" y="1152995"/>
                      </a:lnTo>
                      <a:close/>
                      <a:moveTo>
                        <a:pt x="1071260" y="1147695"/>
                      </a:moveTo>
                      <a:lnTo>
                        <a:pt x="1072223" y="1148205"/>
                      </a:lnTo>
                      <a:lnTo>
                        <a:pt x="1072995" y="1148854"/>
                      </a:lnTo>
                      <a:lnTo>
                        <a:pt x="1073584" y="1149819"/>
                      </a:lnTo>
                      <a:lnTo>
                        <a:pt x="1073994" y="1151260"/>
                      </a:lnTo>
                      <a:lnTo>
                        <a:pt x="1073001" y="1150996"/>
                      </a:lnTo>
                      <a:lnTo>
                        <a:pt x="1072332" y="1150486"/>
                      </a:lnTo>
                      <a:lnTo>
                        <a:pt x="1071849" y="1149777"/>
                      </a:lnTo>
                      <a:lnTo>
                        <a:pt x="1071353" y="1148831"/>
                      </a:lnTo>
                      <a:lnTo>
                        <a:pt x="1071220" y="1149259"/>
                      </a:lnTo>
                      <a:lnTo>
                        <a:pt x="1071252" y="1149831"/>
                      </a:lnTo>
                      <a:lnTo>
                        <a:pt x="1071068" y="1149896"/>
                      </a:lnTo>
                      <a:lnTo>
                        <a:pt x="1070281" y="1148860"/>
                      </a:lnTo>
                      <a:lnTo>
                        <a:pt x="1069839" y="1150234"/>
                      </a:lnTo>
                      <a:lnTo>
                        <a:pt x="1069214" y="1151390"/>
                      </a:lnTo>
                      <a:lnTo>
                        <a:pt x="1067679" y="1152533"/>
                      </a:lnTo>
                      <a:lnTo>
                        <a:pt x="1065168" y="1153345"/>
                      </a:lnTo>
                      <a:lnTo>
                        <a:pt x="1060056" y="1154139"/>
                      </a:lnTo>
                      <a:lnTo>
                        <a:pt x="1060559" y="1151268"/>
                      </a:lnTo>
                      <a:lnTo>
                        <a:pt x="1061969" y="1150843"/>
                      </a:lnTo>
                      <a:lnTo>
                        <a:pt x="1063835" y="1151380"/>
                      </a:lnTo>
                      <a:lnTo>
                        <a:pt x="1065709" y="1151485"/>
                      </a:lnTo>
                      <a:lnTo>
                        <a:pt x="1066932" y="1150812"/>
                      </a:lnTo>
                      <a:lnTo>
                        <a:pt x="1070188" y="1147725"/>
                      </a:lnTo>
                      <a:close/>
                      <a:moveTo>
                        <a:pt x="1004926" y="1145463"/>
                      </a:moveTo>
                      <a:lnTo>
                        <a:pt x="1007094" y="1146030"/>
                      </a:lnTo>
                      <a:lnTo>
                        <a:pt x="1008889" y="1147544"/>
                      </a:lnTo>
                      <a:lnTo>
                        <a:pt x="1009367" y="1149517"/>
                      </a:lnTo>
                      <a:lnTo>
                        <a:pt x="1009040" y="1151311"/>
                      </a:lnTo>
                      <a:lnTo>
                        <a:pt x="1008773" y="1150322"/>
                      </a:lnTo>
                      <a:lnTo>
                        <a:pt x="1007190" y="1147775"/>
                      </a:lnTo>
                      <a:lnTo>
                        <a:pt x="1005708" y="1147056"/>
                      </a:lnTo>
                      <a:lnTo>
                        <a:pt x="1004484" y="1146411"/>
                      </a:lnTo>
                      <a:lnTo>
                        <a:pt x="1003587" y="1146368"/>
                      </a:lnTo>
                      <a:lnTo>
                        <a:pt x="1002606" y="1146506"/>
                      </a:lnTo>
                      <a:lnTo>
                        <a:pt x="1003041" y="1145922"/>
                      </a:lnTo>
                      <a:close/>
                      <a:moveTo>
                        <a:pt x="1086242" y="1143319"/>
                      </a:moveTo>
                      <a:lnTo>
                        <a:pt x="1086694" y="1144147"/>
                      </a:lnTo>
                      <a:lnTo>
                        <a:pt x="1087729" y="1147244"/>
                      </a:lnTo>
                      <a:lnTo>
                        <a:pt x="1075066" y="1151230"/>
                      </a:lnTo>
                      <a:lnTo>
                        <a:pt x="1075728" y="1150609"/>
                      </a:lnTo>
                      <a:lnTo>
                        <a:pt x="1077303" y="1148669"/>
                      </a:lnTo>
                      <a:lnTo>
                        <a:pt x="1077210" y="1147533"/>
                      </a:lnTo>
                      <a:lnTo>
                        <a:pt x="1076203" y="1146659"/>
                      </a:lnTo>
                      <a:lnTo>
                        <a:pt x="1075890" y="1145716"/>
                      </a:lnTo>
                      <a:lnTo>
                        <a:pt x="1076155" y="1144704"/>
                      </a:lnTo>
                      <a:lnTo>
                        <a:pt x="1076888" y="1143575"/>
                      </a:lnTo>
                      <a:lnTo>
                        <a:pt x="1077946" y="1143546"/>
                      </a:lnTo>
                      <a:lnTo>
                        <a:pt x="1079682" y="1144808"/>
                      </a:lnTo>
                      <a:lnTo>
                        <a:pt x="1081710" y="1144663"/>
                      </a:lnTo>
                      <a:close/>
                      <a:moveTo>
                        <a:pt x="1126255" y="1130939"/>
                      </a:moveTo>
                      <a:lnTo>
                        <a:pt x="1127505" y="1131634"/>
                      </a:lnTo>
                      <a:lnTo>
                        <a:pt x="1126913" y="1133065"/>
                      </a:lnTo>
                      <a:lnTo>
                        <a:pt x="1125661" y="1132356"/>
                      </a:lnTo>
                      <a:lnTo>
                        <a:pt x="1125146" y="1131782"/>
                      </a:lnTo>
                      <a:close/>
                      <a:moveTo>
                        <a:pt x="1152978" y="1127937"/>
                      </a:moveTo>
                      <a:lnTo>
                        <a:pt x="1153362" y="1128671"/>
                      </a:lnTo>
                      <a:lnTo>
                        <a:pt x="1152108" y="1130031"/>
                      </a:lnTo>
                      <a:lnTo>
                        <a:pt x="1150526" y="1130955"/>
                      </a:lnTo>
                      <a:lnTo>
                        <a:pt x="1150244" y="1130591"/>
                      </a:lnTo>
                      <a:lnTo>
                        <a:pt x="1152136" y="1128036"/>
                      </a:lnTo>
                      <a:close/>
                      <a:moveTo>
                        <a:pt x="1119448" y="1127118"/>
                      </a:moveTo>
                      <a:lnTo>
                        <a:pt x="1120721" y="1127224"/>
                      </a:lnTo>
                      <a:lnTo>
                        <a:pt x="1121860" y="1128845"/>
                      </a:lnTo>
                      <a:lnTo>
                        <a:pt x="1122522" y="1130865"/>
                      </a:lnTo>
                      <a:lnTo>
                        <a:pt x="1122317" y="1132672"/>
                      </a:lnTo>
                      <a:lnTo>
                        <a:pt x="1121381" y="1132654"/>
                      </a:lnTo>
                      <a:lnTo>
                        <a:pt x="1120931" y="1131855"/>
                      </a:lnTo>
                      <a:lnTo>
                        <a:pt x="1118808" y="1130240"/>
                      </a:lnTo>
                      <a:lnTo>
                        <a:pt x="1118486" y="1129043"/>
                      </a:lnTo>
                      <a:lnTo>
                        <a:pt x="1119528" y="1128076"/>
                      </a:lnTo>
                      <a:lnTo>
                        <a:pt x="1119775" y="1127779"/>
                      </a:lnTo>
                      <a:lnTo>
                        <a:pt x="1119166" y="1127751"/>
                      </a:lnTo>
                      <a:close/>
                      <a:moveTo>
                        <a:pt x="1102320" y="1125386"/>
                      </a:moveTo>
                      <a:lnTo>
                        <a:pt x="1102315" y="1126346"/>
                      </a:lnTo>
                      <a:lnTo>
                        <a:pt x="1102639" y="1126561"/>
                      </a:lnTo>
                      <a:lnTo>
                        <a:pt x="1103151" y="1126509"/>
                      </a:lnTo>
                      <a:lnTo>
                        <a:pt x="1103719" y="1126716"/>
                      </a:lnTo>
                      <a:lnTo>
                        <a:pt x="1105058" y="1128637"/>
                      </a:lnTo>
                      <a:lnTo>
                        <a:pt x="1111440" y="1135119"/>
                      </a:lnTo>
                      <a:lnTo>
                        <a:pt x="1111553" y="1136486"/>
                      </a:lnTo>
                      <a:lnTo>
                        <a:pt x="1107550" y="1139544"/>
                      </a:lnTo>
                      <a:lnTo>
                        <a:pt x="1101887" y="1142076"/>
                      </a:lnTo>
                      <a:lnTo>
                        <a:pt x="1089944" y="1145822"/>
                      </a:lnTo>
                      <a:lnTo>
                        <a:pt x="1089843" y="1144589"/>
                      </a:lnTo>
                      <a:lnTo>
                        <a:pt x="1092960" y="1141734"/>
                      </a:lnTo>
                      <a:lnTo>
                        <a:pt x="1094849" y="1140931"/>
                      </a:lnTo>
                      <a:lnTo>
                        <a:pt x="1096659" y="1141900"/>
                      </a:lnTo>
                      <a:lnTo>
                        <a:pt x="1100252" y="1140022"/>
                      </a:lnTo>
                      <a:lnTo>
                        <a:pt x="1101238" y="1139273"/>
                      </a:lnTo>
                      <a:lnTo>
                        <a:pt x="1101624" y="1138622"/>
                      </a:lnTo>
                      <a:lnTo>
                        <a:pt x="1102158" y="1138317"/>
                      </a:lnTo>
                      <a:lnTo>
                        <a:pt x="1103255" y="1136716"/>
                      </a:lnTo>
                      <a:lnTo>
                        <a:pt x="1100603" y="1135197"/>
                      </a:lnTo>
                      <a:lnTo>
                        <a:pt x="1099485" y="1134335"/>
                      </a:lnTo>
                      <a:lnTo>
                        <a:pt x="1098386" y="1133108"/>
                      </a:lnTo>
                      <a:lnTo>
                        <a:pt x="1103545" y="1134327"/>
                      </a:lnTo>
                      <a:lnTo>
                        <a:pt x="1105885" y="1135705"/>
                      </a:lnTo>
                      <a:lnTo>
                        <a:pt x="1106978" y="1137863"/>
                      </a:lnTo>
                      <a:lnTo>
                        <a:pt x="1108036" y="1137834"/>
                      </a:lnTo>
                      <a:lnTo>
                        <a:pt x="1108641" y="1135361"/>
                      </a:lnTo>
                      <a:lnTo>
                        <a:pt x="1107934" y="1133558"/>
                      </a:lnTo>
                      <a:lnTo>
                        <a:pt x="1106012" y="1132673"/>
                      </a:lnTo>
                      <a:lnTo>
                        <a:pt x="1102947" y="1132982"/>
                      </a:lnTo>
                      <a:lnTo>
                        <a:pt x="1102834" y="1131623"/>
                      </a:lnTo>
                      <a:lnTo>
                        <a:pt x="1103695" y="1130557"/>
                      </a:lnTo>
                      <a:lnTo>
                        <a:pt x="1103372" y="1129867"/>
                      </a:lnTo>
                      <a:lnTo>
                        <a:pt x="1102188" y="1129467"/>
                      </a:lnTo>
                      <a:lnTo>
                        <a:pt x="1100416" y="1129301"/>
                      </a:lnTo>
                      <a:lnTo>
                        <a:pt x="1101268" y="1125415"/>
                      </a:lnTo>
                      <a:close/>
                      <a:moveTo>
                        <a:pt x="1109579" y="1124269"/>
                      </a:moveTo>
                      <a:lnTo>
                        <a:pt x="1110411" y="1124714"/>
                      </a:lnTo>
                      <a:lnTo>
                        <a:pt x="1111464" y="1124797"/>
                      </a:lnTo>
                      <a:lnTo>
                        <a:pt x="1112833" y="1125331"/>
                      </a:lnTo>
                      <a:lnTo>
                        <a:pt x="1114186" y="1126320"/>
                      </a:lnTo>
                      <a:lnTo>
                        <a:pt x="1114805" y="1126899"/>
                      </a:lnTo>
                      <a:lnTo>
                        <a:pt x="1115427" y="1128846"/>
                      </a:lnTo>
                      <a:lnTo>
                        <a:pt x="1115929" y="1132196"/>
                      </a:lnTo>
                      <a:lnTo>
                        <a:pt x="1115499" y="1132989"/>
                      </a:lnTo>
                      <a:lnTo>
                        <a:pt x="1114689" y="1131710"/>
                      </a:lnTo>
                      <a:lnTo>
                        <a:pt x="1113634" y="1130772"/>
                      </a:lnTo>
                      <a:lnTo>
                        <a:pt x="1112536" y="1130490"/>
                      </a:lnTo>
                      <a:lnTo>
                        <a:pt x="1111692" y="1130752"/>
                      </a:lnTo>
                      <a:lnTo>
                        <a:pt x="1111042" y="1131238"/>
                      </a:lnTo>
                      <a:lnTo>
                        <a:pt x="1110223" y="1131038"/>
                      </a:lnTo>
                      <a:lnTo>
                        <a:pt x="1109749" y="1130694"/>
                      </a:lnTo>
                      <a:lnTo>
                        <a:pt x="1109311" y="1130304"/>
                      </a:lnTo>
                      <a:lnTo>
                        <a:pt x="1108486" y="1128757"/>
                      </a:lnTo>
                      <a:lnTo>
                        <a:pt x="1108480" y="1126331"/>
                      </a:lnTo>
                      <a:lnTo>
                        <a:pt x="1109012" y="1124411"/>
                      </a:lnTo>
                      <a:close/>
                      <a:moveTo>
                        <a:pt x="1139376" y="1122449"/>
                      </a:moveTo>
                      <a:lnTo>
                        <a:pt x="1140657" y="1122503"/>
                      </a:lnTo>
                      <a:lnTo>
                        <a:pt x="1142296" y="1124071"/>
                      </a:lnTo>
                      <a:lnTo>
                        <a:pt x="1143399" y="1126757"/>
                      </a:lnTo>
                      <a:lnTo>
                        <a:pt x="1143089" y="1127622"/>
                      </a:lnTo>
                      <a:lnTo>
                        <a:pt x="1141625" y="1125959"/>
                      </a:lnTo>
                      <a:lnTo>
                        <a:pt x="1139966" y="1124986"/>
                      </a:lnTo>
                      <a:lnTo>
                        <a:pt x="1139370" y="1124370"/>
                      </a:lnTo>
                      <a:lnTo>
                        <a:pt x="1138752" y="1123144"/>
                      </a:lnTo>
                      <a:close/>
                      <a:moveTo>
                        <a:pt x="1189673" y="1115421"/>
                      </a:moveTo>
                      <a:lnTo>
                        <a:pt x="1189657" y="1116702"/>
                      </a:lnTo>
                      <a:lnTo>
                        <a:pt x="1189183" y="1117274"/>
                      </a:lnTo>
                      <a:lnTo>
                        <a:pt x="1185309" y="1118927"/>
                      </a:lnTo>
                      <a:lnTo>
                        <a:pt x="1183871" y="1120220"/>
                      </a:lnTo>
                      <a:lnTo>
                        <a:pt x="1182936" y="1122004"/>
                      </a:lnTo>
                      <a:lnTo>
                        <a:pt x="1182257" y="1124495"/>
                      </a:lnTo>
                      <a:lnTo>
                        <a:pt x="1181161" y="1121794"/>
                      </a:lnTo>
                      <a:lnTo>
                        <a:pt x="1179164" y="1120772"/>
                      </a:lnTo>
                      <a:lnTo>
                        <a:pt x="1173658" y="1120885"/>
                      </a:lnTo>
                      <a:lnTo>
                        <a:pt x="1177028" y="1119195"/>
                      </a:lnTo>
                      <a:lnTo>
                        <a:pt x="1186041" y="1116077"/>
                      </a:lnTo>
                      <a:close/>
                      <a:moveTo>
                        <a:pt x="1122630" y="1113589"/>
                      </a:moveTo>
                      <a:lnTo>
                        <a:pt x="1123163" y="1114206"/>
                      </a:lnTo>
                      <a:lnTo>
                        <a:pt x="1123674" y="1114475"/>
                      </a:lnTo>
                      <a:lnTo>
                        <a:pt x="1124944" y="1114647"/>
                      </a:lnTo>
                      <a:lnTo>
                        <a:pt x="1130331" y="1118373"/>
                      </a:lnTo>
                      <a:lnTo>
                        <a:pt x="1136473" y="1125755"/>
                      </a:lnTo>
                      <a:lnTo>
                        <a:pt x="1139624" y="1132886"/>
                      </a:lnTo>
                      <a:lnTo>
                        <a:pt x="1136079" y="1135800"/>
                      </a:lnTo>
                      <a:lnTo>
                        <a:pt x="1135352" y="1130357"/>
                      </a:lnTo>
                      <a:close/>
                      <a:moveTo>
                        <a:pt x="1208863" y="1107365"/>
                      </a:moveTo>
                      <a:lnTo>
                        <a:pt x="1208960" y="1108502"/>
                      </a:lnTo>
                      <a:lnTo>
                        <a:pt x="1208320" y="1109146"/>
                      </a:lnTo>
                      <a:lnTo>
                        <a:pt x="1207628" y="1109524"/>
                      </a:lnTo>
                      <a:lnTo>
                        <a:pt x="1205575" y="1109963"/>
                      </a:lnTo>
                      <a:lnTo>
                        <a:pt x="1203281" y="1112286"/>
                      </a:lnTo>
                      <a:lnTo>
                        <a:pt x="1191055" y="1117883"/>
                      </a:lnTo>
                      <a:lnTo>
                        <a:pt x="1203545" y="1108727"/>
                      </a:lnTo>
                      <a:close/>
                      <a:moveTo>
                        <a:pt x="1228862" y="1094291"/>
                      </a:moveTo>
                      <a:lnTo>
                        <a:pt x="1228714" y="1096104"/>
                      </a:lnTo>
                      <a:lnTo>
                        <a:pt x="1228794" y="1097345"/>
                      </a:lnTo>
                      <a:lnTo>
                        <a:pt x="1229265" y="1097630"/>
                      </a:lnTo>
                      <a:lnTo>
                        <a:pt x="1230237" y="1096633"/>
                      </a:lnTo>
                      <a:lnTo>
                        <a:pt x="1231292" y="1096601"/>
                      </a:lnTo>
                      <a:lnTo>
                        <a:pt x="1231406" y="1097432"/>
                      </a:lnTo>
                      <a:lnTo>
                        <a:pt x="1231226" y="1097997"/>
                      </a:lnTo>
                      <a:lnTo>
                        <a:pt x="1230455" y="1099128"/>
                      </a:lnTo>
                      <a:lnTo>
                        <a:pt x="1229093" y="1100449"/>
                      </a:lnTo>
                      <a:lnTo>
                        <a:pt x="1226372" y="1101274"/>
                      </a:lnTo>
                      <a:lnTo>
                        <a:pt x="1220178" y="1101918"/>
                      </a:lnTo>
                      <a:lnTo>
                        <a:pt x="1221699" y="1099848"/>
                      </a:lnTo>
                      <a:close/>
                      <a:moveTo>
                        <a:pt x="1245249" y="1086953"/>
                      </a:moveTo>
                      <a:lnTo>
                        <a:pt x="1245582" y="1087807"/>
                      </a:lnTo>
                      <a:lnTo>
                        <a:pt x="1243810" y="1090050"/>
                      </a:lnTo>
                      <a:lnTo>
                        <a:pt x="1242624" y="1090978"/>
                      </a:lnTo>
                      <a:lnTo>
                        <a:pt x="1240159" y="1092720"/>
                      </a:lnTo>
                      <a:lnTo>
                        <a:pt x="1239333" y="1092670"/>
                      </a:lnTo>
                      <a:lnTo>
                        <a:pt x="1239629" y="1091447"/>
                      </a:lnTo>
                      <a:lnTo>
                        <a:pt x="1240611" y="1090427"/>
                      </a:lnTo>
                      <a:lnTo>
                        <a:pt x="1242027" y="1089670"/>
                      </a:lnTo>
                      <a:close/>
                      <a:moveTo>
                        <a:pt x="1258314" y="1075481"/>
                      </a:moveTo>
                      <a:lnTo>
                        <a:pt x="1258544" y="1076100"/>
                      </a:lnTo>
                      <a:lnTo>
                        <a:pt x="1258537" y="1076487"/>
                      </a:lnTo>
                      <a:lnTo>
                        <a:pt x="1257285" y="1078700"/>
                      </a:lnTo>
                      <a:lnTo>
                        <a:pt x="1254059" y="1082349"/>
                      </a:lnTo>
                      <a:lnTo>
                        <a:pt x="1252382" y="1083061"/>
                      </a:lnTo>
                      <a:lnTo>
                        <a:pt x="1257213" y="1076490"/>
                      </a:lnTo>
                      <a:close/>
                      <a:moveTo>
                        <a:pt x="1177140" y="1010196"/>
                      </a:moveTo>
                      <a:lnTo>
                        <a:pt x="1179276" y="1010557"/>
                      </a:lnTo>
                      <a:lnTo>
                        <a:pt x="1180106" y="1010889"/>
                      </a:lnTo>
                      <a:lnTo>
                        <a:pt x="1180789" y="1012833"/>
                      </a:lnTo>
                      <a:lnTo>
                        <a:pt x="1179494" y="1015013"/>
                      </a:lnTo>
                      <a:lnTo>
                        <a:pt x="1179046" y="1016246"/>
                      </a:lnTo>
                      <a:lnTo>
                        <a:pt x="1177924" y="1017068"/>
                      </a:lnTo>
                      <a:lnTo>
                        <a:pt x="1176493" y="1016604"/>
                      </a:lnTo>
                      <a:lnTo>
                        <a:pt x="1174986" y="1014462"/>
                      </a:lnTo>
                      <a:lnTo>
                        <a:pt x="1174141" y="1012114"/>
                      </a:lnTo>
                      <a:lnTo>
                        <a:pt x="1174942" y="1010565"/>
                      </a:lnTo>
                      <a:close/>
                      <a:moveTo>
                        <a:pt x="1167000" y="1004969"/>
                      </a:moveTo>
                      <a:lnTo>
                        <a:pt x="1168065" y="1005235"/>
                      </a:lnTo>
                      <a:lnTo>
                        <a:pt x="1167710" y="1005632"/>
                      </a:lnTo>
                      <a:lnTo>
                        <a:pt x="1168399" y="1005716"/>
                      </a:lnTo>
                      <a:lnTo>
                        <a:pt x="1170305" y="1005213"/>
                      </a:lnTo>
                      <a:lnTo>
                        <a:pt x="1171732" y="1005394"/>
                      </a:lnTo>
                      <a:lnTo>
                        <a:pt x="1172317" y="1006768"/>
                      </a:lnTo>
                      <a:lnTo>
                        <a:pt x="1172491" y="1007559"/>
                      </a:lnTo>
                      <a:lnTo>
                        <a:pt x="1172146" y="1008387"/>
                      </a:lnTo>
                      <a:lnTo>
                        <a:pt x="1171857" y="1010151"/>
                      </a:lnTo>
                      <a:lnTo>
                        <a:pt x="1170136" y="1009220"/>
                      </a:lnTo>
                      <a:lnTo>
                        <a:pt x="1168630" y="1008208"/>
                      </a:lnTo>
                      <a:lnTo>
                        <a:pt x="1166115" y="1005977"/>
                      </a:lnTo>
                      <a:close/>
                      <a:moveTo>
                        <a:pt x="1310280" y="998668"/>
                      </a:moveTo>
                      <a:lnTo>
                        <a:pt x="1314127" y="1000037"/>
                      </a:lnTo>
                      <a:lnTo>
                        <a:pt x="1313665" y="1001049"/>
                      </a:lnTo>
                      <a:lnTo>
                        <a:pt x="1313177" y="1001772"/>
                      </a:lnTo>
                      <a:lnTo>
                        <a:pt x="1312614" y="1002288"/>
                      </a:lnTo>
                      <a:lnTo>
                        <a:pt x="1311932" y="1002712"/>
                      </a:lnTo>
                      <a:lnTo>
                        <a:pt x="1310893" y="1003943"/>
                      </a:lnTo>
                      <a:lnTo>
                        <a:pt x="1309951" y="1006064"/>
                      </a:lnTo>
                      <a:lnTo>
                        <a:pt x="1309292" y="1008244"/>
                      </a:lnTo>
                      <a:lnTo>
                        <a:pt x="1309077" y="1009673"/>
                      </a:lnTo>
                      <a:lnTo>
                        <a:pt x="1308416" y="1011533"/>
                      </a:lnTo>
                      <a:lnTo>
                        <a:pt x="1304020" y="1017954"/>
                      </a:lnTo>
                      <a:lnTo>
                        <a:pt x="1299154" y="1025923"/>
                      </a:lnTo>
                      <a:lnTo>
                        <a:pt x="1297433" y="1030429"/>
                      </a:lnTo>
                      <a:lnTo>
                        <a:pt x="1298433" y="1033235"/>
                      </a:lnTo>
                      <a:lnTo>
                        <a:pt x="1298536" y="1034371"/>
                      </a:lnTo>
                      <a:lnTo>
                        <a:pt x="1285902" y="1048134"/>
                      </a:lnTo>
                      <a:lnTo>
                        <a:pt x="1284146" y="1049178"/>
                      </a:lnTo>
                      <a:lnTo>
                        <a:pt x="1282242" y="1048722"/>
                      </a:lnTo>
                      <a:lnTo>
                        <a:pt x="1281270" y="1050733"/>
                      </a:lnTo>
                      <a:lnTo>
                        <a:pt x="1280105" y="1055013"/>
                      </a:lnTo>
                      <a:lnTo>
                        <a:pt x="1278943" y="1056940"/>
                      </a:lnTo>
                      <a:lnTo>
                        <a:pt x="1274062" y="1061586"/>
                      </a:lnTo>
                      <a:lnTo>
                        <a:pt x="1268503" y="1069797"/>
                      </a:lnTo>
                      <a:lnTo>
                        <a:pt x="1264980" y="1073687"/>
                      </a:lnTo>
                      <a:lnTo>
                        <a:pt x="1261673" y="1073816"/>
                      </a:lnTo>
                      <a:lnTo>
                        <a:pt x="1260557" y="1071832"/>
                      </a:lnTo>
                      <a:lnTo>
                        <a:pt x="1262091" y="1070780"/>
                      </a:lnTo>
                      <a:lnTo>
                        <a:pt x="1264620" y="1070108"/>
                      </a:lnTo>
                      <a:lnTo>
                        <a:pt x="1266469" y="1069308"/>
                      </a:lnTo>
                      <a:lnTo>
                        <a:pt x="1267935" y="1062844"/>
                      </a:lnTo>
                      <a:lnTo>
                        <a:pt x="1268775" y="1061746"/>
                      </a:lnTo>
                      <a:lnTo>
                        <a:pt x="1271488" y="1061351"/>
                      </a:lnTo>
                      <a:lnTo>
                        <a:pt x="1272702" y="1060384"/>
                      </a:lnTo>
                      <a:lnTo>
                        <a:pt x="1274767" y="1056441"/>
                      </a:lnTo>
                      <a:lnTo>
                        <a:pt x="1278588" y="1051984"/>
                      </a:lnTo>
                      <a:lnTo>
                        <a:pt x="1279543" y="1049788"/>
                      </a:lnTo>
                      <a:lnTo>
                        <a:pt x="1278722" y="1047467"/>
                      </a:lnTo>
                      <a:lnTo>
                        <a:pt x="1282323" y="1046858"/>
                      </a:lnTo>
                      <a:lnTo>
                        <a:pt x="1284054" y="1045852"/>
                      </a:lnTo>
                      <a:lnTo>
                        <a:pt x="1285381" y="1043622"/>
                      </a:lnTo>
                      <a:lnTo>
                        <a:pt x="1284440" y="1042296"/>
                      </a:lnTo>
                      <a:lnTo>
                        <a:pt x="1284319" y="1041644"/>
                      </a:lnTo>
                      <a:lnTo>
                        <a:pt x="1284965" y="1041639"/>
                      </a:lnTo>
                      <a:lnTo>
                        <a:pt x="1286312" y="1042231"/>
                      </a:lnTo>
                      <a:lnTo>
                        <a:pt x="1286763" y="1040080"/>
                      </a:lnTo>
                      <a:lnTo>
                        <a:pt x="1285656" y="1038371"/>
                      </a:lnTo>
                      <a:lnTo>
                        <a:pt x="1283653" y="1037748"/>
                      </a:lnTo>
                      <a:lnTo>
                        <a:pt x="1281340" y="1038757"/>
                      </a:lnTo>
                      <a:lnTo>
                        <a:pt x="1282058" y="1035481"/>
                      </a:lnTo>
                      <a:lnTo>
                        <a:pt x="1289896" y="1036849"/>
                      </a:lnTo>
                      <a:lnTo>
                        <a:pt x="1292428" y="1028811"/>
                      </a:lnTo>
                      <a:lnTo>
                        <a:pt x="1298110" y="1021964"/>
                      </a:lnTo>
                      <a:lnTo>
                        <a:pt x="1299381" y="1018097"/>
                      </a:lnTo>
                      <a:lnTo>
                        <a:pt x="1298722" y="1015453"/>
                      </a:lnTo>
                      <a:lnTo>
                        <a:pt x="1297352" y="1014304"/>
                      </a:lnTo>
                      <a:lnTo>
                        <a:pt x="1295952" y="1013349"/>
                      </a:lnTo>
                      <a:lnTo>
                        <a:pt x="1295147" y="1011305"/>
                      </a:lnTo>
                      <a:lnTo>
                        <a:pt x="1296119" y="1010165"/>
                      </a:lnTo>
                      <a:lnTo>
                        <a:pt x="1301444" y="1008652"/>
                      </a:lnTo>
                      <a:lnTo>
                        <a:pt x="1303562" y="1007232"/>
                      </a:lnTo>
                      <a:lnTo>
                        <a:pt x="1307527" y="1000556"/>
                      </a:lnTo>
                      <a:close/>
                      <a:moveTo>
                        <a:pt x="1322286" y="971625"/>
                      </a:moveTo>
                      <a:lnTo>
                        <a:pt x="1322650" y="972536"/>
                      </a:lnTo>
                      <a:lnTo>
                        <a:pt x="1322466" y="973986"/>
                      </a:lnTo>
                      <a:lnTo>
                        <a:pt x="1322250" y="974797"/>
                      </a:lnTo>
                      <a:lnTo>
                        <a:pt x="1321988" y="978795"/>
                      </a:lnTo>
                      <a:lnTo>
                        <a:pt x="1320747" y="982974"/>
                      </a:lnTo>
                      <a:lnTo>
                        <a:pt x="1318824" y="986898"/>
                      </a:lnTo>
                      <a:lnTo>
                        <a:pt x="1316601" y="989179"/>
                      </a:lnTo>
                      <a:lnTo>
                        <a:pt x="1316350" y="988942"/>
                      </a:lnTo>
                      <a:lnTo>
                        <a:pt x="1315913" y="988933"/>
                      </a:lnTo>
                      <a:lnTo>
                        <a:pt x="1315396" y="988748"/>
                      </a:lnTo>
                      <a:lnTo>
                        <a:pt x="1317548" y="986827"/>
                      </a:lnTo>
                      <a:lnTo>
                        <a:pt x="1318744" y="983871"/>
                      </a:lnTo>
                      <a:lnTo>
                        <a:pt x="1320441" y="973247"/>
                      </a:lnTo>
                      <a:lnTo>
                        <a:pt x="1320856" y="972340"/>
                      </a:lnTo>
                      <a:close/>
                      <a:moveTo>
                        <a:pt x="1323680" y="928310"/>
                      </a:moveTo>
                      <a:lnTo>
                        <a:pt x="1324260" y="938471"/>
                      </a:lnTo>
                      <a:lnTo>
                        <a:pt x="1323591" y="939669"/>
                      </a:lnTo>
                      <a:lnTo>
                        <a:pt x="1321427" y="939634"/>
                      </a:lnTo>
                      <a:lnTo>
                        <a:pt x="1320241" y="938228"/>
                      </a:lnTo>
                      <a:lnTo>
                        <a:pt x="1320308" y="936291"/>
                      </a:lnTo>
                      <a:lnTo>
                        <a:pt x="1321950" y="934616"/>
                      </a:lnTo>
                      <a:lnTo>
                        <a:pt x="1321264" y="934251"/>
                      </a:lnTo>
                      <a:lnTo>
                        <a:pt x="1320796" y="933908"/>
                      </a:lnTo>
                      <a:lnTo>
                        <a:pt x="1320305" y="933619"/>
                      </a:lnTo>
                      <a:lnTo>
                        <a:pt x="1319526" y="933443"/>
                      </a:lnTo>
                      <a:lnTo>
                        <a:pt x="1319419" y="932308"/>
                      </a:lnTo>
                      <a:lnTo>
                        <a:pt x="1320639" y="931444"/>
                      </a:lnTo>
                      <a:lnTo>
                        <a:pt x="1321513" y="930590"/>
                      </a:lnTo>
                      <a:lnTo>
                        <a:pt x="1322111" y="929596"/>
                      </a:lnTo>
                      <a:lnTo>
                        <a:pt x="1322520" y="928348"/>
                      </a:lnTo>
                      <a:close/>
                      <a:moveTo>
                        <a:pt x="1105671" y="913819"/>
                      </a:moveTo>
                      <a:lnTo>
                        <a:pt x="1108728" y="915126"/>
                      </a:lnTo>
                      <a:lnTo>
                        <a:pt x="1110023" y="916231"/>
                      </a:lnTo>
                      <a:lnTo>
                        <a:pt x="1113303" y="918482"/>
                      </a:lnTo>
                      <a:lnTo>
                        <a:pt x="1114472" y="919026"/>
                      </a:lnTo>
                      <a:lnTo>
                        <a:pt x="1115786" y="919872"/>
                      </a:lnTo>
                      <a:lnTo>
                        <a:pt x="1116303" y="920948"/>
                      </a:lnTo>
                      <a:lnTo>
                        <a:pt x="1115213" y="921545"/>
                      </a:lnTo>
                      <a:lnTo>
                        <a:pt x="1113507" y="921766"/>
                      </a:lnTo>
                      <a:lnTo>
                        <a:pt x="1112610" y="922505"/>
                      </a:lnTo>
                      <a:lnTo>
                        <a:pt x="1112026" y="923362"/>
                      </a:lnTo>
                      <a:lnTo>
                        <a:pt x="1111593" y="923872"/>
                      </a:lnTo>
                      <a:lnTo>
                        <a:pt x="1111670" y="924427"/>
                      </a:lnTo>
                      <a:lnTo>
                        <a:pt x="1111048" y="924134"/>
                      </a:lnTo>
                      <a:lnTo>
                        <a:pt x="1110390" y="923573"/>
                      </a:lnTo>
                      <a:lnTo>
                        <a:pt x="1108345" y="921428"/>
                      </a:lnTo>
                      <a:lnTo>
                        <a:pt x="1107037" y="920976"/>
                      </a:lnTo>
                      <a:lnTo>
                        <a:pt x="1105755" y="922239"/>
                      </a:lnTo>
                      <a:lnTo>
                        <a:pt x="1104712" y="922425"/>
                      </a:lnTo>
                      <a:lnTo>
                        <a:pt x="1104305" y="918316"/>
                      </a:lnTo>
                      <a:lnTo>
                        <a:pt x="1103975" y="917226"/>
                      </a:lnTo>
                      <a:lnTo>
                        <a:pt x="1103941" y="915415"/>
                      </a:lnTo>
                      <a:close/>
                      <a:moveTo>
                        <a:pt x="1097715" y="910117"/>
                      </a:moveTo>
                      <a:lnTo>
                        <a:pt x="1099385" y="911308"/>
                      </a:lnTo>
                      <a:lnTo>
                        <a:pt x="1100842" y="914050"/>
                      </a:lnTo>
                      <a:lnTo>
                        <a:pt x="1101297" y="915597"/>
                      </a:lnTo>
                      <a:lnTo>
                        <a:pt x="1101801" y="916139"/>
                      </a:lnTo>
                      <a:lnTo>
                        <a:pt x="1102402" y="917302"/>
                      </a:lnTo>
                      <a:lnTo>
                        <a:pt x="1102026" y="918561"/>
                      </a:lnTo>
                      <a:lnTo>
                        <a:pt x="1101005" y="919081"/>
                      </a:lnTo>
                      <a:lnTo>
                        <a:pt x="1099658" y="917932"/>
                      </a:lnTo>
                      <a:lnTo>
                        <a:pt x="1098866" y="916871"/>
                      </a:lnTo>
                      <a:lnTo>
                        <a:pt x="1098308" y="915951"/>
                      </a:lnTo>
                      <a:lnTo>
                        <a:pt x="1097227" y="914669"/>
                      </a:lnTo>
                      <a:lnTo>
                        <a:pt x="1094542" y="914547"/>
                      </a:lnTo>
                      <a:lnTo>
                        <a:pt x="1094018" y="913939"/>
                      </a:lnTo>
                      <a:lnTo>
                        <a:pt x="1093150" y="913355"/>
                      </a:lnTo>
                      <a:lnTo>
                        <a:pt x="1092348" y="914002"/>
                      </a:lnTo>
                      <a:lnTo>
                        <a:pt x="1092340" y="914864"/>
                      </a:lnTo>
                      <a:lnTo>
                        <a:pt x="1092276" y="915564"/>
                      </a:lnTo>
                      <a:lnTo>
                        <a:pt x="1092063" y="916780"/>
                      </a:lnTo>
                      <a:lnTo>
                        <a:pt x="1091896" y="916919"/>
                      </a:lnTo>
                      <a:lnTo>
                        <a:pt x="1091816" y="916164"/>
                      </a:lnTo>
                      <a:lnTo>
                        <a:pt x="1091289" y="915682"/>
                      </a:lnTo>
                      <a:lnTo>
                        <a:pt x="1090383" y="914669"/>
                      </a:lnTo>
                      <a:lnTo>
                        <a:pt x="1090692" y="912640"/>
                      </a:lnTo>
                      <a:lnTo>
                        <a:pt x="1092950" y="911460"/>
                      </a:lnTo>
                      <a:lnTo>
                        <a:pt x="1094381" y="911099"/>
                      </a:lnTo>
                      <a:lnTo>
                        <a:pt x="1095133" y="910675"/>
                      </a:lnTo>
                      <a:close/>
                      <a:moveTo>
                        <a:pt x="1063007" y="905872"/>
                      </a:moveTo>
                      <a:lnTo>
                        <a:pt x="1065237" y="906602"/>
                      </a:lnTo>
                      <a:lnTo>
                        <a:pt x="1065973" y="908474"/>
                      </a:lnTo>
                      <a:lnTo>
                        <a:pt x="1064238" y="912043"/>
                      </a:lnTo>
                      <a:lnTo>
                        <a:pt x="1063417" y="913121"/>
                      </a:lnTo>
                      <a:lnTo>
                        <a:pt x="1061208" y="912888"/>
                      </a:lnTo>
                      <a:lnTo>
                        <a:pt x="1060163" y="912428"/>
                      </a:lnTo>
                      <a:lnTo>
                        <a:pt x="1059608" y="911197"/>
                      </a:lnTo>
                      <a:lnTo>
                        <a:pt x="1059062" y="910322"/>
                      </a:lnTo>
                      <a:lnTo>
                        <a:pt x="1058184" y="909620"/>
                      </a:lnTo>
                      <a:lnTo>
                        <a:pt x="1057776" y="909215"/>
                      </a:lnTo>
                      <a:lnTo>
                        <a:pt x="1057310" y="908145"/>
                      </a:lnTo>
                      <a:lnTo>
                        <a:pt x="1057570" y="906504"/>
                      </a:lnTo>
                      <a:lnTo>
                        <a:pt x="1059153" y="906244"/>
                      </a:lnTo>
                      <a:lnTo>
                        <a:pt x="1060876" y="906290"/>
                      </a:lnTo>
                      <a:close/>
                      <a:moveTo>
                        <a:pt x="1082969" y="904906"/>
                      </a:moveTo>
                      <a:lnTo>
                        <a:pt x="1085098" y="905022"/>
                      </a:lnTo>
                      <a:lnTo>
                        <a:pt x="1086343" y="906277"/>
                      </a:lnTo>
                      <a:lnTo>
                        <a:pt x="1085855" y="906559"/>
                      </a:lnTo>
                      <a:lnTo>
                        <a:pt x="1085717" y="906719"/>
                      </a:lnTo>
                      <a:lnTo>
                        <a:pt x="1086121" y="907234"/>
                      </a:lnTo>
                      <a:lnTo>
                        <a:pt x="1087045" y="908143"/>
                      </a:lnTo>
                      <a:lnTo>
                        <a:pt x="1087567" y="909286"/>
                      </a:lnTo>
                      <a:lnTo>
                        <a:pt x="1087192" y="910708"/>
                      </a:lnTo>
                      <a:lnTo>
                        <a:pt x="1085890" y="913894"/>
                      </a:lnTo>
                      <a:lnTo>
                        <a:pt x="1085367" y="913211"/>
                      </a:lnTo>
                      <a:lnTo>
                        <a:pt x="1085471" y="910424"/>
                      </a:lnTo>
                      <a:lnTo>
                        <a:pt x="1085094" y="908809"/>
                      </a:lnTo>
                      <a:lnTo>
                        <a:pt x="1084001" y="908321"/>
                      </a:lnTo>
                      <a:lnTo>
                        <a:pt x="1083133" y="907514"/>
                      </a:lnTo>
                      <a:lnTo>
                        <a:pt x="1082648" y="906474"/>
                      </a:lnTo>
                      <a:close/>
                      <a:moveTo>
                        <a:pt x="963275" y="790410"/>
                      </a:moveTo>
                      <a:lnTo>
                        <a:pt x="964834" y="791454"/>
                      </a:lnTo>
                      <a:lnTo>
                        <a:pt x="965886" y="792876"/>
                      </a:lnTo>
                      <a:lnTo>
                        <a:pt x="966648" y="794603"/>
                      </a:lnTo>
                      <a:lnTo>
                        <a:pt x="967281" y="796616"/>
                      </a:lnTo>
                      <a:lnTo>
                        <a:pt x="969050" y="800359"/>
                      </a:lnTo>
                      <a:lnTo>
                        <a:pt x="971279" y="803097"/>
                      </a:lnTo>
                      <a:lnTo>
                        <a:pt x="974045" y="805019"/>
                      </a:lnTo>
                      <a:lnTo>
                        <a:pt x="977473" y="806277"/>
                      </a:lnTo>
                      <a:lnTo>
                        <a:pt x="983153" y="807315"/>
                      </a:lnTo>
                      <a:lnTo>
                        <a:pt x="986417" y="806917"/>
                      </a:lnTo>
                      <a:lnTo>
                        <a:pt x="987653" y="804740"/>
                      </a:lnTo>
                      <a:lnTo>
                        <a:pt x="995009" y="808264"/>
                      </a:lnTo>
                      <a:lnTo>
                        <a:pt x="991906" y="809028"/>
                      </a:lnTo>
                      <a:lnTo>
                        <a:pt x="987907" y="812627"/>
                      </a:lnTo>
                      <a:lnTo>
                        <a:pt x="985053" y="813643"/>
                      </a:lnTo>
                      <a:lnTo>
                        <a:pt x="982410" y="813162"/>
                      </a:lnTo>
                      <a:lnTo>
                        <a:pt x="971704" y="807687"/>
                      </a:lnTo>
                      <a:lnTo>
                        <a:pt x="969698" y="806255"/>
                      </a:lnTo>
                      <a:lnTo>
                        <a:pt x="968001" y="804324"/>
                      </a:lnTo>
                      <a:lnTo>
                        <a:pt x="966542" y="801617"/>
                      </a:lnTo>
                      <a:lnTo>
                        <a:pt x="964476" y="795999"/>
                      </a:lnTo>
                      <a:close/>
                      <a:moveTo>
                        <a:pt x="952394" y="763274"/>
                      </a:moveTo>
                      <a:lnTo>
                        <a:pt x="952949" y="763554"/>
                      </a:lnTo>
                      <a:lnTo>
                        <a:pt x="954107" y="764447"/>
                      </a:lnTo>
                      <a:lnTo>
                        <a:pt x="954716" y="768747"/>
                      </a:lnTo>
                      <a:lnTo>
                        <a:pt x="957863" y="775398"/>
                      </a:lnTo>
                      <a:lnTo>
                        <a:pt x="958865" y="779467"/>
                      </a:lnTo>
                      <a:lnTo>
                        <a:pt x="956206" y="775372"/>
                      </a:lnTo>
                      <a:lnTo>
                        <a:pt x="954441" y="771748"/>
                      </a:lnTo>
                      <a:lnTo>
                        <a:pt x="951603" y="763281"/>
                      </a:lnTo>
                      <a:close/>
                      <a:moveTo>
                        <a:pt x="967855" y="762815"/>
                      </a:moveTo>
                      <a:lnTo>
                        <a:pt x="971349" y="763929"/>
                      </a:lnTo>
                      <a:lnTo>
                        <a:pt x="974913" y="767138"/>
                      </a:lnTo>
                      <a:lnTo>
                        <a:pt x="977095" y="771097"/>
                      </a:lnTo>
                      <a:lnTo>
                        <a:pt x="976037" y="777618"/>
                      </a:lnTo>
                      <a:lnTo>
                        <a:pt x="978353" y="781619"/>
                      </a:lnTo>
                      <a:lnTo>
                        <a:pt x="981316" y="785438"/>
                      </a:lnTo>
                      <a:lnTo>
                        <a:pt x="982856" y="788033"/>
                      </a:lnTo>
                      <a:lnTo>
                        <a:pt x="984892" y="797341"/>
                      </a:lnTo>
                      <a:lnTo>
                        <a:pt x="984986" y="800525"/>
                      </a:lnTo>
                      <a:lnTo>
                        <a:pt x="982708" y="799805"/>
                      </a:lnTo>
                      <a:lnTo>
                        <a:pt x="980118" y="796152"/>
                      </a:lnTo>
                      <a:lnTo>
                        <a:pt x="976793" y="787310"/>
                      </a:lnTo>
                      <a:lnTo>
                        <a:pt x="974283" y="783870"/>
                      </a:lnTo>
                      <a:lnTo>
                        <a:pt x="974614" y="779282"/>
                      </a:lnTo>
                      <a:lnTo>
                        <a:pt x="971891" y="773840"/>
                      </a:lnTo>
                      <a:lnTo>
                        <a:pt x="968197" y="768153"/>
                      </a:lnTo>
                      <a:lnTo>
                        <a:pt x="965545" y="762881"/>
                      </a:lnTo>
                      <a:close/>
                      <a:moveTo>
                        <a:pt x="946826" y="743629"/>
                      </a:moveTo>
                      <a:lnTo>
                        <a:pt x="947711" y="744863"/>
                      </a:lnTo>
                      <a:lnTo>
                        <a:pt x="949910" y="748992"/>
                      </a:lnTo>
                      <a:lnTo>
                        <a:pt x="951085" y="752883"/>
                      </a:lnTo>
                      <a:lnTo>
                        <a:pt x="951224" y="756752"/>
                      </a:lnTo>
                      <a:lnTo>
                        <a:pt x="950332" y="760829"/>
                      </a:lnTo>
                      <a:lnTo>
                        <a:pt x="948614" y="757027"/>
                      </a:lnTo>
                      <a:lnTo>
                        <a:pt x="947318" y="748162"/>
                      </a:lnTo>
                      <a:lnTo>
                        <a:pt x="945402" y="744929"/>
                      </a:lnTo>
                      <a:lnTo>
                        <a:pt x="946320" y="743748"/>
                      </a:lnTo>
                      <a:close/>
                      <a:moveTo>
                        <a:pt x="869307" y="632381"/>
                      </a:moveTo>
                      <a:lnTo>
                        <a:pt x="872237" y="633599"/>
                      </a:lnTo>
                      <a:lnTo>
                        <a:pt x="874019" y="634864"/>
                      </a:lnTo>
                      <a:lnTo>
                        <a:pt x="878704" y="641990"/>
                      </a:lnTo>
                      <a:lnTo>
                        <a:pt x="885553" y="649040"/>
                      </a:lnTo>
                      <a:lnTo>
                        <a:pt x="886449" y="651810"/>
                      </a:lnTo>
                      <a:lnTo>
                        <a:pt x="883314" y="649681"/>
                      </a:lnTo>
                      <a:lnTo>
                        <a:pt x="875495" y="641786"/>
                      </a:lnTo>
                      <a:lnTo>
                        <a:pt x="873838" y="639023"/>
                      </a:lnTo>
                      <a:lnTo>
                        <a:pt x="872549" y="637663"/>
                      </a:lnTo>
                      <a:lnTo>
                        <a:pt x="870228" y="634587"/>
                      </a:lnTo>
                      <a:close/>
                      <a:moveTo>
                        <a:pt x="1238423" y="543470"/>
                      </a:moveTo>
                      <a:lnTo>
                        <a:pt x="1238514" y="544378"/>
                      </a:lnTo>
                      <a:lnTo>
                        <a:pt x="1238853" y="544885"/>
                      </a:lnTo>
                      <a:lnTo>
                        <a:pt x="1239366" y="545297"/>
                      </a:lnTo>
                      <a:lnTo>
                        <a:pt x="1239919" y="545907"/>
                      </a:lnTo>
                      <a:lnTo>
                        <a:pt x="1241945" y="553284"/>
                      </a:lnTo>
                      <a:lnTo>
                        <a:pt x="1246085" y="560580"/>
                      </a:lnTo>
                      <a:lnTo>
                        <a:pt x="1254010" y="571766"/>
                      </a:lnTo>
                      <a:lnTo>
                        <a:pt x="1257075" y="578420"/>
                      </a:lnTo>
                      <a:lnTo>
                        <a:pt x="1258208" y="582184"/>
                      </a:lnTo>
                      <a:lnTo>
                        <a:pt x="1258875" y="585948"/>
                      </a:lnTo>
                      <a:lnTo>
                        <a:pt x="1259738" y="588802"/>
                      </a:lnTo>
                      <a:lnTo>
                        <a:pt x="1295816" y="662234"/>
                      </a:lnTo>
                      <a:lnTo>
                        <a:pt x="1296968" y="666455"/>
                      </a:lnTo>
                      <a:lnTo>
                        <a:pt x="1294027" y="661346"/>
                      </a:lnTo>
                      <a:lnTo>
                        <a:pt x="1290220" y="657512"/>
                      </a:lnTo>
                      <a:lnTo>
                        <a:pt x="1287739" y="650489"/>
                      </a:lnTo>
                      <a:lnTo>
                        <a:pt x="1275358" y="629146"/>
                      </a:lnTo>
                      <a:lnTo>
                        <a:pt x="1274452" y="626537"/>
                      </a:lnTo>
                      <a:lnTo>
                        <a:pt x="1273842" y="625652"/>
                      </a:lnTo>
                      <a:lnTo>
                        <a:pt x="1271365" y="623905"/>
                      </a:lnTo>
                      <a:lnTo>
                        <a:pt x="1270753" y="622924"/>
                      </a:lnTo>
                      <a:lnTo>
                        <a:pt x="1270277" y="620642"/>
                      </a:lnTo>
                      <a:lnTo>
                        <a:pt x="1267548" y="614950"/>
                      </a:lnTo>
                      <a:lnTo>
                        <a:pt x="1257927" y="587796"/>
                      </a:lnTo>
                      <a:lnTo>
                        <a:pt x="1256120" y="584789"/>
                      </a:lnTo>
                      <a:lnTo>
                        <a:pt x="1254363" y="582500"/>
                      </a:lnTo>
                      <a:lnTo>
                        <a:pt x="1252914" y="579940"/>
                      </a:lnTo>
                      <a:lnTo>
                        <a:pt x="1251549" y="574540"/>
                      </a:lnTo>
                      <a:lnTo>
                        <a:pt x="1249673" y="570914"/>
                      </a:lnTo>
                      <a:lnTo>
                        <a:pt x="1249119" y="568761"/>
                      </a:lnTo>
                      <a:lnTo>
                        <a:pt x="1248570" y="567179"/>
                      </a:lnTo>
                      <a:lnTo>
                        <a:pt x="1244890" y="562014"/>
                      </a:lnTo>
                      <a:lnTo>
                        <a:pt x="1238753" y="548754"/>
                      </a:lnTo>
                      <a:lnTo>
                        <a:pt x="1236275" y="544913"/>
                      </a:lnTo>
                      <a:lnTo>
                        <a:pt x="1236794" y="544244"/>
                      </a:lnTo>
                      <a:lnTo>
                        <a:pt x="1237236" y="543888"/>
                      </a:lnTo>
                      <a:close/>
                      <a:moveTo>
                        <a:pt x="1196447" y="478825"/>
                      </a:moveTo>
                      <a:lnTo>
                        <a:pt x="1199811" y="484586"/>
                      </a:lnTo>
                      <a:lnTo>
                        <a:pt x="1200478" y="486265"/>
                      </a:lnTo>
                      <a:lnTo>
                        <a:pt x="1199235" y="486308"/>
                      </a:lnTo>
                      <a:lnTo>
                        <a:pt x="1198751" y="484075"/>
                      </a:lnTo>
                      <a:lnTo>
                        <a:pt x="1198105" y="482143"/>
                      </a:lnTo>
                      <a:close/>
                      <a:moveTo>
                        <a:pt x="1192744" y="410592"/>
                      </a:moveTo>
                      <a:lnTo>
                        <a:pt x="1196105" y="415918"/>
                      </a:lnTo>
                      <a:lnTo>
                        <a:pt x="1195637" y="421599"/>
                      </a:lnTo>
                      <a:lnTo>
                        <a:pt x="1191628" y="433081"/>
                      </a:lnTo>
                      <a:lnTo>
                        <a:pt x="1190885" y="439970"/>
                      </a:lnTo>
                      <a:lnTo>
                        <a:pt x="1192141" y="462177"/>
                      </a:lnTo>
                      <a:lnTo>
                        <a:pt x="1191686" y="465470"/>
                      </a:lnTo>
                      <a:lnTo>
                        <a:pt x="1191686" y="467208"/>
                      </a:lnTo>
                      <a:lnTo>
                        <a:pt x="1192237" y="469291"/>
                      </a:lnTo>
                      <a:lnTo>
                        <a:pt x="1194093" y="472801"/>
                      </a:lnTo>
                      <a:lnTo>
                        <a:pt x="1195647" y="475715"/>
                      </a:lnTo>
                      <a:lnTo>
                        <a:pt x="1196205" y="478390"/>
                      </a:lnTo>
                      <a:lnTo>
                        <a:pt x="1193170" y="473506"/>
                      </a:lnTo>
                      <a:lnTo>
                        <a:pt x="1185538" y="456403"/>
                      </a:lnTo>
                      <a:lnTo>
                        <a:pt x="1182717" y="452556"/>
                      </a:lnTo>
                      <a:lnTo>
                        <a:pt x="1181556" y="449223"/>
                      </a:lnTo>
                      <a:lnTo>
                        <a:pt x="1178618" y="434651"/>
                      </a:lnTo>
                      <a:lnTo>
                        <a:pt x="1176815" y="431843"/>
                      </a:lnTo>
                      <a:lnTo>
                        <a:pt x="1175800" y="425948"/>
                      </a:lnTo>
                      <a:lnTo>
                        <a:pt x="1176565" y="420990"/>
                      </a:lnTo>
                      <a:lnTo>
                        <a:pt x="1180130" y="420956"/>
                      </a:lnTo>
                      <a:lnTo>
                        <a:pt x="1180861" y="417937"/>
                      </a:lnTo>
                      <a:lnTo>
                        <a:pt x="1181737" y="416606"/>
                      </a:lnTo>
                      <a:lnTo>
                        <a:pt x="1185050" y="414466"/>
                      </a:lnTo>
                      <a:lnTo>
                        <a:pt x="1188438" y="411731"/>
                      </a:lnTo>
                      <a:lnTo>
                        <a:pt x="1190441" y="410790"/>
                      </a:lnTo>
                      <a:close/>
                      <a:moveTo>
                        <a:pt x="848297" y="396479"/>
                      </a:moveTo>
                      <a:lnTo>
                        <a:pt x="849260" y="396752"/>
                      </a:lnTo>
                      <a:lnTo>
                        <a:pt x="850058" y="396552"/>
                      </a:lnTo>
                      <a:lnTo>
                        <a:pt x="851219" y="396989"/>
                      </a:lnTo>
                      <a:lnTo>
                        <a:pt x="851239" y="399178"/>
                      </a:lnTo>
                      <a:lnTo>
                        <a:pt x="850486" y="400490"/>
                      </a:lnTo>
                      <a:lnTo>
                        <a:pt x="850255" y="400645"/>
                      </a:lnTo>
                      <a:lnTo>
                        <a:pt x="849511" y="400696"/>
                      </a:lnTo>
                      <a:lnTo>
                        <a:pt x="848858" y="400229"/>
                      </a:lnTo>
                      <a:lnTo>
                        <a:pt x="848794" y="399524"/>
                      </a:lnTo>
                      <a:lnTo>
                        <a:pt x="846358" y="398741"/>
                      </a:lnTo>
                      <a:lnTo>
                        <a:pt x="846331" y="398130"/>
                      </a:lnTo>
                      <a:lnTo>
                        <a:pt x="846971" y="398074"/>
                      </a:lnTo>
                      <a:lnTo>
                        <a:pt x="847619" y="398084"/>
                      </a:lnTo>
                      <a:lnTo>
                        <a:pt x="848022" y="397880"/>
                      </a:lnTo>
                      <a:lnTo>
                        <a:pt x="847384" y="397590"/>
                      </a:lnTo>
                      <a:lnTo>
                        <a:pt x="847380" y="396949"/>
                      </a:lnTo>
                      <a:close/>
                      <a:moveTo>
                        <a:pt x="846666" y="387395"/>
                      </a:moveTo>
                      <a:lnTo>
                        <a:pt x="848085" y="387986"/>
                      </a:lnTo>
                      <a:lnTo>
                        <a:pt x="849279" y="389321"/>
                      </a:lnTo>
                      <a:lnTo>
                        <a:pt x="849394" y="391205"/>
                      </a:lnTo>
                      <a:lnTo>
                        <a:pt x="848101" y="392393"/>
                      </a:lnTo>
                      <a:lnTo>
                        <a:pt x="846380" y="392460"/>
                      </a:lnTo>
                      <a:lnTo>
                        <a:pt x="845553" y="392263"/>
                      </a:lnTo>
                      <a:lnTo>
                        <a:pt x="845675" y="391802"/>
                      </a:lnTo>
                      <a:lnTo>
                        <a:pt x="846198" y="390814"/>
                      </a:lnTo>
                      <a:lnTo>
                        <a:pt x="846321" y="390132"/>
                      </a:lnTo>
                      <a:lnTo>
                        <a:pt x="845630" y="389548"/>
                      </a:lnTo>
                      <a:lnTo>
                        <a:pt x="845183" y="388500"/>
                      </a:lnTo>
                      <a:lnTo>
                        <a:pt x="845537" y="387531"/>
                      </a:lnTo>
                      <a:close/>
                      <a:moveTo>
                        <a:pt x="780487" y="322817"/>
                      </a:moveTo>
                      <a:lnTo>
                        <a:pt x="781776" y="323581"/>
                      </a:lnTo>
                      <a:lnTo>
                        <a:pt x="782664" y="324652"/>
                      </a:lnTo>
                      <a:lnTo>
                        <a:pt x="783600" y="325338"/>
                      </a:lnTo>
                      <a:lnTo>
                        <a:pt x="784171" y="325587"/>
                      </a:lnTo>
                      <a:lnTo>
                        <a:pt x="783024" y="326033"/>
                      </a:lnTo>
                      <a:lnTo>
                        <a:pt x="780921" y="327096"/>
                      </a:lnTo>
                      <a:lnTo>
                        <a:pt x="779488" y="326380"/>
                      </a:lnTo>
                      <a:lnTo>
                        <a:pt x="779374" y="323865"/>
                      </a:lnTo>
                      <a:close/>
                      <a:moveTo>
                        <a:pt x="425810" y="234980"/>
                      </a:moveTo>
                      <a:lnTo>
                        <a:pt x="429942" y="235515"/>
                      </a:lnTo>
                      <a:lnTo>
                        <a:pt x="432189" y="236163"/>
                      </a:lnTo>
                      <a:lnTo>
                        <a:pt x="434311" y="236330"/>
                      </a:lnTo>
                      <a:lnTo>
                        <a:pt x="434603" y="236521"/>
                      </a:lnTo>
                      <a:lnTo>
                        <a:pt x="435155" y="238436"/>
                      </a:lnTo>
                      <a:lnTo>
                        <a:pt x="434290" y="239338"/>
                      </a:lnTo>
                      <a:lnTo>
                        <a:pt x="433308" y="240757"/>
                      </a:lnTo>
                      <a:lnTo>
                        <a:pt x="432522" y="242429"/>
                      </a:lnTo>
                      <a:lnTo>
                        <a:pt x="432271" y="244108"/>
                      </a:lnTo>
                      <a:lnTo>
                        <a:pt x="431556" y="245923"/>
                      </a:lnTo>
                      <a:lnTo>
                        <a:pt x="429625" y="245979"/>
                      </a:lnTo>
                      <a:lnTo>
                        <a:pt x="425980" y="244830"/>
                      </a:lnTo>
                      <a:lnTo>
                        <a:pt x="424486" y="244214"/>
                      </a:lnTo>
                      <a:lnTo>
                        <a:pt x="423112" y="242773"/>
                      </a:lnTo>
                      <a:lnTo>
                        <a:pt x="421818" y="241133"/>
                      </a:lnTo>
                      <a:lnTo>
                        <a:pt x="420603" y="239915"/>
                      </a:lnTo>
                      <a:lnTo>
                        <a:pt x="418806" y="239036"/>
                      </a:lnTo>
                      <a:lnTo>
                        <a:pt x="415390" y="237859"/>
                      </a:lnTo>
                      <a:lnTo>
                        <a:pt x="413544" y="236510"/>
                      </a:lnTo>
                      <a:lnTo>
                        <a:pt x="420462" y="237322"/>
                      </a:lnTo>
                      <a:lnTo>
                        <a:pt x="423508" y="236996"/>
                      </a:lnTo>
                      <a:close/>
                      <a:moveTo>
                        <a:pt x="498730" y="220694"/>
                      </a:moveTo>
                      <a:lnTo>
                        <a:pt x="498835" y="222027"/>
                      </a:lnTo>
                      <a:lnTo>
                        <a:pt x="497931" y="222484"/>
                      </a:lnTo>
                      <a:lnTo>
                        <a:pt x="496656" y="223699"/>
                      </a:lnTo>
                      <a:lnTo>
                        <a:pt x="496754" y="224430"/>
                      </a:lnTo>
                      <a:lnTo>
                        <a:pt x="493133" y="225992"/>
                      </a:lnTo>
                      <a:lnTo>
                        <a:pt x="483866" y="233505"/>
                      </a:lnTo>
                      <a:lnTo>
                        <a:pt x="467871" y="240690"/>
                      </a:lnTo>
                      <a:lnTo>
                        <a:pt x="464617" y="243562"/>
                      </a:lnTo>
                      <a:lnTo>
                        <a:pt x="454968" y="249348"/>
                      </a:lnTo>
                      <a:lnTo>
                        <a:pt x="451494" y="250449"/>
                      </a:lnTo>
                      <a:lnTo>
                        <a:pt x="441819" y="250744"/>
                      </a:lnTo>
                      <a:lnTo>
                        <a:pt x="438072" y="249774"/>
                      </a:lnTo>
                      <a:lnTo>
                        <a:pt x="433538" y="247092"/>
                      </a:lnTo>
                      <a:lnTo>
                        <a:pt x="436258" y="247618"/>
                      </a:lnTo>
                      <a:lnTo>
                        <a:pt x="440968" y="250120"/>
                      </a:lnTo>
                      <a:lnTo>
                        <a:pt x="444675" y="249762"/>
                      </a:lnTo>
                      <a:lnTo>
                        <a:pt x="451864" y="247864"/>
                      </a:lnTo>
                      <a:lnTo>
                        <a:pt x="485932" y="230876"/>
                      </a:lnTo>
                      <a:lnTo>
                        <a:pt x="486415" y="230137"/>
                      </a:lnTo>
                      <a:lnTo>
                        <a:pt x="486419" y="229322"/>
                      </a:lnTo>
                      <a:lnTo>
                        <a:pt x="486820" y="228665"/>
                      </a:lnTo>
                      <a:lnTo>
                        <a:pt x="488506" y="228344"/>
                      </a:lnTo>
                      <a:lnTo>
                        <a:pt x="489784" y="227943"/>
                      </a:lnTo>
                      <a:lnTo>
                        <a:pt x="490450" y="227119"/>
                      </a:lnTo>
                      <a:lnTo>
                        <a:pt x="490941" y="226299"/>
                      </a:lnTo>
                      <a:lnTo>
                        <a:pt x="491721" y="225911"/>
                      </a:lnTo>
                      <a:lnTo>
                        <a:pt x="493865" y="225166"/>
                      </a:lnTo>
                      <a:lnTo>
                        <a:pt x="496737" y="221810"/>
                      </a:lnTo>
                      <a:close/>
                      <a:moveTo>
                        <a:pt x="515980" y="209879"/>
                      </a:moveTo>
                      <a:lnTo>
                        <a:pt x="517203" y="210221"/>
                      </a:lnTo>
                      <a:lnTo>
                        <a:pt x="515844" y="213830"/>
                      </a:lnTo>
                      <a:lnTo>
                        <a:pt x="512291" y="215854"/>
                      </a:lnTo>
                      <a:lnTo>
                        <a:pt x="503164" y="217995"/>
                      </a:lnTo>
                      <a:lnTo>
                        <a:pt x="504346" y="216460"/>
                      </a:lnTo>
                      <a:lnTo>
                        <a:pt x="510685" y="212991"/>
                      </a:lnTo>
                      <a:lnTo>
                        <a:pt x="514404" y="210515"/>
                      </a:lnTo>
                      <a:close/>
                      <a:moveTo>
                        <a:pt x="164828" y="111421"/>
                      </a:moveTo>
                      <a:lnTo>
                        <a:pt x="171837" y="111955"/>
                      </a:lnTo>
                      <a:lnTo>
                        <a:pt x="187700" y="113535"/>
                      </a:lnTo>
                      <a:lnTo>
                        <a:pt x="186382" y="114354"/>
                      </a:lnTo>
                      <a:lnTo>
                        <a:pt x="184726" y="114655"/>
                      </a:lnTo>
                      <a:lnTo>
                        <a:pt x="182875" y="114447"/>
                      </a:lnTo>
                      <a:lnTo>
                        <a:pt x="181002" y="113712"/>
                      </a:lnTo>
                      <a:lnTo>
                        <a:pt x="180967" y="113699"/>
                      </a:lnTo>
                      <a:lnTo>
                        <a:pt x="180933" y="113685"/>
                      </a:lnTo>
                      <a:lnTo>
                        <a:pt x="180946" y="113700"/>
                      </a:lnTo>
                      <a:lnTo>
                        <a:pt x="180967" y="113706"/>
                      </a:lnTo>
                      <a:lnTo>
                        <a:pt x="180988" y="113713"/>
                      </a:lnTo>
                      <a:lnTo>
                        <a:pt x="125360" y="121661"/>
                      </a:lnTo>
                      <a:lnTo>
                        <a:pt x="69683" y="129560"/>
                      </a:lnTo>
                      <a:lnTo>
                        <a:pt x="60469" y="128629"/>
                      </a:lnTo>
                      <a:lnTo>
                        <a:pt x="63427" y="127531"/>
                      </a:lnTo>
                      <a:lnTo>
                        <a:pt x="76817" y="126957"/>
                      </a:lnTo>
                      <a:lnTo>
                        <a:pt x="95799" y="123537"/>
                      </a:lnTo>
                      <a:lnTo>
                        <a:pt x="105247" y="120115"/>
                      </a:lnTo>
                      <a:lnTo>
                        <a:pt x="116997" y="119984"/>
                      </a:lnTo>
                      <a:lnTo>
                        <a:pt x="120985" y="118671"/>
                      </a:lnTo>
                      <a:lnTo>
                        <a:pt x="122420" y="118063"/>
                      </a:lnTo>
                      <a:lnTo>
                        <a:pt x="126860" y="116323"/>
                      </a:lnTo>
                      <a:lnTo>
                        <a:pt x="129379" y="115932"/>
                      </a:lnTo>
                      <a:lnTo>
                        <a:pt x="136649" y="116025"/>
                      </a:lnTo>
                      <a:lnTo>
                        <a:pt x="154242" y="113378"/>
                      </a:lnTo>
                      <a:lnTo>
                        <a:pt x="158010" y="111731"/>
                      </a:lnTo>
                      <a:lnTo>
                        <a:pt x="159221" y="112933"/>
                      </a:lnTo>
                      <a:close/>
                      <a:moveTo>
                        <a:pt x="429271" y="0"/>
                      </a:moveTo>
                      <a:lnTo>
                        <a:pt x="428962" y="608"/>
                      </a:lnTo>
                      <a:lnTo>
                        <a:pt x="429300" y="2865"/>
                      </a:lnTo>
                      <a:lnTo>
                        <a:pt x="430096" y="3638"/>
                      </a:lnTo>
                      <a:lnTo>
                        <a:pt x="433112" y="5476"/>
                      </a:lnTo>
                      <a:lnTo>
                        <a:pt x="434181" y="6418"/>
                      </a:lnTo>
                      <a:lnTo>
                        <a:pt x="435267" y="8343"/>
                      </a:lnTo>
                      <a:lnTo>
                        <a:pt x="437017" y="13710"/>
                      </a:lnTo>
                      <a:lnTo>
                        <a:pt x="438516" y="15013"/>
                      </a:lnTo>
                      <a:lnTo>
                        <a:pt x="441102" y="19182"/>
                      </a:lnTo>
                      <a:lnTo>
                        <a:pt x="442665" y="23382"/>
                      </a:lnTo>
                      <a:lnTo>
                        <a:pt x="443482" y="30953"/>
                      </a:lnTo>
                      <a:lnTo>
                        <a:pt x="446875" y="42699"/>
                      </a:lnTo>
                      <a:lnTo>
                        <a:pt x="454818" y="49855"/>
                      </a:lnTo>
                      <a:lnTo>
                        <a:pt x="456242" y="49598"/>
                      </a:lnTo>
                      <a:lnTo>
                        <a:pt x="461490" y="49787"/>
                      </a:lnTo>
                      <a:lnTo>
                        <a:pt x="462548" y="49830"/>
                      </a:lnTo>
                      <a:lnTo>
                        <a:pt x="465624" y="49941"/>
                      </a:lnTo>
                      <a:lnTo>
                        <a:pt x="470617" y="50128"/>
                      </a:lnTo>
                      <a:lnTo>
                        <a:pt x="477388" y="50390"/>
                      </a:lnTo>
                      <a:lnTo>
                        <a:pt x="485809" y="50704"/>
                      </a:lnTo>
                      <a:lnTo>
                        <a:pt x="495763" y="51076"/>
                      </a:lnTo>
                      <a:lnTo>
                        <a:pt x="507116" y="51505"/>
                      </a:lnTo>
                      <a:lnTo>
                        <a:pt x="519758" y="51972"/>
                      </a:lnTo>
                      <a:lnTo>
                        <a:pt x="533557" y="52483"/>
                      </a:lnTo>
                      <a:lnTo>
                        <a:pt x="548383" y="53025"/>
                      </a:lnTo>
                      <a:lnTo>
                        <a:pt x="564118" y="53594"/>
                      </a:lnTo>
                      <a:lnTo>
                        <a:pt x="580639" y="54196"/>
                      </a:lnTo>
                      <a:lnTo>
                        <a:pt x="597824" y="54818"/>
                      </a:lnTo>
                      <a:lnTo>
                        <a:pt x="615532" y="55456"/>
                      </a:lnTo>
                      <a:lnTo>
                        <a:pt x="633655" y="56096"/>
                      </a:lnTo>
                      <a:lnTo>
                        <a:pt x="652057" y="56748"/>
                      </a:lnTo>
                      <a:lnTo>
                        <a:pt x="670624" y="57404"/>
                      </a:lnTo>
                      <a:lnTo>
                        <a:pt x="689223" y="58051"/>
                      </a:lnTo>
                      <a:lnTo>
                        <a:pt x="707741" y="58694"/>
                      </a:lnTo>
                      <a:lnTo>
                        <a:pt x="726040" y="59321"/>
                      </a:lnTo>
                      <a:lnTo>
                        <a:pt x="744004" y="59933"/>
                      </a:lnTo>
                      <a:lnTo>
                        <a:pt x="761502" y="60523"/>
                      </a:lnTo>
                      <a:lnTo>
                        <a:pt x="778420" y="61087"/>
                      </a:lnTo>
                      <a:lnTo>
                        <a:pt x="794627" y="61630"/>
                      </a:lnTo>
                      <a:lnTo>
                        <a:pt x="809997" y="62135"/>
                      </a:lnTo>
                      <a:lnTo>
                        <a:pt x="824399" y="62609"/>
                      </a:lnTo>
                      <a:lnTo>
                        <a:pt x="837723" y="63045"/>
                      </a:lnTo>
                      <a:lnTo>
                        <a:pt x="849845" y="63438"/>
                      </a:lnTo>
                      <a:lnTo>
                        <a:pt x="860623" y="63788"/>
                      </a:lnTo>
                      <a:lnTo>
                        <a:pt x="869951" y="64084"/>
                      </a:lnTo>
                      <a:lnTo>
                        <a:pt x="877694" y="64333"/>
                      </a:lnTo>
                      <a:lnTo>
                        <a:pt x="883735" y="64527"/>
                      </a:lnTo>
                      <a:lnTo>
                        <a:pt x="890561" y="64734"/>
                      </a:lnTo>
                      <a:lnTo>
                        <a:pt x="890922" y="65005"/>
                      </a:lnTo>
                      <a:lnTo>
                        <a:pt x="890978" y="65531"/>
                      </a:lnTo>
                      <a:lnTo>
                        <a:pt x="890623" y="66707"/>
                      </a:lnTo>
                      <a:lnTo>
                        <a:pt x="890063" y="67906"/>
                      </a:lnTo>
                      <a:lnTo>
                        <a:pt x="889848" y="68584"/>
                      </a:lnTo>
                      <a:lnTo>
                        <a:pt x="889882" y="69301"/>
                      </a:lnTo>
                      <a:lnTo>
                        <a:pt x="890159" y="70059"/>
                      </a:lnTo>
                      <a:lnTo>
                        <a:pt x="891209" y="71479"/>
                      </a:lnTo>
                      <a:lnTo>
                        <a:pt x="895566" y="76153"/>
                      </a:lnTo>
                      <a:lnTo>
                        <a:pt x="896383" y="77282"/>
                      </a:lnTo>
                      <a:lnTo>
                        <a:pt x="897311" y="78821"/>
                      </a:lnTo>
                      <a:lnTo>
                        <a:pt x="897628" y="79661"/>
                      </a:lnTo>
                      <a:lnTo>
                        <a:pt x="897807" y="80449"/>
                      </a:lnTo>
                      <a:lnTo>
                        <a:pt x="897838" y="81404"/>
                      </a:lnTo>
                      <a:lnTo>
                        <a:pt x="897756" y="82377"/>
                      </a:lnTo>
                      <a:lnTo>
                        <a:pt x="897213" y="85014"/>
                      </a:lnTo>
                      <a:lnTo>
                        <a:pt x="896988" y="87142"/>
                      </a:lnTo>
                      <a:lnTo>
                        <a:pt x="896999" y="88187"/>
                      </a:lnTo>
                      <a:lnTo>
                        <a:pt x="897101" y="89100"/>
                      </a:lnTo>
                      <a:lnTo>
                        <a:pt x="897634" y="90702"/>
                      </a:lnTo>
                      <a:lnTo>
                        <a:pt x="900761" y="97279"/>
                      </a:lnTo>
                      <a:lnTo>
                        <a:pt x="901842" y="98809"/>
                      </a:lnTo>
                      <a:lnTo>
                        <a:pt x="902540" y="99430"/>
                      </a:lnTo>
                      <a:lnTo>
                        <a:pt x="903438" y="99952"/>
                      </a:lnTo>
                      <a:lnTo>
                        <a:pt x="904633" y="100283"/>
                      </a:lnTo>
                      <a:lnTo>
                        <a:pt x="906232" y="100354"/>
                      </a:lnTo>
                      <a:lnTo>
                        <a:pt x="913744" y="99250"/>
                      </a:lnTo>
                      <a:lnTo>
                        <a:pt x="914880" y="99424"/>
                      </a:lnTo>
                      <a:lnTo>
                        <a:pt x="918041" y="100228"/>
                      </a:lnTo>
                      <a:lnTo>
                        <a:pt x="918863" y="100271"/>
                      </a:lnTo>
                      <a:lnTo>
                        <a:pt x="919586" y="100243"/>
                      </a:lnTo>
                      <a:lnTo>
                        <a:pt x="923990" y="98928"/>
                      </a:lnTo>
                      <a:lnTo>
                        <a:pt x="924808" y="98452"/>
                      </a:lnTo>
                      <a:lnTo>
                        <a:pt x="925376" y="97762"/>
                      </a:lnTo>
                      <a:lnTo>
                        <a:pt x="925579" y="96335"/>
                      </a:lnTo>
                      <a:lnTo>
                        <a:pt x="925502" y="95191"/>
                      </a:lnTo>
                      <a:lnTo>
                        <a:pt x="924672" y="90032"/>
                      </a:lnTo>
                      <a:lnTo>
                        <a:pt x="924648" y="88903"/>
                      </a:lnTo>
                      <a:lnTo>
                        <a:pt x="924838" y="86538"/>
                      </a:lnTo>
                      <a:lnTo>
                        <a:pt x="927023" y="75180"/>
                      </a:lnTo>
                      <a:lnTo>
                        <a:pt x="928041" y="63156"/>
                      </a:lnTo>
                      <a:lnTo>
                        <a:pt x="927897" y="61089"/>
                      </a:lnTo>
                      <a:lnTo>
                        <a:pt x="927518" y="59290"/>
                      </a:lnTo>
                      <a:lnTo>
                        <a:pt x="927175" y="58446"/>
                      </a:lnTo>
                      <a:lnTo>
                        <a:pt x="926315" y="57091"/>
                      </a:lnTo>
                      <a:lnTo>
                        <a:pt x="922728" y="52961"/>
                      </a:lnTo>
                      <a:lnTo>
                        <a:pt x="921815" y="51370"/>
                      </a:lnTo>
                      <a:lnTo>
                        <a:pt x="921087" y="49736"/>
                      </a:lnTo>
                      <a:lnTo>
                        <a:pt x="920623" y="48314"/>
                      </a:lnTo>
                      <a:lnTo>
                        <a:pt x="920260" y="46224"/>
                      </a:lnTo>
                      <a:lnTo>
                        <a:pt x="920284" y="45227"/>
                      </a:lnTo>
                      <a:lnTo>
                        <a:pt x="920997" y="41078"/>
                      </a:lnTo>
                      <a:lnTo>
                        <a:pt x="921096" y="39946"/>
                      </a:lnTo>
                      <a:lnTo>
                        <a:pt x="921063" y="38868"/>
                      </a:lnTo>
                      <a:lnTo>
                        <a:pt x="920087" y="34458"/>
                      </a:lnTo>
                      <a:lnTo>
                        <a:pt x="920029" y="32693"/>
                      </a:lnTo>
                      <a:lnTo>
                        <a:pt x="920201" y="31853"/>
                      </a:lnTo>
                      <a:lnTo>
                        <a:pt x="920444" y="31078"/>
                      </a:lnTo>
                      <a:lnTo>
                        <a:pt x="920842" y="30373"/>
                      </a:lnTo>
                      <a:lnTo>
                        <a:pt x="922582" y="28477"/>
                      </a:lnTo>
                      <a:lnTo>
                        <a:pt x="922976" y="27577"/>
                      </a:lnTo>
                      <a:lnTo>
                        <a:pt x="923154" y="26562"/>
                      </a:lnTo>
                      <a:lnTo>
                        <a:pt x="923269" y="24690"/>
                      </a:lnTo>
                      <a:lnTo>
                        <a:pt x="923705" y="24005"/>
                      </a:lnTo>
                      <a:lnTo>
                        <a:pt x="924506" y="23749"/>
                      </a:lnTo>
                      <a:lnTo>
                        <a:pt x="926259" y="24219"/>
                      </a:lnTo>
                      <a:lnTo>
                        <a:pt x="927628" y="24331"/>
                      </a:lnTo>
                      <a:lnTo>
                        <a:pt x="929064" y="24005"/>
                      </a:lnTo>
                      <a:lnTo>
                        <a:pt x="929720" y="23423"/>
                      </a:lnTo>
                      <a:lnTo>
                        <a:pt x="930142" y="22602"/>
                      </a:lnTo>
                      <a:lnTo>
                        <a:pt x="930286" y="21729"/>
                      </a:lnTo>
                      <a:lnTo>
                        <a:pt x="930326" y="20507"/>
                      </a:lnTo>
                      <a:lnTo>
                        <a:pt x="930275" y="20134"/>
                      </a:lnTo>
                      <a:lnTo>
                        <a:pt x="930415" y="18983"/>
                      </a:lnTo>
                      <a:lnTo>
                        <a:pt x="930807" y="18260"/>
                      </a:lnTo>
                      <a:lnTo>
                        <a:pt x="931537" y="17552"/>
                      </a:lnTo>
                      <a:lnTo>
                        <a:pt x="932905" y="17110"/>
                      </a:lnTo>
                      <a:lnTo>
                        <a:pt x="934152" y="16988"/>
                      </a:lnTo>
                      <a:lnTo>
                        <a:pt x="936445" y="17051"/>
                      </a:lnTo>
                      <a:lnTo>
                        <a:pt x="937466" y="16941"/>
                      </a:lnTo>
                      <a:lnTo>
                        <a:pt x="938722" y="16982"/>
                      </a:lnTo>
                      <a:lnTo>
                        <a:pt x="940206" y="17240"/>
                      </a:lnTo>
                      <a:lnTo>
                        <a:pt x="942760" y="18603"/>
                      </a:lnTo>
                      <a:lnTo>
                        <a:pt x="944131" y="19513"/>
                      </a:lnTo>
                      <a:lnTo>
                        <a:pt x="946477" y="20631"/>
                      </a:lnTo>
                      <a:lnTo>
                        <a:pt x="962019" y="25939"/>
                      </a:lnTo>
                      <a:lnTo>
                        <a:pt x="963455" y="25695"/>
                      </a:lnTo>
                      <a:lnTo>
                        <a:pt x="964969" y="25780"/>
                      </a:lnTo>
                      <a:lnTo>
                        <a:pt x="967312" y="26277"/>
                      </a:lnTo>
                      <a:lnTo>
                        <a:pt x="969058" y="27315"/>
                      </a:lnTo>
                      <a:lnTo>
                        <a:pt x="970190" y="28202"/>
                      </a:lnTo>
                      <a:lnTo>
                        <a:pt x="971934" y="29111"/>
                      </a:lnTo>
                      <a:lnTo>
                        <a:pt x="974455" y="30047"/>
                      </a:lnTo>
                      <a:lnTo>
                        <a:pt x="982613" y="32049"/>
                      </a:lnTo>
                      <a:lnTo>
                        <a:pt x="984383" y="32169"/>
                      </a:lnTo>
                      <a:lnTo>
                        <a:pt x="986056" y="31810"/>
                      </a:lnTo>
                      <a:lnTo>
                        <a:pt x="987224" y="31801"/>
                      </a:lnTo>
                      <a:lnTo>
                        <a:pt x="989599" y="33094"/>
                      </a:lnTo>
                      <a:lnTo>
                        <a:pt x="991311" y="33727"/>
                      </a:lnTo>
                      <a:lnTo>
                        <a:pt x="998252" y="34936"/>
                      </a:lnTo>
                      <a:lnTo>
                        <a:pt x="999797" y="34856"/>
                      </a:lnTo>
                      <a:lnTo>
                        <a:pt x="1004952" y="33129"/>
                      </a:lnTo>
                      <a:lnTo>
                        <a:pt x="1007997" y="33829"/>
                      </a:lnTo>
                      <a:lnTo>
                        <a:pt x="1009199" y="34060"/>
                      </a:lnTo>
                      <a:lnTo>
                        <a:pt x="1009473" y="35465"/>
                      </a:lnTo>
                      <a:lnTo>
                        <a:pt x="1013499" y="36823"/>
                      </a:lnTo>
                      <a:lnTo>
                        <a:pt x="1014510" y="36583"/>
                      </a:lnTo>
                      <a:lnTo>
                        <a:pt x="1016669" y="35669"/>
                      </a:lnTo>
                      <a:lnTo>
                        <a:pt x="1017942" y="35433"/>
                      </a:lnTo>
                      <a:lnTo>
                        <a:pt x="1019209" y="35770"/>
                      </a:lnTo>
                      <a:lnTo>
                        <a:pt x="1019632" y="36608"/>
                      </a:lnTo>
                      <a:lnTo>
                        <a:pt x="1019821" y="37448"/>
                      </a:lnTo>
                      <a:lnTo>
                        <a:pt x="1020442" y="37815"/>
                      </a:lnTo>
                      <a:lnTo>
                        <a:pt x="1021484" y="39131"/>
                      </a:lnTo>
                      <a:lnTo>
                        <a:pt x="1021486" y="42197"/>
                      </a:lnTo>
                      <a:lnTo>
                        <a:pt x="1020805" y="47096"/>
                      </a:lnTo>
                      <a:lnTo>
                        <a:pt x="1021799" y="62371"/>
                      </a:lnTo>
                      <a:lnTo>
                        <a:pt x="1022953" y="67560"/>
                      </a:lnTo>
                      <a:lnTo>
                        <a:pt x="1020126" y="65783"/>
                      </a:lnTo>
                      <a:lnTo>
                        <a:pt x="1018540" y="63301"/>
                      </a:lnTo>
                      <a:lnTo>
                        <a:pt x="1017733" y="60021"/>
                      </a:lnTo>
                      <a:lnTo>
                        <a:pt x="1017238" y="55868"/>
                      </a:lnTo>
                      <a:lnTo>
                        <a:pt x="1016741" y="54062"/>
                      </a:lnTo>
                      <a:lnTo>
                        <a:pt x="1015717" y="52282"/>
                      </a:lnTo>
                      <a:lnTo>
                        <a:pt x="1014322" y="50919"/>
                      </a:lnTo>
                      <a:lnTo>
                        <a:pt x="1012728" y="50408"/>
                      </a:lnTo>
                      <a:lnTo>
                        <a:pt x="1011324" y="51060"/>
                      </a:lnTo>
                      <a:lnTo>
                        <a:pt x="1011146" y="52566"/>
                      </a:lnTo>
                      <a:lnTo>
                        <a:pt x="1011691" y="56621"/>
                      </a:lnTo>
                      <a:lnTo>
                        <a:pt x="1011648" y="59791"/>
                      </a:lnTo>
                      <a:lnTo>
                        <a:pt x="1012187" y="63030"/>
                      </a:lnTo>
                      <a:lnTo>
                        <a:pt x="1013719" y="65506"/>
                      </a:lnTo>
                      <a:lnTo>
                        <a:pt x="1016604" y="66436"/>
                      </a:lnTo>
                      <a:lnTo>
                        <a:pt x="1016798" y="67135"/>
                      </a:lnTo>
                      <a:lnTo>
                        <a:pt x="1021627" y="70519"/>
                      </a:lnTo>
                      <a:lnTo>
                        <a:pt x="1022777" y="71898"/>
                      </a:lnTo>
                      <a:lnTo>
                        <a:pt x="1024135" y="74616"/>
                      </a:lnTo>
                      <a:lnTo>
                        <a:pt x="1025077" y="76003"/>
                      </a:lnTo>
                      <a:lnTo>
                        <a:pt x="1026134" y="76945"/>
                      </a:lnTo>
                      <a:lnTo>
                        <a:pt x="1026986" y="77327"/>
                      </a:lnTo>
                      <a:lnTo>
                        <a:pt x="1027808" y="77945"/>
                      </a:lnTo>
                      <a:lnTo>
                        <a:pt x="1028824" y="79580"/>
                      </a:lnTo>
                      <a:lnTo>
                        <a:pt x="1029635" y="81883"/>
                      </a:lnTo>
                      <a:lnTo>
                        <a:pt x="1029673" y="87693"/>
                      </a:lnTo>
                      <a:lnTo>
                        <a:pt x="1030306" y="88686"/>
                      </a:lnTo>
                      <a:lnTo>
                        <a:pt x="1031563" y="89599"/>
                      </a:lnTo>
                      <a:lnTo>
                        <a:pt x="1032838" y="90761"/>
                      </a:lnTo>
                      <a:lnTo>
                        <a:pt x="1033541" y="92480"/>
                      </a:lnTo>
                      <a:lnTo>
                        <a:pt x="1033268" y="100525"/>
                      </a:lnTo>
                      <a:lnTo>
                        <a:pt x="1034243" y="107945"/>
                      </a:lnTo>
                      <a:lnTo>
                        <a:pt x="1041607" y="127517"/>
                      </a:lnTo>
                      <a:lnTo>
                        <a:pt x="1043374" y="130739"/>
                      </a:lnTo>
                      <a:lnTo>
                        <a:pt x="1049816" y="151861"/>
                      </a:lnTo>
                      <a:lnTo>
                        <a:pt x="1058877" y="174472"/>
                      </a:lnTo>
                      <a:lnTo>
                        <a:pt x="1058463" y="180291"/>
                      </a:lnTo>
                      <a:lnTo>
                        <a:pt x="1059443" y="180456"/>
                      </a:lnTo>
                      <a:lnTo>
                        <a:pt x="1060739" y="179227"/>
                      </a:lnTo>
                      <a:lnTo>
                        <a:pt x="1061849" y="180941"/>
                      </a:lnTo>
                      <a:lnTo>
                        <a:pt x="1062419" y="183405"/>
                      </a:lnTo>
                      <a:lnTo>
                        <a:pt x="1063734" y="187513"/>
                      </a:lnTo>
                      <a:lnTo>
                        <a:pt x="1064799" y="190047"/>
                      </a:lnTo>
                      <a:lnTo>
                        <a:pt x="1066676" y="198956"/>
                      </a:lnTo>
                      <a:lnTo>
                        <a:pt x="1067991" y="202509"/>
                      </a:lnTo>
                      <a:lnTo>
                        <a:pt x="1070450" y="208272"/>
                      </a:lnTo>
                      <a:lnTo>
                        <a:pt x="1073172" y="213162"/>
                      </a:lnTo>
                      <a:lnTo>
                        <a:pt x="1076541" y="220883"/>
                      </a:lnTo>
                      <a:lnTo>
                        <a:pt x="1080780" y="228408"/>
                      </a:lnTo>
                      <a:lnTo>
                        <a:pt x="1081894" y="232070"/>
                      </a:lnTo>
                      <a:lnTo>
                        <a:pt x="1083282" y="235326"/>
                      </a:lnTo>
                      <a:lnTo>
                        <a:pt x="1091445" y="249620"/>
                      </a:lnTo>
                      <a:lnTo>
                        <a:pt x="1105014" y="274902"/>
                      </a:lnTo>
                      <a:lnTo>
                        <a:pt x="1118257" y="297614"/>
                      </a:lnTo>
                      <a:lnTo>
                        <a:pt x="1127033" y="312406"/>
                      </a:lnTo>
                      <a:lnTo>
                        <a:pt x="1133043" y="321429"/>
                      </a:lnTo>
                      <a:lnTo>
                        <a:pt x="1136212" y="323811"/>
                      </a:lnTo>
                      <a:lnTo>
                        <a:pt x="1135315" y="327316"/>
                      </a:lnTo>
                      <a:lnTo>
                        <a:pt x="1137645" y="329295"/>
                      </a:lnTo>
                      <a:lnTo>
                        <a:pt x="1140773" y="331255"/>
                      </a:lnTo>
                      <a:lnTo>
                        <a:pt x="1142578" y="334442"/>
                      </a:lnTo>
                      <a:lnTo>
                        <a:pt x="1143798" y="337878"/>
                      </a:lnTo>
                      <a:lnTo>
                        <a:pt x="1169876" y="373574"/>
                      </a:lnTo>
                      <a:lnTo>
                        <a:pt x="1182052" y="389479"/>
                      </a:lnTo>
                      <a:lnTo>
                        <a:pt x="1192096" y="401151"/>
                      </a:lnTo>
                      <a:lnTo>
                        <a:pt x="1203724" y="417658"/>
                      </a:lnTo>
                      <a:lnTo>
                        <a:pt x="1209029" y="429345"/>
                      </a:lnTo>
                      <a:lnTo>
                        <a:pt x="1211874" y="432863"/>
                      </a:lnTo>
                      <a:lnTo>
                        <a:pt x="1210234" y="436737"/>
                      </a:lnTo>
                      <a:lnTo>
                        <a:pt x="1207580" y="440149"/>
                      </a:lnTo>
                      <a:lnTo>
                        <a:pt x="1206075" y="440475"/>
                      </a:lnTo>
                      <a:lnTo>
                        <a:pt x="1205830" y="441468"/>
                      </a:lnTo>
                      <a:lnTo>
                        <a:pt x="1205061" y="443033"/>
                      </a:lnTo>
                      <a:lnTo>
                        <a:pt x="1203955" y="444461"/>
                      </a:lnTo>
                      <a:lnTo>
                        <a:pt x="1202662" y="445120"/>
                      </a:lnTo>
                      <a:lnTo>
                        <a:pt x="1202233" y="446104"/>
                      </a:lnTo>
                      <a:lnTo>
                        <a:pt x="1203935" y="463815"/>
                      </a:lnTo>
                      <a:lnTo>
                        <a:pt x="1203008" y="466200"/>
                      </a:lnTo>
                      <a:lnTo>
                        <a:pt x="1204369" y="467396"/>
                      </a:lnTo>
                      <a:lnTo>
                        <a:pt x="1204344" y="471297"/>
                      </a:lnTo>
                      <a:lnTo>
                        <a:pt x="1206128" y="481188"/>
                      </a:lnTo>
                      <a:lnTo>
                        <a:pt x="1211521" y="499515"/>
                      </a:lnTo>
                      <a:lnTo>
                        <a:pt x="1214465" y="504618"/>
                      </a:lnTo>
                      <a:lnTo>
                        <a:pt x="1215316" y="507491"/>
                      </a:lnTo>
                      <a:lnTo>
                        <a:pt x="1219602" y="515133"/>
                      </a:lnTo>
                      <a:lnTo>
                        <a:pt x="1235057" y="534511"/>
                      </a:lnTo>
                      <a:lnTo>
                        <a:pt x="1236012" y="542315"/>
                      </a:lnTo>
                      <a:lnTo>
                        <a:pt x="1231221" y="534916"/>
                      </a:lnTo>
                      <a:lnTo>
                        <a:pt x="1230520" y="533244"/>
                      </a:lnTo>
                      <a:lnTo>
                        <a:pt x="1229696" y="531991"/>
                      </a:lnTo>
                      <a:lnTo>
                        <a:pt x="1224116" y="526560"/>
                      </a:lnTo>
                      <a:lnTo>
                        <a:pt x="1221922" y="520260"/>
                      </a:lnTo>
                      <a:lnTo>
                        <a:pt x="1210312" y="503324"/>
                      </a:lnTo>
                      <a:lnTo>
                        <a:pt x="1203838" y="489081"/>
                      </a:lnTo>
                      <a:lnTo>
                        <a:pt x="1201516" y="481516"/>
                      </a:lnTo>
                      <a:lnTo>
                        <a:pt x="1198672" y="450272"/>
                      </a:lnTo>
                      <a:lnTo>
                        <a:pt x="1201324" y="427200"/>
                      </a:lnTo>
                      <a:lnTo>
                        <a:pt x="1200721" y="420025"/>
                      </a:lnTo>
                      <a:lnTo>
                        <a:pt x="1198774" y="412868"/>
                      </a:lnTo>
                      <a:lnTo>
                        <a:pt x="1197475" y="410155"/>
                      </a:lnTo>
                      <a:lnTo>
                        <a:pt x="1195788" y="408416"/>
                      </a:lnTo>
                      <a:lnTo>
                        <a:pt x="1193444" y="407699"/>
                      </a:lnTo>
                      <a:lnTo>
                        <a:pt x="1190203" y="408092"/>
                      </a:lnTo>
                      <a:lnTo>
                        <a:pt x="1189617" y="407861"/>
                      </a:lnTo>
                      <a:lnTo>
                        <a:pt x="1188753" y="407262"/>
                      </a:lnTo>
                      <a:lnTo>
                        <a:pt x="1187739" y="406772"/>
                      </a:lnTo>
                      <a:lnTo>
                        <a:pt x="1186660" y="406854"/>
                      </a:lnTo>
                      <a:lnTo>
                        <a:pt x="1186620" y="407520"/>
                      </a:lnTo>
                      <a:lnTo>
                        <a:pt x="1187106" y="410136"/>
                      </a:lnTo>
                      <a:lnTo>
                        <a:pt x="1187065" y="410788"/>
                      </a:lnTo>
                      <a:lnTo>
                        <a:pt x="1185146" y="411431"/>
                      </a:lnTo>
                      <a:lnTo>
                        <a:pt x="1183671" y="411555"/>
                      </a:lnTo>
                      <a:lnTo>
                        <a:pt x="1172869" y="410160"/>
                      </a:lnTo>
                      <a:lnTo>
                        <a:pt x="1169714" y="408930"/>
                      </a:lnTo>
                      <a:lnTo>
                        <a:pt x="1167134" y="406409"/>
                      </a:lnTo>
                      <a:lnTo>
                        <a:pt x="1166125" y="403716"/>
                      </a:lnTo>
                      <a:lnTo>
                        <a:pt x="1165762" y="400166"/>
                      </a:lnTo>
                      <a:lnTo>
                        <a:pt x="1166044" y="396623"/>
                      </a:lnTo>
                      <a:lnTo>
                        <a:pt x="1167006" y="394003"/>
                      </a:lnTo>
                      <a:lnTo>
                        <a:pt x="1168352" y="395095"/>
                      </a:lnTo>
                      <a:lnTo>
                        <a:pt x="1169481" y="392314"/>
                      </a:lnTo>
                      <a:lnTo>
                        <a:pt x="1170415" y="388594"/>
                      </a:lnTo>
                      <a:lnTo>
                        <a:pt x="1169570" y="385387"/>
                      </a:lnTo>
                      <a:lnTo>
                        <a:pt x="1162180" y="383158"/>
                      </a:lnTo>
                      <a:lnTo>
                        <a:pt x="1156081" y="378387"/>
                      </a:lnTo>
                      <a:lnTo>
                        <a:pt x="1152748" y="377127"/>
                      </a:lnTo>
                      <a:lnTo>
                        <a:pt x="1157127" y="393544"/>
                      </a:lnTo>
                      <a:lnTo>
                        <a:pt x="1159429" y="397870"/>
                      </a:lnTo>
                      <a:lnTo>
                        <a:pt x="1159566" y="399218"/>
                      </a:lnTo>
                      <a:lnTo>
                        <a:pt x="1158443" y="400387"/>
                      </a:lnTo>
                      <a:lnTo>
                        <a:pt x="1164541" y="409832"/>
                      </a:lnTo>
                      <a:lnTo>
                        <a:pt x="1165557" y="413330"/>
                      </a:lnTo>
                      <a:lnTo>
                        <a:pt x="1166955" y="420734"/>
                      </a:lnTo>
                      <a:lnTo>
                        <a:pt x="1172660" y="438123"/>
                      </a:lnTo>
                      <a:lnTo>
                        <a:pt x="1174577" y="441733"/>
                      </a:lnTo>
                      <a:lnTo>
                        <a:pt x="1178723" y="452020"/>
                      </a:lnTo>
                      <a:lnTo>
                        <a:pt x="1184608" y="461457"/>
                      </a:lnTo>
                      <a:lnTo>
                        <a:pt x="1186308" y="465734"/>
                      </a:lnTo>
                      <a:lnTo>
                        <a:pt x="1218825" y="521972"/>
                      </a:lnTo>
                      <a:lnTo>
                        <a:pt x="1251391" y="578258"/>
                      </a:lnTo>
                      <a:lnTo>
                        <a:pt x="1260128" y="605556"/>
                      </a:lnTo>
                      <a:lnTo>
                        <a:pt x="1290697" y="662593"/>
                      </a:lnTo>
                      <a:lnTo>
                        <a:pt x="1291115" y="665406"/>
                      </a:lnTo>
                      <a:lnTo>
                        <a:pt x="1289277" y="661847"/>
                      </a:lnTo>
                      <a:lnTo>
                        <a:pt x="1287205" y="660263"/>
                      </a:lnTo>
                      <a:lnTo>
                        <a:pt x="1280308" y="658826"/>
                      </a:lnTo>
                      <a:lnTo>
                        <a:pt x="1276363" y="657075"/>
                      </a:lnTo>
                      <a:lnTo>
                        <a:pt x="1275118" y="656227"/>
                      </a:lnTo>
                      <a:lnTo>
                        <a:pt x="1273970" y="655226"/>
                      </a:lnTo>
                      <a:lnTo>
                        <a:pt x="1272505" y="654571"/>
                      </a:lnTo>
                      <a:lnTo>
                        <a:pt x="1270285" y="654786"/>
                      </a:lnTo>
                      <a:lnTo>
                        <a:pt x="1271427" y="656254"/>
                      </a:lnTo>
                      <a:lnTo>
                        <a:pt x="1276171" y="660924"/>
                      </a:lnTo>
                      <a:lnTo>
                        <a:pt x="1277396" y="661239"/>
                      </a:lnTo>
                      <a:lnTo>
                        <a:pt x="1280209" y="662769"/>
                      </a:lnTo>
                      <a:lnTo>
                        <a:pt x="1281695" y="663231"/>
                      </a:lnTo>
                      <a:lnTo>
                        <a:pt x="1285381" y="661971"/>
                      </a:lnTo>
                      <a:lnTo>
                        <a:pt x="1286658" y="661706"/>
                      </a:lnTo>
                      <a:lnTo>
                        <a:pt x="1293716" y="668368"/>
                      </a:lnTo>
                      <a:lnTo>
                        <a:pt x="1295020" y="670706"/>
                      </a:lnTo>
                      <a:lnTo>
                        <a:pt x="1299984" y="672809"/>
                      </a:lnTo>
                      <a:lnTo>
                        <a:pt x="1301353" y="675701"/>
                      </a:lnTo>
                      <a:lnTo>
                        <a:pt x="1302142" y="678316"/>
                      </a:lnTo>
                      <a:lnTo>
                        <a:pt x="1307004" y="686153"/>
                      </a:lnTo>
                      <a:lnTo>
                        <a:pt x="1311436" y="695860"/>
                      </a:lnTo>
                      <a:lnTo>
                        <a:pt x="1315304" y="702397"/>
                      </a:lnTo>
                      <a:lnTo>
                        <a:pt x="1315760" y="704542"/>
                      </a:lnTo>
                      <a:lnTo>
                        <a:pt x="1314755" y="706572"/>
                      </a:lnTo>
                      <a:lnTo>
                        <a:pt x="1313087" y="707208"/>
                      </a:lnTo>
                      <a:lnTo>
                        <a:pt x="1311118" y="707497"/>
                      </a:lnTo>
                      <a:lnTo>
                        <a:pt x="1309240" y="708495"/>
                      </a:lnTo>
                      <a:lnTo>
                        <a:pt x="1309352" y="709621"/>
                      </a:lnTo>
                      <a:lnTo>
                        <a:pt x="1311582" y="710496"/>
                      </a:lnTo>
                      <a:lnTo>
                        <a:pt x="1315407" y="711451"/>
                      </a:lnTo>
                      <a:lnTo>
                        <a:pt x="1317143" y="712595"/>
                      </a:lnTo>
                      <a:lnTo>
                        <a:pt x="1318404" y="714431"/>
                      </a:lnTo>
                      <a:lnTo>
                        <a:pt x="1324529" y="731654"/>
                      </a:lnTo>
                      <a:lnTo>
                        <a:pt x="1324991" y="736555"/>
                      </a:lnTo>
                      <a:lnTo>
                        <a:pt x="1322694" y="739306"/>
                      </a:lnTo>
                      <a:lnTo>
                        <a:pt x="1322828" y="740661"/>
                      </a:lnTo>
                      <a:lnTo>
                        <a:pt x="1325319" y="743452"/>
                      </a:lnTo>
                      <a:lnTo>
                        <a:pt x="1326890" y="749074"/>
                      </a:lnTo>
                      <a:lnTo>
                        <a:pt x="1329562" y="772350"/>
                      </a:lnTo>
                      <a:lnTo>
                        <a:pt x="1329120" y="777625"/>
                      </a:lnTo>
                      <a:lnTo>
                        <a:pt x="1326532" y="778046"/>
                      </a:lnTo>
                      <a:lnTo>
                        <a:pt x="1327536" y="802818"/>
                      </a:lnTo>
                      <a:lnTo>
                        <a:pt x="1326422" y="808415"/>
                      </a:lnTo>
                      <a:lnTo>
                        <a:pt x="1326311" y="811153"/>
                      </a:lnTo>
                      <a:lnTo>
                        <a:pt x="1327090" y="817423"/>
                      </a:lnTo>
                      <a:lnTo>
                        <a:pt x="1327065" y="820494"/>
                      </a:lnTo>
                      <a:lnTo>
                        <a:pt x="1326334" y="823180"/>
                      </a:lnTo>
                      <a:lnTo>
                        <a:pt x="1327270" y="827177"/>
                      </a:lnTo>
                      <a:lnTo>
                        <a:pt x="1325662" y="854204"/>
                      </a:lnTo>
                      <a:lnTo>
                        <a:pt x="1324583" y="859683"/>
                      </a:lnTo>
                      <a:lnTo>
                        <a:pt x="1321970" y="861880"/>
                      </a:lnTo>
                      <a:lnTo>
                        <a:pt x="1322099" y="863229"/>
                      </a:lnTo>
                      <a:lnTo>
                        <a:pt x="1325198" y="867218"/>
                      </a:lnTo>
                      <a:lnTo>
                        <a:pt x="1327610" y="920803"/>
                      </a:lnTo>
                      <a:lnTo>
                        <a:pt x="1326459" y="920840"/>
                      </a:lnTo>
                      <a:lnTo>
                        <a:pt x="1325739" y="913267"/>
                      </a:lnTo>
                      <a:lnTo>
                        <a:pt x="1326102" y="904974"/>
                      </a:lnTo>
                      <a:lnTo>
                        <a:pt x="1325571" y="900283"/>
                      </a:lnTo>
                      <a:lnTo>
                        <a:pt x="1324801" y="897860"/>
                      </a:lnTo>
                      <a:lnTo>
                        <a:pt x="1323422" y="897986"/>
                      </a:lnTo>
                      <a:lnTo>
                        <a:pt x="1318066" y="905917"/>
                      </a:lnTo>
                      <a:lnTo>
                        <a:pt x="1317652" y="912566"/>
                      </a:lnTo>
                      <a:lnTo>
                        <a:pt x="1315948" y="917420"/>
                      </a:lnTo>
                      <a:lnTo>
                        <a:pt x="1316548" y="925086"/>
                      </a:lnTo>
                      <a:lnTo>
                        <a:pt x="1314417" y="928606"/>
                      </a:lnTo>
                      <a:lnTo>
                        <a:pt x="1312689" y="929361"/>
                      </a:lnTo>
                      <a:lnTo>
                        <a:pt x="1311044" y="929398"/>
                      </a:lnTo>
                      <a:lnTo>
                        <a:pt x="1309416" y="929747"/>
                      </a:lnTo>
                      <a:lnTo>
                        <a:pt x="1307720" y="931438"/>
                      </a:lnTo>
                      <a:lnTo>
                        <a:pt x="1307276" y="933193"/>
                      </a:lnTo>
                      <a:lnTo>
                        <a:pt x="1307403" y="937624"/>
                      </a:lnTo>
                      <a:lnTo>
                        <a:pt x="1304622" y="945502"/>
                      </a:lnTo>
                      <a:lnTo>
                        <a:pt x="1300092" y="950400"/>
                      </a:lnTo>
                      <a:lnTo>
                        <a:pt x="1299820" y="953936"/>
                      </a:lnTo>
                      <a:lnTo>
                        <a:pt x="1300497" y="962904"/>
                      </a:lnTo>
                      <a:lnTo>
                        <a:pt x="1299747" y="966016"/>
                      </a:lnTo>
                      <a:lnTo>
                        <a:pt x="1297295" y="969933"/>
                      </a:lnTo>
                      <a:lnTo>
                        <a:pt x="1296167" y="973310"/>
                      </a:lnTo>
                      <a:lnTo>
                        <a:pt x="1296161" y="976674"/>
                      </a:lnTo>
                      <a:lnTo>
                        <a:pt x="1297075" y="980575"/>
                      </a:lnTo>
                      <a:lnTo>
                        <a:pt x="1297944" y="981561"/>
                      </a:lnTo>
                      <a:lnTo>
                        <a:pt x="1299211" y="982288"/>
                      </a:lnTo>
                      <a:lnTo>
                        <a:pt x="1299944" y="983247"/>
                      </a:lnTo>
                      <a:lnTo>
                        <a:pt x="1298809" y="985821"/>
                      </a:lnTo>
                      <a:lnTo>
                        <a:pt x="1297881" y="989296"/>
                      </a:lnTo>
                      <a:lnTo>
                        <a:pt x="1299399" y="990700"/>
                      </a:lnTo>
                      <a:lnTo>
                        <a:pt x="1301632" y="991814"/>
                      </a:lnTo>
                      <a:lnTo>
                        <a:pt x="1303013" y="993245"/>
                      </a:lnTo>
                      <a:lnTo>
                        <a:pt x="1303014" y="995501"/>
                      </a:lnTo>
                      <a:lnTo>
                        <a:pt x="1297307" y="1000971"/>
                      </a:lnTo>
                      <a:lnTo>
                        <a:pt x="1290415" y="1009753"/>
                      </a:lnTo>
                      <a:lnTo>
                        <a:pt x="1289731" y="1011145"/>
                      </a:lnTo>
                      <a:lnTo>
                        <a:pt x="1289556" y="1012713"/>
                      </a:lnTo>
                      <a:lnTo>
                        <a:pt x="1289127" y="1014409"/>
                      </a:lnTo>
                      <a:lnTo>
                        <a:pt x="1286515" y="1017743"/>
                      </a:lnTo>
                      <a:lnTo>
                        <a:pt x="1286496" y="1019746"/>
                      </a:lnTo>
                      <a:lnTo>
                        <a:pt x="1286360" y="1023354"/>
                      </a:lnTo>
                      <a:lnTo>
                        <a:pt x="1288672" y="1026008"/>
                      </a:lnTo>
                      <a:lnTo>
                        <a:pt x="1291042" y="1028005"/>
                      </a:lnTo>
                      <a:lnTo>
                        <a:pt x="1291107" y="1029708"/>
                      </a:lnTo>
                      <a:lnTo>
                        <a:pt x="1288359" y="1027745"/>
                      </a:lnTo>
                      <a:lnTo>
                        <a:pt x="1284594" y="1023110"/>
                      </a:lnTo>
                      <a:lnTo>
                        <a:pt x="1282173" y="1022381"/>
                      </a:lnTo>
                      <a:lnTo>
                        <a:pt x="1281941" y="1019604"/>
                      </a:lnTo>
                      <a:lnTo>
                        <a:pt x="1279302" y="1019908"/>
                      </a:lnTo>
                      <a:lnTo>
                        <a:pt x="1276075" y="1021548"/>
                      </a:lnTo>
                      <a:lnTo>
                        <a:pt x="1274170" y="1023981"/>
                      </a:lnTo>
                      <a:lnTo>
                        <a:pt x="1277899" y="1024195"/>
                      </a:lnTo>
                      <a:lnTo>
                        <a:pt x="1281151" y="1025815"/>
                      </a:lnTo>
                      <a:lnTo>
                        <a:pt x="1283468" y="1028595"/>
                      </a:lnTo>
                      <a:lnTo>
                        <a:pt x="1284354" y="1032306"/>
                      </a:lnTo>
                      <a:lnTo>
                        <a:pt x="1283079" y="1032345"/>
                      </a:lnTo>
                      <a:lnTo>
                        <a:pt x="1282186" y="1028329"/>
                      </a:lnTo>
                      <a:lnTo>
                        <a:pt x="1279396" y="1026070"/>
                      </a:lnTo>
                      <a:lnTo>
                        <a:pt x="1275992" y="1025757"/>
                      </a:lnTo>
                      <a:lnTo>
                        <a:pt x="1273218" y="1027644"/>
                      </a:lnTo>
                      <a:lnTo>
                        <a:pt x="1272580" y="1026435"/>
                      </a:lnTo>
                      <a:lnTo>
                        <a:pt x="1271739" y="1025433"/>
                      </a:lnTo>
                      <a:lnTo>
                        <a:pt x="1270725" y="1024667"/>
                      </a:lnTo>
                      <a:lnTo>
                        <a:pt x="1269515" y="1024124"/>
                      </a:lnTo>
                      <a:lnTo>
                        <a:pt x="1270026" y="1022932"/>
                      </a:lnTo>
                      <a:lnTo>
                        <a:pt x="1270431" y="1022190"/>
                      </a:lnTo>
                      <a:lnTo>
                        <a:pt x="1271175" y="1021750"/>
                      </a:lnTo>
                      <a:lnTo>
                        <a:pt x="1272654" y="1021422"/>
                      </a:lnTo>
                      <a:lnTo>
                        <a:pt x="1272416" y="1020641"/>
                      </a:lnTo>
                      <a:lnTo>
                        <a:pt x="1272161" y="1020127"/>
                      </a:lnTo>
                      <a:lnTo>
                        <a:pt x="1271381" y="1018960"/>
                      </a:lnTo>
                      <a:lnTo>
                        <a:pt x="1269207" y="1019347"/>
                      </a:lnTo>
                      <a:lnTo>
                        <a:pt x="1262367" y="1019652"/>
                      </a:lnTo>
                      <a:lnTo>
                        <a:pt x="1259864" y="1020562"/>
                      </a:lnTo>
                      <a:lnTo>
                        <a:pt x="1258460" y="1023553"/>
                      </a:lnTo>
                      <a:lnTo>
                        <a:pt x="1257622" y="1027583"/>
                      </a:lnTo>
                      <a:lnTo>
                        <a:pt x="1256326" y="1030325"/>
                      </a:lnTo>
                      <a:lnTo>
                        <a:pt x="1253569" y="1029493"/>
                      </a:lnTo>
                      <a:lnTo>
                        <a:pt x="1254076" y="1029098"/>
                      </a:lnTo>
                      <a:lnTo>
                        <a:pt x="1254334" y="1029127"/>
                      </a:lnTo>
                      <a:lnTo>
                        <a:pt x="1254500" y="1029033"/>
                      </a:lnTo>
                      <a:lnTo>
                        <a:pt x="1254731" y="1028207"/>
                      </a:lnTo>
                      <a:lnTo>
                        <a:pt x="1248616" y="1029755"/>
                      </a:lnTo>
                      <a:lnTo>
                        <a:pt x="1247712" y="1030355"/>
                      </a:lnTo>
                      <a:lnTo>
                        <a:pt x="1248212" y="1032052"/>
                      </a:lnTo>
                      <a:lnTo>
                        <a:pt x="1248887" y="1033230"/>
                      </a:lnTo>
                      <a:lnTo>
                        <a:pt x="1249091" y="1034347"/>
                      </a:lnTo>
                      <a:lnTo>
                        <a:pt x="1248209" y="1035908"/>
                      </a:lnTo>
                      <a:lnTo>
                        <a:pt x="1247157" y="1035939"/>
                      </a:lnTo>
                      <a:lnTo>
                        <a:pt x="1244468" y="1034487"/>
                      </a:lnTo>
                      <a:lnTo>
                        <a:pt x="1242334" y="1035489"/>
                      </a:lnTo>
                      <a:lnTo>
                        <a:pt x="1239249" y="1038783"/>
                      </a:lnTo>
                      <a:lnTo>
                        <a:pt x="1237218" y="1039231"/>
                      </a:lnTo>
                      <a:lnTo>
                        <a:pt x="1234352" y="1039198"/>
                      </a:lnTo>
                      <a:lnTo>
                        <a:pt x="1231539" y="1038375"/>
                      </a:lnTo>
                      <a:lnTo>
                        <a:pt x="1229700" y="1036465"/>
                      </a:lnTo>
                      <a:lnTo>
                        <a:pt x="1229391" y="1037211"/>
                      </a:lnTo>
                      <a:lnTo>
                        <a:pt x="1229075" y="1037712"/>
                      </a:lnTo>
                      <a:lnTo>
                        <a:pt x="1228817" y="1038255"/>
                      </a:lnTo>
                      <a:lnTo>
                        <a:pt x="1228670" y="1039101"/>
                      </a:lnTo>
                      <a:lnTo>
                        <a:pt x="1227803" y="1038576"/>
                      </a:lnTo>
                      <a:lnTo>
                        <a:pt x="1226891" y="1038171"/>
                      </a:lnTo>
                      <a:lnTo>
                        <a:pt x="1225936" y="1037590"/>
                      </a:lnTo>
                      <a:lnTo>
                        <a:pt x="1224946" y="1036607"/>
                      </a:lnTo>
                      <a:lnTo>
                        <a:pt x="1224481" y="1038117"/>
                      </a:lnTo>
                      <a:lnTo>
                        <a:pt x="1223974" y="1038668"/>
                      </a:lnTo>
                      <a:lnTo>
                        <a:pt x="1223117" y="1038560"/>
                      </a:lnTo>
                      <a:lnTo>
                        <a:pt x="1221571" y="1038063"/>
                      </a:lnTo>
                      <a:lnTo>
                        <a:pt x="1221451" y="1036712"/>
                      </a:lnTo>
                      <a:lnTo>
                        <a:pt x="1221912" y="1035180"/>
                      </a:lnTo>
                      <a:lnTo>
                        <a:pt x="1216762" y="1034307"/>
                      </a:lnTo>
                      <a:lnTo>
                        <a:pt x="1214045" y="1032044"/>
                      </a:lnTo>
                      <a:lnTo>
                        <a:pt x="1209559" y="1035236"/>
                      </a:lnTo>
                      <a:lnTo>
                        <a:pt x="1208842" y="1035465"/>
                      </a:lnTo>
                      <a:lnTo>
                        <a:pt x="1205289" y="1039797"/>
                      </a:lnTo>
                      <a:lnTo>
                        <a:pt x="1202177" y="1040455"/>
                      </a:lnTo>
                      <a:lnTo>
                        <a:pt x="1195646" y="1040760"/>
                      </a:lnTo>
                      <a:lnTo>
                        <a:pt x="1190223" y="1042103"/>
                      </a:lnTo>
                      <a:lnTo>
                        <a:pt x="1183404" y="1042944"/>
                      </a:lnTo>
                      <a:lnTo>
                        <a:pt x="1175616" y="1045033"/>
                      </a:lnTo>
                      <a:lnTo>
                        <a:pt x="1172935" y="1044501"/>
                      </a:lnTo>
                      <a:lnTo>
                        <a:pt x="1164239" y="1037264"/>
                      </a:lnTo>
                      <a:lnTo>
                        <a:pt x="1160953" y="1031594"/>
                      </a:lnTo>
                      <a:lnTo>
                        <a:pt x="1158494" y="1026088"/>
                      </a:lnTo>
                      <a:lnTo>
                        <a:pt x="1158228" y="1020383"/>
                      </a:lnTo>
                      <a:lnTo>
                        <a:pt x="1159467" y="1013208"/>
                      </a:lnTo>
                      <a:lnTo>
                        <a:pt x="1161753" y="1007087"/>
                      </a:lnTo>
                      <a:lnTo>
                        <a:pt x="1164673" y="1004576"/>
                      </a:lnTo>
                      <a:lnTo>
                        <a:pt x="1163853" y="1007204"/>
                      </a:lnTo>
                      <a:lnTo>
                        <a:pt x="1165948" y="1007559"/>
                      </a:lnTo>
                      <a:lnTo>
                        <a:pt x="1168086" y="1008812"/>
                      </a:lnTo>
                      <a:lnTo>
                        <a:pt x="1169968" y="1010408"/>
                      </a:lnTo>
                      <a:lnTo>
                        <a:pt x="1171257" y="1011865"/>
                      </a:lnTo>
                      <a:lnTo>
                        <a:pt x="1174684" y="1017372"/>
                      </a:lnTo>
                      <a:lnTo>
                        <a:pt x="1175232" y="1017429"/>
                      </a:lnTo>
                      <a:lnTo>
                        <a:pt x="1177566" y="1018863"/>
                      </a:lnTo>
                      <a:lnTo>
                        <a:pt x="1191071" y="1023880"/>
                      </a:lnTo>
                      <a:lnTo>
                        <a:pt x="1191180" y="1025126"/>
                      </a:lnTo>
                      <a:lnTo>
                        <a:pt x="1190257" y="1025451"/>
                      </a:lnTo>
                      <a:lnTo>
                        <a:pt x="1188742" y="1026240"/>
                      </a:lnTo>
                      <a:lnTo>
                        <a:pt x="1187805" y="1026580"/>
                      </a:lnTo>
                      <a:lnTo>
                        <a:pt x="1187904" y="1027708"/>
                      </a:lnTo>
                      <a:lnTo>
                        <a:pt x="1191034" y="1028836"/>
                      </a:lnTo>
                      <a:lnTo>
                        <a:pt x="1194746" y="1028845"/>
                      </a:lnTo>
                      <a:lnTo>
                        <a:pt x="1198347" y="1027741"/>
                      </a:lnTo>
                      <a:lnTo>
                        <a:pt x="1201124" y="1025509"/>
                      </a:lnTo>
                      <a:lnTo>
                        <a:pt x="1202479" y="1021502"/>
                      </a:lnTo>
                      <a:lnTo>
                        <a:pt x="1201015" y="1018287"/>
                      </a:lnTo>
                      <a:lnTo>
                        <a:pt x="1190490" y="1008595"/>
                      </a:lnTo>
                      <a:lnTo>
                        <a:pt x="1187223" y="1007093"/>
                      </a:lnTo>
                      <a:lnTo>
                        <a:pt x="1181151" y="1006284"/>
                      </a:lnTo>
                      <a:lnTo>
                        <a:pt x="1178038" y="1004591"/>
                      </a:lnTo>
                      <a:lnTo>
                        <a:pt x="1177045" y="1004211"/>
                      </a:lnTo>
                      <a:lnTo>
                        <a:pt x="1170494" y="1003155"/>
                      </a:lnTo>
                      <a:lnTo>
                        <a:pt x="1162090" y="997291"/>
                      </a:lnTo>
                      <a:lnTo>
                        <a:pt x="1160591" y="995387"/>
                      </a:lnTo>
                      <a:lnTo>
                        <a:pt x="1160215" y="993472"/>
                      </a:lnTo>
                      <a:lnTo>
                        <a:pt x="1159027" y="989738"/>
                      </a:lnTo>
                      <a:lnTo>
                        <a:pt x="1158670" y="987964"/>
                      </a:lnTo>
                      <a:lnTo>
                        <a:pt x="1155624" y="981020"/>
                      </a:lnTo>
                      <a:lnTo>
                        <a:pt x="1149558" y="975140"/>
                      </a:lnTo>
                      <a:lnTo>
                        <a:pt x="1147336" y="971630"/>
                      </a:lnTo>
                      <a:lnTo>
                        <a:pt x="1150338" y="969476"/>
                      </a:lnTo>
                      <a:lnTo>
                        <a:pt x="1151258" y="968266"/>
                      </a:lnTo>
                      <a:lnTo>
                        <a:pt x="1151784" y="966824"/>
                      </a:lnTo>
                      <a:lnTo>
                        <a:pt x="1151407" y="965549"/>
                      </a:lnTo>
                      <a:lnTo>
                        <a:pt x="1149709" y="964856"/>
                      </a:lnTo>
                      <a:lnTo>
                        <a:pt x="1145915" y="965882"/>
                      </a:lnTo>
                      <a:lnTo>
                        <a:pt x="1143866" y="965147"/>
                      </a:lnTo>
                      <a:lnTo>
                        <a:pt x="1143078" y="963431"/>
                      </a:lnTo>
                      <a:lnTo>
                        <a:pt x="1140565" y="955271"/>
                      </a:lnTo>
                      <a:lnTo>
                        <a:pt x="1136485" y="949075"/>
                      </a:lnTo>
                      <a:lnTo>
                        <a:pt x="1136305" y="946553"/>
                      </a:lnTo>
                      <a:lnTo>
                        <a:pt x="1134774" y="945127"/>
                      </a:lnTo>
                      <a:lnTo>
                        <a:pt x="1133964" y="943093"/>
                      </a:lnTo>
                      <a:lnTo>
                        <a:pt x="1133485" y="939786"/>
                      </a:lnTo>
                      <a:lnTo>
                        <a:pt x="1127743" y="939584"/>
                      </a:lnTo>
                      <a:lnTo>
                        <a:pt x="1126269" y="939375"/>
                      </a:lnTo>
                      <a:lnTo>
                        <a:pt x="1125000" y="937866"/>
                      </a:lnTo>
                      <a:lnTo>
                        <a:pt x="1122554" y="933043"/>
                      </a:lnTo>
                      <a:lnTo>
                        <a:pt x="1121703" y="932035"/>
                      </a:lnTo>
                      <a:lnTo>
                        <a:pt x="1119496" y="931194"/>
                      </a:lnTo>
                      <a:lnTo>
                        <a:pt x="1120894" y="929117"/>
                      </a:lnTo>
                      <a:lnTo>
                        <a:pt x="1125068" y="925696"/>
                      </a:lnTo>
                      <a:lnTo>
                        <a:pt x="1123644" y="924320"/>
                      </a:lnTo>
                      <a:lnTo>
                        <a:pt x="1119976" y="919614"/>
                      </a:lnTo>
                      <a:lnTo>
                        <a:pt x="1115647" y="916222"/>
                      </a:lnTo>
                      <a:lnTo>
                        <a:pt x="1111323" y="913519"/>
                      </a:lnTo>
                      <a:lnTo>
                        <a:pt x="1109057" y="912724"/>
                      </a:lnTo>
                      <a:lnTo>
                        <a:pt x="1104006" y="911967"/>
                      </a:lnTo>
                      <a:lnTo>
                        <a:pt x="1101819" y="911200"/>
                      </a:lnTo>
                      <a:lnTo>
                        <a:pt x="1099755" y="909686"/>
                      </a:lnTo>
                      <a:lnTo>
                        <a:pt x="1097275" y="906744"/>
                      </a:lnTo>
                      <a:lnTo>
                        <a:pt x="1095381" y="905270"/>
                      </a:lnTo>
                      <a:lnTo>
                        <a:pt x="1093344" y="907646"/>
                      </a:lnTo>
                      <a:lnTo>
                        <a:pt x="1091456" y="906952"/>
                      </a:lnTo>
                      <a:lnTo>
                        <a:pt x="1089333" y="905143"/>
                      </a:lnTo>
                      <a:lnTo>
                        <a:pt x="1085728" y="903815"/>
                      </a:lnTo>
                      <a:lnTo>
                        <a:pt x="1083250" y="902165"/>
                      </a:lnTo>
                      <a:lnTo>
                        <a:pt x="1081725" y="901824"/>
                      </a:lnTo>
                      <a:lnTo>
                        <a:pt x="1081049" y="902177"/>
                      </a:lnTo>
                      <a:lnTo>
                        <a:pt x="1079207" y="903835"/>
                      </a:lnTo>
                      <a:lnTo>
                        <a:pt x="1077879" y="904416"/>
                      </a:lnTo>
                      <a:lnTo>
                        <a:pt x="1078472" y="903032"/>
                      </a:lnTo>
                      <a:lnTo>
                        <a:pt x="1078398" y="902500"/>
                      </a:lnTo>
                      <a:lnTo>
                        <a:pt x="1077985" y="902052"/>
                      </a:lnTo>
                      <a:lnTo>
                        <a:pt x="1077575" y="900921"/>
                      </a:lnTo>
                      <a:lnTo>
                        <a:pt x="1076183" y="901384"/>
                      </a:lnTo>
                      <a:lnTo>
                        <a:pt x="1074260" y="900779"/>
                      </a:lnTo>
                      <a:lnTo>
                        <a:pt x="1072433" y="899347"/>
                      </a:lnTo>
                      <a:lnTo>
                        <a:pt x="1071353" y="897256"/>
                      </a:lnTo>
                      <a:lnTo>
                        <a:pt x="1069753" y="898609"/>
                      </a:lnTo>
                      <a:lnTo>
                        <a:pt x="1068685" y="901150"/>
                      </a:lnTo>
                      <a:lnTo>
                        <a:pt x="1067133" y="902249"/>
                      </a:lnTo>
                      <a:lnTo>
                        <a:pt x="1065069" y="902724"/>
                      </a:lnTo>
                      <a:lnTo>
                        <a:pt x="1063024" y="902472"/>
                      </a:lnTo>
                      <a:lnTo>
                        <a:pt x="1061244" y="901573"/>
                      </a:lnTo>
                      <a:lnTo>
                        <a:pt x="1059972" y="900073"/>
                      </a:lnTo>
                      <a:lnTo>
                        <a:pt x="1059480" y="901112"/>
                      </a:lnTo>
                      <a:lnTo>
                        <a:pt x="1059017" y="902484"/>
                      </a:lnTo>
                      <a:lnTo>
                        <a:pt x="1058634" y="902866"/>
                      </a:lnTo>
                      <a:lnTo>
                        <a:pt x="1057775" y="903745"/>
                      </a:lnTo>
                      <a:lnTo>
                        <a:pt x="1057966" y="904994"/>
                      </a:lnTo>
                      <a:lnTo>
                        <a:pt x="1056917" y="905024"/>
                      </a:lnTo>
                      <a:lnTo>
                        <a:pt x="1055709" y="904836"/>
                      </a:lnTo>
                      <a:lnTo>
                        <a:pt x="1055044" y="904499"/>
                      </a:lnTo>
                      <a:lnTo>
                        <a:pt x="1053223" y="902651"/>
                      </a:lnTo>
                      <a:lnTo>
                        <a:pt x="1052449" y="901234"/>
                      </a:lnTo>
                      <a:lnTo>
                        <a:pt x="1050855" y="895972"/>
                      </a:lnTo>
                      <a:lnTo>
                        <a:pt x="1053141" y="894949"/>
                      </a:lnTo>
                      <a:lnTo>
                        <a:pt x="1055270" y="896120"/>
                      </a:lnTo>
                      <a:lnTo>
                        <a:pt x="1057295" y="897932"/>
                      </a:lnTo>
                      <a:lnTo>
                        <a:pt x="1059285" y="898846"/>
                      </a:lnTo>
                      <a:lnTo>
                        <a:pt x="1060807" y="897956"/>
                      </a:lnTo>
                      <a:lnTo>
                        <a:pt x="1062267" y="895865"/>
                      </a:lnTo>
                      <a:lnTo>
                        <a:pt x="1063347" y="893376"/>
                      </a:lnTo>
                      <a:lnTo>
                        <a:pt x="1063744" y="891242"/>
                      </a:lnTo>
                      <a:lnTo>
                        <a:pt x="1061222" y="891226"/>
                      </a:lnTo>
                      <a:lnTo>
                        <a:pt x="1057398" y="891812"/>
                      </a:lnTo>
                      <a:lnTo>
                        <a:pt x="1055749" y="891474"/>
                      </a:lnTo>
                      <a:lnTo>
                        <a:pt x="1053764" y="890122"/>
                      </a:lnTo>
                      <a:lnTo>
                        <a:pt x="1052021" y="888064"/>
                      </a:lnTo>
                      <a:lnTo>
                        <a:pt x="1051376" y="885871"/>
                      </a:lnTo>
                      <a:lnTo>
                        <a:pt x="1052689" y="884097"/>
                      </a:lnTo>
                      <a:lnTo>
                        <a:pt x="1047519" y="880640"/>
                      </a:lnTo>
                      <a:lnTo>
                        <a:pt x="1044453" y="876038"/>
                      </a:lnTo>
                      <a:lnTo>
                        <a:pt x="1040420" y="863059"/>
                      </a:lnTo>
                      <a:lnTo>
                        <a:pt x="1039843" y="864790"/>
                      </a:lnTo>
                      <a:lnTo>
                        <a:pt x="1039627" y="866622"/>
                      </a:lnTo>
                      <a:lnTo>
                        <a:pt x="1039710" y="868548"/>
                      </a:lnTo>
                      <a:lnTo>
                        <a:pt x="1040007" y="870543"/>
                      </a:lnTo>
                      <a:lnTo>
                        <a:pt x="1038745" y="870579"/>
                      </a:lnTo>
                      <a:lnTo>
                        <a:pt x="1034551" y="857628"/>
                      </a:lnTo>
                      <a:lnTo>
                        <a:pt x="1031868" y="843390"/>
                      </a:lnTo>
                      <a:lnTo>
                        <a:pt x="1032379" y="837159"/>
                      </a:lnTo>
                      <a:lnTo>
                        <a:pt x="1032267" y="835947"/>
                      </a:lnTo>
                      <a:lnTo>
                        <a:pt x="1032091" y="835358"/>
                      </a:lnTo>
                      <a:lnTo>
                        <a:pt x="1026293" y="826575"/>
                      </a:lnTo>
                      <a:lnTo>
                        <a:pt x="1025397" y="823554"/>
                      </a:lnTo>
                      <a:lnTo>
                        <a:pt x="1026555" y="823520"/>
                      </a:lnTo>
                      <a:lnTo>
                        <a:pt x="1026662" y="824762"/>
                      </a:lnTo>
                      <a:lnTo>
                        <a:pt x="1027820" y="824729"/>
                      </a:lnTo>
                      <a:lnTo>
                        <a:pt x="1026496" y="813407"/>
                      </a:lnTo>
                      <a:lnTo>
                        <a:pt x="1025368" y="809874"/>
                      </a:lnTo>
                      <a:lnTo>
                        <a:pt x="1023903" y="807166"/>
                      </a:lnTo>
                      <a:lnTo>
                        <a:pt x="1020039" y="801556"/>
                      </a:lnTo>
                      <a:lnTo>
                        <a:pt x="1018617" y="798765"/>
                      </a:lnTo>
                      <a:lnTo>
                        <a:pt x="1018910" y="801425"/>
                      </a:lnTo>
                      <a:lnTo>
                        <a:pt x="1019974" y="805939"/>
                      </a:lnTo>
                      <a:lnTo>
                        <a:pt x="1019381" y="807558"/>
                      </a:lnTo>
                      <a:lnTo>
                        <a:pt x="1018660" y="808068"/>
                      </a:lnTo>
                      <a:lnTo>
                        <a:pt x="1017481" y="807605"/>
                      </a:lnTo>
                      <a:lnTo>
                        <a:pt x="1016623" y="806793"/>
                      </a:lnTo>
                      <a:lnTo>
                        <a:pt x="1015795" y="806305"/>
                      </a:lnTo>
                      <a:lnTo>
                        <a:pt x="1012339" y="806406"/>
                      </a:lnTo>
                      <a:lnTo>
                        <a:pt x="1002665" y="801719"/>
                      </a:lnTo>
                      <a:lnTo>
                        <a:pt x="1000531" y="802901"/>
                      </a:lnTo>
                      <a:lnTo>
                        <a:pt x="999983" y="802694"/>
                      </a:lnTo>
                      <a:lnTo>
                        <a:pt x="998989" y="801826"/>
                      </a:lnTo>
                      <a:lnTo>
                        <a:pt x="998051" y="803195"/>
                      </a:lnTo>
                      <a:lnTo>
                        <a:pt x="997507" y="801439"/>
                      </a:lnTo>
                      <a:lnTo>
                        <a:pt x="997241" y="798749"/>
                      </a:lnTo>
                      <a:lnTo>
                        <a:pt x="997463" y="796059"/>
                      </a:lnTo>
                      <a:lnTo>
                        <a:pt x="998345" y="794373"/>
                      </a:lnTo>
                      <a:lnTo>
                        <a:pt x="999053" y="794427"/>
                      </a:lnTo>
                      <a:lnTo>
                        <a:pt x="1000363" y="796405"/>
                      </a:lnTo>
                      <a:lnTo>
                        <a:pt x="1001618" y="796873"/>
                      </a:lnTo>
                      <a:lnTo>
                        <a:pt x="1002881" y="796562"/>
                      </a:lnTo>
                      <a:lnTo>
                        <a:pt x="1003574" y="795867"/>
                      </a:lnTo>
                      <a:lnTo>
                        <a:pt x="1004229" y="794988"/>
                      </a:lnTo>
                      <a:lnTo>
                        <a:pt x="1008577" y="791838"/>
                      </a:lnTo>
                      <a:lnTo>
                        <a:pt x="1012724" y="787492"/>
                      </a:lnTo>
                      <a:lnTo>
                        <a:pt x="1015452" y="782410"/>
                      </a:lnTo>
                      <a:lnTo>
                        <a:pt x="1014372" y="777861"/>
                      </a:lnTo>
                      <a:lnTo>
                        <a:pt x="1016114" y="775460"/>
                      </a:lnTo>
                      <a:lnTo>
                        <a:pt x="1022876" y="768162"/>
                      </a:lnTo>
                      <a:lnTo>
                        <a:pt x="1023359" y="766457"/>
                      </a:lnTo>
                      <a:lnTo>
                        <a:pt x="1024730" y="764787"/>
                      </a:lnTo>
                      <a:lnTo>
                        <a:pt x="1026554" y="763992"/>
                      </a:lnTo>
                      <a:lnTo>
                        <a:pt x="1028369" y="764887"/>
                      </a:lnTo>
                      <a:lnTo>
                        <a:pt x="1029963" y="763653"/>
                      </a:lnTo>
                      <a:lnTo>
                        <a:pt x="1031123" y="762285"/>
                      </a:lnTo>
                      <a:lnTo>
                        <a:pt x="1031920" y="760624"/>
                      </a:lnTo>
                      <a:lnTo>
                        <a:pt x="1032429" y="758437"/>
                      </a:lnTo>
                      <a:lnTo>
                        <a:pt x="1029993" y="759473"/>
                      </a:lnTo>
                      <a:lnTo>
                        <a:pt x="1026162" y="761898"/>
                      </a:lnTo>
                      <a:lnTo>
                        <a:pt x="1023007" y="762444"/>
                      </a:lnTo>
                      <a:lnTo>
                        <a:pt x="1020321" y="763634"/>
                      </a:lnTo>
                      <a:lnTo>
                        <a:pt x="1017292" y="766340"/>
                      </a:lnTo>
                      <a:lnTo>
                        <a:pt x="1012244" y="772209"/>
                      </a:lnTo>
                      <a:lnTo>
                        <a:pt x="1010663" y="775168"/>
                      </a:lnTo>
                      <a:lnTo>
                        <a:pt x="1006796" y="789444"/>
                      </a:lnTo>
                      <a:lnTo>
                        <a:pt x="1006205" y="790417"/>
                      </a:lnTo>
                      <a:lnTo>
                        <a:pt x="1004902" y="791145"/>
                      </a:lnTo>
                      <a:lnTo>
                        <a:pt x="1001035" y="792369"/>
                      </a:lnTo>
                      <a:lnTo>
                        <a:pt x="999507" y="793213"/>
                      </a:lnTo>
                      <a:lnTo>
                        <a:pt x="999283" y="790618"/>
                      </a:lnTo>
                      <a:lnTo>
                        <a:pt x="996005" y="792114"/>
                      </a:lnTo>
                      <a:lnTo>
                        <a:pt x="993776" y="793624"/>
                      </a:lnTo>
                      <a:lnTo>
                        <a:pt x="991685" y="793707"/>
                      </a:lnTo>
                      <a:lnTo>
                        <a:pt x="988783" y="790922"/>
                      </a:lnTo>
                      <a:lnTo>
                        <a:pt x="987100" y="787814"/>
                      </a:lnTo>
                      <a:lnTo>
                        <a:pt x="987215" y="785543"/>
                      </a:lnTo>
                      <a:lnTo>
                        <a:pt x="987855" y="782893"/>
                      </a:lnTo>
                      <a:lnTo>
                        <a:pt x="987723" y="778637"/>
                      </a:lnTo>
                      <a:lnTo>
                        <a:pt x="986604" y="775357"/>
                      </a:lnTo>
                      <a:lnTo>
                        <a:pt x="983076" y="768991"/>
                      </a:lnTo>
                      <a:lnTo>
                        <a:pt x="982019" y="766243"/>
                      </a:lnTo>
                      <a:lnTo>
                        <a:pt x="981802" y="762160"/>
                      </a:lnTo>
                      <a:lnTo>
                        <a:pt x="984092" y="740937"/>
                      </a:lnTo>
                      <a:lnTo>
                        <a:pt x="984097" y="736871"/>
                      </a:lnTo>
                      <a:lnTo>
                        <a:pt x="983323" y="732428"/>
                      </a:lnTo>
                      <a:lnTo>
                        <a:pt x="981907" y="730803"/>
                      </a:lnTo>
                      <a:lnTo>
                        <a:pt x="979523" y="729754"/>
                      </a:lnTo>
                      <a:lnTo>
                        <a:pt x="975839" y="727047"/>
                      </a:lnTo>
                      <a:lnTo>
                        <a:pt x="975891" y="724713"/>
                      </a:lnTo>
                      <a:lnTo>
                        <a:pt x="978964" y="722157"/>
                      </a:lnTo>
                      <a:lnTo>
                        <a:pt x="986959" y="717050"/>
                      </a:lnTo>
                      <a:lnTo>
                        <a:pt x="990578" y="716196"/>
                      </a:lnTo>
                      <a:lnTo>
                        <a:pt x="992079" y="715344"/>
                      </a:lnTo>
                      <a:lnTo>
                        <a:pt x="992902" y="713987"/>
                      </a:lnTo>
                      <a:lnTo>
                        <a:pt x="994511" y="708371"/>
                      </a:lnTo>
                      <a:lnTo>
                        <a:pt x="991766" y="709296"/>
                      </a:lnTo>
                      <a:lnTo>
                        <a:pt x="988399" y="712772"/>
                      </a:lnTo>
                      <a:lnTo>
                        <a:pt x="981674" y="714362"/>
                      </a:lnTo>
                      <a:lnTo>
                        <a:pt x="978886" y="715606"/>
                      </a:lnTo>
                      <a:lnTo>
                        <a:pt x="975885" y="716294"/>
                      </a:lnTo>
                      <a:lnTo>
                        <a:pt x="971930" y="715365"/>
                      </a:lnTo>
                      <a:lnTo>
                        <a:pt x="971449" y="718275"/>
                      </a:lnTo>
                      <a:lnTo>
                        <a:pt x="969474" y="718991"/>
                      </a:lnTo>
                      <a:lnTo>
                        <a:pt x="967382" y="719311"/>
                      </a:lnTo>
                      <a:lnTo>
                        <a:pt x="966557" y="721053"/>
                      </a:lnTo>
                      <a:lnTo>
                        <a:pt x="965786" y="721683"/>
                      </a:lnTo>
                      <a:lnTo>
                        <a:pt x="963812" y="720185"/>
                      </a:lnTo>
                      <a:lnTo>
                        <a:pt x="960417" y="716834"/>
                      </a:lnTo>
                      <a:lnTo>
                        <a:pt x="960771" y="713692"/>
                      </a:lnTo>
                      <a:lnTo>
                        <a:pt x="959089" y="714281"/>
                      </a:lnTo>
                      <a:lnTo>
                        <a:pt x="956441" y="715735"/>
                      </a:lnTo>
                      <a:lnTo>
                        <a:pt x="953871" y="715202"/>
                      </a:lnTo>
                      <a:lnTo>
                        <a:pt x="950072" y="709790"/>
                      </a:lnTo>
                      <a:lnTo>
                        <a:pt x="947993" y="707792"/>
                      </a:lnTo>
                      <a:lnTo>
                        <a:pt x="944384" y="706224"/>
                      </a:lnTo>
                      <a:lnTo>
                        <a:pt x="945008" y="707716"/>
                      </a:lnTo>
                      <a:lnTo>
                        <a:pt x="947281" y="711010"/>
                      </a:lnTo>
                      <a:lnTo>
                        <a:pt x="952669" y="716747"/>
                      </a:lnTo>
                      <a:lnTo>
                        <a:pt x="954665" y="718348"/>
                      </a:lnTo>
                      <a:lnTo>
                        <a:pt x="955805" y="716968"/>
                      </a:lnTo>
                      <a:lnTo>
                        <a:pt x="957749" y="718910"/>
                      </a:lnTo>
                      <a:lnTo>
                        <a:pt x="960591" y="724469"/>
                      </a:lnTo>
                      <a:lnTo>
                        <a:pt x="961755" y="725591"/>
                      </a:lnTo>
                      <a:lnTo>
                        <a:pt x="962773" y="726939"/>
                      </a:lnTo>
                      <a:lnTo>
                        <a:pt x="966019" y="733575"/>
                      </a:lnTo>
                      <a:lnTo>
                        <a:pt x="968226" y="741561"/>
                      </a:lnTo>
                      <a:lnTo>
                        <a:pt x="968575" y="744255"/>
                      </a:lnTo>
                      <a:lnTo>
                        <a:pt x="967718" y="746671"/>
                      </a:lnTo>
                      <a:lnTo>
                        <a:pt x="966259" y="747484"/>
                      </a:lnTo>
                      <a:lnTo>
                        <a:pt x="965237" y="742359"/>
                      </a:lnTo>
                      <a:lnTo>
                        <a:pt x="963613" y="740451"/>
                      </a:lnTo>
                      <a:lnTo>
                        <a:pt x="963510" y="741105"/>
                      </a:lnTo>
                      <a:lnTo>
                        <a:pt x="962651" y="742404"/>
                      </a:lnTo>
                      <a:lnTo>
                        <a:pt x="961486" y="743749"/>
                      </a:lnTo>
                      <a:lnTo>
                        <a:pt x="960497" y="744495"/>
                      </a:lnTo>
                      <a:lnTo>
                        <a:pt x="959966" y="744170"/>
                      </a:lnTo>
                      <a:lnTo>
                        <a:pt x="958174" y="742385"/>
                      </a:lnTo>
                      <a:lnTo>
                        <a:pt x="957341" y="741994"/>
                      </a:lnTo>
                      <a:lnTo>
                        <a:pt x="956828" y="742202"/>
                      </a:lnTo>
                      <a:lnTo>
                        <a:pt x="956556" y="742639"/>
                      </a:lnTo>
                      <a:lnTo>
                        <a:pt x="956125" y="743066"/>
                      </a:lnTo>
                      <a:lnTo>
                        <a:pt x="955140" y="743302"/>
                      </a:lnTo>
                      <a:lnTo>
                        <a:pt x="953947" y="743055"/>
                      </a:lnTo>
                      <a:lnTo>
                        <a:pt x="952222" y="741572"/>
                      </a:lnTo>
                      <a:lnTo>
                        <a:pt x="950820" y="740819"/>
                      </a:lnTo>
                      <a:lnTo>
                        <a:pt x="948344" y="740032"/>
                      </a:lnTo>
                      <a:lnTo>
                        <a:pt x="947158" y="739858"/>
                      </a:lnTo>
                      <a:lnTo>
                        <a:pt x="945594" y="739852"/>
                      </a:lnTo>
                      <a:lnTo>
                        <a:pt x="940238" y="736665"/>
                      </a:lnTo>
                      <a:lnTo>
                        <a:pt x="933998" y="721283"/>
                      </a:lnTo>
                      <a:lnTo>
                        <a:pt x="929015" y="716607"/>
                      </a:lnTo>
                      <a:lnTo>
                        <a:pt x="929781" y="719449"/>
                      </a:lnTo>
                      <a:lnTo>
                        <a:pt x="932391" y="723653"/>
                      </a:lnTo>
                      <a:lnTo>
                        <a:pt x="933419" y="726407"/>
                      </a:lnTo>
                      <a:lnTo>
                        <a:pt x="931286" y="725291"/>
                      </a:lnTo>
                      <a:lnTo>
                        <a:pt x="930393" y="724673"/>
                      </a:lnTo>
                      <a:lnTo>
                        <a:pt x="929651" y="724042"/>
                      </a:lnTo>
                      <a:lnTo>
                        <a:pt x="928229" y="720456"/>
                      </a:lnTo>
                      <a:lnTo>
                        <a:pt x="910452" y="691555"/>
                      </a:lnTo>
                      <a:lnTo>
                        <a:pt x="908208" y="685167"/>
                      </a:lnTo>
                      <a:lnTo>
                        <a:pt x="903573" y="677754"/>
                      </a:lnTo>
                      <a:lnTo>
                        <a:pt x="902263" y="673686"/>
                      </a:lnTo>
                      <a:lnTo>
                        <a:pt x="903240" y="675707"/>
                      </a:lnTo>
                      <a:lnTo>
                        <a:pt x="903929" y="676612"/>
                      </a:lnTo>
                      <a:lnTo>
                        <a:pt x="904881" y="677450"/>
                      </a:lnTo>
                      <a:lnTo>
                        <a:pt x="904621" y="674417"/>
                      </a:lnTo>
                      <a:lnTo>
                        <a:pt x="903836" y="671843"/>
                      </a:lnTo>
                      <a:lnTo>
                        <a:pt x="902516" y="669906"/>
                      </a:lnTo>
                      <a:lnTo>
                        <a:pt x="900687" y="668768"/>
                      </a:lnTo>
                      <a:lnTo>
                        <a:pt x="900899" y="671240"/>
                      </a:lnTo>
                      <a:lnTo>
                        <a:pt x="899644" y="671275"/>
                      </a:lnTo>
                      <a:lnTo>
                        <a:pt x="897329" y="667414"/>
                      </a:lnTo>
                      <a:lnTo>
                        <a:pt x="894235" y="663923"/>
                      </a:lnTo>
                      <a:lnTo>
                        <a:pt x="891799" y="660413"/>
                      </a:lnTo>
                      <a:lnTo>
                        <a:pt x="891457" y="656510"/>
                      </a:lnTo>
                      <a:lnTo>
                        <a:pt x="892230" y="657109"/>
                      </a:lnTo>
                      <a:lnTo>
                        <a:pt x="892857" y="657447"/>
                      </a:lnTo>
                      <a:lnTo>
                        <a:pt x="893436" y="657963"/>
                      </a:lnTo>
                      <a:lnTo>
                        <a:pt x="894084" y="659031"/>
                      </a:lnTo>
                      <a:lnTo>
                        <a:pt x="895235" y="658998"/>
                      </a:lnTo>
                      <a:lnTo>
                        <a:pt x="894654" y="654467"/>
                      </a:lnTo>
                      <a:lnTo>
                        <a:pt x="890553" y="647626"/>
                      </a:lnTo>
                      <a:lnTo>
                        <a:pt x="887968" y="638930"/>
                      </a:lnTo>
                      <a:lnTo>
                        <a:pt x="885368" y="636624"/>
                      </a:lnTo>
                      <a:lnTo>
                        <a:pt x="882055" y="635107"/>
                      </a:lnTo>
                      <a:lnTo>
                        <a:pt x="875151" y="630603"/>
                      </a:lnTo>
                      <a:lnTo>
                        <a:pt x="868785" y="629735"/>
                      </a:lnTo>
                      <a:lnTo>
                        <a:pt x="866057" y="628703"/>
                      </a:lnTo>
                      <a:lnTo>
                        <a:pt x="863908" y="626119"/>
                      </a:lnTo>
                      <a:lnTo>
                        <a:pt x="859959" y="617998"/>
                      </a:lnTo>
                      <a:lnTo>
                        <a:pt x="859145" y="615138"/>
                      </a:lnTo>
                      <a:lnTo>
                        <a:pt x="860294" y="615106"/>
                      </a:lnTo>
                      <a:lnTo>
                        <a:pt x="863358" y="621027"/>
                      </a:lnTo>
                      <a:lnTo>
                        <a:pt x="864370" y="622440"/>
                      </a:lnTo>
                      <a:lnTo>
                        <a:pt x="866224" y="623599"/>
                      </a:lnTo>
                      <a:lnTo>
                        <a:pt x="870847" y="625515"/>
                      </a:lnTo>
                      <a:lnTo>
                        <a:pt x="872834" y="627268"/>
                      </a:lnTo>
                      <a:lnTo>
                        <a:pt x="873958" y="625965"/>
                      </a:lnTo>
                      <a:lnTo>
                        <a:pt x="874614" y="624498"/>
                      </a:lnTo>
                      <a:lnTo>
                        <a:pt x="874780" y="622837"/>
                      </a:lnTo>
                      <a:lnTo>
                        <a:pt x="874500" y="621012"/>
                      </a:lnTo>
                      <a:lnTo>
                        <a:pt x="873454" y="621042"/>
                      </a:lnTo>
                      <a:lnTo>
                        <a:pt x="872331" y="621858"/>
                      </a:lnTo>
                      <a:lnTo>
                        <a:pt x="871106" y="621730"/>
                      </a:lnTo>
                      <a:lnTo>
                        <a:pt x="869880" y="620952"/>
                      </a:lnTo>
                      <a:lnTo>
                        <a:pt x="868756" y="619831"/>
                      </a:lnTo>
                      <a:lnTo>
                        <a:pt x="871370" y="616652"/>
                      </a:lnTo>
                      <a:lnTo>
                        <a:pt x="875582" y="617699"/>
                      </a:lnTo>
                      <a:lnTo>
                        <a:pt x="880102" y="619713"/>
                      </a:lnTo>
                      <a:lnTo>
                        <a:pt x="883669" y="619404"/>
                      </a:lnTo>
                      <a:lnTo>
                        <a:pt x="881814" y="618016"/>
                      </a:lnTo>
                      <a:lnTo>
                        <a:pt x="879881" y="616985"/>
                      </a:lnTo>
                      <a:lnTo>
                        <a:pt x="877778" y="616291"/>
                      </a:lnTo>
                      <a:lnTo>
                        <a:pt x="875318" y="615918"/>
                      </a:lnTo>
                      <a:lnTo>
                        <a:pt x="877816" y="614494"/>
                      </a:lnTo>
                      <a:lnTo>
                        <a:pt x="882639" y="613032"/>
                      </a:lnTo>
                      <a:lnTo>
                        <a:pt x="884758" y="611367"/>
                      </a:lnTo>
                      <a:lnTo>
                        <a:pt x="885607" y="609126"/>
                      </a:lnTo>
                      <a:lnTo>
                        <a:pt x="882990" y="609622"/>
                      </a:lnTo>
                      <a:lnTo>
                        <a:pt x="880918" y="610554"/>
                      </a:lnTo>
                      <a:lnTo>
                        <a:pt x="880398" y="610806"/>
                      </a:lnTo>
                      <a:lnTo>
                        <a:pt x="877401" y="612148"/>
                      </a:lnTo>
                      <a:lnTo>
                        <a:pt x="878091" y="610606"/>
                      </a:lnTo>
                      <a:lnTo>
                        <a:pt x="878485" y="610003"/>
                      </a:lnTo>
                      <a:lnTo>
                        <a:pt x="879143" y="610162"/>
                      </a:lnTo>
                      <a:lnTo>
                        <a:pt x="880116" y="610488"/>
                      </a:lnTo>
                      <a:lnTo>
                        <a:pt x="880499" y="610470"/>
                      </a:lnTo>
                      <a:lnTo>
                        <a:pt x="880860" y="610282"/>
                      </a:lnTo>
                      <a:lnTo>
                        <a:pt x="882709" y="608270"/>
                      </a:lnTo>
                      <a:lnTo>
                        <a:pt x="882201" y="607620"/>
                      </a:lnTo>
                      <a:lnTo>
                        <a:pt x="881357" y="605944"/>
                      </a:lnTo>
                      <a:lnTo>
                        <a:pt x="884755" y="603481"/>
                      </a:lnTo>
                      <a:lnTo>
                        <a:pt x="886145" y="600130"/>
                      </a:lnTo>
                      <a:lnTo>
                        <a:pt x="887023" y="596350"/>
                      </a:lnTo>
                      <a:lnTo>
                        <a:pt x="888929" y="592586"/>
                      </a:lnTo>
                      <a:lnTo>
                        <a:pt x="893235" y="588854"/>
                      </a:lnTo>
                      <a:lnTo>
                        <a:pt x="893658" y="587430"/>
                      </a:lnTo>
                      <a:lnTo>
                        <a:pt x="894026" y="585291"/>
                      </a:lnTo>
                      <a:lnTo>
                        <a:pt x="895279" y="584346"/>
                      </a:lnTo>
                      <a:lnTo>
                        <a:pt x="896767" y="583815"/>
                      </a:lnTo>
                      <a:lnTo>
                        <a:pt x="897862" y="583029"/>
                      </a:lnTo>
                      <a:lnTo>
                        <a:pt x="900067" y="577865"/>
                      </a:lnTo>
                      <a:lnTo>
                        <a:pt x="900753" y="576626"/>
                      </a:lnTo>
                      <a:lnTo>
                        <a:pt x="905160" y="573349"/>
                      </a:lnTo>
                      <a:lnTo>
                        <a:pt x="906211" y="571434"/>
                      </a:lnTo>
                      <a:lnTo>
                        <a:pt x="911113" y="565422"/>
                      </a:lnTo>
                      <a:lnTo>
                        <a:pt x="912251" y="562655"/>
                      </a:lnTo>
                      <a:lnTo>
                        <a:pt x="911425" y="558512"/>
                      </a:lnTo>
                      <a:lnTo>
                        <a:pt x="907442" y="551064"/>
                      </a:lnTo>
                      <a:lnTo>
                        <a:pt x="905222" y="543602"/>
                      </a:lnTo>
                      <a:lnTo>
                        <a:pt x="903019" y="541496"/>
                      </a:lnTo>
                      <a:lnTo>
                        <a:pt x="900075" y="541294"/>
                      </a:lnTo>
                      <a:lnTo>
                        <a:pt x="896778" y="543275"/>
                      </a:lnTo>
                      <a:lnTo>
                        <a:pt x="895481" y="545478"/>
                      </a:lnTo>
                      <a:lnTo>
                        <a:pt x="895039" y="548372"/>
                      </a:lnTo>
                      <a:lnTo>
                        <a:pt x="895408" y="555039"/>
                      </a:lnTo>
                      <a:lnTo>
                        <a:pt x="896700" y="557594"/>
                      </a:lnTo>
                      <a:lnTo>
                        <a:pt x="897149" y="559435"/>
                      </a:lnTo>
                      <a:lnTo>
                        <a:pt x="896529" y="561256"/>
                      </a:lnTo>
                      <a:lnTo>
                        <a:pt x="890543" y="561195"/>
                      </a:lnTo>
                      <a:lnTo>
                        <a:pt x="889036" y="560855"/>
                      </a:lnTo>
                      <a:lnTo>
                        <a:pt x="886630" y="557438"/>
                      </a:lnTo>
                      <a:lnTo>
                        <a:pt x="886017" y="552950"/>
                      </a:lnTo>
                      <a:lnTo>
                        <a:pt x="886318" y="544152"/>
                      </a:lnTo>
                      <a:lnTo>
                        <a:pt x="884807" y="539558"/>
                      </a:lnTo>
                      <a:lnTo>
                        <a:pt x="881634" y="537287"/>
                      </a:lnTo>
                      <a:lnTo>
                        <a:pt x="877180" y="536539"/>
                      </a:lnTo>
                      <a:lnTo>
                        <a:pt x="871892" y="536568"/>
                      </a:lnTo>
                      <a:lnTo>
                        <a:pt x="871774" y="535227"/>
                      </a:lnTo>
                      <a:lnTo>
                        <a:pt x="875089" y="533890"/>
                      </a:lnTo>
                      <a:lnTo>
                        <a:pt x="874971" y="532535"/>
                      </a:lnTo>
                      <a:lnTo>
                        <a:pt x="870148" y="530232"/>
                      </a:lnTo>
                      <a:lnTo>
                        <a:pt x="867874" y="528614"/>
                      </a:lnTo>
                      <a:lnTo>
                        <a:pt x="866334" y="526710"/>
                      </a:lnTo>
                      <a:lnTo>
                        <a:pt x="865292" y="526741"/>
                      </a:lnTo>
                      <a:lnTo>
                        <a:pt x="865290" y="527338"/>
                      </a:lnTo>
                      <a:lnTo>
                        <a:pt x="865507" y="529208"/>
                      </a:lnTo>
                      <a:lnTo>
                        <a:pt x="858197" y="523115"/>
                      </a:lnTo>
                      <a:lnTo>
                        <a:pt x="858776" y="524671"/>
                      </a:lnTo>
                      <a:lnTo>
                        <a:pt x="860456" y="527479"/>
                      </a:lnTo>
                      <a:lnTo>
                        <a:pt x="860887" y="528729"/>
                      </a:lnTo>
                      <a:lnTo>
                        <a:pt x="860807" y="530157"/>
                      </a:lnTo>
                      <a:lnTo>
                        <a:pt x="860138" y="532199"/>
                      </a:lnTo>
                      <a:lnTo>
                        <a:pt x="860108" y="532968"/>
                      </a:lnTo>
                      <a:lnTo>
                        <a:pt x="859252" y="534359"/>
                      </a:lnTo>
                      <a:lnTo>
                        <a:pt x="859359" y="535205"/>
                      </a:lnTo>
                      <a:lnTo>
                        <a:pt x="860907" y="535544"/>
                      </a:lnTo>
                      <a:lnTo>
                        <a:pt x="867091" y="535364"/>
                      </a:lnTo>
                      <a:lnTo>
                        <a:pt x="865202" y="537686"/>
                      </a:lnTo>
                      <a:lnTo>
                        <a:pt x="857690" y="539994"/>
                      </a:lnTo>
                      <a:lnTo>
                        <a:pt x="855256" y="543136"/>
                      </a:lnTo>
                      <a:lnTo>
                        <a:pt x="861944" y="545424"/>
                      </a:lnTo>
                      <a:lnTo>
                        <a:pt x="868456" y="548750"/>
                      </a:lnTo>
                      <a:lnTo>
                        <a:pt x="875119" y="550964"/>
                      </a:lnTo>
                      <a:lnTo>
                        <a:pt x="882228" y="549907"/>
                      </a:lnTo>
                      <a:lnTo>
                        <a:pt x="880835" y="551100"/>
                      </a:lnTo>
                      <a:lnTo>
                        <a:pt x="875726" y="554307"/>
                      </a:lnTo>
                      <a:lnTo>
                        <a:pt x="876171" y="556444"/>
                      </a:lnTo>
                      <a:lnTo>
                        <a:pt x="877426" y="560248"/>
                      </a:lnTo>
                      <a:lnTo>
                        <a:pt x="877584" y="562430"/>
                      </a:lnTo>
                      <a:lnTo>
                        <a:pt x="877045" y="564263"/>
                      </a:lnTo>
                      <a:lnTo>
                        <a:pt x="875025" y="567084"/>
                      </a:lnTo>
                      <a:lnTo>
                        <a:pt x="874636" y="568041"/>
                      </a:lnTo>
                      <a:lnTo>
                        <a:pt x="874493" y="569227"/>
                      </a:lnTo>
                      <a:lnTo>
                        <a:pt x="872926" y="574843"/>
                      </a:lnTo>
                      <a:lnTo>
                        <a:pt x="874357" y="577756"/>
                      </a:lnTo>
                      <a:lnTo>
                        <a:pt x="874062" y="581075"/>
                      </a:lnTo>
                      <a:lnTo>
                        <a:pt x="872414" y="583790"/>
                      </a:lnTo>
                      <a:lnTo>
                        <a:pt x="869776" y="584966"/>
                      </a:lnTo>
                      <a:lnTo>
                        <a:pt x="866681" y="585056"/>
                      </a:lnTo>
                      <a:lnTo>
                        <a:pt x="865512" y="584764"/>
                      </a:lnTo>
                      <a:lnTo>
                        <a:pt x="864528" y="583995"/>
                      </a:lnTo>
                      <a:lnTo>
                        <a:pt x="863998" y="582444"/>
                      </a:lnTo>
                      <a:lnTo>
                        <a:pt x="863835" y="578496"/>
                      </a:lnTo>
                      <a:lnTo>
                        <a:pt x="863459" y="577709"/>
                      </a:lnTo>
                      <a:lnTo>
                        <a:pt x="859835" y="577377"/>
                      </a:lnTo>
                      <a:lnTo>
                        <a:pt x="857670" y="576228"/>
                      </a:lnTo>
                      <a:lnTo>
                        <a:pt x="854291" y="571893"/>
                      </a:lnTo>
                      <a:lnTo>
                        <a:pt x="851017" y="568692"/>
                      </a:lnTo>
                      <a:lnTo>
                        <a:pt x="844081" y="563869"/>
                      </a:lnTo>
                      <a:lnTo>
                        <a:pt x="840610" y="560904"/>
                      </a:lnTo>
                      <a:lnTo>
                        <a:pt x="840199" y="563463"/>
                      </a:lnTo>
                      <a:lnTo>
                        <a:pt x="841778" y="565914"/>
                      </a:lnTo>
                      <a:lnTo>
                        <a:pt x="852640" y="576106"/>
                      </a:lnTo>
                      <a:lnTo>
                        <a:pt x="854928" y="579306"/>
                      </a:lnTo>
                      <a:lnTo>
                        <a:pt x="857932" y="585484"/>
                      </a:lnTo>
                      <a:lnTo>
                        <a:pt x="859393" y="589439"/>
                      </a:lnTo>
                      <a:lnTo>
                        <a:pt x="859443" y="591691"/>
                      </a:lnTo>
                      <a:lnTo>
                        <a:pt x="857315" y="591316"/>
                      </a:lnTo>
                      <a:lnTo>
                        <a:pt x="855153" y="588164"/>
                      </a:lnTo>
                      <a:lnTo>
                        <a:pt x="853461" y="584157"/>
                      </a:lnTo>
                      <a:lnTo>
                        <a:pt x="852685" y="581173"/>
                      </a:lnTo>
                      <a:lnTo>
                        <a:pt x="849852" y="575285"/>
                      </a:lnTo>
                      <a:lnTo>
                        <a:pt x="838779" y="565896"/>
                      </a:lnTo>
                      <a:lnTo>
                        <a:pt x="836086" y="561704"/>
                      </a:lnTo>
                      <a:lnTo>
                        <a:pt x="835519" y="559299"/>
                      </a:lnTo>
                      <a:lnTo>
                        <a:pt x="833507" y="554187"/>
                      </a:lnTo>
                      <a:lnTo>
                        <a:pt x="832841" y="550647"/>
                      </a:lnTo>
                      <a:lnTo>
                        <a:pt x="833193" y="547329"/>
                      </a:lnTo>
                      <a:lnTo>
                        <a:pt x="834454" y="544163"/>
                      </a:lnTo>
                      <a:lnTo>
                        <a:pt x="836105" y="541583"/>
                      </a:lnTo>
                      <a:lnTo>
                        <a:pt x="837665" y="539921"/>
                      </a:lnTo>
                      <a:lnTo>
                        <a:pt x="836282" y="542353"/>
                      </a:lnTo>
                      <a:lnTo>
                        <a:pt x="835350" y="545451"/>
                      </a:lnTo>
                      <a:lnTo>
                        <a:pt x="835247" y="548629"/>
                      </a:lnTo>
                      <a:lnTo>
                        <a:pt x="836339" y="551234"/>
                      </a:lnTo>
                      <a:lnTo>
                        <a:pt x="840674" y="536513"/>
                      </a:lnTo>
                      <a:lnTo>
                        <a:pt x="842908" y="519838"/>
                      </a:lnTo>
                      <a:lnTo>
                        <a:pt x="842709" y="515031"/>
                      </a:lnTo>
                      <a:lnTo>
                        <a:pt x="842989" y="512823"/>
                      </a:lnTo>
                      <a:lnTo>
                        <a:pt x="844339" y="511138"/>
                      </a:lnTo>
                      <a:lnTo>
                        <a:pt x="842546" y="508577"/>
                      </a:lnTo>
                      <a:lnTo>
                        <a:pt x="841340" y="505867"/>
                      </a:lnTo>
                      <a:lnTo>
                        <a:pt x="840059" y="501350"/>
                      </a:lnTo>
                      <a:lnTo>
                        <a:pt x="839725" y="498917"/>
                      </a:lnTo>
                      <a:lnTo>
                        <a:pt x="839604" y="495341"/>
                      </a:lnTo>
                      <a:lnTo>
                        <a:pt x="840150" y="492920"/>
                      </a:lnTo>
                      <a:lnTo>
                        <a:pt x="841796" y="493861"/>
                      </a:lnTo>
                      <a:lnTo>
                        <a:pt x="843863" y="491425"/>
                      </a:lnTo>
                      <a:lnTo>
                        <a:pt x="844673" y="488988"/>
                      </a:lnTo>
                      <a:lnTo>
                        <a:pt x="845499" y="483850"/>
                      </a:lnTo>
                      <a:lnTo>
                        <a:pt x="848614" y="478682"/>
                      </a:lnTo>
                      <a:lnTo>
                        <a:pt x="849748" y="476081"/>
                      </a:lnTo>
                      <a:lnTo>
                        <a:pt x="849193" y="473722"/>
                      </a:lnTo>
                      <a:lnTo>
                        <a:pt x="848611" y="474314"/>
                      </a:lnTo>
                      <a:lnTo>
                        <a:pt x="848160" y="474608"/>
                      </a:lnTo>
                      <a:lnTo>
                        <a:pt x="847017" y="475025"/>
                      </a:lnTo>
                      <a:lnTo>
                        <a:pt x="851664" y="459609"/>
                      </a:lnTo>
                      <a:lnTo>
                        <a:pt x="853472" y="457394"/>
                      </a:lnTo>
                      <a:lnTo>
                        <a:pt x="853374" y="456283"/>
                      </a:lnTo>
                      <a:lnTo>
                        <a:pt x="853059" y="454957"/>
                      </a:lnTo>
                      <a:lnTo>
                        <a:pt x="856142" y="448766"/>
                      </a:lnTo>
                      <a:lnTo>
                        <a:pt x="855464" y="439005"/>
                      </a:lnTo>
                      <a:lnTo>
                        <a:pt x="855654" y="436853"/>
                      </a:lnTo>
                      <a:lnTo>
                        <a:pt x="856890" y="431395"/>
                      </a:lnTo>
                      <a:lnTo>
                        <a:pt x="856065" y="415844"/>
                      </a:lnTo>
                      <a:lnTo>
                        <a:pt x="857477" y="412617"/>
                      </a:lnTo>
                      <a:lnTo>
                        <a:pt x="856732" y="411437"/>
                      </a:lnTo>
                      <a:lnTo>
                        <a:pt x="856087" y="409878"/>
                      </a:lnTo>
                      <a:lnTo>
                        <a:pt x="855850" y="408286"/>
                      </a:lnTo>
                      <a:lnTo>
                        <a:pt x="856344" y="406965"/>
                      </a:lnTo>
                      <a:lnTo>
                        <a:pt x="857559" y="405138"/>
                      </a:lnTo>
                      <a:lnTo>
                        <a:pt x="857529" y="403892"/>
                      </a:lnTo>
                      <a:lnTo>
                        <a:pt x="856910" y="402672"/>
                      </a:lnTo>
                      <a:lnTo>
                        <a:pt x="856423" y="400888"/>
                      </a:lnTo>
                      <a:lnTo>
                        <a:pt x="855863" y="394667"/>
                      </a:lnTo>
                      <a:lnTo>
                        <a:pt x="855184" y="393154"/>
                      </a:lnTo>
                      <a:lnTo>
                        <a:pt x="853994" y="392925"/>
                      </a:lnTo>
                      <a:lnTo>
                        <a:pt x="852831" y="392989"/>
                      </a:lnTo>
                      <a:lnTo>
                        <a:pt x="852225" y="392300"/>
                      </a:lnTo>
                      <a:lnTo>
                        <a:pt x="851219" y="389956"/>
                      </a:lnTo>
                      <a:lnTo>
                        <a:pt x="847552" y="385974"/>
                      </a:lnTo>
                      <a:lnTo>
                        <a:pt x="846958" y="384364"/>
                      </a:lnTo>
                      <a:lnTo>
                        <a:pt x="848992" y="381517"/>
                      </a:lnTo>
                      <a:lnTo>
                        <a:pt x="851788" y="382929"/>
                      </a:lnTo>
                      <a:lnTo>
                        <a:pt x="856386" y="387789"/>
                      </a:lnTo>
                      <a:lnTo>
                        <a:pt x="854667" y="382444"/>
                      </a:lnTo>
                      <a:lnTo>
                        <a:pt x="854326" y="380545"/>
                      </a:lnTo>
                      <a:lnTo>
                        <a:pt x="854777" y="371783"/>
                      </a:lnTo>
                      <a:lnTo>
                        <a:pt x="854119" y="369150"/>
                      </a:lnTo>
                      <a:lnTo>
                        <a:pt x="852115" y="366903"/>
                      </a:lnTo>
                      <a:lnTo>
                        <a:pt x="850934" y="366467"/>
                      </a:lnTo>
                      <a:lnTo>
                        <a:pt x="847725" y="366121"/>
                      </a:lnTo>
                      <a:lnTo>
                        <a:pt x="846419" y="365711"/>
                      </a:lnTo>
                      <a:lnTo>
                        <a:pt x="845122" y="364814"/>
                      </a:lnTo>
                      <a:lnTo>
                        <a:pt x="837384" y="356698"/>
                      </a:lnTo>
                      <a:lnTo>
                        <a:pt x="836250" y="353601"/>
                      </a:lnTo>
                      <a:lnTo>
                        <a:pt x="837018" y="349924"/>
                      </a:lnTo>
                      <a:lnTo>
                        <a:pt x="834992" y="349808"/>
                      </a:lnTo>
                      <a:lnTo>
                        <a:pt x="832995" y="349028"/>
                      </a:lnTo>
                      <a:lnTo>
                        <a:pt x="831905" y="347631"/>
                      </a:lnTo>
                      <a:lnTo>
                        <a:pt x="832604" y="345739"/>
                      </a:lnTo>
                      <a:lnTo>
                        <a:pt x="832894" y="343932"/>
                      </a:lnTo>
                      <a:lnTo>
                        <a:pt x="832423" y="338480"/>
                      </a:lnTo>
                      <a:lnTo>
                        <a:pt x="832495" y="337705"/>
                      </a:lnTo>
                      <a:lnTo>
                        <a:pt x="825895" y="333182"/>
                      </a:lnTo>
                      <a:lnTo>
                        <a:pt x="823724" y="330153"/>
                      </a:lnTo>
                      <a:lnTo>
                        <a:pt x="827067" y="327976"/>
                      </a:lnTo>
                      <a:lnTo>
                        <a:pt x="824111" y="326636"/>
                      </a:lnTo>
                      <a:lnTo>
                        <a:pt x="822596" y="324576"/>
                      </a:lnTo>
                      <a:lnTo>
                        <a:pt x="821950" y="321767"/>
                      </a:lnTo>
                      <a:lnTo>
                        <a:pt x="821624" y="318146"/>
                      </a:lnTo>
                      <a:lnTo>
                        <a:pt x="818468" y="319839"/>
                      </a:lnTo>
                      <a:lnTo>
                        <a:pt x="817214" y="320745"/>
                      </a:lnTo>
                      <a:lnTo>
                        <a:pt x="816353" y="319770"/>
                      </a:lnTo>
                      <a:lnTo>
                        <a:pt x="814322" y="318049"/>
                      </a:lnTo>
                      <a:lnTo>
                        <a:pt x="813464" y="317044"/>
                      </a:lnTo>
                      <a:lnTo>
                        <a:pt x="810404" y="319411"/>
                      </a:lnTo>
                      <a:lnTo>
                        <a:pt x="806559" y="319393"/>
                      </a:lnTo>
                      <a:lnTo>
                        <a:pt x="802714" y="318006"/>
                      </a:lnTo>
                      <a:lnTo>
                        <a:pt x="799656" y="316330"/>
                      </a:lnTo>
                      <a:lnTo>
                        <a:pt x="797756" y="316983"/>
                      </a:lnTo>
                      <a:lnTo>
                        <a:pt x="793061" y="317232"/>
                      </a:lnTo>
                      <a:lnTo>
                        <a:pt x="790679" y="317722"/>
                      </a:lnTo>
                      <a:lnTo>
                        <a:pt x="787815" y="318897"/>
                      </a:lnTo>
                      <a:lnTo>
                        <a:pt x="786683" y="319136"/>
                      </a:lnTo>
                      <a:lnTo>
                        <a:pt x="784565" y="319251"/>
                      </a:lnTo>
                      <a:lnTo>
                        <a:pt x="781694" y="318364"/>
                      </a:lnTo>
                      <a:lnTo>
                        <a:pt x="780742" y="316271"/>
                      </a:lnTo>
                      <a:lnTo>
                        <a:pt x="780426" y="314161"/>
                      </a:lnTo>
                      <a:lnTo>
                        <a:pt x="779421" y="313219"/>
                      </a:lnTo>
                      <a:lnTo>
                        <a:pt x="777012" y="312812"/>
                      </a:lnTo>
                      <a:lnTo>
                        <a:pt x="775594" y="311646"/>
                      </a:lnTo>
                      <a:lnTo>
                        <a:pt x="775570" y="309998"/>
                      </a:lnTo>
                      <a:lnTo>
                        <a:pt x="777325" y="308238"/>
                      </a:lnTo>
                      <a:lnTo>
                        <a:pt x="775945" y="306660"/>
                      </a:lnTo>
                      <a:lnTo>
                        <a:pt x="774609" y="304211"/>
                      </a:lnTo>
                      <a:lnTo>
                        <a:pt x="772894" y="301965"/>
                      </a:lnTo>
                      <a:lnTo>
                        <a:pt x="770439" y="301029"/>
                      </a:lnTo>
                      <a:lnTo>
                        <a:pt x="767842" y="300613"/>
                      </a:lnTo>
                      <a:lnTo>
                        <a:pt x="764761" y="299482"/>
                      </a:lnTo>
                      <a:lnTo>
                        <a:pt x="761973" y="297967"/>
                      </a:lnTo>
                      <a:lnTo>
                        <a:pt x="760261" y="296384"/>
                      </a:lnTo>
                      <a:lnTo>
                        <a:pt x="759570" y="295234"/>
                      </a:lnTo>
                      <a:lnTo>
                        <a:pt x="759024" y="293425"/>
                      </a:lnTo>
                      <a:lnTo>
                        <a:pt x="758427" y="289645"/>
                      </a:lnTo>
                      <a:lnTo>
                        <a:pt x="757948" y="289365"/>
                      </a:lnTo>
                      <a:lnTo>
                        <a:pt x="754626" y="284099"/>
                      </a:lnTo>
                      <a:lnTo>
                        <a:pt x="748959" y="277644"/>
                      </a:lnTo>
                      <a:lnTo>
                        <a:pt x="745855" y="274756"/>
                      </a:lnTo>
                      <a:lnTo>
                        <a:pt x="742218" y="272111"/>
                      </a:lnTo>
                      <a:lnTo>
                        <a:pt x="738147" y="272907"/>
                      </a:lnTo>
                      <a:lnTo>
                        <a:pt x="733272" y="269541"/>
                      </a:lnTo>
                      <a:lnTo>
                        <a:pt x="724052" y="260300"/>
                      </a:lnTo>
                      <a:lnTo>
                        <a:pt x="722366" y="260584"/>
                      </a:lnTo>
                      <a:lnTo>
                        <a:pt x="720135" y="259597"/>
                      </a:lnTo>
                      <a:lnTo>
                        <a:pt x="715685" y="256727"/>
                      </a:lnTo>
                      <a:lnTo>
                        <a:pt x="716349" y="255038"/>
                      </a:lnTo>
                      <a:lnTo>
                        <a:pt x="715943" y="252484"/>
                      </a:lnTo>
                      <a:lnTo>
                        <a:pt x="714947" y="249910"/>
                      </a:lnTo>
                      <a:lnTo>
                        <a:pt x="713812" y="248142"/>
                      </a:lnTo>
                      <a:lnTo>
                        <a:pt x="715364" y="246097"/>
                      </a:lnTo>
                      <a:lnTo>
                        <a:pt x="716121" y="242465"/>
                      </a:lnTo>
                      <a:lnTo>
                        <a:pt x="716031" y="238277"/>
                      </a:lnTo>
                      <a:lnTo>
                        <a:pt x="714988" y="234551"/>
                      </a:lnTo>
                      <a:lnTo>
                        <a:pt x="712857" y="232305"/>
                      </a:lnTo>
                      <a:lnTo>
                        <a:pt x="709967" y="231536"/>
                      </a:lnTo>
                      <a:lnTo>
                        <a:pt x="706615" y="231141"/>
                      </a:lnTo>
                      <a:lnTo>
                        <a:pt x="703148" y="229963"/>
                      </a:lnTo>
                      <a:lnTo>
                        <a:pt x="701622" y="228971"/>
                      </a:lnTo>
                      <a:lnTo>
                        <a:pt x="699509" y="227202"/>
                      </a:lnTo>
                      <a:lnTo>
                        <a:pt x="698297" y="226399"/>
                      </a:lnTo>
                      <a:lnTo>
                        <a:pt x="692431" y="224100"/>
                      </a:lnTo>
                      <a:lnTo>
                        <a:pt x="689567" y="222000"/>
                      </a:lnTo>
                      <a:lnTo>
                        <a:pt x="686278" y="218906"/>
                      </a:lnTo>
                      <a:lnTo>
                        <a:pt x="683533" y="215517"/>
                      </a:lnTo>
                      <a:lnTo>
                        <a:pt x="682259" y="212511"/>
                      </a:lnTo>
                      <a:lnTo>
                        <a:pt x="681938" y="210684"/>
                      </a:lnTo>
                      <a:lnTo>
                        <a:pt x="680696" y="206399"/>
                      </a:lnTo>
                      <a:lnTo>
                        <a:pt x="679828" y="204573"/>
                      </a:lnTo>
                      <a:lnTo>
                        <a:pt x="678174" y="203475"/>
                      </a:lnTo>
                      <a:lnTo>
                        <a:pt x="676551" y="202655"/>
                      </a:lnTo>
                      <a:lnTo>
                        <a:pt x="675768" y="201722"/>
                      </a:lnTo>
                      <a:lnTo>
                        <a:pt x="674015" y="197850"/>
                      </a:lnTo>
                      <a:lnTo>
                        <a:pt x="667267" y="191844"/>
                      </a:lnTo>
                      <a:lnTo>
                        <a:pt x="665653" y="189563"/>
                      </a:lnTo>
                      <a:lnTo>
                        <a:pt x="663920" y="187857"/>
                      </a:lnTo>
                      <a:lnTo>
                        <a:pt x="656213" y="182871"/>
                      </a:lnTo>
                      <a:lnTo>
                        <a:pt x="654080" y="181838"/>
                      </a:lnTo>
                      <a:lnTo>
                        <a:pt x="651158" y="181261"/>
                      </a:lnTo>
                      <a:lnTo>
                        <a:pt x="648981" y="179708"/>
                      </a:lnTo>
                      <a:lnTo>
                        <a:pt x="645148" y="176050"/>
                      </a:lnTo>
                      <a:lnTo>
                        <a:pt x="641268" y="176946"/>
                      </a:lnTo>
                      <a:lnTo>
                        <a:pt x="633593" y="174089"/>
                      </a:lnTo>
                      <a:lnTo>
                        <a:pt x="617236" y="165162"/>
                      </a:lnTo>
                      <a:lnTo>
                        <a:pt x="604307" y="156117"/>
                      </a:lnTo>
                      <a:lnTo>
                        <a:pt x="601103" y="156464"/>
                      </a:lnTo>
                      <a:lnTo>
                        <a:pt x="595968" y="158743"/>
                      </a:lnTo>
                      <a:lnTo>
                        <a:pt x="584179" y="160054"/>
                      </a:lnTo>
                      <a:lnTo>
                        <a:pt x="580951" y="162221"/>
                      </a:lnTo>
                      <a:lnTo>
                        <a:pt x="579330" y="162904"/>
                      </a:lnTo>
                      <a:lnTo>
                        <a:pt x="578318" y="161347"/>
                      </a:lnTo>
                      <a:lnTo>
                        <a:pt x="577398" y="159215"/>
                      </a:lnTo>
                      <a:lnTo>
                        <a:pt x="576044" y="158174"/>
                      </a:lnTo>
                      <a:lnTo>
                        <a:pt x="575529" y="157968"/>
                      </a:lnTo>
                      <a:lnTo>
                        <a:pt x="575221" y="157514"/>
                      </a:lnTo>
                      <a:lnTo>
                        <a:pt x="574726" y="157066"/>
                      </a:lnTo>
                      <a:lnTo>
                        <a:pt x="573727" y="156881"/>
                      </a:lnTo>
                      <a:lnTo>
                        <a:pt x="572696" y="157290"/>
                      </a:lnTo>
                      <a:lnTo>
                        <a:pt x="571894" y="158971"/>
                      </a:lnTo>
                      <a:lnTo>
                        <a:pt x="570955" y="159437"/>
                      </a:lnTo>
                      <a:lnTo>
                        <a:pt x="567567" y="159530"/>
                      </a:lnTo>
                      <a:lnTo>
                        <a:pt x="567617" y="159243"/>
                      </a:lnTo>
                      <a:lnTo>
                        <a:pt x="567053" y="158774"/>
                      </a:lnTo>
                      <a:lnTo>
                        <a:pt x="566201" y="158423"/>
                      </a:lnTo>
                      <a:lnTo>
                        <a:pt x="565330" y="158469"/>
                      </a:lnTo>
                      <a:lnTo>
                        <a:pt x="563946" y="159747"/>
                      </a:lnTo>
                      <a:lnTo>
                        <a:pt x="562745" y="161834"/>
                      </a:lnTo>
                      <a:lnTo>
                        <a:pt x="561954" y="163756"/>
                      </a:lnTo>
                      <a:lnTo>
                        <a:pt x="561769" y="164605"/>
                      </a:lnTo>
                      <a:lnTo>
                        <a:pt x="556510" y="164434"/>
                      </a:lnTo>
                      <a:lnTo>
                        <a:pt x="554615" y="164815"/>
                      </a:lnTo>
                      <a:lnTo>
                        <a:pt x="548948" y="168117"/>
                      </a:lnTo>
                      <a:lnTo>
                        <a:pt x="548018" y="169595"/>
                      </a:lnTo>
                      <a:lnTo>
                        <a:pt x="548288" y="172471"/>
                      </a:lnTo>
                      <a:lnTo>
                        <a:pt x="547164" y="171995"/>
                      </a:lnTo>
                      <a:lnTo>
                        <a:pt x="546689" y="171707"/>
                      </a:lnTo>
                      <a:lnTo>
                        <a:pt x="546013" y="171190"/>
                      </a:lnTo>
                      <a:lnTo>
                        <a:pt x="544898" y="172563"/>
                      </a:lnTo>
                      <a:lnTo>
                        <a:pt x="545636" y="173996"/>
                      </a:lnTo>
                      <a:lnTo>
                        <a:pt x="545763" y="174403"/>
                      </a:lnTo>
                      <a:lnTo>
                        <a:pt x="545541" y="174813"/>
                      </a:lnTo>
                      <a:lnTo>
                        <a:pt x="545199" y="176238"/>
                      </a:lnTo>
                      <a:lnTo>
                        <a:pt x="545799" y="177146"/>
                      </a:lnTo>
                      <a:lnTo>
                        <a:pt x="546635" y="178789"/>
                      </a:lnTo>
                      <a:lnTo>
                        <a:pt x="547054" y="178074"/>
                      </a:lnTo>
                      <a:lnTo>
                        <a:pt x="548133" y="176819"/>
                      </a:lnTo>
                      <a:lnTo>
                        <a:pt x="548590" y="176146"/>
                      </a:lnTo>
                      <a:lnTo>
                        <a:pt x="549779" y="177743"/>
                      </a:lnTo>
                      <a:lnTo>
                        <a:pt x="553440" y="181430"/>
                      </a:lnTo>
                      <a:lnTo>
                        <a:pt x="553097" y="182188"/>
                      </a:lnTo>
                      <a:lnTo>
                        <a:pt x="550764" y="181870"/>
                      </a:lnTo>
                      <a:lnTo>
                        <a:pt x="546508" y="180290"/>
                      </a:lnTo>
                      <a:lnTo>
                        <a:pt x="540769" y="178896"/>
                      </a:lnTo>
                      <a:lnTo>
                        <a:pt x="537422" y="176962"/>
                      </a:lnTo>
                      <a:lnTo>
                        <a:pt x="534847" y="176312"/>
                      </a:lnTo>
                      <a:lnTo>
                        <a:pt x="532989" y="179157"/>
                      </a:lnTo>
                      <a:lnTo>
                        <a:pt x="535678" y="179239"/>
                      </a:lnTo>
                      <a:lnTo>
                        <a:pt x="536397" y="180937"/>
                      </a:lnTo>
                      <a:lnTo>
                        <a:pt x="536766" y="182907"/>
                      </a:lnTo>
                      <a:lnTo>
                        <a:pt x="538412" y="183817"/>
                      </a:lnTo>
                      <a:lnTo>
                        <a:pt x="548729" y="184772"/>
                      </a:lnTo>
                      <a:lnTo>
                        <a:pt x="553983" y="186331"/>
                      </a:lnTo>
                      <a:lnTo>
                        <a:pt x="555445" y="190152"/>
                      </a:lnTo>
                      <a:lnTo>
                        <a:pt x="553653" y="194406"/>
                      </a:lnTo>
                      <a:lnTo>
                        <a:pt x="549177" y="197177"/>
                      </a:lnTo>
                      <a:lnTo>
                        <a:pt x="550594" y="195200"/>
                      </a:lnTo>
                      <a:lnTo>
                        <a:pt x="551230" y="194559"/>
                      </a:lnTo>
                      <a:lnTo>
                        <a:pt x="551139" y="193439"/>
                      </a:lnTo>
                      <a:lnTo>
                        <a:pt x="544744" y="191660"/>
                      </a:lnTo>
                      <a:lnTo>
                        <a:pt x="537881" y="191220"/>
                      </a:lnTo>
                      <a:lnTo>
                        <a:pt x="534699" y="191923"/>
                      </a:lnTo>
                      <a:lnTo>
                        <a:pt x="531637" y="193039"/>
                      </a:lnTo>
                      <a:lnTo>
                        <a:pt x="528987" y="193308"/>
                      </a:lnTo>
                      <a:lnTo>
                        <a:pt x="526987" y="191513"/>
                      </a:lnTo>
                      <a:lnTo>
                        <a:pt x="518354" y="196783"/>
                      </a:lnTo>
                      <a:lnTo>
                        <a:pt x="511927" y="202259"/>
                      </a:lnTo>
                      <a:lnTo>
                        <a:pt x="504014" y="204617"/>
                      </a:lnTo>
                      <a:lnTo>
                        <a:pt x="499309" y="208138"/>
                      </a:lnTo>
                      <a:lnTo>
                        <a:pt x="491559" y="215958"/>
                      </a:lnTo>
                      <a:lnTo>
                        <a:pt x="489566" y="217066"/>
                      </a:lnTo>
                      <a:lnTo>
                        <a:pt x="485172" y="217730"/>
                      </a:lnTo>
                      <a:lnTo>
                        <a:pt x="482695" y="218529"/>
                      </a:lnTo>
                      <a:lnTo>
                        <a:pt x="478995" y="221500"/>
                      </a:lnTo>
                      <a:lnTo>
                        <a:pt x="476468" y="223077"/>
                      </a:lnTo>
                      <a:lnTo>
                        <a:pt x="473309" y="223805"/>
                      </a:lnTo>
                      <a:lnTo>
                        <a:pt x="471120" y="225035"/>
                      </a:lnTo>
                      <a:lnTo>
                        <a:pt x="468893" y="227088"/>
                      </a:lnTo>
                      <a:lnTo>
                        <a:pt x="467069" y="227707"/>
                      </a:lnTo>
                      <a:lnTo>
                        <a:pt x="466058" y="224607"/>
                      </a:lnTo>
                      <a:lnTo>
                        <a:pt x="466658" y="223109"/>
                      </a:lnTo>
                      <a:lnTo>
                        <a:pt x="471002" y="215367"/>
                      </a:lnTo>
                      <a:lnTo>
                        <a:pt x="468238" y="214228"/>
                      </a:lnTo>
                      <a:lnTo>
                        <a:pt x="466131" y="215272"/>
                      </a:lnTo>
                      <a:lnTo>
                        <a:pt x="464117" y="217011"/>
                      </a:lnTo>
                      <a:lnTo>
                        <a:pt x="461624" y="217956"/>
                      </a:lnTo>
                      <a:lnTo>
                        <a:pt x="459514" y="219168"/>
                      </a:lnTo>
                      <a:lnTo>
                        <a:pt x="456943" y="223856"/>
                      </a:lnTo>
                      <a:lnTo>
                        <a:pt x="452820" y="224549"/>
                      </a:lnTo>
                      <a:lnTo>
                        <a:pt x="449850" y="229445"/>
                      </a:lnTo>
                      <a:lnTo>
                        <a:pt x="447758" y="230730"/>
                      </a:lnTo>
                      <a:lnTo>
                        <a:pt x="434492" y="229722"/>
                      </a:lnTo>
                      <a:lnTo>
                        <a:pt x="427779" y="230184"/>
                      </a:lnTo>
                      <a:lnTo>
                        <a:pt x="408912" y="236625"/>
                      </a:lnTo>
                      <a:lnTo>
                        <a:pt x="405319" y="236597"/>
                      </a:lnTo>
                      <a:lnTo>
                        <a:pt x="401404" y="236070"/>
                      </a:lnTo>
                      <a:lnTo>
                        <a:pt x="397710" y="236050"/>
                      </a:lnTo>
                      <a:lnTo>
                        <a:pt x="391566" y="238915"/>
                      </a:lnTo>
                      <a:lnTo>
                        <a:pt x="388185" y="237561"/>
                      </a:lnTo>
                      <a:lnTo>
                        <a:pt x="385275" y="234888"/>
                      </a:lnTo>
                      <a:lnTo>
                        <a:pt x="383516" y="232328"/>
                      </a:lnTo>
                      <a:lnTo>
                        <a:pt x="379239" y="217273"/>
                      </a:lnTo>
                      <a:lnTo>
                        <a:pt x="378084" y="208062"/>
                      </a:lnTo>
                      <a:lnTo>
                        <a:pt x="380282" y="204005"/>
                      </a:lnTo>
                      <a:lnTo>
                        <a:pt x="380859" y="205773"/>
                      </a:lnTo>
                      <a:lnTo>
                        <a:pt x="381333" y="218175"/>
                      </a:lnTo>
                      <a:lnTo>
                        <a:pt x="382064" y="222293"/>
                      </a:lnTo>
                      <a:lnTo>
                        <a:pt x="383540" y="226342"/>
                      </a:lnTo>
                      <a:lnTo>
                        <a:pt x="385643" y="230082"/>
                      </a:lnTo>
                      <a:lnTo>
                        <a:pt x="390474" y="236228"/>
                      </a:lnTo>
                      <a:lnTo>
                        <a:pt x="391773" y="236974"/>
                      </a:lnTo>
                      <a:lnTo>
                        <a:pt x="394075" y="236991"/>
                      </a:lnTo>
                      <a:lnTo>
                        <a:pt x="395606" y="236125"/>
                      </a:lnTo>
                      <a:lnTo>
                        <a:pt x="397404" y="234386"/>
                      </a:lnTo>
                      <a:lnTo>
                        <a:pt x="398456" y="232710"/>
                      </a:lnTo>
                      <a:lnTo>
                        <a:pt x="397786" y="231978"/>
                      </a:lnTo>
                      <a:lnTo>
                        <a:pt x="397467" y="229873"/>
                      </a:lnTo>
                      <a:lnTo>
                        <a:pt x="397253" y="217227"/>
                      </a:lnTo>
                      <a:lnTo>
                        <a:pt x="395384" y="213378"/>
                      </a:lnTo>
                      <a:lnTo>
                        <a:pt x="389603" y="206987"/>
                      </a:lnTo>
                      <a:lnTo>
                        <a:pt x="388256" y="204425"/>
                      </a:lnTo>
                      <a:lnTo>
                        <a:pt x="387024" y="201112"/>
                      </a:lnTo>
                      <a:lnTo>
                        <a:pt x="384406" y="197891"/>
                      </a:lnTo>
                      <a:lnTo>
                        <a:pt x="381223" y="195037"/>
                      </a:lnTo>
                      <a:lnTo>
                        <a:pt x="378341" y="192968"/>
                      </a:lnTo>
                      <a:lnTo>
                        <a:pt x="358745" y="185047"/>
                      </a:lnTo>
                      <a:lnTo>
                        <a:pt x="353580" y="181156"/>
                      </a:lnTo>
                      <a:lnTo>
                        <a:pt x="352657" y="180072"/>
                      </a:lnTo>
                      <a:lnTo>
                        <a:pt x="351988" y="179055"/>
                      </a:lnTo>
                      <a:lnTo>
                        <a:pt x="351454" y="177851"/>
                      </a:lnTo>
                      <a:lnTo>
                        <a:pt x="350948" y="176200"/>
                      </a:lnTo>
                      <a:lnTo>
                        <a:pt x="352168" y="176170"/>
                      </a:lnTo>
                      <a:lnTo>
                        <a:pt x="354287" y="179108"/>
                      </a:lnTo>
                      <a:lnTo>
                        <a:pt x="357938" y="182340"/>
                      </a:lnTo>
                      <a:lnTo>
                        <a:pt x="361966" y="184594"/>
                      </a:lnTo>
                      <a:lnTo>
                        <a:pt x="365250" y="184565"/>
                      </a:lnTo>
                      <a:lnTo>
                        <a:pt x="342932" y="168736"/>
                      </a:lnTo>
                      <a:lnTo>
                        <a:pt x="340661" y="167839"/>
                      </a:lnTo>
                      <a:lnTo>
                        <a:pt x="331874" y="160270"/>
                      </a:lnTo>
                      <a:lnTo>
                        <a:pt x="330290" y="158257"/>
                      </a:lnTo>
                      <a:lnTo>
                        <a:pt x="331590" y="157859"/>
                      </a:lnTo>
                      <a:lnTo>
                        <a:pt x="341783" y="159320"/>
                      </a:lnTo>
                      <a:lnTo>
                        <a:pt x="341898" y="162637"/>
                      </a:lnTo>
                      <a:lnTo>
                        <a:pt x="352953" y="165512"/>
                      </a:lnTo>
                      <a:lnTo>
                        <a:pt x="356009" y="168075"/>
                      </a:lnTo>
                      <a:lnTo>
                        <a:pt x="358941" y="171791"/>
                      </a:lnTo>
                      <a:lnTo>
                        <a:pt x="365057" y="175687"/>
                      </a:lnTo>
                      <a:lnTo>
                        <a:pt x="371045" y="177827"/>
                      </a:lnTo>
                      <a:lnTo>
                        <a:pt x="373592" y="176313"/>
                      </a:lnTo>
                      <a:lnTo>
                        <a:pt x="374816" y="174920"/>
                      </a:lnTo>
                      <a:lnTo>
                        <a:pt x="377424" y="174153"/>
                      </a:lnTo>
                      <a:lnTo>
                        <a:pt x="379301" y="173198"/>
                      </a:lnTo>
                      <a:lnTo>
                        <a:pt x="378408" y="171270"/>
                      </a:lnTo>
                      <a:lnTo>
                        <a:pt x="377208" y="170721"/>
                      </a:lnTo>
                      <a:lnTo>
                        <a:pt x="374514" y="170955"/>
                      </a:lnTo>
                      <a:lnTo>
                        <a:pt x="373184" y="170841"/>
                      </a:lnTo>
                      <a:lnTo>
                        <a:pt x="372431" y="170069"/>
                      </a:lnTo>
                      <a:lnTo>
                        <a:pt x="372449" y="169130"/>
                      </a:lnTo>
                      <a:lnTo>
                        <a:pt x="372258" y="168732"/>
                      </a:lnTo>
                      <a:lnTo>
                        <a:pt x="370822" y="169566"/>
                      </a:lnTo>
                      <a:lnTo>
                        <a:pt x="369144" y="173653"/>
                      </a:lnTo>
                      <a:lnTo>
                        <a:pt x="367590" y="175259"/>
                      </a:lnTo>
                      <a:lnTo>
                        <a:pt x="365043" y="174120"/>
                      </a:lnTo>
                      <a:lnTo>
                        <a:pt x="363334" y="171172"/>
                      </a:lnTo>
                      <a:lnTo>
                        <a:pt x="363217" y="165063"/>
                      </a:lnTo>
                      <a:lnTo>
                        <a:pt x="362371" y="162387"/>
                      </a:lnTo>
                      <a:lnTo>
                        <a:pt x="359527" y="163863"/>
                      </a:lnTo>
                      <a:lnTo>
                        <a:pt x="358235" y="162261"/>
                      </a:lnTo>
                      <a:lnTo>
                        <a:pt x="358651" y="159503"/>
                      </a:lnTo>
                      <a:lnTo>
                        <a:pt x="360876" y="157514"/>
                      </a:lnTo>
                      <a:lnTo>
                        <a:pt x="360793" y="156395"/>
                      </a:lnTo>
                      <a:lnTo>
                        <a:pt x="357688" y="156691"/>
                      </a:lnTo>
                      <a:lnTo>
                        <a:pt x="355237" y="158004"/>
                      </a:lnTo>
                      <a:lnTo>
                        <a:pt x="352751" y="158841"/>
                      </a:lnTo>
                      <a:lnTo>
                        <a:pt x="349591" y="157790"/>
                      </a:lnTo>
                      <a:lnTo>
                        <a:pt x="349608" y="159005"/>
                      </a:lnTo>
                      <a:lnTo>
                        <a:pt x="349358" y="159832"/>
                      </a:lnTo>
                      <a:lnTo>
                        <a:pt x="349006" y="160552"/>
                      </a:lnTo>
                      <a:lnTo>
                        <a:pt x="348732" y="161489"/>
                      </a:lnTo>
                      <a:lnTo>
                        <a:pt x="346341" y="159693"/>
                      </a:lnTo>
                      <a:lnTo>
                        <a:pt x="342553" y="157507"/>
                      </a:lnTo>
                      <a:lnTo>
                        <a:pt x="338635" y="156210"/>
                      </a:lnTo>
                      <a:lnTo>
                        <a:pt x="335855" y="157002"/>
                      </a:lnTo>
                      <a:lnTo>
                        <a:pt x="334437" y="154949"/>
                      </a:lnTo>
                      <a:lnTo>
                        <a:pt x="332776" y="153802"/>
                      </a:lnTo>
                      <a:lnTo>
                        <a:pt x="326828" y="151264"/>
                      </a:lnTo>
                      <a:lnTo>
                        <a:pt x="325425" y="150331"/>
                      </a:lnTo>
                      <a:lnTo>
                        <a:pt x="324131" y="149117"/>
                      </a:lnTo>
                      <a:lnTo>
                        <a:pt x="322710" y="147379"/>
                      </a:lnTo>
                      <a:lnTo>
                        <a:pt x="326094" y="145364"/>
                      </a:lnTo>
                      <a:lnTo>
                        <a:pt x="332421" y="137009"/>
                      </a:lnTo>
                      <a:lnTo>
                        <a:pt x="334922" y="136582"/>
                      </a:lnTo>
                      <a:lnTo>
                        <a:pt x="338985" y="137977"/>
                      </a:lnTo>
                      <a:lnTo>
                        <a:pt x="344870" y="130583"/>
                      </a:lnTo>
                      <a:lnTo>
                        <a:pt x="348803" y="130662"/>
                      </a:lnTo>
                      <a:lnTo>
                        <a:pt x="346422" y="126356"/>
                      </a:lnTo>
                      <a:lnTo>
                        <a:pt x="344773" y="124273"/>
                      </a:lnTo>
                      <a:lnTo>
                        <a:pt x="343087" y="123428"/>
                      </a:lnTo>
                      <a:lnTo>
                        <a:pt x="341587" y="124878"/>
                      </a:lnTo>
                      <a:lnTo>
                        <a:pt x="338062" y="131481"/>
                      </a:lnTo>
                      <a:lnTo>
                        <a:pt x="335258" y="133453"/>
                      </a:lnTo>
                      <a:lnTo>
                        <a:pt x="334284" y="131024"/>
                      </a:lnTo>
                      <a:lnTo>
                        <a:pt x="332401" y="131340"/>
                      </a:lnTo>
                      <a:lnTo>
                        <a:pt x="330101" y="132751"/>
                      </a:lnTo>
                      <a:lnTo>
                        <a:pt x="327876" y="133632"/>
                      </a:lnTo>
                      <a:lnTo>
                        <a:pt x="326052" y="134658"/>
                      </a:lnTo>
                      <a:lnTo>
                        <a:pt x="325040" y="136659"/>
                      </a:lnTo>
                      <a:lnTo>
                        <a:pt x="324002" y="138127"/>
                      </a:lnTo>
                      <a:lnTo>
                        <a:pt x="321994" y="137561"/>
                      </a:lnTo>
                      <a:lnTo>
                        <a:pt x="321802" y="134481"/>
                      </a:lnTo>
                      <a:lnTo>
                        <a:pt x="320109" y="131850"/>
                      </a:lnTo>
                      <a:lnTo>
                        <a:pt x="317727" y="129029"/>
                      </a:lnTo>
                      <a:lnTo>
                        <a:pt x="315445" y="125328"/>
                      </a:lnTo>
                      <a:lnTo>
                        <a:pt x="313814" y="128552"/>
                      </a:lnTo>
                      <a:lnTo>
                        <a:pt x="311992" y="129884"/>
                      </a:lnTo>
                      <a:lnTo>
                        <a:pt x="306802" y="130550"/>
                      </a:lnTo>
                      <a:lnTo>
                        <a:pt x="304160" y="131375"/>
                      </a:lnTo>
                      <a:lnTo>
                        <a:pt x="301245" y="133055"/>
                      </a:lnTo>
                      <a:lnTo>
                        <a:pt x="299690" y="135501"/>
                      </a:lnTo>
                      <a:lnTo>
                        <a:pt x="301107" y="138623"/>
                      </a:lnTo>
                      <a:lnTo>
                        <a:pt x="303797" y="140610"/>
                      </a:lnTo>
                      <a:lnTo>
                        <a:pt x="305666" y="140543"/>
                      </a:lnTo>
                      <a:lnTo>
                        <a:pt x="307793" y="139577"/>
                      </a:lnTo>
                      <a:lnTo>
                        <a:pt x="311303" y="138937"/>
                      </a:lnTo>
                      <a:lnTo>
                        <a:pt x="314403" y="139522"/>
                      </a:lnTo>
                      <a:lnTo>
                        <a:pt x="316383" y="141086"/>
                      </a:lnTo>
                      <a:lnTo>
                        <a:pt x="318064" y="143081"/>
                      </a:lnTo>
                      <a:lnTo>
                        <a:pt x="320272" y="144984"/>
                      </a:lnTo>
                      <a:lnTo>
                        <a:pt x="318049" y="148443"/>
                      </a:lnTo>
                      <a:lnTo>
                        <a:pt x="319493" y="150591"/>
                      </a:lnTo>
                      <a:lnTo>
                        <a:pt x="322661" y="152353"/>
                      </a:lnTo>
                      <a:lnTo>
                        <a:pt x="325600" y="154678"/>
                      </a:lnTo>
                      <a:lnTo>
                        <a:pt x="324556" y="157274"/>
                      </a:lnTo>
                      <a:lnTo>
                        <a:pt x="322312" y="155240"/>
                      </a:lnTo>
                      <a:lnTo>
                        <a:pt x="321005" y="155623"/>
                      </a:lnTo>
                      <a:lnTo>
                        <a:pt x="322098" y="156740"/>
                      </a:lnTo>
                      <a:lnTo>
                        <a:pt x="323514" y="158420"/>
                      </a:lnTo>
                      <a:lnTo>
                        <a:pt x="319523" y="157592"/>
                      </a:lnTo>
                      <a:lnTo>
                        <a:pt x="298644" y="144269"/>
                      </a:lnTo>
                      <a:lnTo>
                        <a:pt x="284024" y="137987"/>
                      </a:lnTo>
                      <a:lnTo>
                        <a:pt x="264192" y="128919"/>
                      </a:lnTo>
                      <a:lnTo>
                        <a:pt x="242804" y="123346"/>
                      </a:lnTo>
                      <a:lnTo>
                        <a:pt x="213889" y="116635"/>
                      </a:lnTo>
                      <a:lnTo>
                        <a:pt x="193893" y="114926"/>
                      </a:lnTo>
                      <a:lnTo>
                        <a:pt x="189431" y="112355"/>
                      </a:lnTo>
                      <a:lnTo>
                        <a:pt x="189601" y="112082"/>
                      </a:lnTo>
                      <a:lnTo>
                        <a:pt x="189548" y="111599"/>
                      </a:lnTo>
                      <a:lnTo>
                        <a:pt x="189691" y="111033"/>
                      </a:lnTo>
                      <a:lnTo>
                        <a:pt x="192347" y="111778"/>
                      </a:lnTo>
                      <a:lnTo>
                        <a:pt x="205649" y="111905"/>
                      </a:lnTo>
                      <a:lnTo>
                        <a:pt x="216629" y="114013"/>
                      </a:lnTo>
                      <a:lnTo>
                        <a:pt x="218602" y="113054"/>
                      </a:lnTo>
                      <a:lnTo>
                        <a:pt x="219712" y="110884"/>
                      </a:lnTo>
                      <a:lnTo>
                        <a:pt x="220422" y="108425"/>
                      </a:lnTo>
                      <a:lnTo>
                        <a:pt x="221201" y="106542"/>
                      </a:lnTo>
                      <a:lnTo>
                        <a:pt x="221974" y="106436"/>
                      </a:lnTo>
                      <a:lnTo>
                        <a:pt x="222201" y="106702"/>
                      </a:lnTo>
                      <a:lnTo>
                        <a:pt x="222329" y="106516"/>
                      </a:lnTo>
                      <a:lnTo>
                        <a:pt x="223145" y="108568"/>
                      </a:lnTo>
                      <a:lnTo>
                        <a:pt x="224494" y="110556"/>
                      </a:lnTo>
                      <a:lnTo>
                        <a:pt x="226415" y="112049"/>
                      </a:lnTo>
                      <a:lnTo>
                        <a:pt x="234007" y="113617"/>
                      </a:lnTo>
                      <a:lnTo>
                        <a:pt x="234978" y="112878"/>
                      </a:lnTo>
                      <a:lnTo>
                        <a:pt x="235969" y="111648"/>
                      </a:lnTo>
                      <a:lnTo>
                        <a:pt x="236373" y="110497"/>
                      </a:lnTo>
                      <a:lnTo>
                        <a:pt x="235551" y="109996"/>
                      </a:lnTo>
                      <a:lnTo>
                        <a:pt x="232976" y="109631"/>
                      </a:lnTo>
                      <a:lnTo>
                        <a:pt x="230929" y="108646"/>
                      </a:lnTo>
                      <a:lnTo>
                        <a:pt x="230439" y="107406"/>
                      </a:lnTo>
                      <a:lnTo>
                        <a:pt x="232466" y="106285"/>
                      </a:lnTo>
                      <a:lnTo>
                        <a:pt x="234750" y="106502"/>
                      </a:lnTo>
                      <a:lnTo>
                        <a:pt x="237217" y="107836"/>
                      </a:lnTo>
                      <a:lnTo>
                        <a:pt x="241946" y="111078"/>
                      </a:lnTo>
                      <a:lnTo>
                        <a:pt x="249973" y="113059"/>
                      </a:lnTo>
                      <a:lnTo>
                        <a:pt x="251692" y="113876"/>
                      </a:lnTo>
                      <a:lnTo>
                        <a:pt x="254766" y="115956"/>
                      </a:lnTo>
                      <a:lnTo>
                        <a:pt x="256266" y="114596"/>
                      </a:lnTo>
                      <a:lnTo>
                        <a:pt x="256285" y="112101"/>
                      </a:lnTo>
                      <a:lnTo>
                        <a:pt x="254906" y="110778"/>
                      </a:lnTo>
                      <a:lnTo>
                        <a:pt x="254686" y="109847"/>
                      </a:lnTo>
                      <a:lnTo>
                        <a:pt x="249309" y="104776"/>
                      </a:lnTo>
                      <a:lnTo>
                        <a:pt x="248158" y="102096"/>
                      </a:lnTo>
                      <a:lnTo>
                        <a:pt x="248955" y="101273"/>
                      </a:lnTo>
                      <a:lnTo>
                        <a:pt x="250100" y="100346"/>
                      </a:lnTo>
                      <a:lnTo>
                        <a:pt x="250013" y="97399"/>
                      </a:lnTo>
                      <a:lnTo>
                        <a:pt x="245835" y="99486"/>
                      </a:lnTo>
                      <a:lnTo>
                        <a:pt x="242969" y="100138"/>
                      </a:lnTo>
                      <a:lnTo>
                        <a:pt x="240721" y="98500"/>
                      </a:lnTo>
                      <a:lnTo>
                        <a:pt x="238371" y="93762"/>
                      </a:lnTo>
                      <a:lnTo>
                        <a:pt x="235871" y="96088"/>
                      </a:lnTo>
                      <a:lnTo>
                        <a:pt x="232577" y="96397"/>
                      </a:lnTo>
                      <a:lnTo>
                        <a:pt x="225452" y="95390"/>
                      </a:lnTo>
                      <a:lnTo>
                        <a:pt x="222298" y="95872"/>
                      </a:lnTo>
                      <a:lnTo>
                        <a:pt x="215282" y="97787"/>
                      </a:lnTo>
                      <a:lnTo>
                        <a:pt x="212112" y="98269"/>
                      </a:lnTo>
                      <a:lnTo>
                        <a:pt x="209814" y="99170"/>
                      </a:lnTo>
                      <a:lnTo>
                        <a:pt x="207871" y="100940"/>
                      </a:lnTo>
                      <a:lnTo>
                        <a:pt x="205705" y="102320"/>
                      </a:lnTo>
                      <a:lnTo>
                        <a:pt x="202725" y="102043"/>
                      </a:lnTo>
                      <a:lnTo>
                        <a:pt x="200331" y="99793"/>
                      </a:lnTo>
                      <a:lnTo>
                        <a:pt x="200909" y="97125"/>
                      </a:lnTo>
                      <a:lnTo>
                        <a:pt x="204297" y="92184"/>
                      </a:lnTo>
                      <a:lnTo>
                        <a:pt x="200338" y="92223"/>
                      </a:lnTo>
                      <a:lnTo>
                        <a:pt x="198750" y="92602"/>
                      </a:lnTo>
                      <a:lnTo>
                        <a:pt x="197625" y="93563"/>
                      </a:lnTo>
                      <a:lnTo>
                        <a:pt x="196631" y="95546"/>
                      </a:lnTo>
                      <a:lnTo>
                        <a:pt x="195062" y="95318"/>
                      </a:lnTo>
                      <a:lnTo>
                        <a:pt x="193302" y="93661"/>
                      </a:lnTo>
                      <a:lnTo>
                        <a:pt x="191733" y="91363"/>
                      </a:lnTo>
                      <a:lnTo>
                        <a:pt x="191998" y="93470"/>
                      </a:lnTo>
                      <a:lnTo>
                        <a:pt x="193140" y="97913"/>
                      </a:lnTo>
                      <a:lnTo>
                        <a:pt x="192888" y="99258"/>
                      </a:lnTo>
                      <a:lnTo>
                        <a:pt x="191261" y="100545"/>
                      </a:lnTo>
                      <a:lnTo>
                        <a:pt x="189358" y="101546"/>
                      </a:lnTo>
                      <a:lnTo>
                        <a:pt x="187274" y="102177"/>
                      </a:lnTo>
                      <a:lnTo>
                        <a:pt x="185152" y="102437"/>
                      </a:lnTo>
                      <a:lnTo>
                        <a:pt x="183715" y="103061"/>
                      </a:lnTo>
                      <a:lnTo>
                        <a:pt x="181841" y="105714"/>
                      </a:lnTo>
                      <a:lnTo>
                        <a:pt x="179826" y="106351"/>
                      </a:lnTo>
                      <a:lnTo>
                        <a:pt x="175927" y="105896"/>
                      </a:lnTo>
                      <a:lnTo>
                        <a:pt x="175770" y="106690"/>
                      </a:lnTo>
                      <a:lnTo>
                        <a:pt x="176030" y="109441"/>
                      </a:lnTo>
                      <a:lnTo>
                        <a:pt x="174207" y="110776"/>
                      </a:lnTo>
                      <a:lnTo>
                        <a:pt x="161309" y="110335"/>
                      </a:lnTo>
                      <a:lnTo>
                        <a:pt x="147970" y="111986"/>
                      </a:lnTo>
                      <a:lnTo>
                        <a:pt x="144386" y="110703"/>
                      </a:lnTo>
                      <a:lnTo>
                        <a:pt x="140858" y="112535"/>
                      </a:lnTo>
                      <a:lnTo>
                        <a:pt x="136226" y="113358"/>
                      </a:lnTo>
                      <a:lnTo>
                        <a:pt x="126968" y="113629"/>
                      </a:lnTo>
                      <a:lnTo>
                        <a:pt x="101484" y="117496"/>
                      </a:lnTo>
                      <a:lnTo>
                        <a:pt x="85318" y="122124"/>
                      </a:lnTo>
                      <a:lnTo>
                        <a:pt x="77091" y="123266"/>
                      </a:lnTo>
                      <a:lnTo>
                        <a:pt x="77633" y="121274"/>
                      </a:lnTo>
                      <a:lnTo>
                        <a:pt x="78653" y="120462"/>
                      </a:lnTo>
                      <a:lnTo>
                        <a:pt x="79979" y="120129"/>
                      </a:lnTo>
                      <a:lnTo>
                        <a:pt x="85981" y="117270"/>
                      </a:lnTo>
                      <a:lnTo>
                        <a:pt x="95792" y="114507"/>
                      </a:lnTo>
                      <a:lnTo>
                        <a:pt x="104816" y="114229"/>
                      </a:lnTo>
                      <a:lnTo>
                        <a:pt x="107735" y="113657"/>
                      </a:lnTo>
                      <a:lnTo>
                        <a:pt x="117948" y="105127"/>
                      </a:lnTo>
                      <a:lnTo>
                        <a:pt x="120181" y="105935"/>
                      </a:lnTo>
                      <a:lnTo>
                        <a:pt x="123364" y="107476"/>
                      </a:lnTo>
                      <a:lnTo>
                        <a:pt x="125815" y="108118"/>
                      </a:lnTo>
                      <a:lnTo>
                        <a:pt x="125918" y="106186"/>
                      </a:lnTo>
                      <a:lnTo>
                        <a:pt x="123776" y="104081"/>
                      </a:lnTo>
                      <a:lnTo>
                        <a:pt x="120263" y="102620"/>
                      </a:lnTo>
                      <a:lnTo>
                        <a:pt x="116508" y="101787"/>
                      </a:lnTo>
                      <a:lnTo>
                        <a:pt x="113706" y="101532"/>
                      </a:lnTo>
                      <a:lnTo>
                        <a:pt x="112177" y="100781"/>
                      </a:lnTo>
                      <a:lnTo>
                        <a:pt x="109737" y="97382"/>
                      </a:lnTo>
                      <a:lnTo>
                        <a:pt x="108935" y="96625"/>
                      </a:lnTo>
                      <a:lnTo>
                        <a:pt x="107307" y="96630"/>
                      </a:lnTo>
                      <a:lnTo>
                        <a:pt x="106053" y="96378"/>
                      </a:lnTo>
                      <a:lnTo>
                        <a:pt x="105199" y="95549"/>
                      </a:lnTo>
                      <a:lnTo>
                        <a:pt x="104798" y="93803"/>
                      </a:lnTo>
                      <a:lnTo>
                        <a:pt x="105614" y="91212"/>
                      </a:lnTo>
                      <a:lnTo>
                        <a:pt x="107900" y="89234"/>
                      </a:lnTo>
                      <a:lnTo>
                        <a:pt x="113366" y="86713"/>
                      </a:lnTo>
                      <a:lnTo>
                        <a:pt x="113179" y="85884"/>
                      </a:lnTo>
                      <a:lnTo>
                        <a:pt x="112943" y="85369"/>
                      </a:lnTo>
                      <a:lnTo>
                        <a:pt x="111978" y="84286"/>
                      </a:lnTo>
                      <a:lnTo>
                        <a:pt x="108952" y="86258"/>
                      </a:lnTo>
                      <a:lnTo>
                        <a:pt x="107092" y="83908"/>
                      </a:lnTo>
                      <a:lnTo>
                        <a:pt x="105055" y="80259"/>
                      </a:lnTo>
                      <a:lnTo>
                        <a:pt x="101439" y="78377"/>
                      </a:lnTo>
                      <a:lnTo>
                        <a:pt x="103206" y="81512"/>
                      </a:lnTo>
                      <a:lnTo>
                        <a:pt x="103141" y="83312"/>
                      </a:lnTo>
                      <a:lnTo>
                        <a:pt x="102365" y="84622"/>
                      </a:lnTo>
                      <a:lnTo>
                        <a:pt x="99457" y="94442"/>
                      </a:lnTo>
                      <a:lnTo>
                        <a:pt x="97642" y="98661"/>
                      </a:lnTo>
                      <a:lnTo>
                        <a:pt x="96866" y="104833"/>
                      </a:lnTo>
                      <a:lnTo>
                        <a:pt x="95364" y="106831"/>
                      </a:lnTo>
                      <a:lnTo>
                        <a:pt x="92805" y="107016"/>
                      </a:lnTo>
                      <a:lnTo>
                        <a:pt x="91771" y="104954"/>
                      </a:lnTo>
                      <a:lnTo>
                        <a:pt x="91855" y="102014"/>
                      </a:lnTo>
                      <a:lnTo>
                        <a:pt x="92651" y="99526"/>
                      </a:lnTo>
                      <a:lnTo>
                        <a:pt x="91385" y="97169"/>
                      </a:lnTo>
                      <a:lnTo>
                        <a:pt x="90609" y="93983"/>
                      </a:lnTo>
                      <a:lnTo>
                        <a:pt x="89056" y="91458"/>
                      </a:lnTo>
                      <a:lnTo>
                        <a:pt x="85441" y="91094"/>
                      </a:lnTo>
                      <a:lnTo>
                        <a:pt x="85689" y="90227"/>
                      </a:lnTo>
                      <a:lnTo>
                        <a:pt x="85967" y="88145"/>
                      </a:lnTo>
                      <a:lnTo>
                        <a:pt x="86228" y="87285"/>
                      </a:lnTo>
                      <a:lnTo>
                        <a:pt x="83375" y="86927"/>
                      </a:lnTo>
                      <a:lnTo>
                        <a:pt x="82113" y="85389"/>
                      </a:lnTo>
                      <a:lnTo>
                        <a:pt x="81153" y="83612"/>
                      </a:lnTo>
                      <a:lnTo>
                        <a:pt x="79148" y="82528"/>
                      </a:lnTo>
                      <a:lnTo>
                        <a:pt x="76789" y="82964"/>
                      </a:lnTo>
                      <a:lnTo>
                        <a:pt x="76311" y="84867"/>
                      </a:lnTo>
                      <a:lnTo>
                        <a:pt x="77298" y="90591"/>
                      </a:lnTo>
                      <a:lnTo>
                        <a:pt x="78142" y="92767"/>
                      </a:lnTo>
                      <a:lnTo>
                        <a:pt x="81533" y="97250"/>
                      </a:lnTo>
                      <a:lnTo>
                        <a:pt x="82439" y="100412"/>
                      </a:lnTo>
                      <a:lnTo>
                        <a:pt x="81962" y="102643"/>
                      </a:lnTo>
                      <a:lnTo>
                        <a:pt x="78498" y="109638"/>
                      </a:lnTo>
                      <a:lnTo>
                        <a:pt x="77469" y="109660"/>
                      </a:lnTo>
                      <a:lnTo>
                        <a:pt x="77087" y="109229"/>
                      </a:lnTo>
                      <a:lnTo>
                        <a:pt x="76901" y="109064"/>
                      </a:lnTo>
                      <a:lnTo>
                        <a:pt x="76169" y="108568"/>
                      </a:lnTo>
                      <a:lnTo>
                        <a:pt x="75060" y="112772"/>
                      </a:lnTo>
                      <a:lnTo>
                        <a:pt x="71962" y="113940"/>
                      </a:lnTo>
                      <a:lnTo>
                        <a:pt x="68249" y="114323"/>
                      </a:lnTo>
                      <a:lnTo>
                        <a:pt x="65252" y="116146"/>
                      </a:lnTo>
                      <a:lnTo>
                        <a:pt x="64956" y="117892"/>
                      </a:lnTo>
                      <a:lnTo>
                        <a:pt x="65728" y="122293"/>
                      </a:lnTo>
                      <a:lnTo>
                        <a:pt x="65233" y="124072"/>
                      </a:lnTo>
                      <a:lnTo>
                        <a:pt x="63832" y="124846"/>
                      </a:lnTo>
                      <a:lnTo>
                        <a:pt x="59711" y="125530"/>
                      </a:lnTo>
                      <a:lnTo>
                        <a:pt x="58057" y="126112"/>
                      </a:lnTo>
                      <a:lnTo>
                        <a:pt x="58849" y="129342"/>
                      </a:lnTo>
                      <a:lnTo>
                        <a:pt x="55259" y="131001"/>
                      </a:lnTo>
                      <a:lnTo>
                        <a:pt x="32019" y="136146"/>
                      </a:lnTo>
                      <a:lnTo>
                        <a:pt x="29264" y="137736"/>
                      </a:lnTo>
                      <a:lnTo>
                        <a:pt x="27893" y="137339"/>
                      </a:lnTo>
                      <a:lnTo>
                        <a:pt x="24301" y="138368"/>
                      </a:lnTo>
                      <a:lnTo>
                        <a:pt x="22571" y="139199"/>
                      </a:lnTo>
                      <a:lnTo>
                        <a:pt x="22491" y="137870"/>
                      </a:lnTo>
                      <a:lnTo>
                        <a:pt x="24360" y="137102"/>
                      </a:lnTo>
                      <a:lnTo>
                        <a:pt x="25447" y="136130"/>
                      </a:lnTo>
                      <a:lnTo>
                        <a:pt x="26374" y="135081"/>
                      </a:lnTo>
                      <a:lnTo>
                        <a:pt x="27810" y="134080"/>
                      </a:lnTo>
                      <a:lnTo>
                        <a:pt x="29676" y="133502"/>
                      </a:lnTo>
                      <a:lnTo>
                        <a:pt x="35733" y="132577"/>
                      </a:lnTo>
                      <a:lnTo>
                        <a:pt x="32822" y="131247"/>
                      </a:lnTo>
                      <a:lnTo>
                        <a:pt x="29850" y="130363"/>
                      </a:lnTo>
                      <a:lnTo>
                        <a:pt x="31824" y="129584"/>
                      </a:lnTo>
                      <a:lnTo>
                        <a:pt x="35928" y="129591"/>
                      </a:lnTo>
                      <a:lnTo>
                        <a:pt x="37892" y="129084"/>
                      </a:lnTo>
                      <a:lnTo>
                        <a:pt x="39720" y="127665"/>
                      </a:lnTo>
                      <a:lnTo>
                        <a:pt x="40853" y="125822"/>
                      </a:lnTo>
                      <a:lnTo>
                        <a:pt x="40641" y="124013"/>
                      </a:lnTo>
                      <a:lnTo>
                        <a:pt x="38528" y="122711"/>
                      </a:lnTo>
                      <a:lnTo>
                        <a:pt x="38454" y="121484"/>
                      </a:lnTo>
                      <a:lnTo>
                        <a:pt x="42986" y="115867"/>
                      </a:lnTo>
                      <a:lnTo>
                        <a:pt x="45926" y="113629"/>
                      </a:lnTo>
                      <a:lnTo>
                        <a:pt x="49826" y="112680"/>
                      </a:lnTo>
                      <a:lnTo>
                        <a:pt x="51294" y="111686"/>
                      </a:lnTo>
                      <a:lnTo>
                        <a:pt x="51286" y="109493"/>
                      </a:lnTo>
                      <a:lnTo>
                        <a:pt x="50267" y="107050"/>
                      </a:lnTo>
                      <a:lnTo>
                        <a:pt x="48768" y="105333"/>
                      </a:lnTo>
                      <a:lnTo>
                        <a:pt x="47328" y="105012"/>
                      </a:lnTo>
                      <a:lnTo>
                        <a:pt x="44049" y="105436"/>
                      </a:lnTo>
                      <a:lnTo>
                        <a:pt x="42583" y="104910"/>
                      </a:lnTo>
                      <a:lnTo>
                        <a:pt x="41379" y="104042"/>
                      </a:lnTo>
                      <a:lnTo>
                        <a:pt x="38495" y="102615"/>
                      </a:lnTo>
                      <a:lnTo>
                        <a:pt x="38493" y="102612"/>
                      </a:lnTo>
                      <a:lnTo>
                        <a:pt x="38479" y="102583"/>
                      </a:lnTo>
                      <a:lnTo>
                        <a:pt x="38373" y="102380"/>
                      </a:lnTo>
                      <a:lnTo>
                        <a:pt x="34748" y="93880"/>
                      </a:lnTo>
                      <a:lnTo>
                        <a:pt x="34184" y="91001"/>
                      </a:lnTo>
                      <a:lnTo>
                        <a:pt x="34330" y="90218"/>
                      </a:lnTo>
                      <a:lnTo>
                        <a:pt x="34864" y="88664"/>
                      </a:lnTo>
                      <a:lnTo>
                        <a:pt x="37389" y="83839"/>
                      </a:lnTo>
                      <a:lnTo>
                        <a:pt x="38435" y="79075"/>
                      </a:lnTo>
                      <a:lnTo>
                        <a:pt x="39135" y="72839"/>
                      </a:lnTo>
                      <a:lnTo>
                        <a:pt x="39113" y="70197"/>
                      </a:lnTo>
                      <a:lnTo>
                        <a:pt x="38771" y="68389"/>
                      </a:lnTo>
                      <a:lnTo>
                        <a:pt x="38184" y="67757"/>
                      </a:lnTo>
                      <a:lnTo>
                        <a:pt x="36789" y="66650"/>
                      </a:lnTo>
                      <a:lnTo>
                        <a:pt x="23079" y="59291"/>
                      </a:lnTo>
                      <a:lnTo>
                        <a:pt x="20613" y="57601"/>
                      </a:lnTo>
                      <a:lnTo>
                        <a:pt x="18108" y="54583"/>
                      </a:lnTo>
                      <a:lnTo>
                        <a:pt x="14345" y="48721"/>
                      </a:lnTo>
                      <a:lnTo>
                        <a:pt x="13326" y="47401"/>
                      </a:lnTo>
                      <a:lnTo>
                        <a:pt x="4936" y="40191"/>
                      </a:lnTo>
                      <a:lnTo>
                        <a:pt x="2936" y="38014"/>
                      </a:lnTo>
                      <a:lnTo>
                        <a:pt x="1128" y="35632"/>
                      </a:lnTo>
                      <a:lnTo>
                        <a:pt x="350" y="34153"/>
                      </a:lnTo>
                      <a:lnTo>
                        <a:pt x="0" y="32754"/>
                      </a:lnTo>
                      <a:lnTo>
                        <a:pt x="85" y="31640"/>
                      </a:lnTo>
                      <a:lnTo>
                        <a:pt x="277" y="30567"/>
                      </a:lnTo>
                      <a:lnTo>
                        <a:pt x="825" y="28708"/>
                      </a:lnTo>
                      <a:lnTo>
                        <a:pt x="3777" y="21729"/>
                      </a:lnTo>
                      <a:lnTo>
                        <a:pt x="3998" y="20856"/>
                      </a:lnTo>
                      <a:lnTo>
                        <a:pt x="3151" y="12452"/>
                      </a:lnTo>
                      <a:lnTo>
                        <a:pt x="4097" y="9950"/>
                      </a:lnTo>
                      <a:lnTo>
                        <a:pt x="11522" y="9792"/>
                      </a:lnTo>
                      <a:lnTo>
                        <a:pt x="37658" y="9260"/>
                      </a:lnTo>
                      <a:lnTo>
                        <a:pt x="63789" y="8714"/>
                      </a:lnTo>
                      <a:lnTo>
                        <a:pt x="89921" y="8153"/>
                      </a:lnTo>
                      <a:lnTo>
                        <a:pt x="116046" y="7591"/>
                      </a:lnTo>
                      <a:lnTo>
                        <a:pt x="142169" y="7019"/>
                      </a:lnTo>
                      <a:lnTo>
                        <a:pt x="168290" y="6432"/>
                      </a:lnTo>
                      <a:lnTo>
                        <a:pt x="194404" y="5831"/>
                      </a:lnTo>
                      <a:lnTo>
                        <a:pt x="220515" y="5228"/>
                      </a:lnTo>
                      <a:lnTo>
                        <a:pt x="246626" y="4614"/>
                      </a:lnTo>
                      <a:lnTo>
                        <a:pt x="272728" y="3982"/>
                      </a:lnTo>
                      <a:lnTo>
                        <a:pt x="298827" y="3340"/>
                      </a:lnTo>
                      <a:lnTo>
                        <a:pt x="324926" y="2695"/>
                      </a:lnTo>
                      <a:lnTo>
                        <a:pt x="351017" y="2037"/>
                      </a:lnTo>
                      <a:lnTo>
                        <a:pt x="377105" y="1363"/>
                      </a:lnTo>
                      <a:lnTo>
                        <a:pt x="403191" y="688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0" name="Freeform 132">
                  <a:extLst>
                    <a:ext uri="{FF2B5EF4-FFF2-40B4-BE49-F238E27FC236}">
                      <a16:creationId xmlns:a16="http://schemas.microsoft.com/office/drawing/2014/main" id="{D5ECDBB2-5A9C-4EF3-BE1A-498B83F13052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4383723" y="4896185"/>
                  <a:ext cx="553599" cy="5571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8810" h="824133">
                      <a:moveTo>
                        <a:pt x="744725" y="710893"/>
                      </a:moveTo>
                      <a:lnTo>
                        <a:pt x="745159" y="714580"/>
                      </a:lnTo>
                      <a:lnTo>
                        <a:pt x="745244" y="719023"/>
                      </a:lnTo>
                      <a:lnTo>
                        <a:pt x="744420" y="724960"/>
                      </a:lnTo>
                      <a:lnTo>
                        <a:pt x="744384" y="730282"/>
                      </a:lnTo>
                      <a:lnTo>
                        <a:pt x="743493" y="736767"/>
                      </a:lnTo>
                      <a:lnTo>
                        <a:pt x="741488" y="741828"/>
                      </a:lnTo>
                      <a:lnTo>
                        <a:pt x="741757" y="744559"/>
                      </a:lnTo>
                      <a:lnTo>
                        <a:pt x="743368" y="749943"/>
                      </a:lnTo>
                      <a:lnTo>
                        <a:pt x="743181" y="753492"/>
                      </a:lnTo>
                      <a:lnTo>
                        <a:pt x="742133" y="755161"/>
                      </a:lnTo>
                      <a:lnTo>
                        <a:pt x="740840" y="754574"/>
                      </a:lnTo>
                      <a:lnTo>
                        <a:pt x="737812" y="740833"/>
                      </a:lnTo>
                      <a:lnTo>
                        <a:pt x="737443" y="736201"/>
                      </a:lnTo>
                      <a:lnTo>
                        <a:pt x="737164" y="734696"/>
                      </a:lnTo>
                      <a:lnTo>
                        <a:pt x="736531" y="733132"/>
                      </a:lnTo>
                      <a:lnTo>
                        <a:pt x="734713" y="729720"/>
                      </a:lnTo>
                      <a:lnTo>
                        <a:pt x="734276" y="728633"/>
                      </a:lnTo>
                      <a:lnTo>
                        <a:pt x="735380" y="723149"/>
                      </a:lnTo>
                      <a:lnTo>
                        <a:pt x="742816" y="716669"/>
                      </a:lnTo>
                      <a:lnTo>
                        <a:pt x="743608" y="710932"/>
                      </a:lnTo>
                      <a:close/>
                      <a:moveTo>
                        <a:pt x="768688" y="608246"/>
                      </a:moveTo>
                      <a:lnTo>
                        <a:pt x="771691" y="608903"/>
                      </a:lnTo>
                      <a:lnTo>
                        <a:pt x="773542" y="610397"/>
                      </a:lnTo>
                      <a:lnTo>
                        <a:pt x="772064" y="613809"/>
                      </a:lnTo>
                      <a:lnTo>
                        <a:pt x="770400" y="617426"/>
                      </a:lnTo>
                      <a:lnTo>
                        <a:pt x="768529" y="622825"/>
                      </a:lnTo>
                      <a:lnTo>
                        <a:pt x="765407" y="626507"/>
                      </a:lnTo>
                      <a:lnTo>
                        <a:pt x="762009" y="634929"/>
                      </a:lnTo>
                      <a:lnTo>
                        <a:pt x="759140" y="635451"/>
                      </a:lnTo>
                      <a:lnTo>
                        <a:pt x="757059" y="633770"/>
                      </a:lnTo>
                      <a:lnTo>
                        <a:pt x="755255" y="630895"/>
                      </a:lnTo>
                      <a:lnTo>
                        <a:pt x="756528" y="625718"/>
                      </a:lnTo>
                      <a:lnTo>
                        <a:pt x="758979" y="621669"/>
                      </a:lnTo>
                      <a:lnTo>
                        <a:pt x="760667" y="616474"/>
                      </a:lnTo>
                      <a:lnTo>
                        <a:pt x="761405" y="613882"/>
                      </a:lnTo>
                      <a:lnTo>
                        <a:pt x="763648" y="609845"/>
                      </a:lnTo>
                      <a:lnTo>
                        <a:pt x="765913" y="609549"/>
                      </a:lnTo>
                      <a:close/>
                      <a:moveTo>
                        <a:pt x="776223" y="578375"/>
                      </a:moveTo>
                      <a:lnTo>
                        <a:pt x="777173" y="579319"/>
                      </a:lnTo>
                      <a:lnTo>
                        <a:pt x="777037" y="581690"/>
                      </a:lnTo>
                      <a:lnTo>
                        <a:pt x="777526" y="585805"/>
                      </a:lnTo>
                      <a:lnTo>
                        <a:pt x="778964" y="590864"/>
                      </a:lnTo>
                      <a:lnTo>
                        <a:pt x="777648" y="593875"/>
                      </a:lnTo>
                      <a:lnTo>
                        <a:pt x="776310" y="598462"/>
                      </a:lnTo>
                      <a:lnTo>
                        <a:pt x="774856" y="602070"/>
                      </a:lnTo>
                      <a:lnTo>
                        <a:pt x="772497" y="601582"/>
                      </a:lnTo>
                      <a:lnTo>
                        <a:pt x="772981" y="598607"/>
                      </a:lnTo>
                      <a:lnTo>
                        <a:pt x="773118" y="596238"/>
                      </a:lnTo>
                      <a:lnTo>
                        <a:pt x="771197" y="594155"/>
                      </a:lnTo>
                      <a:lnTo>
                        <a:pt x="770477" y="589853"/>
                      </a:lnTo>
                      <a:lnTo>
                        <a:pt x="771376" y="586859"/>
                      </a:lnTo>
                      <a:lnTo>
                        <a:pt x="772876" y="583643"/>
                      </a:lnTo>
                      <a:lnTo>
                        <a:pt x="774141" y="578465"/>
                      </a:lnTo>
                      <a:close/>
                      <a:moveTo>
                        <a:pt x="394161" y="0"/>
                      </a:moveTo>
                      <a:lnTo>
                        <a:pt x="394249" y="215"/>
                      </a:lnTo>
                      <a:lnTo>
                        <a:pt x="394245" y="2358"/>
                      </a:lnTo>
                      <a:lnTo>
                        <a:pt x="393574" y="4481"/>
                      </a:lnTo>
                      <a:lnTo>
                        <a:pt x="393240" y="6822"/>
                      </a:lnTo>
                      <a:lnTo>
                        <a:pt x="392152" y="10409"/>
                      </a:lnTo>
                      <a:lnTo>
                        <a:pt x="388515" y="11840"/>
                      </a:lnTo>
                      <a:lnTo>
                        <a:pt x="385012" y="15513"/>
                      </a:lnTo>
                      <a:lnTo>
                        <a:pt x="381969" y="18578"/>
                      </a:lnTo>
                      <a:lnTo>
                        <a:pt x="379570" y="20792"/>
                      </a:lnTo>
                      <a:lnTo>
                        <a:pt x="376702" y="22549"/>
                      </a:lnTo>
                      <a:lnTo>
                        <a:pt x="374425" y="25409"/>
                      </a:lnTo>
                      <a:lnTo>
                        <a:pt x="373105" y="27964"/>
                      </a:lnTo>
                      <a:lnTo>
                        <a:pt x="371151" y="29814"/>
                      </a:lnTo>
                      <a:lnTo>
                        <a:pt x="368917" y="31360"/>
                      </a:lnTo>
                      <a:lnTo>
                        <a:pt x="366971" y="33140"/>
                      </a:lnTo>
                      <a:lnTo>
                        <a:pt x="365910" y="35734"/>
                      </a:lnTo>
                      <a:lnTo>
                        <a:pt x="365390" y="36771"/>
                      </a:lnTo>
                      <a:lnTo>
                        <a:pt x="365297" y="38091"/>
                      </a:lnTo>
                      <a:lnTo>
                        <a:pt x="365328" y="39540"/>
                      </a:lnTo>
                      <a:lnTo>
                        <a:pt x="365194" y="40978"/>
                      </a:lnTo>
                      <a:lnTo>
                        <a:pt x="364668" y="42442"/>
                      </a:lnTo>
                      <a:lnTo>
                        <a:pt x="362307" y="45696"/>
                      </a:lnTo>
                      <a:lnTo>
                        <a:pt x="361570" y="53246"/>
                      </a:lnTo>
                      <a:lnTo>
                        <a:pt x="367266" y="59603"/>
                      </a:lnTo>
                      <a:lnTo>
                        <a:pt x="382669" y="67829"/>
                      </a:lnTo>
                      <a:lnTo>
                        <a:pt x="388246" y="70076"/>
                      </a:lnTo>
                      <a:lnTo>
                        <a:pt x="391906" y="68941"/>
                      </a:lnTo>
                      <a:lnTo>
                        <a:pt x="393054" y="69163"/>
                      </a:lnTo>
                      <a:lnTo>
                        <a:pt x="393606" y="71550"/>
                      </a:lnTo>
                      <a:lnTo>
                        <a:pt x="395027" y="73719"/>
                      </a:lnTo>
                      <a:lnTo>
                        <a:pt x="401266" y="76601"/>
                      </a:lnTo>
                      <a:lnTo>
                        <a:pt x="405066" y="80680"/>
                      </a:lnTo>
                      <a:lnTo>
                        <a:pt x="408626" y="82552"/>
                      </a:lnTo>
                      <a:lnTo>
                        <a:pt x="411637" y="86659"/>
                      </a:lnTo>
                      <a:lnTo>
                        <a:pt x="414484" y="89218"/>
                      </a:lnTo>
                      <a:lnTo>
                        <a:pt x="419893" y="91694"/>
                      </a:lnTo>
                      <a:lnTo>
                        <a:pt x="427367" y="91207"/>
                      </a:lnTo>
                      <a:lnTo>
                        <a:pt x="438209" y="90823"/>
                      </a:lnTo>
                      <a:lnTo>
                        <a:pt x="445344" y="94555"/>
                      </a:lnTo>
                      <a:lnTo>
                        <a:pt x="447623" y="99134"/>
                      </a:lnTo>
                      <a:lnTo>
                        <a:pt x="448933" y="103970"/>
                      </a:lnTo>
                      <a:lnTo>
                        <a:pt x="451728" y="109639"/>
                      </a:lnTo>
                      <a:lnTo>
                        <a:pt x="453335" y="111170"/>
                      </a:lnTo>
                      <a:lnTo>
                        <a:pt x="463823" y="123902"/>
                      </a:lnTo>
                      <a:lnTo>
                        <a:pt x="465533" y="127901"/>
                      </a:lnTo>
                      <a:lnTo>
                        <a:pt x="470203" y="142998"/>
                      </a:lnTo>
                      <a:lnTo>
                        <a:pt x="471351" y="145450"/>
                      </a:lnTo>
                      <a:lnTo>
                        <a:pt x="472521" y="146173"/>
                      </a:lnTo>
                      <a:lnTo>
                        <a:pt x="475489" y="149425"/>
                      </a:lnTo>
                      <a:lnTo>
                        <a:pt x="479412" y="150743"/>
                      </a:lnTo>
                      <a:lnTo>
                        <a:pt x="481624" y="152345"/>
                      </a:lnTo>
                      <a:lnTo>
                        <a:pt x="483634" y="154317"/>
                      </a:lnTo>
                      <a:lnTo>
                        <a:pt x="485054" y="156062"/>
                      </a:lnTo>
                      <a:lnTo>
                        <a:pt x="487333" y="160964"/>
                      </a:lnTo>
                      <a:lnTo>
                        <a:pt x="488907" y="163406"/>
                      </a:lnTo>
                      <a:lnTo>
                        <a:pt x="492866" y="165146"/>
                      </a:lnTo>
                      <a:lnTo>
                        <a:pt x="494418" y="167052"/>
                      </a:lnTo>
                      <a:lnTo>
                        <a:pt x="496587" y="171977"/>
                      </a:lnTo>
                      <a:lnTo>
                        <a:pt x="498832" y="176114"/>
                      </a:lnTo>
                      <a:lnTo>
                        <a:pt x="500526" y="180724"/>
                      </a:lnTo>
                      <a:lnTo>
                        <a:pt x="502722" y="182642"/>
                      </a:lnTo>
                      <a:lnTo>
                        <a:pt x="505393" y="183437"/>
                      </a:lnTo>
                      <a:lnTo>
                        <a:pt x="508564" y="183323"/>
                      </a:lnTo>
                      <a:lnTo>
                        <a:pt x="511400" y="185659"/>
                      </a:lnTo>
                      <a:lnTo>
                        <a:pt x="514589" y="189329"/>
                      </a:lnTo>
                      <a:lnTo>
                        <a:pt x="518788" y="193173"/>
                      </a:lnTo>
                      <a:lnTo>
                        <a:pt x="524077" y="196098"/>
                      </a:lnTo>
                      <a:lnTo>
                        <a:pt x="529477" y="198128"/>
                      </a:lnTo>
                      <a:lnTo>
                        <a:pt x="536030" y="201668"/>
                      </a:lnTo>
                      <a:lnTo>
                        <a:pt x="543332" y="206513"/>
                      </a:lnTo>
                      <a:lnTo>
                        <a:pt x="551798" y="212874"/>
                      </a:lnTo>
                      <a:lnTo>
                        <a:pt x="556702" y="217593"/>
                      </a:lnTo>
                      <a:lnTo>
                        <a:pt x="559570" y="225494"/>
                      </a:lnTo>
                      <a:lnTo>
                        <a:pt x="562538" y="228942"/>
                      </a:lnTo>
                      <a:lnTo>
                        <a:pt x="564338" y="232879"/>
                      </a:lnTo>
                      <a:lnTo>
                        <a:pt x="567210" y="237977"/>
                      </a:lnTo>
                      <a:lnTo>
                        <a:pt x="570752" y="241107"/>
                      </a:lnTo>
                      <a:lnTo>
                        <a:pt x="574774" y="243380"/>
                      </a:lnTo>
                      <a:lnTo>
                        <a:pt x="578373" y="244714"/>
                      </a:lnTo>
                      <a:lnTo>
                        <a:pt x="586213" y="246561"/>
                      </a:lnTo>
                      <a:lnTo>
                        <a:pt x="589533" y="247905"/>
                      </a:lnTo>
                      <a:lnTo>
                        <a:pt x="593160" y="250402"/>
                      </a:lnTo>
                      <a:lnTo>
                        <a:pt x="600802" y="258113"/>
                      </a:lnTo>
                      <a:lnTo>
                        <a:pt x="604412" y="260891"/>
                      </a:lnTo>
                      <a:lnTo>
                        <a:pt x="611305" y="264782"/>
                      </a:lnTo>
                      <a:lnTo>
                        <a:pt x="613916" y="267825"/>
                      </a:lnTo>
                      <a:lnTo>
                        <a:pt x="613207" y="271697"/>
                      </a:lnTo>
                      <a:lnTo>
                        <a:pt x="614131" y="272586"/>
                      </a:lnTo>
                      <a:lnTo>
                        <a:pt x="615803" y="275283"/>
                      </a:lnTo>
                      <a:lnTo>
                        <a:pt x="613313" y="275762"/>
                      </a:lnTo>
                      <a:lnTo>
                        <a:pt x="613040" y="277116"/>
                      </a:lnTo>
                      <a:lnTo>
                        <a:pt x="615492" y="281410"/>
                      </a:lnTo>
                      <a:lnTo>
                        <a:pt x="613334" y="282628"/>
                      </a:lnTo>
                      <a:lnTo>
                        <a:pt x="614736" y="285258"/>
                      </a:lnTo>
                      <a:lnTo>
                        <a:pt x="622398" y="292631"/>
                      </a:lnTo>
                      <a:lnTo>
                        <a:pt x="623865" y="293685"/>
                      </a:lnTo>
                      <a:lnTo>
                        <a:pt x="624361" y="292781"/>
                      </a:lnTo>
                      <a:lnTo>
                        <a:pt x="625053" y="291945"/>
                      </a:lnTo>
                      <a:lnTo>
                        <a:pt x="626851" y="292097"/>
                      </a:lnTo>
                      <a:lnTo>
                        <a:pt x="628811" y="292712"/>
                      </a:lnTo>
                      <a:lnTo>
                        <a:pt x="630005" y="293237"/>
                      </a:lnTo>
                      <a:lnTo>
                        <a:pt x="630143" y="294455"/>
                      </a:lnTo>
                      <a:lnTo>
                        <a:pt x="628079" y="295653"/>
                      </a:lnTo>
                      <a:lnTo>
                        <a:pt x="631039" y="297545"/>
                      </a:lnTo>
                      <a:lnTo>
                        <a:pt x="632397" y="299554"/>
                      </a:lnTo>
                      <a:lnTo>
                        <a:pt x="632076" y="301433"/>
                      </a:lnTo>
                      <a:lnTo>
                        <a:pt x="629996" y="302930"/>
                      </a:lnTo>
                      <a:lnTo>
                        <a:pt x="632889" y="306850"/>
                      </a:lnTo>
                      <a:lnTo>
                        <a:pt x="635657" y="308986"/>
                      </a:lnTo>
                      <a:lnTo>
                        <a:pt x="638662" y="309856"/>
                      </a:lnTo>
                      <a:lnTo>
                        <a:pt x="642282" y="309936"/>
                      </a:lnTo>
                      <a:lnTo>
                        <a:pt x="643510" y="311372"/>
                      </a:lnTo>
                      <a:lnTo>
                        <a:pt x="645228" y="318461"/>
                      </a:lnTo>
                      <a:lnTo>
                        <a:pt x="646316" y="320932"/>
                      </a:lnTo>
                      <a:lnTo>
                        <a:pt x="652530" y="325155"/>
                      </a:lnTo>
                      <a:lnTo>
                        <a:pt x="667282" y="330088"/>
                      </a:lnTo>
                      <a:lnTo>
                        <a:pt x="674245" y="333369"/>
                      </a:lnTo>
                      <a:lnTo>
                        <a:pt x="679235" y="337334"/>
                      </a:lnTo>
                      <a:lnTo>
                        <a:pt x="681832" y="338671"/>
                      </a:lnTo>
                      <a:lnTo>
                        <a:pt x="685401" y="339084"/>
                      </a:lnTo>
                      <a:lnTo>
                        <a:pt x="687551" y="340288"/>
                      </a:lnTo>
                      <a:lnTo>
                        <a:pt x="689896" y="343248"/>
                      </a:lnTo>
                      <a:lnTo>
                        <a:pt x="691829" y="346829"/>
                      </a:lnTo>
                      <a:lnTo>
                        <a:pt x="692741" y="349849"/>
                      </a:lnTo>
                      <a:lnTo>
                        <a:pt x="692110" y="356023"/>
                      </a:lnTo>
                      <a:lnTo>
                        <a:pt x="692511" y="359483"/>
                      </a:lnTo>
                      <a:lnTo>
                        <a:pt x="694553" y="360933"/>
                      </a:lnTo>
                      <a:lnTo>
                        <a:pt x="704319" y="374067"/>
                      </a:lnTo>
                      <a:lnTo>
                        <a:pt x="706405" y="378969"/>
                      </a:lnTo>
                      <a:lnTo>
                        <a:pt x="707203" y="381736"/>
                      </a:lnTo>
                      <a:lnTo>
                        <a:pt x="707693" y="384372"/>
                      </a:lnTo>
                      <a:lnTo>
                        <a:pt x="708866" y="387089"/>
                      </a:lnTo>
                      <a:lnTo>
                        <a:pt x="710783" y="389541"/>
                      </a:lnTo>
                      <a:lnTo>
                        <a:pt x="712062" y="392325"/>
                      </a:lnTo>
                      <a:lnTo>
                        <a:pt x="712187" y="394748"/>
                      </a:lnTo>
                      <a:lnTo>
                        <a:pt x="711320" y="396010"/>
                      </a:lnTo>
                      <a:lnTo>
                        <a:pt x="711167" y="398219"/>
                      </a:lnTo>
                      <a:lnTo>
                        <a:pt x="710752" y="400096"/>
                      </a:lnTo>
                      <a:lnTo>
                        <a:pt x="711276" y="400920"/>
                      </a:lnTo>
                      <a:lnTo>
                        <a:pt x="712087" y="401381"/>
                      </a:lnTo>
                      <a:lnTo>
                        <a:pt x="713155" y="402518"/>
                      </a:lnTo>
                      <a:lnTo>
                        <a:pt x="714098" y="403900"/>
                      </a:lnTo>
                      <a:lnTo>
                        <a:pt x="714563" y="405099"/>
                      </a:lnTo>
                      <a:lnTo>
                        <a:pt x="714427" y="408542"/>
                      </a:lnTo>
                      <a:lnTo>
                        <a:pt x="713870" y="411334"/>
                      </a:lnTo>
                      <a:lnTo>
                        <a:pt x="713987" y="413943"/>
                      </a:lnTo>
                      <a:lnTo>
                        <a:pt x="715890" y="416822"/>
                      </a:lnTo>
                      <a:lnTo>
                        <a:pt x="718139" y="418639"/>
                      </a:lnTo>
                      <a:lnTo>
                        <a:pt x="721270" y="420489"/>
                      </a:lnTo>
                      <a:lnTo>
                        <a:pt x="724758" y="421899"/>
                      </a:lnTo>
                      <a:lnTo>
                        <a:pt x="729693" y="422592"/>
                      </a:lnTo>
                      <a:lnTo>
                        <a:pt x="731225" y="423228"/>
                      </a:lnTo>
                      <a:lnTo>
                        <a:pt x="732662" y="424153"/>
                      </a:lnTo>
                      <a:lnTo>
                        <a:pt x="733979" y="425237"/>
                      </a:lnTo>
                      <a:lnTo>
                        <a:pt x="736673" y="427780"/>
                      </a:lnTo>
                      <a:lnTo>
                        <a:pt x="737600" y="428421"/>
                      </a:lnTo>
                      <a:lnTo>
                        <a:pt x="738199" y="428266"/>
                      </a:lnTo>
                      <a:lnTo>
                        <a:pt x="741938" y="429904"/>
                      </a:lnTo>
                      <a:lnTo>
                        <a:pt x="742884" y="430545"/>
                      </a:lnTo>
                      <a:lnTo>
                        <a:pt x="743652" y="432101"/>
                      </a:lnTo>
                      <a:lnTo>
                        <a:pt x="744192" y="434129"/>
                      </a:lnTo>
                      <a:lnTo>
                        <a:pt x="745222" y="435848"/>
                      </a:lnTo>
                      <a:lnTo>
                        <a:pt x="747486" y="436517"/>
                      </a:lnTo>
                      <a:lnTo>
                        <a:pt x="749896" y="437730"/>
                      </a:lnTo>
                      <a:lnTo>
                        <a:pt x="750955" y="440700"/>
                      </a:lnTo>
                      <a:lnTo>
                        <a:pt x="751420" y="446308"/>
                      </a:lnTo>
                      <a:lnTo>
                        <a:pt x="758002" y="460809"/>
                      </a:lnTo>
                      <a:lnTo>
                        <a:pt x="760516" y="461492"/>
                      </a:lnTo>
                      <a:lnTo>
                        <a:pt x="762735" y="463522"/>
                      </a:lnTo>
                      <a:lnTo>
                        <a:pt x="764372" y="466590"/>
                      </a:lnTo>
                      <a:lnTo>
                        <a:pt x="765133" y="470377"/>
                      </a:lnTo>
                      <a:lnTo>
                        <a:pt x="765044" y="472508"/>
                      </a:lnTo>
                      <a:lnTo>
                        <a:pt x="764073" y="474981"/>
                      </a:lnTo>
                      <a:lnTo>
                        <a:pt x="763739" y="476686"/>
                      </a:lnTo>
                      <a:lnTo>
                        <a:pt x="763691" y="478707"/>
                      </a:lnTo>
                      <a:lnTo>
                        <a:pt x="764498" y="483367"/>
                      </a:lnTo>
                      <a:lnTo>
                        <a:pt x="764275" y="484436"/>
                      </a:lnTo>
                      <a:lnTo>
                        <a:pt x="763106" y="487584"/>
                      </a:lnTo>
                      <a:lnTo>
                        <a:pt x="762986" y="489572"/>
                      </a:lnTo>
                      <a:lnTo>
                        <a:pt x="763546" y="490734"/>
                      </a:lnTo>
                      <a:lnTo>
                        <a:pt x="767078" y="496349"/>
                      </a:lnTo>
                      <a:lnTo>
                        <a:pt x="767088" y="496902"/>
                      </a:lnTo>
                      <a:lnTo>
                        <a:pt x="766885" y="497649"/>
                      </a:lnTo>
                      <a:lnTo>
                        <a:pt x="766881" y="498639"/>
                      </a:lnTo>
                      <a:lnTo>
                        <a:pt x="767482" y="499914"/>
                      </a:lnTo>
                      <a:lnTo>
                        <a:pt x="768303" y="500714"/>
                      </a:lnTo>
                      <a:lnTo>
                        <a:pt x="770115" y="501587"/>
                      </a:lnTo>
                      <a:lnTo>
                        <a:pt x="771078" y="502237"/>
                      </a:lnTo>
                      <a:lnTo>
                        <a:pt x="776375" y="507509"/>
                      </a:lnTo>
                      <a:lnTo>
                        <a:pt x="777865" y="508244"/>
                      </a:lnTo>
                      <a:lnTo>
                        <a:pt x="787148" y="507154"/>
                      </a:lnTo>
                      <a:lnTo>
                        <a:pt x="790772" y="507755"/>
                      </a:lnTo>
                      <a:lnTo>
                        <a:pt x="797615" y="510438"/>
                      </a:lnTo>
                      <a:lnTo>
                        <a:pt x="798894" y="511695"/>
                      </a:lnTo>
                      <a:lnTo>
                        <a:pt x="800218" y="514136"/>
                      </a:lnTo>
                      <a:lnTo>
                        <a:pt x="802901" y="515834"/>
                      </a:lnTo>
                      <a:lnTo>
                        <a:pt x="805974" y="516768"/>
                      </a:lnTo>
                      <a:lnTo>
                        <a:pt x="809253" y="516898"/>
                      </a:lnTo>
                      <a:lnTo>
                        <a:pt x="809354" y="516861"/>
                      </a:lnTo>
                      <a:lnTo>
                        <a:pt x="809545" y="517257"/>
                      </a:lnTo>
                      <a:lnTo>
                        <a:pt x="811305" y="517893"/>
                      </a:lnTo>
                      <a:lnTo>
                        <a:pt x="813539" y="517808"/>
                      </a:lnTo>
                      <a:lnTo>
                        <a:pt x="816396" y="518483"/>
                      </a:lnTo>
                      <a:lnTo>
                        <a:pt x="818810" y="521861"/>
                      </a:lnTo>
                      <a:lnTo>
                        <a:pt x="816285" y="525698"/>
                      </a:lnTo>
                      <a:lnTo>
                        <a:pt x="808921" y="531688"/>
                      </a:lnTo>
                      <a:lnTo>
                        <a:pt x="807308" y="530781"/>
                      </a:lnTo>
                      <a:lnTo>
                        <a:pt x="806008" y="529143"/>
                      </a:lnTo>
                      <a:lnTo>
                        <a:pt x="805188" y="527589"/>
                      </a:lnTo>
                      <a:lnTo>
                        <a:pt x="805051" y="526920"/>
                      </a:lnTo>
                      <a:lnTo>
                        <a:pt x="802883" y="527237"/>
                      </a:lnTo>
                      <a:lnTo>
                        <a:pt x="801905" y="528587"/>
                      </a:lnTo>
                      <a:lnTo>
                        <a:pt x="801372" y="530060"/>
                      </a:lnTo>
                      <a:lnTo>
                        <a:pt x="800473" y="530776"/>
                      </a:lnTo>
                      <a:lnTo>
                        <a:pt x="799012" y="532372"/>
                      </a:lnTo>
                      <a:lnTo>
                        <a:pt x="799646" y="535620"/>
                      </a:lnTo>
                      <a:lnTo>
                        <a:pt x="802196" y="538575"/>
                      </a:lnTo>
                      <a:lnTo>
                        <a:pt x="806463" y="539286"/>
                      </a:lnTo>
                      <a:lnTo>
                        <a:pt x="801499" y="544801"/>
                      </a:lnTo>
                      <a:lnTo>
                        <a:pt x="798167" y="547443"/>
                      </a:lnTo>
                      <a:lnTo>
                        <a:pt x="795790" y="547694"/>
                      </a:lnTo>
                      <a:lnTo>
                        <a:pt x="792770" y="546011"/>
                      </a:lnTo>
                      <a:lnTo>
                        <a:pt x="785307" y="544949"/>
                      </a:lnTo>
                      <a:lnTo>
                        <a:pt x="782417" y="543884"/>
                      </a:lnTo>
                      <a:lnTo>
                        <a:pt x="781281" y="542445"/>
                      </a:lnTo>
                      <a:lnTo>
                        <a:pt x="780061" y="540503"/>
                      </a:lnTo>
                      <a:lnTo>
                        <a:pt x="778513" y="539058"/>
                      </a:lnTo>
                      <a:lnTo>
                        <a:pt x="776417" y="539078"/>
                      </a:lnTo>
                      <a:lnTo>
                        <a:pt x="774969" y="540695"/>
                      </a:lnTo>
                      <a:lnTo>
                        <a:pt x="776205" y="542387"/>
                      </a:lnTo>
                      <a:lnTo>
                        <a:pt x="779774" y="544599"/>
                      </a:lnTo>
                      <a:lnTo>
                        <a:pt x="780140" y="546258"/>
                      </a:lnTo>
                      <a:lnTo>
                        <a:pt x="773853" y="548108"/>
                      </a:lnTo>
                      <a:lnTo>
                        <a:pt x="772019" y="550311"/>
                      </a:lnTo>
                      <a:lnTo>
                        <a:pt x="781133" y="551312"/>
                      </a:lnTo>
                      <a:lnTo>
                        <a:pt x="782147" y="551905"/>
                      </a:lnTo>
                      <a:lnTo>
                        <a:pt x="785877" y="554832"/>
                      </a:lnTo>
                      <a:lnTo>
                        <a:pt x="788435" y="554582"/>
                      </a:lnTo>
                      <a:lnTo>
                        <a:pt x="789304" y="554703"/>
                      </a:lnTo>
                      <a:lnTo>
                        <a:pt x="788011" y="557173"/>
                      </a:lnTo>
                      <a:lnTo>
                        <a:pt x="786682" y="561800"/>
                      </a:lnTo>
                      <a:lnTo>
                        <a:pt x="782417" y="568057"/>
                      </a:lnTo>
                      <a:lnTo>
                        <a:pt x="780353" y="570241"/>
                      </a:lnTo>
                      <a:lnTo>
                        <a:pt x="778261" y="571229"/>
                      </a:lnTo>
                      <a:lnTo>
                        <a:pt x="769782" y="571720"/>
                      </a:lnTo>
                      <a:lnTo>
                        <a:pt x="764294" y="571058"/>
                      </a:lnTo>
                      <a:lnTo>
                        <a:pt x="760120" y="568777"/>
                      </a:lnTo>
                      <a:lnTo>
                        <a:pt x="758332" y="567376"/>
                      </a:lnTo>
                      <a:lnTo>
                        <a:pt x="755831" y="566177"/>
                      </a:lnTo>
                      <a:lnTo>
                        <a:pt x="753608" y="565870"/>
                      </a:lnTo>
                      <a:lnTo>
                        <a:pt x="752654" y="567145"/>
                      </a:lnTo>
                      <a:lnTo>
                        <a:pt x="753597" y="569604"/>
                      </a:lnTo>
                      <a:lnTo>
                        <a:pt x="755843" y="570769"/>
                      </a:lnTo>
                      <a:lnTo>
                        <a:pt x="760975" y="571870"/>
                      </a:lnTo>
                      <a:lnTo>
                        <a:pt x="766119" y="575290"/>
                      </a:lnTo>
                      <a:lnTo>
                        <a:pt x="766044" y="578565"/>
                      </a:lnTo>
                      <a:lnTo>
                        <a:pt x="760243" y="585339"/>
                      </a:lnTo>
                      <a:lnTo>
                        <a:pt x="758477" y="588271"/>
                      </a:lnTo>
                      <a:lnTo>
                        <a:pt x="757650" y="591020"/>
                      </a:lnTo>
                      <a:lnTo>
                        <a:pt x="752022" y="602283"/>
                      </a:lnTo>
                      <a:lnTo>
                        <a:pt x="749306" y="603327"/>
                      </a:lnTo>
                      <a:lnTo>
                        <a:pt x="747477" y="605760"/>
                      </a:lnTo>
                      <a:lnTo>
                        <a:pt x="747266" y="607216"/>
                      </a:lnTo>
                      <a:lnTo>
                        <a:pt x="749840" y="611082"/>
                      </a:lnTo>
                      <a:lnTo>
                        <a:pt x="748927" y="614741"/>
                      </a:lnTo>
                      <a:lnTo>
                        <a:pt x="749204" y="615452"/>
                      </a:lnTo>
                      <a:lnTo>
                        <a:pt x="749310" y="616353"/>
                      </a:lnTo>
                      <a:lnTo>
                        <a:pt x="749458" y="617612"/>
                      </a:lnTo>
                      <a:lnTo>
                        <a:pt x="749096" y="621068"/>
                      </a:lnTo>
                      <a:lnTo>
                        <a:pt x="744160" y="626541"/>
                      </a:lnTo>
                      <a:lnTo>
                        <a:pt x="744816" y="630496"/>
                      </a:lnTo>
                      <a:lnTo>
                        <a:pt x="747873" y="635250"/>
                      </a:lnTo>
                      <a:lnTo>
                        <a:pt x="750443" y="639119"/>
                      </a:lnTo>
                      <a:lnTo>
                        <a:pt x="752353" y="642293"/>
                      </a:lnTo>
                      <a:lnTo>
                        <a:pt x="750758" y="643453"/>
                      </a:lnTo>
                      <a:lnTo>
                        <a:pt x="735458" y="642196"/>
                      </a:lnTo>
                      <a:lnTo>
                        <a:pt x="731716" y="640774"/>
                      </a:lnTo>
                      <a:lnTo>
                        <a:pt x="728212" y="638844"/>
                      </a:lnTo>
                      <a:lnTo>
                        <a:pt x="726715" y="638656"/>
                      </a:lnTo>
                      <a:lnTo>
                        <a:pt x="724813" y="639906"/>
                      </a:lnTo>
                      <a:lnTo>
                        <a:pt x="729335" y="643326"/>
                      </a:lnTo>
                      <a:lnTo>
                        <a:pt x="736228" y="645758"/>
                      </a:lnTo>
                      <a:lnTo>
                        <a:pt x="743665" y="647164"/>
                      </a:lnTo>
                      <a:lnTo>
                        <a:pt x="749802" y="647515"/>
                      </a:lnTo>
                      <a:lnTo>
                        <a:pt x="752585" y="648361"/>
                      </a:lnTo>
                      <a:lnTo>
                        <a:pt x="760168" y="653065"/>
                      </a:lnTo>
                      <a:lnTo>
                        <a:pt x="762893" y="655280"/>
                      </a:lnTo>
                      <a:lnTo>
                        <a:pt x="763567" y="658163"/>
                      </a:lnTo>
                      <a:lnTo>
                        <a:pt x="762886" y="662374"/>
                      </a:lnTo>
                      <a:lnTo>
                        <a:pt x="760901" y="665083"/>
                      </a:lnTo>
                      <a:lnTo>
                        <a:pt x="757629" y="663483"/>
                      </a:lnTo>
                      <a:lnTo>
                        <a:pt x="752777" y="672647"/>
                      </a:lnTo>
                      <a:lnTo>
                        <a:pt x="749324" y="677662"/>
                      </a:lnTo>
                      <a:lnTo>
                        <a:pt x="746543" y="679893"/>
                      </a:lnTo>
                      <a:lnTo>
                        <a:pt x="742715" y="679758"/>
                      </a:lnTo>
                      <a:lnTo>
                        <a:pt x="741182" y="678777"/>
                      </a:lnTo>
                      <a:lnTo>
                        <a:pt x="740858" y="676695"/>
                      </a:lnTo>
                      <a:lnTo>
                        <a:pt x="740456" y="668294"/>
                      </a:lnTo>
                      <a:lnTo>
                        <a:pt x="738995" y="666107"/>
                      </a:lnTo>
                      <a:lnTo>
                        <a:pt x="735518" y="666745"/>
                      </a:lnTo>
                      <a:lnTo>
                        <a:pt x="734066" y="668743"/>
                      </a:lnTo>
                      <a:lnTo>
                        <a:pt x="734087" y="671554"/>
                      </a:lnTo>
                      <a:lnTo>
                        <a:pt x="736136" y="678605"/>
                      </a:lnTo>
                      <a:lnTo>
                        <a:pt x="736802" y="682209"/>
                      </a:lnTo>
                      <a:lnTo>
                        <a:pt x="736283" y="684710"/>
                      </a:lnTo>
                      <a:lnTo>
                        <a:pt x="730158" y="681947"/>
                      </a:lnTo>
                      <a:lnTo>
                        <a:pt x="728905" y="683328"/>
                      </a:lnTo>
                      <a:lnTo>
                        <a:pt x="729677" y="685562"/>
                      </a:lnTo>
                      <a:lnTo>
                        <a:pt x="734555" y="687386"/>
                      </a:lnTo>
                      <a:lnTo>
                        <a:pt x="738725" y="691072"/>
                      </a:lnTo>
                      <a:lnTo>
                        <a:pt x="740624" y="692437"/>
                      </a:lnTo>
                      <a:lnTo>
                        <a:pt x="740144" y="688884"/>
                      </a:lnTo>
                      <a:lnTo>
                        <a:pt x="740899" y="686779"/>
                      </a:lnTo>
                      <a:lnTo>
                        <a:pt x="744049" y="683677"/>
                      </a:lnTo>
                      <a:lnTo>
                        <a:pt x="744281" y="688450"/>
                      </a:lnTo>
                      <a:lnTo>
                        <a:pt x="742559" y="701102"/>
                      </a:lnTo>
                      <a:lnTo>
                        <a:pt x="741554" y="701139"/>
                      </a:lnTo>
                      <a:lnTo>
                        <a:pt x="739096" y="697670"/>
                      </a:lnTo>
                      <a:lnTo>
                        <a:pt x="735325" y="693727"/>
                      </a:lnTo>
                      <a:lnTo>
                        <a:pt x="730942" y="690541"/>
                      </a:lnTo>
                      <a:lnTo>
                        <a:pt x="726644" y="689342"/>
                      </a:lnTo>
                      <a:lnTo>
                        <a:pt x="729315" y="692625"/>
                      </a:lnTo>
                      <a:lnTo>
                        <a:pt x="736579" y="698862"/>
                      </a:lnTo>
                      <a:lnTo>
                        <a:pt x="738263" y="701821"/>
                      </a:lnTo>
                      <a:lnTo>
                        <a:pt x="737674" y="705501"/>
                      </a:lnTo>
                      <a:lnTo>
                        <a:pt x="735294" y="707348"/>
                      </a:lnTo>
                      <a:lnTo>
                        <a:pt x="727726" y="709026"/>
                      </a:lnTo>
                      <a:lnTo>
                        <a:pt x="727868" y="710365"/>
                      </a:lnTo>
                      <a:lnTo>
                        <a:pt x="731368" y="711763"/>
                      </a:lnTo>
                      <a:lnTo>
                        <a:pt x="737112" y="711516"/>
                      </a:lnTo>
                      <a:lnTo>
                        <a:pt x="739381" y="712317"/>
                      </a:lnTo>
                      <a:lnTo>
                        <a:pt x="737783" y="715062"/>
                      </a:lnTo>
                      <a:lnTo>
                        <a:pt x="733341" y="720664"/>
                      </a:lnTo>
                      <a:lnTo>
                        <a:pt x="732561" y="723028"/>
                      </a:lnTo>
                      <a:lnTo>
                        <a:pt x="732487" y="724029"/>
                      </a:lnTo>
                      <a:lnTo>
                        <a:pt x="731972" y="726554"/>
                      </a:lnTo>
                      <a:lnTo>
                        <a:pt x="731911" y="727371"/>
                      </a:lnTo>
                      <a:lnTo>
                        <a:pt x="732622" y="729095"/>
                      </a:lnTo>
                      <a:lnTo>
                        <a:pt x="733591" y="730112"/>
                      </a:lnTo>
                      <a:lnTo>
                        <a:pt x="734438" y="731295"/>
                      </a:lnTo>
                      <a:lnTo>
                        <a:pt x="734797" y="733552"/>
                      </a:lnTo>
                      <a:lnTo>
                        <a:pt x="733224" y="732903"/>
                      </a:lnTo>
                      <a:lnTo>
                        <a:pt x="731517" y="732500"/>
                      </a:lnTo>
                      <a:lnTo>
                        <a:pt x="729758" y="732363"/>
                      </a:lnTo>
                      <a:lnTo>
                        <a:pt x="727968" y="732558"/>
                      </a:lnTo>
                      <a:lnTo>
                        <a:pt x="728097" y="733788"/>
                      </a:lnTo>
                      <a:lnTo>
                        <a:pt x="730538" y="734621"/>
                      </a:lnTo>
                      <a:lnTo>
                        <a:pt x="731402" y="736354"/>
                      </a:lnTo>
                      <a:lnTo>
                        <a:pt x="731614" y="738611"/>
                      </a:lnTo>
                      <a:lnTo>
                        <a:pt x="732116" y="741033"/>
                      </a:lnTo>
                      <a:lnTo>
                        <a:pt x="733090" y="742660"/>
                      </a:lnTo>
                      <a:lnTo>
                        <a:pt x="735297" y="745008"/>
                      </a:lnTo>
                      <a:lnTo>
                        <a:pt x="736222" y="747062"/>
                      </a:lnTo>
                      <a:lnTo>
                        <a:pt x="736264" y="751140"/>
                      </a:lnTo>
                      <a:lnTo>
                        <a:pt x="735668" y="755652"/>
                      </a:lnTo>
                      <a:lnTo>
                        <a:pt x="736104" y="757835"/>
                      </a:lnTo>
                      <a:lnTo>
                        <a:pt x="736105" y="757839"/>
                      </a:lnTo>
                      <a:lnTo>
                        <a:pt x="734903" y="757608"/>
                      </a:lnTo>
                      <a:lnTo>
                        <a:pt x="731858" y="756908"/>
                      </a:lnTo>
                      <a:lnTo>
                        <a:pt x="726703" y="758635"/>
                      </a:lnTo>
                      <a:lnTo>
                        <a:pt x="725158" y="758715"/>
                      </a:lnTo>
                      <a:lnTo>
                        <a:pt x="718217" y="757506"/>
                      </a:lnTo>
                      <a:lnTo>
                        <a:pt x="716505" y="756873"/>
                      </a:lnTo>
                      <a:lnTo>
                        <a:pt x="714130" y="755580"/>
                      </a:lnTo>
                      <a:lnTo>
                        <a:pt x="712962" y="755589"/>
                      </a:lnTo>
                      <a:lnTo>
                        <a:pt x="711289" y="755948"/>
                      </a:lnTo>
                      <a:lnTo>
                        <a:pt x="709519" y="755828"/>
                      </a:lnTo>
                      <a:lnTo>
                        <a:pt x="701361" y="753826"/>
                      </a:lnTo>
                      <a:lnTo>
                        <a:pt x="698840" y="752890"/>
                      </a:lnTo>
                      <a:lnTo>
                        <a:pt x="697096" y="751981"/>
                      </a:lnTo>
                      <a:lnTo>
                        <a:pt x="695964" y="751094"/>
                      </a:lnTo>
                      <a:lnTo>
                        <a:pt x="694218" y="750056"/>
                      </a:lnTo>
                      <a:lnTo>
                        <a:pt x="691875" y="749559"/>
                      </a:lnTo>
                      <a:lnTo>
                        <a:pt x="690361" y="749474"/>
                      </a:lnTo>
                      <a:lnTo>
                        <a:pt x="688925" y="749718"/>
                      </a:lnTo>
                      <a:lnTo>
                        <a:pt x="673383" y="744410"/>
                      </a:lnTo>
                      <a:lnTo>
                        <a:pt x="671037" y="743292"/>
                      </a:lnTo>
                      <a:lnTo>
                        <a:pt x="669666" y="742382"/>
                      </a:lnTo>
                      <a:lnTo>
                        <a:pt x="667112" y="741019"/>
                      </a:lnTo>
                      <a:lnTo>
                        <a:pt x="665628" y="740761"/>
                      </a:lnTo>
                      <a:lnTo>
                        <a:pt x="664372" y="740720"/>
                      </a:lnTo>
                      <a:lnTo>
                        <a:pt x="663351" y="740830"/>
                      </a:lnTo>
                      <a:lnTo>
                        <a:pt x="661058" y="740767"/>
                      </a:lnTo>
                      <a:lnTo>
                        <a:pt x="659811" y="740889"/>
                      </a:lnTo>
                      <a:lnTo>
                        <a:pt x="658443" y="741331"/>
                      </a:lnTo>
                      <a:lnTo>
                        <a:pt x="657713" y="742039"/>
                      </a:lnTo>
                      <a:lnTo>
                        <a:pt x="657321" y="742762"/>
                      </a:lnTo>
                      <a:lnTo>
                        <a:pt x="657181" y="743913"/>
                      </a:lnTo>
                      <a:lnTo>
                        <a:pt x="657232" y="744286"/>
                      </a:lnTo>
                      <a:lnTo>
                        <a:pt x="657192" y="745508"/>
                      </a:lnTo>
                      <a:lnTo>
                        <a:pt x="657048" y="746381"/>
                      </a:lnTo>
                      <a:lnTo>
                        <a:pt x="656626" y="747202"/>
                      </a:lnTo>
                      <a:lnTo>
                        <a:pt x="655970" y="747784"/>
                      </a:lnTo>
                      <a:lnTo>
                        <a:pt x="654534" y="748110"/>
                      </a:lnTo>
                      <a:lnTo>
                        <a:pt x="653165" y="747998"/>
                      </a:lnTo>
                      <a:lnTo>
                        <a:pt x="651412" y="747528"/>
                      </a:lnTo>
                      <a:lnTo>
                        <a:pt x="650611" y="747784"/>
                      </a:lnTo>
                      <a:lnTo>
                        <a:pt x="650175" y="748469"/>
                      </a:lnTo>
                      <a:lnTo>
                        <a:pt x="650060" y="750341"/>
                      </a:lnTo>
                      <a:lnTo>
                        <a:pt x="649882" y="751356"/>
                      </a:lnTo>
                      <a:lnTo>
                        <a:pt x="649488" y="752256"/>
                      </a:lnTo>
                      <a:lnTo>
                        <a:pt x="647748" y="754152"/>
                      </a:lnTo>
                      <a:lnTo>
                        <a:pt x="647350" y="754857"/>
                      </a:lnTo>
                      <a:lnTo>
                        <a:pt x="647107" y="755632"/>
                      </a:lnTo>
                      <a:lnTo>
                        <a:pt x="646935" y="756472"/>
                      </a:lnTo>
                      <a:lnTo>
                        <a:pt x="646993" y="758237"/>
                      </a:lnTo>
                      <a:lnTo>
                        <a:pt x="647969" y="762647"/>
                      </a:lnTo>
                      <a:lnTo>
                        <a:pt x="648002" y="763725"/>
                      </a:lnTo>
                      <a:lnTo>
                        <a:pt x="647903" y="764857"/>
                      </a:lnTo>
                      <a:lnTo>
                        <a:pt x="647190" y="769006"/>
                      </a:lnTo>
                      <a:lnTo>
                        <a:pt x="647166" y="770003"/>
                      </a:lnTo>
                      <a:lnTo>
                        <a:pt x="647529" y="772093"/>
                      </a:lnTo>
                      <a:lnTo>
                        <a:pt x="647993" y="773515"/>
                      </a:lnTo>
                      <a:lnTo>
                        <a:pt x="648721" y="775149"/>
                      </a:lnTo>
                      <a:lnTo>
                        <a:pt x="649634" y="776740"/>
                      </a:lnTo>
                      <a:lnTo>
                        <a:pt x="653221" y="780870"/>
                      </a:lnTo>
                      <a:lnTo>
                        <a:pt x="654081" y="782225"/>
                      </a:lnTo>
                      <a:lnTo>
                        <a:pt x="654424" y="783069"/>
                      </a:lnTo>
                      <a:lnTo>
                        <a:pt x="654803" y="784868"/>
                      </a:lnTo>
                      <a:lnTo>
                        <a:pt x="654947" y="786935"/>
                      </a:lnTo>
                      <a:lnTo>
                        <a:pt x="653929" y="798959"/>
                      </a:lnTo>
                      <a:lnTo>
                        <a:pt x="651744" y="810317"/>
                      </a:lnTo>
                      <a:lnTo>
                        <a:pt x="651554" y="812682"/>
                      </a:lnTo>
                      <a:lnTo>
                        <a:pt x="651578" y="813811"/>
                      </a:lnTo>
                      <a:lnTo>
                        <a:pt x="652408" y="818970"/>
                      </a:lnTo>
                      <a:lnTo>
                        <a:pt x="652485" y="820114"/>
                      </a:lnTo>
                      <a:lnTo>
                        <a:pt x="652282" y="821541"/>
                      </a:lnTo>
                      <a:lnTo>
                        <a:pt x="651714" y="822231"/>
                      </a:lnTo>
                      <a:lnTo>
                        <a:pt x="650896" y="822707"/>
                      </a:lnTo>
                      <a:lnTo>
                        <a:pt x="646492" y="824022"/>
                      </a:lnTo>
                      <a:lnTo>
                        <a:pt x="645769" y="824050"/>
                      </a:lnTo>
                      <a:lnTo>
                        <a:pt x="644947" y="824007"/>
                      </a:lnTo>
                      <a:lnTo>
                        <a:pt x="641786" y="823203"/>
                      </a:lnTo>
                      <a:lnTo>
                        <a:pt x="640650" y="823029"/>
                      </a:lnTo>
                      <a:lnTo>
                        <a:pt x="633138" y="824133"/>
                      </a:lnTo>
                      <a:lnTo>
                        <a:pt x="631539" y="824062"/>
                      </a:lnTo>
                      <a:lnTo>
                        <a:pt x="630344" y="823731"/>
                      </a:lnTo>
                      <a:lnTo>
                        <a:pt x="629446" y="823209"/>
                      </a:lnTo>
                      <a:lnTo>
                        <a:pt x="628748" y="822588"/>
                      </a:lnTo>
                      <a:lnTo>
                        <a:pt x="627667" y="821058"/>
                      </a:lnTo>
                      <a:lnTo>
                        <a:pt x="624540" y="814481"/>
                      </a:lnTo>
                      <a:lnTo>
                        <a:pt x="624007" y="812879"/>
                      </a:lnTo>
                      <a:lnTo>
                        <a:pt x="623905" y="811966"/>
                      </a:lnTo>
                      <a:lnTo>
                        <a:pt x="623894" y="810921"/>
                      </a:lnTo>
                      <a:lnTo>
                        <a:pt x="624119" y="808793"/>
                      </a:lnTo>
                      <a:lnTo>
                        <a:pt x="624662" y="806156"/>
                      </a:lnTo>
                      <a:lnTo>
                        <a:pt x="624744" y="805183"/>
                      </a:lnTo>
                      <a:lnTo>
                        <a:pt x="624713" y="804228"/>
                      </a:lnTo>
                      <a:lnTo>
                        <a:pt x="624534" y="803440"/>
                      </a:lnTo>
                      <a:lnTo>
                        <a:pt x="624217" y="802600"/>
                      </a:lnTo>
                      <a:lnTo>
                        <a:pt x="623289" y="801061"/>
                      </a:lnTo>
                      <a:lnTo>
                        <a:pt x="622472" y="799932"/>
                      </a:lnTo>
                      <a:lnTo>
                        <a:pt x="618115" y="795258"/>
                      </a:lnTo>
                      <a:lnTo>
                        <a:pt x="617065" y="793838"/>
                      </a:lnTo>
                      <a:lnTo>
                        <a:pt x="616788" y="793080"/>
                      </a:lnTo>
                      <a:lnTo>
                        <a:pt x="616754" y="792363"/>
                      </a:lnTo>
                      <a:lnTo>
                        <a:pt x="616969" y="791685"/>
                      </a:lnTo>
                      <a:lnTo>
                        <a:pt x="617529" y="790486"/>
                      </a:lnTo>
                      <a:lnTo>
                        <a:pt x="617884" y="789310"/>
                      </a:lnTo>
                      <a:lnTo>
                        <a:pt x="617828" y="788784"/>
                      </a:lnTo>
                      <a:lnTo>
                        <a:pt x="617467" y="788513"/>
                      </a:lnTo>
                      <a:lnTo>
                        <a:pt x="610641" y="788306"/>
                      </a:lnTo>
                      <a:lnTo>
                        <a:pt x="604600" y="788112"/>
                      </a:lnTo>
                      <a:lnTo>
                        <a:pt x="596857" y="787863"/>
                      </a:lnTo>
                      <a:lnTo>
                        <a:pt x="587529" y="787567"/>
                      </a:lnTo>
                      <a:lnTo>
                        <a:pt x="576751" y="787217"/>
                      </a:lnTo>
                      <a:lnTo>
                        <a:pt x="564629" y="786824"/>
                      </a:lnTo>
                      <a:lnTo>
                        <a:pt x="551305" y="786388"/>
                      </a:lnTo>
                      <a:lnTo>
                        <a:pt x="536903" y="785914"/>
                      </a:lnTo>
                      <a:lnTo>
                        <a:pt x="521533" y="785409"/>
                      </a:lnTo>
                      <a:lnTo>
                        <a:pt x="505326" y="784866"/>
                      </a:lnTo>
                      <a:lnTo>
                        <a:pt x="488408" y="784302"/>
                      </a:lnTo>
                      <a:lnTo>
                        <a:pt x="470910" y="783712"/>
                      </a:lnTo>
                      <a:lnTo>
                        <a:pt x="452946" y="783100"/>
                      </a:lnTo>
                      <a:lnTo>
                        <a:pt x="434647" y="782473"/>
                      </a:lnTo>
                      <a:lnTo>
                        <a:pt x="416129" y="781830"/>
                      </a:lnTo>
                      <a:lnTo>
                        <a:pt x="397530" y="781183"/>
                      </a:lnTo>
                      <a:lnTo>
                        <a:pt x="378963" y="780527"/>
                      </a:lnTo>
                      <a:lnTo>
                        <a:pt x="360561" y="779875"/>
                      </a:lnTo>
                      <a:lnTo>
                        <a:pt x="342438" y="779235"/>
                      </a:lnTo>
                      <a:lnTo>
                        <a:pt x="324730" y="778597"/>
                      </a:lnTo>
                      <a:lnTo>
                        <a:pt x="307545" y="777975"/>
                      </a:lnTo>
                      <a:lnTo>
                        <a:pt x="291024" y="777373"/>
                      </a:lnTo>
                      <a:lnTo>
                        <a:pt x="275289" y="776804"/>
                      </a:lnTo>
                      <a:lnTo>
                        <a:pt x="260463" y="776262"/>
                      </a:lnTo>
                      <a:lnTo>
                        <a:pt x="246664" y="775751"/>
                      </a:lnTo>
                      <a:lnTo>
                        <a:pt x="234022" y="775284"/>
                      </a:lnTo>
                      <a:lnTo>
                        <a:pt x="222669" y="774855"/>
                      </a:lnTo>
                      <a:lnTo>
                        <a:pt x="212715" y="774483"/>
                      </a:lnTo>
                      <a:lnTo>
                        <a:pt x="204294" y="774169"/>
                      </a:lnTo>
                      <a:lnTo>
                        <a:pt x="197523" y="773907"/>
                      </a:lnTo>
                      <a:lnTo>
                        <a:pt x="192530" y="773720"/>
                      </a:lnTo>
                      <a:lnTo>
                        <a:pt x="189454" y="773609"/>
                      </a:lnTo>
                      <a:lnTo>
                        <a:pt x="188396" y="773566"/>
                      </a:lnTo>
                      <a:lnTo>
                        <a:pt x="183148" y="773377"/>
                      </a:lnTo>
                      <a:lnTo>
                        <a:pt x="181724" y="773634"/>
                      </a:lnTo>
                      <a:lnTo>
                        <a:pt x="173781" y="766478"/>
                      </a:lnTo>
                      <a:lnTo>
                        <a:pt x="170388" y="754732"/>
                      </a:lnTo>
                      <a:lnTo>
                        <a:pt x="169571" y="747161"/>
                      </a:lnTo>
                      <a:lnTo>
                        <a:pt x="168008" y="742961"/>
                      </a:lnTo>
                      <a:lnTo>
                        <a:pt x="165422" y="738792"/>
                      </a:lnTo>
                      <a:lnTo>
                        <a:pt x="163923" y="737489"/>
                      </a:lnTo>
                      <a:lnTo>
                        <a:pt x="162173" y="732122"/>
                      </a:lnTo>
                      <a:lnTo>
                        <a:pt x="161087" y="730197"/>
                      </a:lnTo>
                      <a:lnTo>
                        <a:pt x="160018" y="729255"/>
                      </a:lnTo>
                      <a:lnTo>
                        <a:pt x="157002" y="727417"/>
                      </a:lnTo>
                      <a:lnTo>
                        <a:pt x="156206" y="726644"/>
                      </a:lnTo>
                      <a:lnTo>
                        <a:pt x="155868" y="724387"/>
                      </a:lnTo>
                      <a:lnTo>
                        <a:pt x="156177" y="723779"/>
                      </a:lnTo>
                      <a:lnTo>
                        <a:pt x="156572" y="722995"/>
                      </a:lnTo>
                      <a:lnTo>
                        <a:pt x="157528" y="721847"/>
                      </a:lnTo>
                      <a:lnTo>
                        <a:pt x="157950" y="720352"/>
                      </a:lnTo>
                      <a:lnTo>
                        <a:pt x="157474" y="718481"/>
                      </a:lnTo>
                      <a:lnTo>
                        <a:pt x="155767" y="716635"/>
                      </a:lnTo>
                      <a:lnTo>
                        <a:pt x="153024" y="708268"/>
                      </a:lnTo>
                      <a:lnTo>
                        <a:pt x="148457" y="700837"/>
                      </a:lnTo>
                      <a:lnTo>
                        <a:pt x="143512" y="695158"/>
                      </a:lnTo>
                      <a:lnTo>
                        <a:pt x="140099" y="693708"/>
                      </a:lnTo>
                      <a:lnTo>
                        <a:pt x="138060" y="691442"/>
                      </a:lnTo>
                      <a:lnTo>
                        <a:pt x="137597" y="688616"/>
                      </a:lnTo>
                      <a:lnTo>
                        <a:pt x="137947" y="682171"/>
                      </a:lnTo>
                      <a:lnTo>
                        <a:pt x="137454" y="680439"/>
                      </a:lnTo>
                      <a:lnTo>
                        <a:pt x="135688" y="676958"/>
                      </a:lnTo>
                      <a:lnTo>
                        <a:pt x="135278" y="675548"/>
                      </a:lnTo>
                      <a:lnTo>
                        <a:pt x="135631" y="673706"/>
                      </a:lnTo>
                      <a:lnTo>
                        <a:pt x="137485" y="670849"/>
                      </a:lnTo>
                      <a:lnTo>
                        <a:pt x="138132" y="669231"/>
                      </a:lnTo>
                      <a:lnTo>
                        <a:pt x="138014" y="655464"/>
                      </a:lnTo>
                      <a:lnTo>
                        <a:pt x="138631" y="648870"/>
                      </a:lnTo>
                      <a:lnTo>
                        <a:pt x="141725" y="644495"/>
                      </a:lnTo>
                      <a:lnTo>
                        <a:pt x="139701" y="639411"/>
                      </a:lnTo>
                      <a:lnTo>
                        <a:pt x="140349" y="635684"/>
                      </a:lnTo>
                      <a:lnTo>
                        <a:pt x="141889" y="632242"/>
                      </a:lnTo>
                      <a:lnTo>
                        <a:pt x="142521" y="627976"/>
                      </a:lnTo>
                      <a:lnTo>
                        <a:pt x="141987" y="625545"/>
                      </a:lnTo>
                      <a:lnTo>
                        <a:pt x="140236" y="622019"/>
                      </a:lnTo>
                      <a:lnTo>
                        <a:pt x="139784" y="620642"/>
                      </a:lnTo>
                      <a:lnTo>
                        <a:pt x="139309" y="615754"/>
                      </a:lnTo>
                      <a:lnTo>
                        <a:pt x="138805" y="613502"/>
                      </a:lnTo>
                      <a:lnTo>
                        <a:pt x="137072" y="610183"/>
                      </a:lnTo>
                      <a:lnTo>
                        <a:pt x="130871" y="603114"/>
                      </a:lnTo>
                      <a:lnTo>
                        <a:pt x="129295" y="600146"/>
                      </a:lnTo>
                      <a:lnTo>
                        <a:pt x="123172" y="580329"/>
                      </a:lnTo>
                      <a:lnTo>
                        <a:pt x="121757" y="576731"/>
                      </a:lnTo>
                      <a:lnTo>
                        <a:pt x="122505" y="572891"/>
                      </a:lnTo>
                      <a:lnTo>
                        <a:pt x="122576" y="571768"/>
                      </a:lnTo>
                      <a:lnTo>
                        <a:pt x="122724" y="570893"/>
                      </a:lnTo>
                      <a:lnTo>
                        <a:pt x="123347" y="568515"/>
                      </a:lnTo>
                      <a:lnTo>
                        <a:pt x="124158" y="562493"/>
                      </a:lnTo>
                      <a:lnTo>
                        <a:pt x="126755" y="555526"/>
                      </a:lnTo>
                      <a:lnTo>
                        <a:pt x="130760" y="548375"/>
                      </a:lnTo>
                      <a:lnTo>
                        <a:pt x="131359" y="547523"/>
                      </a:lnTo>
                      <a:lnTo>
                        <a:pt x="132530" y="544820"/>
                      </a:lnTo>
                      <a:lnTo>
                        <a:pt x="132710" y="544150"/>
                      </a:lnTo>
                      <a:lnTo>
                        <a:pt x="132898" y="539692"/>
                      </a:lnTo>
                      <a:lnTo>
                        <a:pt x="131355" y="535723"/>
                      </a:lnTo>
                      <a:lnTo>
                        <a:pt x="131533" y="531630"/>
                      </a:lnTo>
                      <a:lnTo>
                        <a:pt x="132912" y="528440"/>
                      </a:lnTo>
                      <a:lnTo>
                        <a:pt x="133119" y="526105"/>
                      </a:lnTo>
                      <a:lnTo>
                        <a:pt x="132692" y="521687"/>
                      </a:lnTo>
                      <a:lnTo>
                        <a:pt x="132850" y="520172"/>
                      </a:lnTo>
                      <a:lnTo>
                        <a:pt x="134964" y="514232"/>
                      </a:lnTo>
                      <a:lnTo>
                        <a:pt x="135939" y="512568"/>
                      </a:lnTo>
                      <a:lnTo>
                        <a:pt x="136990" y="511865"/>
                      </a:lnTo>
                      <a:lnTo>
                        <a:pt x="139131" y="511500"/>
                      </a:lnTo>
                      <a:lnTo>
                        <a:pt x="141788" y="510608"/>
                      </a:lnTo>
                      <a:lnTo>
                        <a:pt x="144340" y="509360"/>
                      </a:lnTo>
                      <a:lnTo>
                        <a:pt x="146161" y="507944"/>
                      </a:lnTo>
                      <a:lnTo>
                        <a:pt x="143444" y="506457"/>
                      </a:lnTo>
                      <a:lnTo>
                        <a:pt x="143899" y="504961"/>
                      </a:lnTo>
                      <a:lnTo>
                        <a:pt x="146270" y="504321"/>
                      </a:lnTo>
                      <a:lnTo>
                        <a:pt x="149288" y="505406"/>
                      </a:lnTo>
                      <a:lnTo>
                        <a:pt x="150628" y="504499"/>
                      </a:lnTo>
                      <a:lnTo>
                        <a:pt x="151772" y="503140"/>
                      </a:lnTo>
                      <a:lnTo>
                        <a:pt x="152101" y="501341"/>
                      </a:lnTo>
                      <a:lnTo>
                        <a:pt x="150977" y="499131"/>
                      </a:lnTo>
                      <a:lnTo>
                        <a:pt x="152370" y="499009"/>
                      </a:lnTo>
                      <a:lnTo>
                        <a:pt x="153779" y="498467"/>
                      </a:lnTo>
                      <a:lnTo>
                        <a:pt x="154831" y="497471"/>
                      </a:lnTo>
                      <a:lnTo>
                        <a:pt x="155160" y="496004"/>
                      </a:lnTo>
                      <a:lnTo>
                        <a:pt x="154719" y="494699"/>
                      </a:lnTo>
                      <a:lnTo>
                        <a:pt x="153958" y="494357"/>
                      </a:lnTo>
                      <a:lnTo>
                        <a:pt x="153226" y="494246"/>
                      </a:lnTo>
                      <a:lnTo>
                        <a:pt x="152067" y="492248"/>
                      </a:lnTo>
                      <a:lnTo>
                        <a:pt x="150399" y="491086"/>
                      </a:lnTo>
                      <a:lnTo>
                        <a:pt x="142306" y="487119"/>
                      </a:lnTo>
                      <a:lnTo>
                        <a:pt x="138881" y="484291"/>
                      </a:lnTo>
                      <a:lnTo>
                        <a:pt x="138042" y="481033"/>
                      </a:lnTo>
                      <a:lnTo>
                        <a:pt x="141264" y="477369"/>
                      </a:lnTo>
                      <a:lnTo>
                        <a:pt x="140244" y="475355"/>
                      </a:lnTo>
                      <a:lnTo>
                        <a:pt x="140787" y="473607"/>
                      </a:lnTo>
                      <a:lnTo>
                        <a:pt x="141675" y="471574"/>
                      </a:lnTo>
                      <a:lnTo>
                        <a:pt x="141724" y="469259"/>
                      </a:lnTo>
                      <a:lnTo>
                        <a:pt x="141338" y="466899"/>
                      </a:lnTo>
                      <a:lnTo>
                        <a:pt x="139745" y="464292"/>
                      </a:lnTo>
                      <a:lnTo>
                        <a:pt x="137838" y="461799"/>
                      </a:lnTo>
                      <a:lnTo>
                        <a:pt x="136384" y="459045"/>
                      </a:lnTo>
                      <a:lnTo>
                        <a:pt x="135113" y="453320"/>
                      </a:lnTo>
                      <a:lnTo>
                        <a:pt x="134251" y="451056"/>
                      </a:lnTo>
                      <a:lnTo>
                        <a:pt x="132134" y="448155"/>
                      </a:lnTo>
                      <a:lnTo>
                        <a:pt x="119830" y="434933"/>
                      </a:lnTo>
                      <a:lnTo>
                        <a:pt x="120572" y="432552"/>
                      </a:lnTo>
                      <a:lnTo>
                        <a:pt x="119191" y="431174"/>
                      </a:lnTo>
                      <a:lnTo>
                        <a:pt x="117178" y="430036"/>
                      </a:lnTo>
                      <a:lnTo>
                        <a:pt x="116051" y="428376"/>
                      </a:lnTo>
                      <a:lnTo>
                        <a:pt x="116148" y="425208"/>
                      </a:lnTo>
                      <a:lnTo>
                        <a:pt x="115852" y="422956"/>
                      </a:lnTo>
                      <a:lnTo>
                        <a:pt x="113922" y="419334"/>
                      </a:lnTo>
                      <a:lnTo>
                        <a:pt x="112449" y="413133"/>
                      </a:lnTo>
                      <a:lnTo>
                        <a:pt x="110954" y="411094"/>
                      </a:lnTo>
                      <a:lnTo>
                        <a:pt x="109287" y="409310"/>
                      </a:lnTo>
                      <a:lnTo>
                        <a:pt x="108531" y="407617"/>
                      </a:lnTo>
                      <a:lnTo>
                        <a:pt x="109726" y="405876"/>
                      </a:lnTo>
                      <a:lnTo>
                        <a:pt x="108725" y="404697"/>
                      </a:lnTo>
                      <a:lnTo>
                        <a:pt x="105185" y="401501"/>
                      </a:lnTo>
                      <a:lnTo>
                        <a:pt x="104098" y="400381"/>
                      </a:lnTo>
                      <a:lnTo>
                        <a:pt x="103197" y="399160"/>
                      </a:lnTo>
                      <a:lnTo>
                        <a:pt x="102562" y="397772"/>
                      </a:lnTo>
                      <a:lnTo>
                        <a:pt x="102266" y="396198"/>
                      </a:lnTo>
                      <a:lnTo>
                        <a:pt x="102312" y="391054"/>
                      </a:lnTo>
                      <a:lnTo>
                        <a:pt x="95955" y="378335"/>
                      </a:lnTo>
                      <a:lnTo>
                        <a:pt x="96257" y="376694"/>
                      </a:lnTo>
                      <a:lnTo>
                        <a:pt x="94345" y="369723"/>
                      </a:lnTo>
                      <a:lnTo>
                        <a:pt x="94064" y="368696"/>
                      </a:lnTo>
                      <a:lnTo>
                        <a:pt x="93243" y="365705"/>
                      </a:lnTo>
                      <a:lnTo>
                        <a:pt x="91934" y="360877"/>
                      </a:lnTo>
                      <a:lnTo>
                        <a:pt x="90153" y="354341"/>
                      </a:lnTo>
                      <a:lnTo>
                        <a:pt x="87938" y="346238"/>
                      </a:lnTo>
                      <a:lnTo>
                        <a:pt x="85418" y="336695"/>
                      </a:lnTo>
                      <a:lnTo>
                        <a:pt x="82478" y="325839"/>
                      </a:lnTo>
                      <a:lnTo>
                        <a:pt x="79692" y="313798"/>
                      </a:lnTo>
                      <a:lnTo>
                        <a:pt x="76186" y="300714"/>
                      </a:lnTo>
                      <a:lnTo>
                        <a:pt x="72478" y="286723"/>
                      </a:lnTo>
                      <a:lnTo>
                        <a:pt x="68704" y="271952"/>
                      </a:lnTo>
                      <a:lnTo>
                        <a:pt x="64498" y="256533"/>
                      </a:lnTo>
                      <a:lnTo>
                        <a:pt x="60247" y="240588"/>
                      </a:lnTo>
                      <a:lnTo>
                        <a:pt x="56516" y="226128"/>
                      </a:lnTo>
                      <a:lnTo>
                        <a:pt x="51658" y="207668"/>
                      </a:lnTo>
                      <a:lnTo>
                        <a:pt x="47218" y="190949"/>
                      </a:lnTo>
                      <a:lnTo>
                        <a:pt x="43078" y="174808"/>
                      </a:lnTo>
                      <a:lnTo>
                        <a:pt x="38600" y="157650"/>
                      </a:lnTo>
                      <a:lnTo>
                        <a:pt x="34322" y="141345"/>
                      </a:lnTo>
                      <a:lnTo>
                        <a:pt x="29953" y="125429"/>
                      </a:lnTo>
                      <a:lnTo>
                        <a:pt x="25506" y="110055"/>
                      </a:lnTo>
                      <a:lnTo>
                        <a:pt x="21365" y="95332"/>
                      </a:lnTo>
                      <a:lnTo>
                        <a:pt x="17544" y="81396"/>
                      </a:lnTo>
                      <a:lnTo>
                        <a:pt x="13803" y="68369"/>
                      </a:lnTo>
                      <a:lnTo>
                        <a:pt x="10400" y="56391"/>
                      </a:lnTo>
                      <a:lnTo>
                        <a:pt x="7599" y="45589"/>
                      </a:lnTo>
                      <a:lnTo>
                        <a:pt x="5159" y="36083"/>
                      </a:lnTo>
                      <a:lnTo>
                        <a:pt x="3092" y="28026"/>
                      </a:lnTo>
                      <a:lnTo>
                        <a:pt x="1533" y="21520"/>
                      </a:lnTo>
                      <a:lnTo>
                        <a:pt x="1091" y="19296"/>
                      </a:lnTo>
                      <a:lnTo>
                        <a:pt x="282" y="16313"/>
                      </a:lnTo>
                      <a:lnTo>
                        <a:pt x="0" y="15300"/>
                      </a:lnTo>
                      <a:lnTo>
                        <a:pt x="17104" y="15090"/>
                      </a:lnTo>
                      <a:lnTo>
                        <a:pt x="37012" y="14516"/>
                      </a:lnTo>
                      <a:lnTo>
                        <a:pt x="56892" y="13657"/>
                      </a:lnTo>
                      <a:lnTo>
                        <a:pt x="76772" y="12791"/>
                      </a:lnTo>
                      <a:lnTo>
                        <a:pt x="96662" y="12057"/>
                      </a:lnTo>
                      <a:lnTo>
                        <a:pt x="116546" y="11316"/>
                      </a:lnTo>
                      <a:lnTo>
                        <a:pt x="136439" y="10706"/>
                      </a:lnTo>
                      <a:lnTo>
                        <a:pt x="156333" y="10089"/>
                      </a:lnTo>
                      <a:lnTo>
                        <a:pt x="162954" y="9882"/>
                      </a:lnTo>
                      <a:lnTo>
                        <a:pt x="174156" y="9531"/>
                      </a:lnTo>
                      <a:lnTo>
                        <a:pt x="189031" y="9060"/>
                      </a:lnTo>
                      <a:lnTo>
                        <a:pt x="202971" y="8841"/>
                      </a:lnTo>
                      <a:lnTo>
                        <a:pt x="214926" y="8309"/>
                      </a:lnTo>
                      <a:lnTo>
                        <a:pt x="226889" y="7775"/>
                      </a:lnTo>
                      <a:lnTo>
                        <a:pt x="238845" y="7237"/>
                      </a:lnTo>
                      <a:lnTo>
                        <a:pt x="250796" y="6698"/>
                      </a:lnTo>
                      <a:lnTo>
                        <a:pt x="262747" y="6146"/>
                      </a:lnTo>
                      <a:lnTo>
                        <a:pt x="274700" y="5606"/>
                      </a:lnTo>
                      <a:lnTo>
                        <a:pt x="286655" y="5066"/>
                      </a:lnTo>
                      <a:lnTo>
                        <a:pt x="298604" y="4508"/>
                      </a:lnTo>
                      <a:lnTo>
                        <a:pt x="310550" y="3951"/>
                      </a:lnTo>
                      <a:lnTo>
                        <a:pt x="322505" y="3400"/>
                      </a:lnTo>
                      <a:lnTo>
                        <a:pt x="334447" y="2846"/>
                      </a:lnTo>
                      <a:lnTo>
                        <a:pt x="346391" y="2277"/>
                      </a:lnTo>
                      <a:lnTo>
                        <a:pt x="358337" y="1713"/>
                      </a:lnTo>
                      <a:lnTo>
                        <a:pt x="370273" y="1139"/>
                      </a:lnTo>
                      <a:lnTo>
                        <a:pt x="382218" y="57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1" name="Freeform 136">
                  <a:extLst>
                    <a:ext uri="{FF2B5EF4-FFF2-40B4-BE49-F238E27FC236}">
                      <a16:creationId xmlns:a16="http://schemas.microsoft.com/office/drawing/2014/main" id="{4C3F2CB8-B40C-484C-B108-3FBACC22D577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>
                  <a:off x="3749120" y="4911850"/>
                  <a:ext cx="368753" cy="5832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5410" h="862602">
                      <a:moveTo>
                        <a:pt x="457079" y="854766"/>
                      </a:moveTo>
                      <a:lnTo>
                        <a:pt x="454645" y="855485"/>
                      </a:lnTo>
                      <a:lnTo>
                        <a:pt x="450271" y="856126"/>
                      </a:lnTo>
                      <a:lnTo>
                        <a:pt x="450562" y="855464"/>
                      </a:lnTo>
                      <a:lnTo>
                        <a:pt x="454935" y="854815"/>
                      </a:lnTo>
                      <a:close/>
                      <a:moveTo>
                        <a:pt x="527407" y="852473"/>
                      </a:moveTo>
                      <a:lnTo>
                        <a:pt x="540017" y="853606"/>
                      </a:lnTo>
                      <a:lnTo>
                        <a:pt x="538950" y="854852"/>
                      </a:lnTo>
                      <a:lnTo>
                        <a:pt x="533052" y="854699"/>
                      </a:lnTo>
                      <a:lnTo>
                        <a:pt x="527479" y="853823"/>
                      </a:lnTo>
                      <a:close/>
                      <a:moveTo>
                        <a:pt x="435161" y="847903"/>
                      </a:moveTo>
                      <a:lnTo>
                        <a:pt x="435287" y="848821"/>
                      </a:lnTo>
                      <a:lnTo>
                        <a:pt x="434403" y="849361"/>
                      </a:lnTo>
                      <a:lnTo>
                        <a:pt x="434003" y="849864"/>
                      </a:lnTo>
                      <a:lnTo>
                        <a:pt x="434213" y="851694"/>
                      </a:lnTo>
                      <a:lnTo>
                        <a:pt x="433750" y="853666"/>
                      </a:lnTo>
                      <a:lnTo>
                        <a:pt x="431288" y="859096"/>
                      </a:lnTo>
                      <a:lnTo>
                        <a:pt x="430478" y="858963"/>
                      </a:lnTo>
                      <a:lnTo>
                        <a:pt x="429962" y="858782"/>
                      </a:lnTo>
                      <a:lnTo>
                        <a:pt x="429488" y="858453"/>
                      </a:lnTo>
                      <a:lnTo>
                        <a:pt x="428849" y="857792"/>
                      </a:lnTo>
                      <a:lnTo>
                        <a:pt x="429504" y="857270"/>
                      </a:lnTo>
                      <a:lnTo>
                        <a:pt x="430337" y="856205"/>
                      </a:lnTo>
                      <a:lnTo>
                        <a:pt x="431109" y="855426"/>
                      </a:lnTo>
                      <a:lnTo>
                        <a:pt x="429795" y="854095"/>
                      </a:lnTo>
                      <a:lnTo>
                        <a:pt x="428736" y="855463"/>
                      </a:lnTo>
                      <a:lnTo>
                        <a:pt x="427144" y="853539"/>
                      </a:lnTo>
                      <a:lnTo>
                        <a:pt x="424886" y="852902"/>
                      </a:lnTo>
                      <a:lnTo>
                        <a:pt x="419567" y="853154"/>
                      </a:lnTo>
                      <a:lnTo>
                        <a:pt x="419507" y="851928"/>
                      </a:lnTo>
                      <a:lnTo>
                        <a:pt x="428180" y="852098"/>
                      </a:lnTo>
                      <a:lnTo>
                        <a:pt x="432155" y="851004"/>
                      </a:lnTo>
                      <a:lnTo>
                        <a:pt x="434029" y="847921"/>
                      </a:lnTo>
                      <a:close/>
                      <a:moveTo>
                        <a:pt x="494823" y="846908"/>
                      </a:moveTo>
                      <a:lnTo>
                        <a:pt x="500279" y="847802"/>
                      </a:lnTo>
                      <a:lnTo>
                        <a:pt x="504056" y="849878"/>
                      </a:lnTo>
                      <a:lnTo>
                        <a:pt x="507759" y="851422"/>
                      </a:lnTo>
                      <a:lnTo>
                        <a:pt x="517955" y="851314"/>
                      </a:lnTo>
                      <a:lnTo>
                        <a:pt x="521625" y="852456"/>
                      </a:lnTo>
                      <a:lnTo>
                        <a:pt x="520248" y="853210"/>
                      </a:lnTo>
                      <a:lnTo>
                        <a:pt x="518657" y="853888"/>
                      </a:lnTo>
                      <a:lnTo>
                        <a:pt x="485256" y="849523"/>
                      </a:lnTo>
                      <a:lnTo>
                        <a:pt x="485198" y="848406"/>
                      </a:lnTo>
                      <a:lnTo>
                        <a:pt x="489281" y="847117"/>
                      </a:lnTo>
                      <a:close/>
                      <a:moveTo>
                        <a:pt x="529916" y="0"/>
                      </a:moveTo>
                      <a:lnTo>
                        <a:pt x="533160" y="7098"/>
                      </a:lnTo>
                      <a:lnTo>
                        <a:pt x="537344" y="12131"/>
                      </a:lnTo>
                      <a:lnTo>
                        <a:pt x="542703" y="15316"/>
                      </a:lnTo>
                      <a:lnTo>
                        <a:pt x="545410" y="15605"/>
                      </a:lnTo>
                      <a:lnTo>
                        <a:pt x="545394" y="18448"/>
                      </a:lnTo>
                      <a:lnTo>
                        <a:pt x="545064" y="24862"/>
                      </a:lnTo>
                      <a:lnTo>
                        <a:pt x="544983" y="26369"/>
                      </a:lnTo>
                      <a:lnTo>
                        <a:pt x="544742" y="30786"/>
                      </a:lnTo>
                      <a:lnTo>
                        <a:pt x="544370" y="37901"/>
                      </a:lnTo>
                      <a:lnTo>
                        <a:pt x="543857" y="47524"/>
                      </a:lnTo>
                      <a:lnTo>
                        <a:pt x="543214" y="59468"/>
                      </a:lnTo>
                      <a:lnTo>
                        <a:pt x="542451" y="73538"/>
                      </a:lnTo>
                      <a:lnTo>
                        <a:pt x="541582" y="89543"/>
                      </a:lnTo>
                      <a:lnTo>
                        <a:pt x="540616" y="107299"/>
                      </a:lnTo>
                      <a:lnTo>
                        <a:pt x="539557" y="126607"/>
                      </a:lnTo>
                      <a:lnTo>
                        <a:pt x="538410" y="147272"/>
                      </a:lnTo>
                      <a:lnTo>
                        <a:pt x="537185" y="169100"/>
                      </a:lnTo>
                      <a:lnTo>
                        <a:pt x="535896" y="191910"/>
                      </a:lnTo>
                      <a:lnTo>
                        <a:pt x="534552" y="215497"/>
                      </a:lnTo>
                      <a:lnTo>
                        <a:pt x="533157" y="239675"/>
                      </a:lnTo>
                      <a:lnTo>
                        <a:pt x="531730" y="264250"/>
                      </a:lnTo>
                      <a:lnTo>
                        <a:pt x="530285" y="289029"/>
                      </a:lnTo>
                      <a:lnTo>
                        <a:pt x="528818" y="313811"/>
                      </a:lnTo>
                      <a:lnTo>
                        <a:pt x="527344" y="338403"/>
                      </a:lnTo>
                      <a:lnTo>
                        <a:pt x="525887" y="362623"/>
                      </a:lnTo>
                      <a:lnTo>
                        <a:pt x="524449" y="386271"/>
                      </a:lnTo>
                      <a:lnTo>
                        <a:pt x="523052" y="409146"/>
                      </a:lnTo>
                      <a:lnTo>
                        <a:pt x="521706" y="431063"/>
                      </a:lnTo>
                      <a:lnTo>
                        <a:pt x="520414" y="451808"/>
                      </a:lnTo>
                      <a:lnTo>
                        <a:pt x="519200" y="471208"/>
                      </a:lnTo>
                      <a:lnTo>
                        <a:pt x="518073" y="489060"/>
                      </a:lnTo>
                      <a:lnTo>
                        <a:pt x="517054" y="505155"/>
                      </a:lnTo>
                      <a:lnTo>
                        <a:pt x="516154" y="519321"/>
                      </a:lnTo>
                      <a:lnTo>
                        <a:pt x="515383" y="531340"/>
                      </a:lnTo>
                      <a:lnTo>
                        <a:pt x="514758" y="541039"/>
                      </a:lnTo>
                      <a:lnTo>
                        <a:pt x="514300" y="548200"/>
                      </a:lnTo>
                      <a:lnTo>
                        <a:pt x="514019" y="552638"/>
                      </a:lnTo>
                      <a:lnTo>
                        <a:pt x="513917" y="554168"/>
                      </a:lnTo>
                      <a:lnTo>
                        <a:pt x="515717" y="570923"/>
                      </a:lnTo>
                      <a:lnTo>
                        <a:pt x="517519" y="587678"/>
                      </a:lnTo>
                      <a:lnTo>
                        <a:pt x="519317" y="604450"/>
                      </a:lnTo>
                      <a:lnTo>
                        <a:pt x="521108" y="621218"/>
                      </a:lnTo>
                      <a:lnTo>
                        <a:pt x="522899" y="637985"/>
                      </a:lnTo>
                      <a:lnTo>
                        <a:pt x="524692" y="654770"/>
                      </a:lnTo>
                      <a:lnTo>
                        <a:pt x="526486" y="671549"/>
                      </a:lnTo>
                      <a:lnTo>
                        <a:pt x="528275" y="688328"/>
                      </a:lnTo>
                      <a:lnTo>
                        <a:pt x="530064" y="705119"/>
                      </a:lnTo>
                      <a:lnTo>
                        <a:pt x="531854" y="721911"/>
                      </a:lnTo>
                      <a:lnTo>
                        <a:pt x="533631" y="738706"/>
                      </a:lnTo>
                      <a:lnTo>
                        <a:pt x="535418" y="755510"/>
                      </a:lnTo>
                      <a:lnTo>
                        <a:pt x="537196" y="772313"/>
                      </a:lnTo>
                      <a:lnTo>
                        <a:pt x="538972" y="789116"/>
                      </a:lnTo>
                      <a:lnTo>
                        <a:pt x="540755" y="805936"/>
                      </a:lnTo>
                      <a:lnTo>
                        <a:pt x="542528" y="822746"/>
                      </a:lnTo>
                      <a:lnTo>
                        <a:pt x="542528" y="822753"/>
                      </a:lnTo>
                      <a:lnTo>
                        <a:pt x="542377" y="822797"/>
                      </a:lnTo>
                      <a:lnTo>
                        <a:pt x="541732" y="823743"/>
                      </a:lnTo>
                      <a:lnTo>
                        <a:pt x="541973" y="825814"/>
                      </a:lnTo>
                      <a:lnTo>
                        <a:pt x="541923" y="827882"/>
                      </a:lnTo>
                      <a:lnTo>
                        <a:pt x="540343" y="828852"/>
                      </a:lnTo>
                      <a:lnTo>
                        <a:pt x="538188" y="829263"/>
                      </a:lnTo>
                      <a:lnTo>
                        <a:pt x="537209" y="830244"/>
                      </a:lnTo>
                      <a:lnTo>
                        <a:pt x="536590" y="831519"/>
                      </a:lnTo>
                      <a:lnTo>
                        <a:pt x="535516" y="832839"/>
                      </a:lnTo>
                      <a:lnTo>
                        <a:pt x="531831" y="834422"/>
                      </a:lnTo>
                      <a:lnTo>
                        <a:pt x="528937" y="833377"/>
                      </a:lnTo>
                      <a:lnTo>
                        <a:pt x="525763" y="831489"/>
                      </a:lnTo>
                      <a:lnTo>
                        <a:pt x="521250" y="830523"/>
                      </a:lnTo>
                      <a:lnTo>
                        <a:pt x="519107" y="830538"/>
                      </a:lnTo>
                      <a:lnTo>
                        <a:pt x="517050" y="830266"/>
                      </a:lnTo>
                      <a:lnTo>
                        <a:pt x="515466" y="829374"/>
                      </a:lnTo>
                      <a:lnTo>
                        <a:pt x="514184" y="825612"/>
                      </a:lnTo>
                      <a:lnTo>
                        <a:pt x="511904" y="824044"/>
                      </a:lnTo>
                      <a:lnTo>
                        <a:pt x="511190" y="822011"/>
                      </a:lnTo>
                      <a:lnTo>
                        <a:pt x="509952" y="822032"/>
                      </a:lnTo>
                      <a:lnTo>
                        <a:pt x="507167" y="826507"/>
                      </a:lnTo>
                      <a:lnTo>
                        <a:pt x="499820" y="829466"/>
                      </a:lnTo>
                      <a:lnTo>
                        <a:pt x="491677" y="830371"/>
                      </a:lnTo>
                      <a:lnTo>
                        <a:pt x="486611" y="829777"/>
                      </a:lnTo>
                      <a:lnTo>
                        <a:pt x="468807" y="817776"/>
                      </a:lnTo>
                      <a:lnTo>
                        <a:pt x="455099" y="814484"/>
                      </a:lnTo>
                      <a:lnTo>
                        <a:pt x="451175" y="816315"/>
                      </a:lnTo>
                      <a:lnTo>
                        <a:pt x="448863" y="816974"/>
                      </a:lnTo>
                      <a:lnTo>
                        <a:pt x="446180" y="817083"/>
                      </a:lnTo>
                      <a:lnTo>
                        <a:pt x="446236" y="818199"/>
                      </a:lnTo>
                      <a:lnTo>
                        <a:pt x="466703" y="820412"/>
                      </a:lnTo>
                      <a:lnTo>
                        <a:pt x="464052" y="822770"/>
                      </a:lnTo>
                      <a:lnTo>
                        <a:pt x="458937" y="823285"/>
                      </a:lnTo>
                      <a:lnTo>
                        <a:pt x="448742" y="823058"/>
                      </a:lnTo>
                      <a:lnTo>
                        <a:pt x="446510" y="823824"/>
                      </a:lnTo>
                      <a:lnTo>
                        <a:pt x="441484" y="826330"/>
                      </a:lnTo>
                      <a:lnTo>
                        <a:pt x="439267" y="826877"/>
                      </a:lnTo>
                      <a:lnTo>
                        <a:pt x="436535" y="827250"/>
                      </a:lnTo>
                      <a:lnTo>
                        <a:pt x="424933" y="831094"/>
                      </a:lnTo>
                      <a:lnTo>
                        <a:pt x="414608" y="833974"/>
                      </a:lnTo>
                      <a:lnTo>
                        <a:pt x="404427" y="837091"/>
                      </a:lnTo>
                      <a:lnTo>
                        <a:pt x="402243" y="837388"/>
                      </a:lnTo>
                      <a:lnTo>
                        <a:pt x="399314" y="836799"/>
                      </a:lnTo>
                      <a:lnTo>
                        <a:pt x="398856" y="835374"/>
                      </a:lnTo>
                      <a:lnTo>
                        <a:pt x="400179" y="833704"/>
                      </a:lnTo>
                      <a:lnTo>
                        <a:pt x="402628" y="832476"/>
                      </a:lnTo>
                      <a:lnTo>
                        <a:pt x="399537" y="830983"/>
                      </a:lnTo>
                      <a:lnTo>
                        <a:pt x="394027" y="827243"/>
                      </a:lnTo>
                      <a:lnTo>
                        <a:pt x="390414" y="826539"/>
                      </a:lnTo>
                      <a:lnTo>
                        <a:pt x="388761" y="827215"/>
                      </a:lnTo>
                      <a:lnTo>
                        <a:pt x="386677" y="828772"/>
                      </a:lnTo>
                      <a:lnTo>
                        <a:pt x="385132" y="830600"/>
                      </a:lnTo>
                      <a:lnTo>
                        <a:pt x="385073" y="832083"/>
                      </a:lnTo>
                      <a:lnTo>
                        <a:pt x="386471" y="832572"/>
                      </a:lnTo>
                      <a:lnTo>
                        <a:pt x="390401" y="832701"/>
                      </a:lnTo>
                      <a:lnTo>
                        <a:pt x="391245" y="833265"/>
                      </a:lnTo>
                      <a:lnTo>
                        <a:pt x="391461" y="836716"/>
                      </a:lnTo>
                      <a:lnTo>
                        <a:pt x="391197" y="838851"/>
                      </a:lnTo>
                      <a:lnTo>
                        <a:pt x="389671" y="840525"/>
                      </a:lnTo>
                      <a:lnTo>
                        <a:pt x="375001" y="848840"/>
                      </a:lnTo>
                      <a:lnTo>
                        <a:pt x="376310" y="851172"/>
                      </a:lnTo>
                      <a:lnTo>
                        <a:pt x="375690" y="853080"/>
                      </a:lnTo>
                      <a:lnTo>
                        <a:pt x="373080" y="856325"/>
                      </a:lnTo>
                      <a:lnTo>
                        <a:pt x="372654" y="858216"/>
                      </a:lnTo>
                      <a:lnTo>
                        <a:pt x="372595" y="859729"/>
                      </a:lnTo>
                      <a:lnTo>
                        <a:pt x="372004" y="861096"/>
                      </a:lnTo>
                      <a:lnTo>
                        <a:pt x="369973" y="862602"/>
                      </a:lnTo>
                      <a:lnTo>
                        <a:pt x="368778" y="861290"/>
                      </a:lnTo>
                      <a:lnTo>
                        <a:pt x="369602" y="860256"/>
                      </a:lnTo>
                      <a:lnTo>
                        <a:pt x="369123" y="859810"/>
                      </a:lnTo>
                      <a:lnTo>
                        <a:pt x="367628" y="858737"/>
                      </a:lnTo>
                      <a:lnTo>
                        <a:pt x="366280" y="860539"/>
                      </a:lnTo>
                      <a:lnTo>
                        <a:pt x="363963" y="861414"/>
                      </a:lnTo>
                      <a:lnTo>
                        <a:pt x="361495" y="861312"/>
                      </a:lnTo>
                      <a:lnTo>
                        <a:pt x="359662" y="860200"/>
                      </a:lnTo>
                      <a:lnTo>
                        <a:pt x="358529" y="860216"/>
                      </a:lnTo>
                      <a:lnTo>
                        <a:pt x="358143" y="860761"/>
                      </a:lnTo>
                      <a:lnTo>
                        <a:pt x="357006" y="859482"/>
                      </a:lnTo>
                      <a:lnTo>
                        <a:pt x="354929" y="858922"/>
                      </a:lnTo>
                      <a:lnTo>
                        <a:pt x="352974" y="859643"/>
                      </a:lnTo>
                      <a:lnTo>
                        <a:pt x="351722" y="861523"/>
                      </a:lnTo>
                      <a:lnTo>
                        <a:pt x="347723" y="857442"/>
                      </a:lnTo>
                      <a:lnTo>
                        <a:pt x="342385" y="846555"/>
                      </a:lnTo>
                      <a:lnTo>
                        <a:pt x="338975" y="841383"/>
                      </a:lnTo>
                      <a:lnTo>
                        <a:pt x="338924" y="834011"/>
                      </a:lnTo>
                      <a:lnTo>
                        <a:pt x="337996" y="830990"/>
                      </a:lnTo>
                      <a:lnTo>
                        <a:pt x="332930" y="824105"/>
                      </a:lnTo>
                      <a:lnTo>
                        <a:pt x="331699" y="821281"/>
                      </a:lnTo>
                      <a:lnTo>
                        <a:pt x="331503" y="819764"/>
                      </a:lnTo>
                      <a:lnTo>
                        <a:pt x="331607" y="816579"/>
                      </a:lnTo>
                      <a:lnTo>
                        <a:pt x="331421" y="815054"/>
                      </a:lnTo>
                      <a:lnTo>
                        <a:pt x="330892" y="813788"/>
                      </a:lnTo>
                      <a:lnTo>
                        <a:pt x="327937" y="809084"/>
                      </a:lnTo>
                      <a:lnTo>
                        <a:pt x="323142" y="806084"/>
                      </a:lnTo>
                      <a:lnTo>
                        <a:pt x="320670" y="800553"/>
                      </a:lnTo>
                      <a:lnTo>
                        <a:pt x="317898" y="798819"/>
                      </a:lnTo>
                      <a:lnTo>
                        <a:pt x="312531" y="796962"/>
                      </a:lnTo>
                      <a:lnTo>
                        <a:pt x="309868" y="794540"/>
                      </a:lnTo>
                      <a:lnTo>
                        <a:pt x="305164" y="785937"/>
                      </a:lnTo>
                      <a:lnTo>
                        <a:pt x="307087" y="782207"/>
                      </a:lnTo>
                      <a:lnTo>
                        <a:pt x="305651" y="779133"/>
                      </a:lnTo>
                      <a:lnTo>
                        <a:pt x="302989" y="776414"/>
                      </a:lnTo>
                      <a:lnTo>
                        <a:pt x="301246" y="773757"/>
                      </a:lnTo>
                      <a:lnTo>
                        <a:pt x="301339" y="770544"/>
                      </a:lnTo>
                      <a:lnTo>
                        <a:pt x="302394" y="766635"/>
                      </a:lnTo>
                      <a:lnTo>
                        <a:pt x="305261" y="760126"/>
                      </a:lnTo>
                      <a:lnTo>
                        <a:pt x="304056" y="756775"/>
                      </a:lnTo>
                      <a:lnTo>
                        <a:pt x="305387" y="753688"/>
                      </a:lnTo>
                      <a:lnTo>
                        <a:pt x="309281" y="749056"/>
                      </a:lnTo>
                      <a:lnTo>
                        <a:pt x="311400" y="738615"/>
                      </a:lnTo>
                      <a:lnTo>
                        <a:pt x="314929" y="731980"/>
                      </a:lnTo>
                      <a:lnTo>
                        <a:pt x="316785" y="725524"/>
                      </a:lnTo>
                      <a:lnTo>
                        <a:pt x="317619" y="719288"/>
                      </a:lnTo>
                      <a:lnTo>
                        <a:pt x="316990" y="716621"/>
                      </a:lnTo>
                      <a:lnTo>
                        <a:pt x="310811" y="716712"/>
                      </a:lnTo>
                      <a:lnTo>
                        <a:pt x="303724" y="716815"/>
                      </a:lnTo>
                      <a:lnTo>
                        <a:pt x="300416" y="716864"/>
                      </a:lnTo>
                      <a:lnTo>
                        <a:pt x="291055" y="716999"/>
                      </a:lnTo>
                      <a:lnTo>
                        <a:pt x="276515" y="717197"/>
                      </a:lnTo>
                      <a:lnTo>
                        <a:pt x="257655" y="717462"/>
                      </a:lnTo>
                      <a:lnTo>
                        <a:pt x="235335" y="717768"/>
                      </a:lnTo>
                      <a:lnTo>
                        <a:pt x="214551" y="718046"/>
                      </a:lnTo>
                      <a:lnTo>
                        <a:pt x="210420" y="718101"/>
                      </a:lnTo>
                      <a:lnTo>
                        <a:pt x="183776" y="718448"/>
                      </a:lnTo>
                      <a:lnTo>
                        <a:pt x="156268" y="718794"/>
                      </a:lnTo>
                      <a:lnTo>
                        <a:pt x="128762" y="719129"/>
                      </a:lnTo>
                      <a:lnTo>
                        <a:pt x="102112" y="719442"/>
                      </a:lnTo>
                      <a:lnTo>
                        <a:pt x="77194" y="719722"/>
                      </a:lnTo>
                      <a:lnTo>
                        <a:pt x="54863" y="719968"/>
                      </a:lnTo>
                      <a:lnTo>
                        <a:pt x="35990" y="720163"/>
                      </a:lnTo>
                      <a:lnTo>
                        <a:pt x="21427" y="720316"/>
                      </a:lnTo>
                      <a:lnTo>
                        <a:pt x="12062" y="720413"/>
                      </a:lnTo>
                      <a:lnTo>
                        <a:pt x="8757" y="720446"/>
                      </a:lnTo>
                      <a:lnTo>
                        <a:pt x="1115" y="720523"/>
                      </a:lnTo>
                      <a:lnTo>
                        <a:pt x="141" y="720534"/>
                      </a:lnTo>
                      <a:lnTo>
                        <a:pt x="12741" y="710397"/>
                      </a:lnTo>
                      <a:lnTo>
                        <a:pt x="11574" y="705805"/>
                      </a:lnTo>
                      <a:lnTo>
                        <a:pt x="6361" y="700153"/>
                      </a:lnTo>
                      <a:lnTo>
                        <a:pt x="4278" y="695156"/>
                      </a:lnTo>
                      <a:lnTo>
                        <a:pt x="4405" y="693439"/>
                      </a:lnTo>
                      <a:lnTo>
                        <a:pt x="6048" y="690308"/>
                      </a:lnTo>
                      <a:lnTo>
                        <a:pt x="6422" y="688365"/>
                      </a:lnTo>
                      <a:lnTo>
                        <a:pt x="6793" y="687680"/>
                      </a:lnTo>
                      <a:lnTo>
                        <a:pt x="7441" y="685748"/>
                      </a:lnTo>
                      <a:lnTo>
                        <a:pt x="7679" y="683728"/>
                      </a:lnTo>
                      <a:lnTo>
                        <a:pt x="6806" y="682811"/>
                      </a:lnTo>
                      <a:lnTo>
                        <a:pt x="4485" y="681529"/>
                      </a:lnTo>
                      <a:lnTo>
                        <a:pt x="1820" y="678474"/>
                      </a:lnTo>
                      <a:lnTo>
                        <a:pt x="0" y="674885"/>
                      </a:lnTo>
                      <a:lnTo>
                        <a:pt x="183" y="671997"/>
                      </a:lnTo>
                      <a:lnTo>
                        <a:pt x="2608" y="670768"/>
                      </a:lnTo>
                      <a:lnTo>
                        <a:pt x="6466" y="670418"/>
                      </a:lnTo>
                      <a:lnTo>
                        <a:pt x="14237" y="670635"/>
                      </a:lnTo>
                      <a:lnTo>
                        <a:pt x="17708" y="669852"/>
                      </a:lnTo>
                      <a:lnTo>
                        <a:pt x="19657" y="667871"/>
                      </a:lnTo>
                      <a:lnTo>
                        <a:pt x="20640" y="665084"/>
                      </a:lnTo>
                      <a:lnTo>
                        <a:pt x="22514" y="653504"/>
                      </a:lnTo>
                      <a:lnTo>
                        <a:pt x="24002" y="651860"/>
                      </a:lnTo>
                      <a:lnTo>
                        <a:pt x="24305" y="650272"/>
                      </a:lnTo>
                      <a:lnTo>
                        <a:pt x="24439" y="646762"/>
                      </a:lnTo>
                      <a:lnTo>
                        <a:pt x="24116" y="645714"/>
                      </a:lnTo>
                      <a:lnTo>
                        <a:pt x="21915" y="641974"/>
                      </a:lnTo>
                      <a:lnTo>
                        <a:pt x="20183" y="639937"/>
                      </a:lnTo>
                      <a:lnTo>
                        <a:pt x="19434" y="638614"/>
                      </a:lnTo>
                      <a:lnTo>
                        <a:pt x="18436" y="630852"/>
                      </a:lnTo>
                      <a:lnTo>
                        <a:pt x="22058" y="625560"/>
                      </a:lnTo>
                      <a:lnTo>
                        <a:pt x="33326" y="617720"/>
                      </a:lnTo>
                      <a:lnTo>
                        <a:pt x="33469" y="616488"/>
                      </a:lnTo>
                      <a:lnTo>
                        <a:pt x="34227" y="614561"/>
                      </a:lnTo>
                      <a:lnTo>
                        <a:pt x="34201" y="610285"/>
                      </a:lnTo>
                      <a:lnTo>
                        <a:pt x="36799" y="594814"/>
                      </a:lnTo>
                      <a:lnTo>
                        <a:pt x="36926" y="591288"/>
                      </a:lnTo>
                      <a:lnTo>
                        <a:pt x="37505" y="588159"/>
                      </a:lnTo>
                      <a:lnTo>
                        <a:pt x="42225" y="579585"/>
                      </a:lnTo>
                      <a:lnTo>
                        <a:pt x="44119" y="572923"/>
                      </a:lnTo>
                      <a:lnTo>
                        <a:pt x="45540" y="569789"/>
                      </a:lnTo>
                      <a:lnTo>
                        <a:pt x="47940" y="566663"/>
                      </a:lnTo>
                      <a:lnTo>
                        <a:pt x="50708" y="564944"/>
                      </a:lnTo>
                      <a:lnTo>
                        <a:pt x="57553" y="563437"/>
                      </a:lnTo>
                      <a:lnTo>
                        <a:pt x="60652" y="562307"/>
                      </a:lnTo>
                      <a:lnTo>
                        <a:pt x="63730" y="560001"/>
                      </a:lnTo>
                      <a:lnTo>
                        <a:pt x="70949" y="551769"/>
                      </a:lnTo>
                      <a:lnTo>
                        <a:pt x="71971" y="550262"/>
                      </a:lnTo>
                      <a:lnTo>
                        <a:pt x="73437" y="546560"/>
                      </a:lnTo>
                      <a:lnTo>
                        <a:pt x="74662" y="544968"/>
                      </a:lnTo>
                      <a:lnTo>
                        <a:pt x="76225" y="543987"/>
                      </a:lnTo>
                      <a:lnTo>
                        <a:pt x="81279" y="542449"/>
                      </a:lnTo>
                      <a:lnTo>
                        <a:pt x="86978" y="538350"/>
                      </a:lnTo>
                      <a:lnTo>
                        <a:pt x="90395" y="532224"/>
                      </a:lnTo>
                      <a:lnTo>
                        <a:pt x="90196" y="525706"/>
                      </a:lnTo>
                      <a:lnTo>
                        <a:pt x="85049" y="520468"/>
                      </a:lnTo>
                      <a:lnTo>
                        <a:pt x="84941" y="519267"/>
                      </a:lnTo>
                      <a:lnTo>
                        <a:pt x="84960" y="517501"/>
                      </a:lnTo>
                      <a:lnTo>
                        <a:pt x="85495" y="515656"/>
                      </a:lnTo>
                      <a:lnTo>
                        <a:pt x="86951" y="514236"/>
                      </a:lnTo>
                      <a:lnTo>
                        <a:pt x="95765" y="514427"/>
                      </a:lnTo>
                      <a:lnTo>
                        <a:pt x="101035" y="505364"/>
                      </a:lnTo>
                      <a:lnTo>
                        <a:pt x="105741" y="493939"/>
                      </a:lnTo>
                      <a:lnTo>
                        <a:pt x="112893" y="487007"/>
                      </a:lnTo>
                      <a:lnTo>
                        <a:pt x="112847" y="485788"/>
                      </a:lnTo>
                      <a:lnTo>
                        <a:pt x="114108" y="485197"/>
                      </a:lnTo>
                      <a:lnTo>
                        <a:pt x="114563" y="482648"/>
                      </a:lnTo>
                      <a:lnTo>
                        <a:pt x="113362" y="479892"/>
                      </a:lnTo>
                      <a:lnTo>
                        <a:pt x="109639" y="478628"/>
                      </a:lnTo>
                      <a:lnTo>
                        <a:pt x="103908" y="477884"/>
                      </a:lnTo>
                      <a:lnTo>
                        <a:pt x="101190" y="476946"/>
                      </a:lnTo>
                      <a:lnTo>
                        <a:pt x="100010" y="475649"/>
                      </a:lnTo>
                      <a:lnTo>
                        <a:pt x="98307" y="468576"/>
                      </a:lnTo>
                      <a:lnTo>
                        <a:pt x="94490" y="465308"/>
                      </a:lnTo>
                      <a:lnTo>
                        <a:pt x="89393" y="463415"/>
                      </a:lnTo>
                      <a:lnTo>
                        <a:pt x="83857" y="460455"/>
                      </a:lnTo>
                      <a:lnTo>
                        <a:pt x="81782" y="457933"/>
                      </a:lnTo>
                      <a:lnTo>
                        <a:pt x="81094" y="455024"/>
                      </a:lnTo>
                      <a:lnTo>
                        <a:pt x="81162" y="447704"/>
                      </a:lnTo>
                      <a:lnTo>
                        <a:pt x="81465" y="446012"/>
                      </a:lnTo>
                      <a:lnTo>
                        <a:pt x="82106" y="444010"/>
                      </a:lnTo>
                      <a:lnTo>
                        <a:pt x="82508" y="441872"/>
                      </a:lnTo>
                      <a:lnTo>
                        <a:pt x="82081" y="439779"/>
                      </a:lnTo>
                      <a:lnTo>
                        <a:pt x="80809" y="438405"/>
                      </a:lnTo>
                      <a:lnTo>
                        <a:pt x="76827" y="436133"/>
                      </a:lnTo>
                      <a:lnTo>
                        <a:pt x="75131" y="434882"/>
                      </a:lnTo>
                      <a:lnTo>
                        <a:pt x="73153" y="432399"/>
                      </a:lnTo>
                      <a:lnTo>
                        <a:pt x="71648" y="429475"/>
                      </a:lnTo>
                      <a:lnTo>
                        <a:pt x="70657" y="426083"/>
                      </a:lnTo>
                      <a:lnTo>
                        <a:pt x="70217" y="422215"/>
                      </a:lnTo>
                      <a:lnTo>
                        <a:pt x="71895" y="419672"/>
                      </a:lnTo>
                      <a:lnTo>
                        <a:pt x="75915" y="418862"/>
                      </a:lnTo>
                      <a:lnTo>
                        <a:pt x="80379" y="418634"/>
                      </a:lnTo>
                      <a:lnTo>
                        <a:pt x="83388" y="417853"/>
                      </a:lnTo>
                      <a:lnTo>
                        <a:pt x="85841" y="414055"/>
                      </a:lnTo>
                      <a:lnTo>
                        <a:pt x="84970" y="410933"/>
                      </a:lnTo>
                      <a:lnTo>
                        <a:pt x="81979" y="408819"/>
                      </a:lnTo>
                      <a:lnTo>
                        <a:pt x="73906" y="407663"/>
                      </a:lnTo>
                      <a:lnTo>
                        <a:pt x="71841" y="406214"/>
                      </a:lnTo>
                      <a:lnTo>
                        <a:pt x="71301" y="403553"/>
                      </a:lnTo>
                      <a:lnTo>
                        <a:pt x="72243" y="396486"/>
                      </a:lnTo>
                      <a:lnTo>
                        <a:pt x="74609" y="387888"/>
                      </a:lnTo>
                      <a:lnTo>
                        <a:pt x="76100" y="386086"/>
                      </a:lnTo>
                      <a:lnTo>
                        <a:pt x="78108" y="385057"/>
                      </a:lnTo>
                      <a:lnTo>
                        <a:pt x="80475" y="382558"/>
                      </a:lnTo>
                      <a:lnTo>
                        <a:pt x="82663" y="379360"/>
                      </a:lnTo>
                      <a:lnTo>
                        <a:pt x="84142" y="376254"/>
                      </a:lnTo>
                      <a:lnTo>
                        <a:pt x="80869" y="372659"/>
                      </a:lnTo>
                      <a:lnTo>
                        <a:pt x="78759" y="370897"/>
                      </a:lnTo>
                      <a:lnTo>
                        <a:pt x="76662" y="370157"/>
                      </a:lnTo>
                      <a:lnTo>
                        <a:pt x="74097" y="369889"/>
                      </a:lnTo>
                      <a:lnTo>
                        <a:pt x="71334" y="369087"/>
                      </a:lnTo>
                      <a:lnTo>
                        <a:pt x="69112" y="367787"/>
                      </a:lnTo>
                      <a:lnTo>
                        <a:pt x="68149" y="366060"/>
                      </a:lnTo>
                      <a:lnTo>
                        <a:pt x="68205" y="360215"/>
                      </a:lnTo>
                      <a:lnTo>
                        <a:pt x="68353" y="341628"/>
                      </a:lnTo>
                      <a:lnTo>
                        <a:pt x="69663" y="339413"/>
                      </a:lnTo>
                      <a:lnTo>
                        <a:pt x="72784" y="338132"/>
                      </a:lnTo>
                      <a:lnTo>
                        <a:pt x="76149" y="337183"/>
                      </a:lnTo>
                      <a:lnTo>
                        <a:pt x="78196" y="335984"/>
                      </a:lnTo>
                      <a:lnTo>
                        <a:pt x="79076" y="332818"/>
                      </a:lnTo>
                      <a:lnTo>
                        <a:pt x="78570" y="329751"/>
                      </a:lnTo>
                      <a:lnTo>
                        <a:pt x="76531" y="323848"/>
                      </a:lnTo>
                      <a:lnTo>
                        <a:pt x="76049" y="314990"/>
                      </a:lnTo>
                      <a:lnTo>
                        <a:pt x="75107" y="312820"/>
                      </a:lnTo>
                      <a:lnTo>
                        <a:pt x="72889" y="311217"/>
                      </a:lnTo>
                      <a:lnTo>
                        <a:pt x="67806" y="309572"/>
                      </a:lnTo>
                      <a:lnTo>
                        <a:pt x="66034" y="309290"/>
                      </a:lnTo>
                      <a:lnTo>
                        <a:pt x="63651" y="305852"/>
                      </a:lnTo>
                      <a:lnTo>
                        <a:pt x="65245" y="302018"/>
                      </a:lnTo>
                      <a:lnTo>
                        <a:pt x="71007" y="294641"/>
                      </a:lnTo>
                      <a:lnTo>
                        <a:pt x="71739" y="291243"/>
                      </a:lnTo>
                      <a:lnTo>
                        <a:pt x="72096" y="285996"/>
                      </a:lnTo>
                      <a:lnTo>
                        <a:pt x="71750" y="280837"/>
                      </a:lnTo>
                      <a:lnTo>
                        <a:pt x="71467" y="277635"/>
                      </a:lnTo>
                      <a:lnTo>
                        <a:pt x="65816" y="272528"/>
                      </a:lnTo>
                      <a:lnTo>
                        <a:pt x="62523" y="270154"/>
                      </a:lnTo>
                      <a:lnTo>
                        <a:pt x="59470" y="269175"/>
                      </a:lnTo>
                      <a:lnTo>
                        <a:pt x="56792" y="267880"/>
                      </a:lnTo>
                      <a:lnTo>
                        <a:pt x="54237" y="264984"/>
                      </a:lnTo>
                      <a:lnTo>
                        <a:pt x="53403" y="262068"/>
                      </a:lnTo>
                      <a:lnTo>
                        <a:pt x="55898" y="260718"/>
                      </a:lnTo>
                      <a:lnTo>
                        <a:pt x="59733" y="260641"/>
                      </a:lnTo>
                      <a:lnTo>
                        <a:pt x="63292" y="260050"/>
                      </a:lnTo>
                      <a:lnTo>
                        <a:pt x="66001" y="258241"/>
                      </a:lnTo>
                      <a:lnTo>
                        <a:pt x="67277" y="254501"/>
                      </a:lnTo>
                      <a:lnTo>
                        <a:pt x="66463" y="250074"/>
                      </a:lnTo>
                      <a:lnTo>
                        <a:pt x="63799" y="247746"/>
                      </a:lnTo>
                      <a:lnTo>
                        <a:pt x="57004" y="244808"/>
                      </a:lnTo>
                      <a:lnTo>
                        <a:pt x="53734" y="241813"/>
                      </a:lnTo>
                      <a:lnTo>
                        <a:pt x="54118" y="240181"/>
                      </a:lnTo>
                      <a:lnTo>
                        <a:pt x="56545" y="238893"/>
                      </a:lnTo>
                      <a:lnTo>
                        <a:pt x="59409" y="236887"/>
                      </a:lnTo>
                      <a:lnTo>
                        <a:pt x="65428" y="228989"/>
                      </a:lnTo>
                      <a:lnTo>
                        <a:pt x="66811" y="227695"/>
                      </a:lnTo>
                      <a:lnTo>
                        <a:pt x="67867" y="227037"/>
                      </a:lnTo>
                      <a:lnTo>
                        <a:pt x="71144" y="223871"/>
                      </a:lnTo>
                      <a:lnTo>
                        <a:pt x="72671" y="222767"/>
                      </a:lnTo>
                      <a:lnTo>
                        <a:pt x="74504" y="222379"/>
                      </a:lnTo>
                      <a:lnTo>
                        <a:pt x="78832" y="222151"/>
                      </a:lnTo>
                      <a:lnTo>
                        <a:pt x="80414" y="221459"/>
                      </a:lnTo>
                      <a:lnTo>
                        <a:pt x="82339" y="217681"/>
                      </a:lnTo>
                      <a:lnTo>
                        <a:pt x="81217" y="214328"/>
                      </a:lnTo>
                      <a:lnTo>
                        <a:pt x="79275" y="211502"/>
                      </a:lnTo>
                      <a:lnTo>
                        <a:pt x="78025" y="205444"/>
                      </a:lnTo>
                      <a:lnTo>
                        <a:pt x="80924" y="201404"/>
                      </a:lnTo>
                      <a:lnTo>
                        <a:pt x="83110" y="197064"/>
                      </a:lnTo>
                      <a:lnTo>
                        <a:pt x="80273" y="192233"/>
                      </a:lnTo>
                      <a:lnTo>
                        <a:pt x="78014" y="191086"/>
                      </a:lnTo>
                      <a:lnTo>
                        <a:pt x="75856" y="190320"/>
                      </a:lnTo>
                      <a:lnTo>
                        <a:pt x="74201" y="189140"/>
                      </a:lnTo>
                      <a:lnTo>
                        <a:pt x="73470" y="186694"/>
                      </a:lnTo>
                      <a:lnTo>
                        <a:pt x="74769" y="185406"/>
                      </a:lnTo>
                      <a:lnTo>
                        <a:pt x="83329" y="183589"/>
                      </a:lnTo>
                      <a:lnTo>
                        <a:pt x="85359" y="182573"/>
                      </a:lnTo>
                      <a:lnTo>
                        <a:pt x="92117" y="179191"/>
                      </a:lnTo>
                      <a:lnTo>
                        <a:pt x="95745" y="178585"/>
                      </a:lnTo>
                      <a:lnTo>
                        <a:pt x="99520" y="178570"/>
                      </a:lnTo>
                      <a:lnTo>
                        <a:pt x="102678" y="178186"/>
                      </a:lnTo>
                      <a:lnTo>
                        <a:pt x="105228" y="176752"/>
                      </a:lnTo>
                      <a:lnTo>
                        <a:pt x="107164" y="173578"/>
                      </a:lnTo>
                      <a:lnTo>
                        <a:pt x="106516" y="166739"/>
                      </a:lnTo>
                      <a:lnTo>
                        <a:pt x="94670" y="161684"/>
                      </a:lnTo>
                      <a:lnTo>
                        <a:pt x="94315" y="156663"/>
                      </a:lnTo>
                      <a:lnTo>
                        <a:pt x="96414" y="154776"/>
                      </a:lnTo>
                      <a:lnTo>
                        <a:pt x="104156" y="150148"/>
                      </a:lnTo>
                      <a:lnTo>
                        <a:pt x="106669" y="149226"/>
                      </a:lnTo>
                      <a:lnTo>
                        <a:pt x="108654" y="147743"/>
                      </a:lnTo>
                      <a:lnTo>
                        <a:pt x="114319" y="134646"/>
                      </a:lnTo>
                      <a:lnTo>
                        <a:pt x="114983" y="133566"/>
                      </a:lnTo>
                      <a:lnTo>
                        <a:pt x="116026" y="133240"/>
                      </a:lnTo>
                      <a:lnTo>
                        <a:pt x="118154" y="133203"/>
                      </a:lnTo>
                      <a:lnTo>
                        <a:pt x="120800" y="134234"/>
                      </a:lnTo>
                      <a:lnTo>
                        <a:pt x="122389" y="134515"/>
                      </a:lnTo>
                      <a:lnTo>
                        <a:pt x="123050" y="133739"/>
                      </a:lnTo>
                      <a:lnTo>
                        <a:pt x="123475" y="131935"/>
                      </a:lnTo>
                      <a:lnTo>
                        <a:pt x="125573" y="128586"/>
                      </a:lnTo>
                      <a:lnTo>
                        <a:pt x="126055" y="127145"/>
                      </a:lnTo>
                      <a:lnTo>
                        <a:pt x="125716" y="124944"/>
                      </a:lnTo>
                      <a:lnTo>
                        <a:pt x="124132" y="121624"/>
                      </a:lnTo>
                      <a:lnTo>
                        <a:pt x="123526" y="119119"/>
                      </a:lnTo>
                      <a:lnTo>
                        <a:pt x="123486" y="117512"/>
                      </a:lnTo>
                      <a:lnTo>
                        <a:pt x="124173" y="116571"/>
                      </a:lnTo>
                      <a:lnTo>
                        <a:pt x="126214" y="117942"/>
                      </a:lnTo>
                      <a:lnTo>
                        <a:pt x="127548" y="118587"/>
                      </a:lnTo>
                      <a:lnTo>
                        <a:pt x="129364" y="118705"/>
                      </a:lnTo>
                      <a:lnTo>
                        <a:pt x="136021" y="117890"/>
                      </a:lnTo>
                      <a:lnTo>
                        <a:pt x="139634" y="116574"/>
                      </a:lnTo>
                      <a:lnTo>
                        <a:pt x="145364" y="113543"/>
                      </a:lnTo>
                      <a:lnTo>
                        <a:pt x="150310" y="108334"/>
                      </a:lnTo>
                      <a:lnTo>
                        <a:pt x="151348" y="103116"/>
                      </a:lnTo>
                      <a:lnTo>
                        <a:pt x="151009" y="96973"/>
                      </a:lnTo>
                      <a:lnTo>
                        <a:pt x="152018" y="81966"/>
                      </a:lnTo>
                      <a:lnTo>
                        <a:pt x="148638" y="69805"/>
                      </a:lnTo>
                      <a:lnTo>
                        <a:pt x="149675" y="62277"/>
                      </a:lnTo>
                      <a:lnTo>
                        <a:pt x="152162" y="56007"/>
                      </a:lnTo>
                      <a:lnTo>
                        <a:pt x="154287" y="52405"/>
                      </a:lnTo>
                      <a:lnTo>
                        <a:pt x="156249" y="51835"/>
                      </a:lnTo>
                      <a:lnTo>
                        <a:pt x="159367" y="53578"/>
                      </a:lnTo>
                      <a:lnTo>
                        <a:pt x="162964" y="53673"/>
                      </a:lnTo>
                      <a:lnTo>
                        <a:pt x="166342" y="52671"/>
                      </a:lnTo>
                      <a:lnTo>
                        <a:pt x="167711" y="51119"/>
                      </a:lnTo>
                      <a:lnTo>
                        <a:pt x="169919" y="48753"/>
                      </a:lnTo>
                      <a:lnTo>
                        <a:pt x="168956" y="45490"/>
                      </a:lnTo>
                      <a:lnTo>
                        <a:pt x="166986" y="41985"/>
                      </a:lnTo>
                      <a:lnTo>
                        <a:pt x="166166" y="38924"/>
                      </a:lnTo>
                      <a:lnTo>
                        <a:pt x="167908" y="36613"/>
                      </a:lnTo>
                      <a:lnTo>
                        <a:pt x="185387" y="29947"/>
                      </a:lnTo>
                      <a:lnTo>
                        <a:pt x="192662" y="25423"/>
                      </a:lnTo>
                      <a:lnTo>
                        <a:pt x="197733" y="19304"/>
                      </a:lnTo>
                      <a:lnTo>
                        <a:pt x="197567" y="11824"/>
                      </a:lnTo>
                      <a:lnTo>
                        <a:pt x="192441" y="6514"/>
                      </a:lnTo>
                      <a:lnTo>
                        <a:pt x="191930" y="5740"/>
                      </a:lnTo>
                      <a:lnTo>
                        <a:pt x="212619" y="5447"/>
                      </a:lnTo>
                      <a:lnTo>
                        <a:pt x="233297" y="5139"/>
                      </a:lnTo>
                      <a:lnTo>
                        <a:pt x="253979" y="4828"/>
                      </a:lnTo>
                      <a:lnTo>
                        <a:pt x="274667" y="4517"/>
                      </a:lnTo>
                      <a:lnTo>
                        <a:pt x="295339" y="4195"/>
                      </a:lnTo>
                      <a:lnTo>
                        <a:pt x="316016" y="3870"/>
                      </a:lnTo>
                      <a:lnTo>
                        <a:pt x="336695" y="3532"/>
                      </a:lnTo>
                      <a:lnTo>
                        <a:pt x="357365" y="3184"/>
                      </a:lnTo>
                      <a:lnTo>
                        <a:pt x="378041" y="2828"/>
                      </a:lnTo>
                      <a:lnTo>
                        <a:pt x="398712" y="2468"/>
                      </a:lnTo>
                      <a:lnTo>
                        <a:pt x="419381" y="2101"/>
                      </a:lnTo>
                      <a:lnTo>
                        <a:pt x="440046" y="1727"/>
                      </a:lnTo>
                      <a:lnTo>
                        <a:pt x="460716" y="1350"/>
                      </a:lnTo>
                      <a:lnTo>
                        <a:pt x="481375" y="952"/>
                      </a:lnTo>
                      <a:lnTo>
                        <a:pt x="502040" y="551"/>
                      </a:lnTo>
                      <a:lnTo>
                        <a:pt x="522700" y="152"/>
                      </a:lnTo>
                      <a:lnTo>
                        <a:pt x="528364" y="32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2" name="Freeform 141">
                  <a:extLst>
                    <a:ext uri="{FF2B5EF4-FFF2-40B4-BE49-F238E27FC236}">
                      <a16:creationId xmlns:a16="http://schemas.microsoft.com/office/drawing/2014/main" id="{2F6359D2-8251-457C-AE2E-13861EAFC1E0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4628182" y="4867176"/>
                  <a:ext cx="525888" cy="3784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7823" h="559803">
                      <a:moveTo>
                        <a:pt x="674986" y="364163"/>
                      </a:moveTo>
                      <a:lnTo>
                        <a:pt x="675372" y="364410"/>
                      </a:lnTo>
                      <a:lnTo>
                        <a:pt x="675479" y="364677"/>
                      </a:lnTo>
                      <a:lnTo>
                        <a:pt x="675280" y="364950"/>
                      </a:lnTo>
                      <a:lnTo>
                        <a:pt x="674695" y="365239"/>
                      </a:lnTo>
                      <a:lnTo>
                        <a:pt x="674859" y="367938"/>
                      </a:lnTo>
                      <a:lnTo>
                        <a:pt x="672690" y="375162"/>
                      </a:lnTo>
                      <a:lnTo>
                        <a:pt x="671498" y="375215"/>
                      </a:lnTo>
                      <a:lnTo>
                        <a:pt x="671101" y="371770"/>
                      </a:lnTo>
                      <a:lnTo>
                        <a:pt x="671471" y="368482"/>
                      </a:lnTo>
                      <a:lnTo>
                        <a:pt x="672733" y="365809"/>
                      </a:lnTo>
                      <a:close/>
                      <a:moveTo>
                        <a:pt x="142494" y="0"/>
                      </a:moveTo>
                      <a:lnTo>
                        <a:pt x="143572" y="42"/>
                      </a:lnTo>
                      <a:lnTo>
                        <a:pt x="144203" y="515"/>
                      </a:lnTo>
                      <a:lnTo>
                        <a:pt x="144752" y="1056"/>
                      </a:lnTo>
                      <a:lnTo>
                        <a:pt x="145576" y="2097"/>
                      </a:lnTo>
                      <a:lnTo>
                        <a:pt x="146016" y="2524"/>
                      </a:lnTo>
                      <a:lnTo>
                        <a:pt x="146640" y="2884"/>
                      </a:lnTo>
                      <a:lnTo>
                        <a:pt x="147347" y="3071"/>
                      </a:lnTo>
                      <a:lnTo>
                        <a:pt x="159145" y="1585"/>
                      </a:lnTo>
                      <a:lnTo>
                        <a:pt x="170471" y="1701"/>
                      </a:lnTo>
                      <a:lnTo>
                        <a:pt x="171984" y="1708"/>
                      </a:lnTo>
                      <a:lnTo>
                        <a:pt x="176290" y="1752"/>
                      </a:lnTo>
                      <a:lnTo>
                        <a:pt x="183050" y="1814"/>
                      </a:lnTo>
                      <a:lnTo>
                        <a:pt x="191926" y="1907"/>
                      </a:lnTo>
                      <a:lnTo>
                        <a:pt x="202593" y="1998"/>
                      </a:lnTo>
                      <a:lnTo>
                        <a:pt x="214709" y="2109"/>
                      </a:lnTo>
                      <a:lnTo>
                        <a:pt x="227936" y="2226"/>
                      </a:lnTo>
                      <a:lnTo>
                        <a:pt x="241943" y="2344"/>
                      </a:lnTo>
                      <a:lnTo>
                        <a:pt x="256391" y="2463"/>
                      </a:lnTo>
                      <a:lnTo>
                        <a:pt x="270948" y="2581"/>
                      </a:lnTo>
                      <a:lnTo>
                        <a:pt x="285265" y="2684"/>
                      </a:lnTo>
                      <a:lnTo>
                        <a:pt x="299018" y="2794"/>
                      </a:lnTo>
                      <a:lnTo>
                        <a:pt x="311866" y="2885"/>
                      </a:lnTo>
                      <a:lnTo>
                        <a:pt x="323483" y="2967"/>
                      </a:lnTo>
                      <a:lnTo>
                        <a:pt x="333522" y="3042"/>
                      </a:lnTo>
                      <a:lnTo>
                        <a:pt x="341649" y="3094"/>
                      </a:lnTo>
                      <a:lnTo>
                        <a:pt x="351434" y="3145"/>
                      </a:lnTo>
                      <a:lnTo>
                        <a:pt x="353451" y="3415"/>
                      </a:lnTo>
                      <a:lnTo>
                        <a:pt x="354832" y="3829"/>
                      </a:lnTo>
                      <a:lnTo>
                        <a:pt x="355559" y="4379"/>
                      </a:lnTo>
                      <a:lnTo>
                        <a:pt x="356222" y="4989"/>
                      </a:lnTo>
                      <a:lnTo>
                        <a:pt x="356765" y="5674"/>
                      </a:lnTo>
                      <a:lnTo>
                        <a:pt x="357209" y="6380"/>
                      </a:lnTo>
                      <a:lnTo>
                        <a:pt x="357540" y="7252"/>
                      </a:lnTo>
                      <a:lnTo>
                        <a:pt x="357717" y="8193"/>
                      </a:lnTo>
                      <a:lnTo>
                        <a:pt x="357750" y="9143"/>
                      </a:lnTo>
                      <a:lnTo>
                        <a:pt x="357504" y="10070"/>
                      </a:lnTo>
                      <a:lnTo>
                        <a:pt x="356152" y="13541"/>
                      </a:lnTo>
                      <a:lnTo>
                        <a:pt x="356010" y="14289"/>
                      </a:lnTo>
                      <a:lnTo>
                        <a:pt x="355960" y="14938"/>
                      </a:lnTo>
                      <a:lnTo>
                        <a:pt x="355990" y="15665"/>
                      </a:lnTo>
                      <a:lnTo>
                        <a:pt x="356245" y="16463"/>
                      </a:lnTo>
                      <a:lnTo>
                        <a:pt x="356573" y="17297"/>
                      </a:lnTo>
                      <a:lnTo>
                        <a:pt x="357208" y="18130"/>
                      </a:lnTo>
                      <a:lnTo>
                        <a:pt x="357900" y="18904"/>
                      </a:lnTo>
                      <a:lnTo>
                        <a:pt x="359061" y="19682"/>
                      </a:lnTo>
                      <a:lnTo>
                        <a:pt x="359881" y="19674"/>
                      </a:lnTo>
                      <a:lnTo>
                        <a:pt x="360733" y="19376"/>
                      </a:lnTo>
                      <a:lnTo>
                        <a:pt x="372686" y="10169"/>
                      </a:lnTo>
                      <a:lnTo>
                        <a:pt x="373693" y="9585"/>
                      </a:lnTo>
                      <a:lnTo>
                        <a:pt x="374393" y="9616"/>
                      </a:lnTo>
                      <a:lnTo>
                        <a:pt x="374940" y="9873"/>
                      </a:lnTo>
                      <a:lnTo>
                        <a:pt x="375522" y="10376"/>
                      </a:lnTo>
                      <a:lnTo>
                        <a:pt x="382194" y="17259"/>
                      </a:lnTo>
                      <a:lnTo>
                        <a:pt x="392016" y="27360"/>
                      </a:lnTo>
                      <a:lnTo>
                        <a:pt x="399979" y="35539"/>
                      </a:lnTo>
                      <a:lnTo>
                        <a:pt x="400666" y="36585"/>
                      </a:lnTo>
                      <a:lnTo>
                        <a:pt x="400935" y="37728"/>
                      </a:lnTo>
                      <a:lnTo>
                        <a:pt x="402643" y="56160"/>
                      </a:lnTo>
                      <a:lnTo>
                        <a:pt x="402858" y="57392"/>
                      </a:lnTo>
                      <a:lnTo>
                        <a:pt x="403333" y="58495"/>
                      </a:lnTo>
                      <a:lnTo>
                        <a:pt x="404419" y="59368"/>
                      </a:lnTo>
                      <a:lnTo>
                        <a:pt x="405690" y="59646"/>
                      </a:lnTo>
                      <a:lnTo>
                        <a:pt x="411936" y="59523"/>
                      </a:lnTo>
                      <a:lnTo>
                        <a:pt x="413701" y="59483"/>
                      </a:lnTo>
                      <a:lnTo>
                        <a:pt x="418704" y="59377"/>
                      </a:lnTo>
                      <a:lnTo>
                        <a:pt x="426474" y="59209"/>
                      </a:lnTo>
                      <a:lnTo>
                        <a:pt x="436552" y="58985"/>
                      </a:lnTo>
                      <a:lnTo>
                        <a:pt x="448470" y="58729"/>
                      </a:lnTo>
                      <a:lnTo>
                        <a:pt x="461776" y="58431"/>
                      </a:lnTo>
                      <a:lnTo>
                        <a:pt x="476006" y="58117"/>
                      </a:lnTo>
                      <a:lnTo>
                        <a:pt x="490693" y="57789"/>
                      </a:lnTo>
                      <a:lnTo>
                        <a:pt x="505383" y="57460"/>
                      </a:lnTo>
                      <a:lnTo>
                        <a:pt x="519601" y="57126"/>
                      </a:lnTo>
                      <a:lnTo>
                        <a:pt x="532904" y="56817"/>
                      </a:lnTo>
                      <a:lnTo>
                        <a:pt x="544818" y="56535"/>
                      </a:lnTo>
                      <a:lnTo>
                        <a:pt x="554884" y="56299"/>
                      </a:lnTo>
                      <a:lnTo>
                        <a:pt x="562650" y="56117"/>
                      </a:lnTo>
                      <a:lnTo>
                        <a:pt x="567647" y="55984"/>
                      </a:lnTo>
                      <a:lnTo>
                        <a:pt x="569411" y="55951"/>
                      </a:lnTo>
                      <a:lnTo>
                        <a:pt x="575319" y="55808"/>
                      </a:lnTo>
                      <a:lnTo>
                        <a:pt x="580209" y="56401"/>
                      </a:lnTo>
                      <a:lnTo>
                        <a:pt x="583490" y="57246"/>
                      </a:lnTo>
                      <a:lnTo>
                        <a:pt x="589153" y="61793"/>
                      </a:lnTo>
                      <a:lnTo>
                        <a:pt x="600838" y="71196"/>
                      </a:lnTo>
                      <a:lnTo>
                        <a:pt x="612527" y="80609"/>
                      </a:lnTo>
                      <a:lnTo>
                        <a:pt x="624224" y="90018"/>
                      </a:lnTo>
                      <a:lnTo>
                        <a:pt x="635932" y="99428"/>
                      </a:lnTo>
                      <a:lnTo>
                        <a:pt x="647644" y="108839"/>
                      </a:lnTo>
                      <a:lnTo>
                        <a:pt x="659363" y="118250"/>
                      </a:lnTo>
                      <a:lnTo>
                        <a:pt x="671094" y="127663"/>
                      </a:lnTo>
                      <a:lnTo>
                        <a:pt x="682829" y="137075"/>
                      </a:lnTo>
                      <a:lnTo>
                        <a:pt x="694569" y="146490"/>
                      </a:lnTo>
                      <a:lnTo>
                        <a:pt x="706319" y="155905"/>
                      </a:lnTo>
                      <a:lnTo>
                        <a:pt x="718075" y="165320"/>
                      </a:lnTo>
                      <a:lnTo>
                        <a:pt x="729839" y="174736"/>
                      </a:lnTo>
                      <a:lnTo>
                        <a:pt x="741617" y="184153"/>
                      </a:lnTo>
                      <a:lnTo>
                        <a:pt x="753391" y="193567"/>
                      </a:lnTo>
                      <a:lnTo>
                        <a:pt x="765176" y="202986"/>
                      </a:lnTo>
                      <a:lnTo>
                        <a:pt x="776972" y="212409"/>
                      </a:lnTo>
                      <a:lnTo>
                        <a:pt x="776976" y="212412"/>
                      </a:lnTo>
                      <a:lnTo>
                        <a:pt x="772883" y="213817"/>
                      </a:lnTo>
                      <a:lnTo>
                        <a:pt x="773055" y="215040"/>
                      </a:lnTo>
                      <a:lnTo>
                        <a:pt x="774608" y="215223"/>
                      </a:lnTo>
                      <a:lnTo>
                        <a:pt x="775907" y="215865"/>
                      </a:lnTo>
                      <a:lnTo>
                        <a:pt x="776971" y="216995"/>
                      </a:lnTo>
                      <a:lnTo>
                        <a:pt x="777823" y="218611"/>
                      </a:lnTo>
                      <a:lnTo>
                        <a:pt x="771250" y="219316"/>
                      </a:lnTo>
                      <a:lnTo>
                        <a:pt x="764942" y="222105"/>
                      </a:lnTo>
                      <a:lnTo>
                        <a:pt x="749380" y="232448"/>
                      </a:lnTo>
                      <a:lnTo>
                        <a:pt x="734653" y="246460"/>
                      </a:lnTo>
                      <a:lnTo>
                        <a:pt x="724976" y="258154"/>
                      </a:lnTo>
                      <a:lnTo>
                        <a:pt x="712733" y="278251"/>
                      </a:lnTo>
                      <a:lnTo>
                        <a:pt x="699336" y="299783"/>
                      </a:lnTo>
                      <a:lnTo>
                        <a:pt x="696673" y="307446"/>
                      </a:lnTo>
                      <a:lnTo>
                        <a:pt x="698023" y="308602"/>
                      </a:lnTo>
                      <a:lnTo>
                        <a:pt x="697098" y="310623"/>
                      </a:lnTo>
                      <a:lnTo>
                        <a:pt x="695655" y="331686"/>
                      </a:lnTo>
                      <a:lnTo>
                        <a:pt x="696075" y="335876"/>
                      </a:lnTo>
                      <a:lnTo>
                        <a:pt x="695094" y="335920"/>
                      </a:lnTo>
                      <a:lnTo>
                        <a:pt x="693508" y="333395"/>
                      </a:lnTo>
                      <a:lnTo>
                        <a:pt x="692445" y="326931"/>
                      </a:lnTo>
                      <a:lnTo>
                        <a:pt x="691267" y="323677"/>
                      </a:lnTo>
                      <a:lnTo>
                        <a:pt x="689272" y="321265"/>
                      </a:lnTo>
                      <a:lnTo>
                        <a:pt x="687033" y="320354"/>
                      </a:lnTo>
                      <a:lnTo>
                        <a:pt x="680381" y="320576"/>
                      </a:lnTo>
                      <a:lnTo>
                        <a:pt x="679558" y="318707"/>
                      </a:lnTo>
                      <a:lnTo>
                        <a:pt x="680426" y="314526"/>
                      </a:lnTo>
                      <a:lnTo>
                        <a:pt x="683474" y="306057"/>
                      </a:lnTo>
                      <a:lnTo>
                        <a:pt x="688396" y="299431"/>
                      </a:lnTo>
                      <a:lnTo>
                        <a:pt x="690004" y="297783"/>
                      </a:lnTo>
                      <a:lnTo>
                        <a:pt x="689857" y="296683"/>
                      </a:lnTo>
                      <a:lnTo>
                        <a:pt x="686487" y="298388"/>
                      </a:lnTo>
                      <a:lnTo>
                        <a:pt x="683643" y="301447"/>
                      </a:lnTo>
                      <a:lnTo>
                        <a:pt x="677757" y="311252"/>
                      </a:lnTo>
                      <a:lnTo>
                        <a:pt x="676449" y="314887"/>
                      </a:lnTo>
                      <a:lnTo>
                        <a:pt x="675659" y="318792"/>
                      </a:lnTo>
                      <a:lnTo>
                        <a:pt x="675664" y="322574"/>
                      </a:lnTo>
                      <a:lnTo>
                        <a:pt x="677403" y="325928"/>
                      </a:lnTo>
                      <a:lnTo>
                        <a:pt x="680885" y="328706"/>
                      </a:lnTo>
                      <a:lnTo>
                        <a:pt x="684949" y="330564"/>
                      </a:lnTo>
                      <a:lnTo>
                        <a:pt x="690606" y="331691"/>
                      </a:lnTo>
                      <a:lnTo>
                        <a:pt x="691239" y="333202"/>
                      </a:lnTo>
                      <a:lnTo>
                        <a:pt x="691337" y="335222"/>
                      </a:lnTo>
                      <a:lnTo>
                        <a:pt x="691978" y="337283"/>
                      </a:lnTo>
                      <a:lnTo>
                        <a:pt x="693555" y="340491"/>
                      </a:lnTo>
                      <a:lnTo>
                        <a:pt x="694585" y="341355"/>
                      </a:lnTo>
                      <a:lnTo>
                        <a:pt x="696888" y="341992"/>
                      </a:lnTo>
                      <a:lnTo>
                        <a:pt x="695102" y="343620"/>
                      </a:lnTo>
                      <a:lnTo>
                        <a:pt x="692994" y="345048"/>
                      </a:lnTo>
                      <a:lnTo>
                        <a:pt x="691198" y="346903"/>
                      </a:lnTo>
                      <a:lnTo>
                        <a:pt x="690341" y="349772"/>
                      </a:lnTo>
                      <a:lnTo>
                        <a:pt x="688765" y="348492"/>
                      </a:lnTo>
                      <a:lnTo>
                        <a:pt x="687097" y="345486"/>
                      </a:lnTo>
                      <a:lnTo>
                        <a:pt x="685755" y="344944"/>
                      </a:lnTo>
                      <a:lnTo>
                        <a:pt x="683645" y="345770"/>
                      </a:lnTo>
                      <a:lnTo>
                        <a:pt x="683695" y="347484"/>
                      </a:lnTo>
                      <a:lnTo>
                        <a:pt x="685115" y="349461"/>
                      </a:lnTo>
                      <a:lnTo>
                        <a:pt x="687111" y="351044"/>
                      </a:lnTo>
                      <a:lnTo>
                        <a:pt x="686496" y="352040"/>
                      </a:lnTo>
                      <a:lnTo>
                        <a:pt x="685860" y="352772"/>
                      </a:lnTo>
                      <a:lnTo>
                        <a:pt x="685108" y="353274"/>
                      </a:lnTo>
                      <a:lnTo>
                        <a:pt x="684153" y="353639"/>
                      </a:lnTo>
                      <a:lnTo>
                        <a:pt x="682631" y="350633"/>
                      </a:lnTo>
                      <a:lnTo>
                        <a:pt x="679511" y="349011"/>
                      </a:lnTo>
                      <a:lnTo>
                        <a:pt x="675780" y="348317"/>
                      </a:lnTo>
                      <a:lnTo>
                        <a:pt x="672446" y="348112"/>
                      </a:lnTo>
                      <a:lnTo>
                        <a:pt x="674459" y="350429"/>
                      </a:lnTo>
                      <a:lnTo>
                        <a:pt x="678130" y="351161"/>
                      </a:lnTo>
                      <a:lnTo>
                        <a:pt x="681147" y="352378"/>
                      </a:lnTo>
                      <a:lnTo>
                        <a:pt x="681207" y="356218"/>
                      </a:lnTo>
                      <a:lnTo>
                        <a:pt x="679112" y="358708"/>
                      </a:lnTo>
                      <a:lnTo>
                        <a:pt x="672441" y="361987"/>
                      </a:lnTo>
                      <a:lnTo>
                        <a:pt x="669636" y="364779"/>
                      </a:lnTo>
                      <a:lnTo>
                        <a:pt x="668891" y="368001"/>
                      </a:lnTo>
                      <a:lnTo>
                        <a:pt x="669111" y="370984"/>
                      </a:lnTo>
                      <a:lnTo>
                        <a:pt x="668242" y="373260"/>
                      </a:lnTo>
                      <a:lnTo>
                        <a:pt x="664282" y="374312"/>
                      </a:lnTo>
                      <a:lnTo>
                        <a:pt x="660647" y="374735"/>
                      </a:lnTo>
                      <a:lnTo>
                        <a:pt x="657179" y="375648"/>
                      </a:lnTo>
                      <a:lnTo>
                        <a:pt x="654225" y="376979"/>
                      </a:lnTo>
                      <a:lnTo>
                        <a:pt x="652138" y="378631"/>
                      </a:lnTo>
                      <a:lnTo>
                        <a:pt x="651190" y="376781"/>
                      </a:lnTo>
                      <a:lnTo>
                        <a:pt x="648599" y="373329"/>
                      </a:lnTo>
                      <a:lnTo>
                        <a:pt x="647973" y="371993"/>
                      </a:lnTo>
                      <a:lnTo>
                        <a:pt x="646386" y="369905"/>
                      </a:lnTo>
                      <a:lnTo>
                        <a:pt x="643516" y="370917"/>
                      </a:lnTo>
                      <a:lnTo>
                        <a:pt x="638865" y="374183"/>
                      </a:lnTo>
                      <a:lnTo>
                        <a:pt x="636637" y="375262"/>
                      </a:lnTo>
                      <a:lnTo>
                        <a:pt x="634970" y="377739"/>
                      </a:lnTo>
                      <a:lnTo>
                        <a:pt x="631881" y="386010"/>
                      </a:lnTo>
                      <a:lnTo>
                        <a:pt x="631891" y="388078"/>
                      </a:lnTo>
                      <a:lnTo>
                        <a:pt x="632969" y="390128"/>
                      </a:lnTo>
                      <a:lnTo>
                        <a:pt x="635266" y="392904"/>
                      </a:lnTo>
                      <a:lnTo>
                        <a:pt x="635926" y="391453"/>
                      </a:lnTo>
                      <a:lnTo>
                        <a:pt x="637022" y="390328"/>
                      </a:lnTo>
                      <a:lnTo>
                        <a:pt x="638463" y="389496"/>
                      </a:lnTo>
                      <a:lnTo>
                        <a:pt x="640177" y="388997"/>
                      </a:lnTo>
                      <a:lnTo>
                        <a:pt x="639310" y="391748"/>
                      </a:lnTo>
                      <a:lnTo>
                        <a:pt x="638310" y="393155"/>
                      </a:lnTo>
                      <a:lnTo>
                        <a:pt x="630978" y="397693"/>
                      </a:lnTo>
                      <a:lnTo>
                        <a:pt x="629825" y="398066"/>
                      </a:lnTo>
                      <a:lnTo>
                        <a:pt x="628538" y="398678"/>
                      </a:lnTo>
                      <a:lnTo>
                        <a:pt x="627982" y="399978"/>
                      </a:lnTo>
                      <a:lnTo>
                        <a:pt x="627610" y="401270"/>
                      </a:lnTo>
                      <a:lnTo>
                        <a:pt x="626905" y="401872"/>
                      </a:lnTo>
                      <a:lnTo>
                        <a:pt x="622820" y="403557"/>
                      </a:lnTo>
                      <a:lnTo>
                        <a:pt x="620187" y="407218"/>
                      </a:lnTo>
                      <a:lnTo>
                        <a:pt x="618187" y="411425"/>
                      </a:lnTo>
                      <a:lnTo>
                        <a:pt x="615929" y="414748"/>
                      </a:lnTo>
                      <a:lnTo>
                        <a:pt x="607840" y="419871"/>
                      </a:lnTo>
                      <a:lnTo>
                        <a:pt x="603243" y="421927"/>
                      </a:lnTo>
                      <a:lnTo>
                        <a:pt x="599761" y="422822"/>
                      </a:lnTo>
                      <a:lnTo>
                        <a:pt x="597848" y="421920"/>
                      </a:lnTo>
                      <a:lnTo>
                        <a:pt x="596178" y="419834"/>
                      </a:lnTo>
                      <a:lnTo>
                        <a:pt x="594171" y="417763"/>
                      </a:lnTo>
                      <a:lnTo>
                        <a:pt x="591251" y="416910"/>
                      </a:lnTo>
                      <a:lnTo>
                        <a:pt x="589943" y="415696"/>
                      </a:lnTo>
                      <a:lnTo>
                        <a:pt x="591001" y="412822"/>
                      </a:lnTo>
                      <a:lnTo>
                        <a:pt x="594061" y="408176"/>
                      </a:lnTo>
                      <a:lnTo>
                        <a:pt x="590953" y="405858"/>
                      </a:lnTo>
                      <a:lnTo>
                        <a:pt x="589924" y="406451"/>
                      </a:lnTo>
                      <a:lnTo>
                        <a:pt x="589392" y="407706"/>
                      </a:lnTo>
                      <a:lnTo>
                        <a:pt x="589347" y="408961"/>
                      </a:lnTo>
                      <a:lnTo>
                        <a:pt x="589727" y="409591"/>
                      </a:lnTo>
                      <a:lnTo>
                        <a:pt x="583621" y="406298"/>
                      </a:lnTo>
                      <a:lnTo>
                        <a:pt x="582771" y="406803"/>
                      </a:lnTo>
                      <a:lnTo>
                        <a:pt x="583424" y="409283"/>
                      </a:lnTo>
                      <a:lnTo>
                        <a:pt x="585503" y="413763"/>
                      </a:lnTo>
                      <a:lnTo>
                        <a:pt x="586203" y="416571"/>
                      </a:lnTo>
                      <a:lnTo>
                        <a:pt x="585855" y="418932"/>
                      </a:lnTo>
                      <a:lnTo>
                        <a:pt x="584290" y="419189"/>
                      </a:lnTo>
                      <a:lnTo>
                        <a:pt x="581977" y="418083"/>
                      </a:lnTo>
                      <a:lnTo>
                        <a:pt x="579452" y="416282"/>
                      </a:lnTo>
                      <a:lnTo>
                        <a:pt x="580422" y="418836"/>
                      </a:lnTo>
                      <a:lnTo>
                        <a:pt x="582358" y="421131"/>
                      </a:lnTo>
                      <a:lnTo>
                        <a:pt x="584876" y="422771"/>
                      </a:lnTo>
                      <a:lnTo>
                        <a:pt x="590705" y="423759"/>
                      </a:lnTo>
                      <a:lnTo>
                        <a:pt x="592258" y="425044"/>
                      </a:lnTo>
                      <a:lnTo>
                        <a:pt x="593440" y="426607"/>
                      </a:lnTo>
                      <a:lnTo>
                        <a:pt x="595877" y="427891"/>
                      </a:lnTo>
                      <a:lnTo>
                        <a:pt x="596340" y="427718"/>
                      </a:lnTo>
                      <a:lnTo>
                        <a:pt x="596385" y="426659"/>
                      </a:lnTo>
                      <a:lnTo>
                        <a:pt x="597483" y="426614"/>
                      </a:lnTo>
                      <a:lnTo>
                        <a:pt x="597611" y="431977"/>
                      </a:lnTo>
                      <a:lnTo>
                        <a:pt x="595507" y="435703"/>
                      </a:lnTo>
                      <a:lnTo>
                        <a:pt x="586899" y="442347"/>
                      </a:lnTo>
                      <a:lnTo>
                        <a:pt x="585343" y="443116"/>
                      </a:lnTo>
                      <a:lnTo>
                        <a:pt x="581273" y="443395"/>
                      </a:lnTo>
                      <a:lnTo>
                        <a:pt x="577209" y="442772"/>
                      </a:lnTo>
                      <a:lnTo>
                        <a:pt x="575476" y="442741"/>
                      </a:lnTo>
                      <a:lnTo>
                        <a:pt x="574134" y="443691"/>
                      </a:lnTo>
                      <a:lnTo>
                        <a:pt x="574272" y="444808"/>
                      </a:lnTo>
                      <a:lnTo>
                        <a:pt x="578247" y="446997"/>
                      </a:lnTo>
                      <a:lnTo>
                        <a:pt x="579657" y="448816"/>
                      </a:lnTo>
                      <a:lnTo>
                        <a:pt x="578271" y="450223"/>
                      </a:lnTo>
                      <a:lnTo>
                        <a:pt x="569942" y="451932"/>
                      </a:lnTo>
                      <a:lnTo>
                        <a:pt x="562779" y="454603"/>
                      </a:lnTo>
                      <a:lnTo>
                        <a:pt x="559398" y="455255"/>
                      </a:lnTo>
                      <a:lnTo>
                        <a:pt x="555769" y="456577"/>
                      </a:lnTo>
                      <a:lnTo>
                        <a:pt x="553761" y="458676"/>
                      </a:lnTo>
                      <a:lnTo>
                        <a:pt x="551572" y="459345"/>
                      </a:lnTo>
                      <a:lnTo>
                        <a:pt x="547390" y="456421"/>
                      </a:lnTo>
                      <a:lnTo>
                        <a:pt x="541675" y="451470"/>
                      </a:lnTo>
                      <a:lnTo>
                        <a:pt x="538388" y="449661"/>
                      </a:lnTo>
                      <a:lnTo>
                        <a:pt x="536083" y="450180"/>
                      </a:lnTo>
                      <a:lnTo>
                        <a:pt x="538289" y="452407"/>
                      </a:lnTo>
                      <a:lnTo>
                        <a:pt x="546556" y="458435"/>
                      </a:lnTo>
                      <a:lnTo>
                        <a:pt x="547503" y="458704"/>
                      </a:lnTo>
                      <a:lnTo>
                        <a:pt x="547714" y="459077"/>
                      </a:lnTo>
                      <a:lnTo>
                        <a:pt x="547310" y="460677"/>
                      </a:lnTo>
                      <a:lnTo>
                        <a:pt x="546396" y="462254"/>
                      </a:lnTo>
                      <a:lnTo>
                        <a:pt x="544958" y="463258"/>
                      </a:lnTo>
                      <a:lnTo>
                        <a:pt x="543343" y="464116"/>
                      </a:lnTo>
                      <a:lnTo>
                        <a:pt x="532730" y="472562"/>
                      </a:lnTo>
                      <a:lnTo>
                        <a:pt x="530839" y="473269"/>
                      </a:lnTo>
                      <a:lnTo>
                        <a:pt x="529750" y="474399"/>
                      </a:lnTo>
                      <a:lnTo>
                        <a:pt x="528509" y="474815"/>
                      </a:lnTo>
                      <a:lnTo>
                        <a:pt x="526189" y="473390"/>
                      </a:lnTo>
                      <a:lnTo>
                        <a:pt x="525079" y="471565"/>
                      </a:lnTo>
                      <a:lnTo>
                        <a:pt x="524602" y="469517"/>
                      </a:lnTo>
                      <a:lnTo>
                        <a:pt x="523737" y="467704"/>
                      </a:lnTo>
                      <a:lnTo>
                        <a:pt x="521408" y="466640"/>
                      </a:lnTo>
                      <a:lnTo>
                        <a:pt x="522236" y="469568"/>
                      </a:lnTo>
                      <a:lnTo>
                        <a:pt x="522111" y="472844"/>
                      </a:lnTo>
                      <a:lnTo>
                        <a:pt x="520990" y="475528"/>
                      </a:lnTo>
                      <a:lnTo>
                        <a:pt x="518799" y="476701"/>
                      </a:lnTo>
                      <a:lnTo>
                        <a:pt x="516033" y="476270"/>
                      </a:lnTo>
                      <a:lnTo>
                        <a:pt x="514350" y="475048"/>
                      </a:lnTo>
                      <a:lnTo>
                        <a:pt x="512700" y="473493"/>
                      </a:lnTo>
                      <a:lnTo>
                        <a:pt x="510015" y="472142"/>
                      </a:lnTo>
                      <a:lnTo>
                        <a:pt x="506894" y="471570"/>
                      </a:lnTo>
                      <a:lnTo>
                        <a:pt x="504713" y="471562"/>
                      </a:lnTo>
                      <a:lnTo>
                        <a:pt x="502703" y="471173"/>
                      </a:lnTo>
                      <a:lnTo>
                        <a:pt x="496119" y="466422"/>
                      </a:lnTo>
                      <a:lnTo>
                        <a:pt x="494735" y="465099"/>
                      </a:lnTo>
                      <a:lnTo>
                        <a:pt x="493321" y="462854"/>
                      </a:lnTo>
                      <a:lnTo>
                        <a:pt x="492122" y="462902"/>
                      </a:lnTo>
                      <a:lnTo>
                        <a:pt x="492346" y="465004"/>
                      </a:lnTo>
                      <a:lnTo>
                        <a:pt x="493080" y="466953"/>
                      </a:lnTo>
                      <a:lnTo>
                        <a:pt x="494140" y="468715"/>
                      </a:lnTo>
                      <a:lnTo>
                        <a:pt x="495314" y="470266"/>
                      </a:lnTo>
                      <a:lnTo>
                        <a:pt x="491319" y="470909"/>
                      </a:lnTo>
                      <a:lnTo>
                        <a:pt x="479665" y="469656"/>
                      </a:lnTo>
                      <a:lnTo>
                        <a:pt x="474661" y="469854"/>
                      </a:lnTo>
                      <a:lnTo>
                        <a:pt x="473193" y="470761"/>
                      </a:lnTo>
                      <a:lnTo>
                        <a:pt x="472081" y="472550"/>
                      </a:lnTo>
                      <a:lnTo>
                        <a:pt x="472446" y="474968"/>
                      </a:lnTo>
                      <a:lnTo>
                        <a:pt x="475188" y="473409"/>
                      </a:lnTo>
                      <a:lnTo>
                        <a:pt x="489754" y="475413"/>
                      </a:lnTo>
                      <a:lnTo>
                        <a:pt x="491628" y="475163"/>
                      </a:lnTo>
                      <a:lnTo>
                        <a:pt x="494494" y="474271"/>
                      </a:lnTo>
                      <a:lnTo>
                        <a:pt x="496316" y="474023"/>
                      </a:lnTo>
                      <a:lnTo>
                        <a:pt x="498514" y="474390"/>
                      </a:lnTo>
                      <a:lnTo>
                        <a:pt x="502691" y="476466"/>
                      </a:lnTo>
                      <a:lnTo>
                        <a:pt x="505000" y="477254"/>
                      </a:lnTo>
                      <a:lnTo>
                        <a:pt x="505160" y="478589"/>
                      </a:lnTo>
                      <a:lnTo>
                        <a:pt x="500754" y="478457"/>
                      </a:lnTo>
                      <a:lnTo>
                        <a:pt x="496011" y="478932"/>
                      </a:lnTo>
                      <a:lnTo>
                        <a:pt x="491503" y="480034"/>
                      </a:lnTo>
                      <a:lnTo>
                        <a:pt x="487831" y="481749"/>
                      </a:lnTo>
                      <a:lnTo>
                        <a:pt x="502837" y="482267"/>
                      </a:lnTo>
                      <a:lnTo>
                        <a:pt x="507116" y="483652"/>
                      </a:lnTo>
                      <a:lnTo>
                        <a:pt x="509373" y="486978"/>
                      </a:lnTo>
                      <a:lnTo>
                        <a:pt x="508955" y="490426"/>
                      </a:lnTo>
                      <a:lnTo>
                        <a:pt x="502306" y="493462"/>
                      </a:lnTo>
                      <a:lnTo>
                        <a:pt x="498817" y="496344"/>
                      </a:lnTo>
                      <a:lnTo>
                        <a:pt x="496376" y="499395"/>
                      </a:lnTo>
                      <a:lnTo>
                        <a:pt x="496680" y="501187"/>
                      </a:lnTo>
                      <a:lnTo>
                        <a:pt x="499675" y="500738"/>
                      </a:lnTo>
                      <a:lnTo>
                        <a:pt x="503786" y="498793"/>
                      </a:lnTo>
                      <a:lnTo>
                        <a:pt x="507487" y="496358"/>
                      </a:lnTo>
                      <a:lnTo>
                        <a:pt x="509267" y="494417"/>
                      </a:lnTo>
                      <a:lnTo>
                        <a:pt x="511450" y="492152"/>
                      </a:lnTo>
                      <a:lnTo>
                        <a:pt x="512541" y="490796"/>
                      </a:lnTo>
                      <a:lnTo>
                        <a:pt x="513065" y="489235"/>
                      </a:lnTo>
                      <a:lnTo>
                        <a:pt x="514267" y="489187"/>
                      </a:lnTo>
                      <a:lnTo>
                        <a:pt x="514065" y="492730"/>
                      </a:lnTo>
                      <a:lnTo>
                        <a:pt x="513387" y="497099"/>
                      </a:lnTo>
                      <a:lnTo>
                        <a:pt x="512024" y="500050"/>
                      </a:lnTo>
                      <a:lnTo>
                        <a:pt x="509852" y="499322"/>
                      </a:lnTo>
                      <a:lnTo>
                        <a:pt x="508842" y="499362"/>
                      </a:lnTo>
                      <a:lnTo>
                        <a:pt x="509033" y="500301"/>
                      </a:lnTo>
                      <a:lnTo>
                        <a:pt x="508776" y="500531"/>
                      </a:lnTo>
                      <a:lnTo>
                        <a:pt x="508292" y="500514"/>
                      </a:lnTo>
                      <a:lnTo>
                        <a:pt x="507805" y="500746"/>
                      </a:lnTo>
                      <a:lnTo>
                        <a:pt x="510970" y="502388"/>
                      </a:lnTo>
                      <a:lnTo>
                        <a:pt x="509522" y="505071"/>
                      </a:lnTo>
                      <a:lnTo>
                        <a:pt x="497135" y="513483"/>
                      </a:lnTo>
                      <a:lnTo>
                        <a:pt x="495407" y="513843"/>
                      </a:lnTo>
                      <a:lnTo>
                        <a:pt x="492783" y="513595"/>
                      </a:lnTo>
                      <a:lnTo>
                        <a:pt x="491614" y="513700"/>
                      </a:lnTo>
                      <a:lnTo>
                        <a:pt x="485726" y="516850"/>
                      </a:lnTo>
                      <a:lnTo>
                        <a:pt x="483895" y="516166"/>
                      </a:lnTo>
                      <a:lnTo>
                        <a:pt x="482393" y="511481"/>
                      </a:lnTo>
                      <a:lnTo>
                        <a:pt x="481920" y="506792"/>
                      </a:lnTo>
                      <a:lnTo>
                        <a:pt x="482722" y="495469"/>
                      </a:lnTo>
                      <a:lnTo>
                        <a:pt x="477299" y="498146"/>
                      </a:lnTo>
                      <a:lnTo>
                        <a:pt x="476286" y="497217"/>
                      </a:lnTo>
                      <a:lnTo>
                        <a:pt x="477797" y="484198"/>
                      </a:lnTo>
                      <a:lnTo>
                        <a:pt x="476448" y="481157"/>
                      </a:lnTo>
                      <a:lnTo>
                        <a:pt x="472160" y="481018"/>
                      </a:lnTo>
                      <a:lnTo>
                        <a:pt x="472761" y="482424"/>
                      </a:lnTo>
                      <a:lnTo>
                        <a:pt x="473063" y="482758"/>
                      </a:lnTo>
                      <a:lnTo>
                        <a:pt x="473497" y="482527"/>
                      </a:lnTo>
                      <a:lnTo>
                        <a:pt x="474524" y="482275"/>
                      </a:lnTo>
                      <a:lnTo>
                        <a:pt x="474773" y="482829"/>
                      </a:lnTo>
                      <a:lnTo>
                        <a:pt x="475757" y="483340"/>
                      </a:lnTo>
                      <a:lnTo>
                        <a:pt x="474441" y="485488"/>
                      </a:lnTo>
                      <a:lnTo>
                        <a:pt x="474068" y="487922"/>
                      </a:lnTo>
                      <a:lnTo>
                        <a:pt x="475413" y="500126"/>
                      </a:lnTo>
                      <a:lnTo>
                        <a:pt x="475945" y="501498"/>
                      </a:lnTo>
                      <a:lnTo>
                        <a:pt x="477864" y="504297"/>
                      </a:lnTo>
                      <a:lnTo>
                        <a:pt x="478447" y="506151"/>
                      </a:lnTo>
                      <a:lnTo>
                        <a:pt x="478133" y="509440"/>
                      </a:lnTo>
                      <a:lnTo>
                        <a:pt x="476441" y="509984"/>
                      </a:lnTo>
                      <a:lnTo>
                        <a:pt x="474120" y="508828"/>
                      </a:lnTo>
                      <a:lnTo>
                        <a:pt x="462133" y="500081"/>
                      </a:lnTo>
                      <a:lnTo>
                        <a:pt x="456922" y="490294"/>
                      </a:lnTo>
                      <a:lnTo>
                        <a:pt x="454274" y="483728"/>
                      </a:lnTo>
                      <a:lnTo>
                        <a:pt x="453681" y="479955"/>
                      </a:lnTo>
                      <a:lnTo>
                        <a:pt x="455560" y="476760"/>
                      </a:lnTo>
                      <a:lnTo>
                        <a:pt x="455047" y="475871"/>
                      </a:lnTo>
                      <a:lnTo>
                        <a:pt x="452995" y="475687"/>
                      </a:lnTo>
                      <a:lnTo>
                        <a:pt x="450273" y="474505"/>
                      </a:lnTo>
                      <a:lnTo>
                        <a:pt x="448639" y="472267"/>
                      </a:lnTo>
                      <a:lnTo>
                        <a:pt x="447554" y="469921"/>
                      </a:lnTo>
                      <a:lnTo>
                        <a:pt x="446013" y="468413"/>
                      </a:lnTo>
                      <a:lnTo>
                        <a:pt x="442956" y="468642"/>
                      </a:lnTo>
                      <a:lnTo>
                        <a:pt x="443085" y="469744"/>
                      </a:lnTo>
                      <a:lnTo>
                        <a:pt x="445244" y="471300"/>
                      </a:lnTo>
                      <a:lnTo>
                        <a:pt x="448154" y="476331"/>
                      </a:lnTo>
                      <a:lnTo>
                        <a:pt x="449614" y="478223"/>
                      </a:lnTo>
                      <a:lnTo>
                        <a:pt x="449755" y="479434"/>
                      </a:lnTo>
                      <a:lnTo>
                        <a:pt x="448923" y="483577"/>
                      </a:lnTo>
                      <a:lnTo>
                        <a:pt x="451797" y="489951"/>
                      </a:lnTo>
                      <a:lnTo>
                        <a:pt x="455607" y="496414"/>
                      </a:lnTo>
                      <a:lnTo>
                        <a:pt x="457678" y="500819"/>
                      </a:lnTo>
                      <a:lnTo>
                        <a:pt x="456367" y="505195"/>
                      </a:lnTo>
                      <a:lnTo>
                        <a:pt x="456599" y="507693"/>
                      </a:lnTo>
                      <a:lnTo>
                        <a:pt x="459211" y="508691"/>
                      </a:lnTo>
                      <a:lnTo>
                        <a:pt x="460632" y="510058"/>
                      </a:lnTo>
                      <a:lnTo>
                        <a:pt x="466567" y="518251"/>
                      </a:lnTo>
                      <a:lnTo>
                        <a:pt x="469339" y="516890"/>
                      </a:lnTo>
                      <a:lnTo>
                        <a:pt x="471807" y="517321"/>
                      </a:lnTo>
                      <a:lnTo>
                        <a:pt x="473920" y="518779"/>
                      </a:lnTo>
                      <a:lnTo>
                        <a:pt x="475598" y="520473"/>
                      </a:lnTo>
                      <a:lnTo>
                        <a:pt x="478227" y="523862"/>
                      </a:lnTo>
                      <a:lnTo>
                        <a:pt x="478364" y="525763"/>
                      </a:lnTo>
                      <a:lnTo>
                        <a:pt x="474528" y="530254"/>
                      </a:lnTo>
                      <a:lnTo>
                        <a:pt x="470092" y="537379"/>
                      </a:lnTo>
                      <a:lnTo>
                        <a:pt x="457473" y="545789"/>
                      </a:lnTo>
                      <a:lnTo>
                        <a:pt x="458204" y="539174"/>
                      </a:lnTo>
                      <a:lnTo>
                        <a:pt x="462459" y="527731"/>
                      </a:lnTo>
                      <a:lnTo>
                        <a:pt x="461251" y="521031"/>
                      </a:lnTo>
                      <a:lnTo>
                        <a:pt x="460121" y="522674"/>
                      </a:lnTo>
                      <a:lnTo>
                        <a:pt x="459941" y="524756"/>
                      </a:lnTo>
                      <a:lnTo>
                        <a:pt x="460131" y="527146"/>
                      </a:lnTo>
                      <a:lnTo>
                        <a:pt x="460038" y="529687"/>
                      </a:lnTo>
                      <a:lnTo>
                        <a:pt x="459089" y="531652"/>
                      </a:lnTo>
                      <a:lnTo>
                        <a:pt x="455843" y="535466"/>
                      </a:lnTo>
                      <a:lnTo>
                        <a:pt x="455212" y="536693"/>
                      </a:lnTo>
                      <a:lnTo>
                        <a:pt x="455093" y="541156"/>
                      </a:lnTo>
                      <a:lnTo>
                        <a:pt x="453895" y="544518"/>
                      </a:lnTo>
                      <a:lnTo>
                        <a:pt x="447468" y="553154"/>
                      </a:lnTo>
                      <a:lnTo>
                        <a:pt x="446559" y="555097"/>
                      </a:lnTo>
                      <a:lnTo>
                        <a:pt x="446572" y="557281"/>
                      </a:lnTo>
                      <a:lnTo>
                        <a:pt x="447784" y="559765"/>
                      </a:lnTo>
                      <a:lnTo>
                        <a:pt x="447784" y="559766"/>
                      </a:lnTo>
                      <a:lnTo>
                        <a:pt x="447683" y="559803"/>
                      </a:lnTo>
                      <a:lnTo>
                        <a:pt x="444404" y="559673"/>
                      </a:lnTo>
                      <a:lnTo>
                        <a:pt x="441331" y="558739"/>
                      </a:lnTo>
                      <a:lnTo>
                        <a:pt x="438648" y="557041"/>
                      </a:lnTo>
                      <a:lnTo>
                        <a:pt x="437324" y="554600"/>
                      </a:lnTo>
                      <a:lnTo>
                        <a:pt x="436045" y="553343"/>
                      </a:lnTo>
                      <a:lnTo>
                        <a:pt x="429202" y="550660"/>
                      </a:lnTo>
                      <a:lnTo>
                        <a:pt x="425578" y="550059"/>
                      </a:lnTo>
                      <a:lnTo>
                        <a:pt x="416295" y="551149"/>
                      </a:lnTo>
                      <a:lnTo>
                        <a:pt x="414805" y="550414"/>
                      </a:lnTo>
                      <a:lnTo>
                        <a:pt x="409508" y="545142"/>
                      </a:lnTo>
                      <a:lnTo>
                        <a:pt x="408545" y="544492"/>
                      </a:lnTo>
                      <a:lnTo>
                        <a:pt x="406733" y="543619"/>
                      </a:lnTo>
                      <a:lnTo>
                        <a:pt x="405912" y="542819"/>
                      </a:lnTo>
                      <a:lnTo>
                        <a:pt x="405311" y="541544"/>
                      </a:lnTo>
                      <a:lnTo>
                        <a:pt x="405315" y="540554"/>
                      </a:lnTo>
                      <a:lnTo>
                        <a:pt x="405518" y="539807"/>
                      </a:lnTo>
                      <a:lnTo>
                        <a:pt x="405508" y="539254"/>
                      </a:lnTo>
                      <a:lnTo>
                        <a:pt x="401976" y="533639"/>
                      </a:lnTo>
                      <a:lnTo>
                        <a:pt x="401416" y="532477"/>
                      </a:lnTo>
                      <a:lnTo>
                        <a:pt x="401536" y="530489"/>
                      </a:lnTo>
                      <a:lnTo>
                        <a:pt x="402705" y="527341"/>
                      </a:lnTo>
                      <a:lnTo>
                        <a:pt x="402928" y="526272"/>
                      </a:lnTo>
                      <a:lnTo>
                        <a:pt x="402121" y="521612"/>
                      </a:lnTo>
                      <a:lnTo>
                        <a:pt x="402169" y="519591"/>
                      </a:lnTo>
                      <a:lnTo>
                        <a:pt x="402503" y="517886"/>
                      </a:lnTo>
                      <a:lnTo>
                        <a:pt x="403474" y="515413"/>
                      </a:lnTo>
                      <a:lnTo>
                        <a:pt x="403563" y="513282"/>
                      </a:lnTo>
                      <a:lnTo>
                        <a:pt x="402802" y="509495"/>
                      </a:lnTo>
                      <a:lnTo>
                        <a:pt x="401165" y="506427"/>
                      </a:lnTo>
                      <a:lnTo>
                        <a:pt x="398946" y="504397"/>
                      </a:lnTo>
                      <a:lnTo>
                        <a:pt x="396432" y="503714"/>
                      </a:lnTo>
                      <a:lnTo>
                        <a:pt x="389850" y="489213"/>
                      </a:lnTo>
                      <a:lnTo>
                        <a:pt x="389385" y="483605"/>
                      </a:lnTo>
                      <a:lnTo>
                        <a:pt x="388326" y="480635"/>
                      </a:lnTo>
                      <a:lnTo>
                        <a:pt x="385916" y="479422"/>
                      </a:lnTo>
                      <a:lnTo>
                        <a:pt x="383652" y="478753"/>
                      </a:lnTo>
                      <a:lnTo>
                        <a:pt x="382622" y="477034"/>
                      </a:lnTo>
                      <a:lnTo>
                        <a:pt x="382082" y="475006"/>
                      </a:lnTo>
                      <a:lnTo>
                        <a:pt x="381314" y="473450"/>
                      </a:lnTo>
                      <a:lnTo>
                        <a:pt x="380368" y="472809"/>
                      </a:lnTo>
                      <a:lnTo>
                        <a:pt x="376629" y="471171"/>
                      </a:lnTo>
                      <a:lnTo>
                        <a:pt x="376030" y="471326"/>
                      </a:lnTo>
                      <a:lnTo>
                        <a:pt x="375103" y="470685"/>
                      </a:lnTo>
                      <a:lnTo>
                        <a:pt x="372409" y="468142"/>
                      </a:lnTo>
                      <a:lnTo>
                        <a:pt x="371092" y="467058"/>
                      </a:lnTo>
                      <a:lnTo>
                        <a:pt x="369655" y="466133"/>
                      </a:lnTo>
                      <a:lnTo>
                        <a:pt x="368123" y="465497"/>
                      </a:lnTo>
                      <a:lnTo>
                        <a:pt x="363188" y="464804"/>
                      </a:lnTo>
                      <a:lnTo>
                        <a:pt x="359700" y="463394"/>
                      </a:lnTo>
                      <a:lnTo>
                        <a:pt x="356569" y="461544"/>
                      </a:lnTo>
                      <a:lnTo>
                        <a:pt x="354320" y="459727"/>
                      </a:lnTo>
                      <a:lnTo>
                        <a:pt x="352417" y="456848"/>
                      </a:lnTo>
                      <a:lnTo>
                        <a:pt x="352300" y="454239"/>
                      </a:lnTo>
                      <a:lnTo>
                        <a:pt x="352857" y="451447"/>
                      </a:lnTo>
                      <a:lnTo>
                        <a:pt x="352993" y="448004"/>
                      </a:lnTo>
                      <a:lnTo>
                        <a:pt x="352528" y="446805"/>
                      </a:lnTo>
                      <a:lnTo>
                        <a:pt x="351585" y="445423"/>
                      </a:lnTo>
                      <a:lnTo>
                        <a:pt x="350517" y="444286"/>
                      </a:lnTo>
                      <a:lnTo>
                        <a:pt x="349706" y="443825"/>
                      </a:lnTo>
                      <a:lnTo>
                        <a:pt x="349182" y="443001"/>
                      </a:lnTo>
                      <a:lnTo>
                        <a:pt x="349597" y="441124"/>
                      </a:lnTo>
                      <a:lnTo>
                        <a:pt x="349750" y="438915"/>
                      </a:lnTo>
                      <a:lnTo>
                        <a:pt x="350617" y="437653"/>
                      </a:lnTo>
                      <a:lnTo>
                        <a:pt x="350492" y="435230"/>
                      </a:lnTo>
                      <a:lnTo>
                        <a:pt x="349213" y="432446"/>
                      </a:lnTo>
                      <a:lnTo>
                        <a:pt x="347296" y="429994"/>
                      </a:lnTo>
                      <a:lnTo>
                        <a:pt x="346123" y="427277"/>
                      </a:lnTo>
                      <a:lnTo>
                        <a:pt x="345633" y="424641"/>
                      </a:lnTo>
                      <a:lnTo>
                        <a:pt x="344835" y="421874"/>
                      </a:lnTo>
                      <a:lnTo>
                        <a:pt x="342749" y="416972"/>
                      </a:lnTo>
                      <a:lnTo>
                        <a:pt x="332983" y="403838"/>
                      </a:lnTo>
                      <a:lnTo>
                        <a:pt x="330941" y="402388"/>
                      </a:lnTo>
                      <a:lnTo>
                        <a:pt x="330540" y="398928"/>
                      </a:lnTo>
                      <a:lnTo>
                        <a:pt x="331171" y="392754"/>
                      </a:lnTo>
                      <a:lnTo>
                        <a:pt x="330259" y="389734"/>
                      </a:lnTo>
                      <a:lnTo>
                        <a:pt x="328326" y="386153"/>
                      </a:lnTo>
                      <a:lnTo>
                        <a:pt x="325981" y="383193"/>
                      </a:lnTo>
                      <a:lnTo>
                        <a:pt x="323831" y="381989"/>
                      </a:lnTo>
                      <a:lnTo>
                        <a:pt x="320262" y="381576"/>
                      </a:lnTo>
                      <a:lnTo>
                        <a:pt x="317665" y="380239"/>
                      </a:lnTo>
                      <a:lnTo>
                        <a:pt x="312675" y="376274"/>
                      </a:lnTo>
                      <a:lnTo>
                        <a:pt x="305712" y="372993"/>
                      </a:lnTo>
                      <a:lnTo>
                        <a:pt x="290960" y="368060"/>
                      </a:lnTo>
                      <a:lnTo>
                        <a:pt x="284746" y="363837"/>
                      </a:lnTo>
                      <a:lnTo>
                        <a:pt x="283658" y="361366"/>
                      </a:lnTo>
                      <a:lnTo>
                        <a:pt x="281940" y="354277"/>
                      </a:lnTo>
                      <a:lnTo>
                        <a:pt x="280712" y="352841"/>
                      </a:lnTo>
                      <a:lnTo>
                        <a:pt x="277092" y="352761"/>
                      </a:lnTo>
                      <a:lnTo>
                        <a:pt x="274087" y="351891"/>
                      </a:lnTo>
                      <a:lnTo>
                        <a:pt x="271319" y="349755"/>
                      </a:lnTo>
                      <a:lnTo>
                        <a:pt x="268426" y="345835"/>
                      </a:lnTo>
                      <a:lnTo>
                        <a:pt x="270506" y="344338"/>
                      </a:lnTo>
                      <a:lnTo>
                        <a:pt x="270827" y="342459"/>
                      </a:lnTo>
                      <a:lnTo>
                        <a:pt x="269469" y="340450"/>
                      </a:lnTo>
                      <a:lnTo>
                        <a:pt x="266509" y="338558"/>
                      </a:lnTo>
                      <a:lnTo>
                        <a:pt x="268573" y="337360"/>
                      </a:lnTo>
                      <a:lnTo>
                        <a:pt x="268435" y="336142"/>
                      </a:lnTo>
                      <a:lnTo>
                        <a:pt x="267241" y="335617"/>
                      </a:lnTo>
                      <a:lnTo>
                        <a:pt x="265281" y="335002"/>
                      </a:lnTo>
                      <a:lnTo>
                        <a:pt x="263483" y="334850"/>
                      </a:lnTo>
                      <a:lnTo>
                        <a:pt x="262791" y="335686"/>
                      </a:lnTo>
                      <a:lnTo>
                        <a:pt x="262295" y="336590"/>
                      </a:lnTo>
                      <a:lnTo>
                        <a:pt x="260828" y="335536"/>
                      </a:lnTo>
                      <a:lnTo>
                        <a:pt x="253166" y="328163"/>
                      </a:lnTo>
                      <a:lnTo>
                        <a:pt x="251764" y="325533"/>
                      </a:lnTo>
                      <a:lnTo>
                        <a:pt x="253922" y="324315"/>
                      </a:lnTo>
                      <a:lnTo>
                        <a:pt x="251470" y="320021"/>
                      </a:lnTo>
                      <a:lnTo>
                        <a:pt x="251743" y="318667"/>
                      </a:lnTo>
                      <a:lnTo>
                        <a:pt x="254233" y="318188"/>
                      </a:lnTo>
                      <a:lnTo>
                        <a:pt x="252561" y="315491"/>
                      </a:lnTo>
                      <a:lnTo>
                        <a:pt x="251637" y="314602"/>
                      </a:lnTo>
                      <a:lnTo>
                        <a:pt x="252346" y="310730"/>
                      </a:lnTo>
                      <a:lnTo>
                        <a:pt x="249735" y="307687"/>
                      </a:lnTo>
                      <a:lnTo>
                        <a:pt x="242842" y="303796"/>
                      </a:lnTo>
                      <a:lnTo>
                        <a:pt x="239232" y="301018"/>
                      </a:lnTo>
                      <a:lnTo>
                        <a:pt x="231590" y="293307"/>
                      </a:lnTo>
                      <a:lnTo>
                        <a:pt x="227963" y="290810"/>
                      </a:lnTo>
                      <a:lnTo>
                        <a:pt x="224643" y="289466"/>
                      </a:lnTo>
                      <a:lnTo>
                        <a:pt x="216803" y="287619"/>
                      </a:lnTo>
                      <a:lnTo>
                        <a:pt x="213204" y="286285"/>
                      </a:lnTo>
                      <a:lnTo>
                        <a:pt x="209182" y="284012"/>
                      </a:lnTo>
                      <a:lnTo>
                        <a:pt x="205640" y="280882"/>
                      </a:lnTo>
                      <a:lnTo>
                        <a:pt x="202768" y="275784"/>
                      </a:lnTo>
                      <a:lnTo>
                        <a:pt x="200968" y="271847"/>
                      </a:lnTo>
                      <a:lnTo>
                        <a:pt x="198000" y="268399"/>
                      </a:lnTo>
                      <a:lnTo>
                        <a:pt x="195132" y="260498"/>
                      </a:lnTo>
                      <a:lnTo>
                        <a:pt x="190228" y="255779"/>
                      </a:lnTo>
                      <a:lnTo>
                        <a:pt x="181762" y="249418"/>
                      </a:lnTo>
                      <a:lnTo>
                        <a:pt x="174460" y="244573"/>
                      </a:lnTo>
                      <a:lnTo>
                        <a:pt x="167907" y="241033"/>
                      </a:lnTo>
                      <a:lnTo>
                        <a:pt x="162507" y="239003"/>
                      </a:lnTo>
                      <a:lnTo>
                        <a:pt x="157218" y="236078"/>
                      </a:lnTo>
                      <a:lnTo>
                        <a:pt x="153019" y="232234"/>
                      </a:lnTo>
                      <a:lnTo>
                        <a:pt x="149830" y="228564"/>
                      </a:lnTo>
                      <a:lnTo>
                        <a:pt x="146994" y="226228"/>
                      </a:lnTo>
                      <a:lnTo>
                        <a:pt x="143823" y="226342"/>
                      </a:lnTo>
                      <a:lnTo>
                        <a:pt x="141152" y="225547"/>
                      </a:lnTo>
                      <a:lnTo>
                        <a:pt x="138956" y="223629"/>
                      </a:lnTo>
                      <a:lnTo>
                        <a:pt x="137262" y="219019"/>
                      </a:lnTo>
                      <a:lnTo>
                        <a:pt x="135017" y="214882"/>
                      </a:lnTo>
                      <a:lnTo>
                        <a:pt x="132848" y="209957"/>
                      </a:lnTo>
                      <a:lnTo>
                        <a:pt x="131296" y="208051"/>
                      </a:lnTo>
                      <a:lnTo>
                        <a:pt x="127337" y="206311"/>
                      </a:lnTo>
                      <a:lnTo>
                        <a:pt x="125763" y="203869"/>
                      </a:lnTo>
                      <a:lnTo>
                        <a:pt x="123484" y="198967"/>
                      </a:lnTo>
                      <a:lnTo>
                        <a:pt x="122064" y="197222"/>
                      </a:lnTo>
                      <a:lnTo>
                        <a:pt x="120054" y="195250"/>
                      </a:lnTo>
                      <a:lnTo>
                        <a:pt x="117842" y="193648"/>
                      </a:lnTo>
                      <a:lnTo>
                        <a:pt x="113919" y="192330"/>
                      </a:lnTo>
                      <a:lnTo>
                        <a:pt x="110951" y="189078"/>
                      </a:lnTo>
                      <a:lnTo>
                        <a:pt x="109781" y="188355"/>
                      </a:lnTo>
                      <a:lnTo>
                        <a:pt x="108633" y="185903"/>
                      </a:lnTo>
                      <a:lnTo>
                        <a:pt x="103963" y="170806"/>
                      </a:lnTo>
                      <a:lnTo>
                        <a:pt x="102253" y="166807"/>
                      </a:lnTo>
                      <a:lnTo>
                        <a:pt x="91765" y="154075"/>
                      </a:lnTo>
                      <a:lnTo>
                        <a:pt x="90158" y="152544"/>
                      </a:lnTo>
                      <a:lnTo>
                        <a:pt x="87363" y="146875"/>
                      </a:lnTo>
                      <a:lnTo>
                        <a:pt x="86053" y="142039"/>
                      </a:lnTo>
                      <a:lnTo>
                        <a:pt x="83774" y="137460"/>
                      </a:lnTo>
                      <a:lnTo>
                        <a:pt x="76639" y="133728"/>
                      </a:lnTo>
                      <a:lnTo>
                        <a:pt x="65797" y="134112"/>
                      </a:lnTo>
                      <a:lnTo>
                        <a:pt x="58323" y="134599"/>
                      </a:lnTo>
                      <a:lnTo>
                        <a:pt x="52914" y="132123"/>
                      </a:lnTo>
                      <a:lnTo>
                        <a:pt x="50067" y="129564"/>
                      </a:lnTo>
                      <a:lnTo>
                        <a:pt x="47056" y="125457"/>
                      </a:lnTo>
                      <a:lnTo>
                        <a:pt x="43496" y="123585"/>
                      </a:lnTo>
                      <a:lnTo>
                        <a:pt x="39696" y="119506"/>
                      </a:lnTo>
                      <a:lnTo>
                        <a:pt x="33457" y="116624"/>
                      </a:lnTo>
                      <a:lnTo>
                        <a:pt x="32036" y="114455"/>
                      </a:lnTo>
                      <a:lnTo>
                        <a:pt x="31484" y="112068"/>
                      </a:lnTo>
                      <a:lnTo>
                        <a:pt x="30336" y="111846"/>
                      </a:lnTo>
                      <a:lnTo>
                        <a:pt x="26676" y="112981"/>
                      </a:lnTo>
                      <a:lnTo>
                        <a:pt x="21099" y="110734"/>
                      </a:lnTo>
                      <a:lnTo>
                        <a:pt x="5696" y="102508"/>
                      </a:lnTo>
                      <a:lnTo>
                        <a:pt x="0" y="96151"/>
                      </a:lnTo>
                      <a:lnTo>
                        <a:pt x="737" y="88601"/>
                      </a:lnTo>
                      <a:lnTo>
                        <a:pt x="3098" y="85347"/>
                      </a:lnTo>
                      <a:lnTo>
                        <a:pt x="3624" y="83883"/>
                      </a:lnTo>
                      <a:lnTo>
                        <a:pt x="3758" y="82445"/>
                      </a:lnTo>
                      <a:lnTo>
                        <a:pt x="3727" y="80996"/>
                      </a:lnTo>
                      <a:lnTo>
                        <a:pt x="3820" y="79676"/>
                      </a:lnTo>
                      <a:lnTo>
                        <a:pt x="4340" y="78639"/>
                      </a:lnTo>
                      <a:lnTo>
                        <a:pt x="5401" y="76045"/>
                      </a:lnTo>
                      <a:lnTo>
                        <a:pt x="7347" y="74265"/>
                      </a:lnTo>
                      <a:lnTo>
                        <a:pt x="9581" y="72719"/>
                      </a:lnTo>
                      <a:lnTo>
                        <a:pt x="11535" y="70869"/>
                      </a:lnTo>
                      <a:lnTo>
                        <a:pt x="12855" y="68314"/>
                      </a:lnTo>
                      <a:lnTo>
                        <a:pt x="15132" y="65454"/>
                      </a:lnTo>
                      <a:lnTo>
                        <a:pt x="18000" y="63697"/>
                      </a:lnTo>
                      <a:lnTo>
                        <a:pt x="20399" y="61483"/>
                      </a:lnTo>
                      <a:lnTo>
                        <a:pt x="23442" y="58418"/>
                      </a:lnTo>
                      <a:lnTo>
                        <a:pt x="26945" y="54745"/>
                      </a:lnTo>
                      <a:lnTo>
                        <a:pt x="30582" y="53314"/>
                      </a:lnTo>
                      <a:lnTo>
                        <a:pt x="31670" y="49727"/>
                      </a:lnTo>
                      <a:lnTo>
                        <a:pt x="32004" y="47386"/>
                      </a:lnTo>
                      <a:lnTo>
                        <a:pt x="32675" y="45263"/>
                      </a:lnTo>
                      <a:lnTo>
                        <a:pt x="32679" y="43120"/>
                      </a:lnTo>
                      <a:lnTo>
                        <a:pt x="32591" y="42905"/>
                      </a:lnTo>
                      <a:lnTo>
                        <a:pt x="35474" y="42768"/>
                      </a:lnTo>
                      <a:lnTo>
                        <a:pt x="80150" y="26854"/>
                      </a:lnTo>
                      <a:lnTo>
                        <a:pt x="85091" y="25640"/>
                      </a:lnTo>
                      <a:lnTo>
                        <a:pt x="85936" y="27121"/>
                      </a:lnTo>
                      <a:lnTo>
                        <a:pt x="86622" y="27759"/>
                      </a:lnTo>
                      <a:lnTo>
                        <a:pt x="87820" y="28080"/>
                      </a:lnTo>
                      <a:lnTo>
                        <a:pt x="88632" y="27894"/>
                      </a:lnTo>
                      <a:lnTo>
                        <a:pt x="89974" y="27166"/>
                      </a:lnTo>
                      <a:lnTo>
                        <a:pt x="91537" y="26006"/>
                      </a:lnTo>
                      <a:lnTo>
                        <a:pt x="95078" y="24002"/>
                      </a:lnTo>
                      <a:lnTo>
                        <a:pt x="96658" y="22794"/>
                      </a:lnTo>
                      <a:lnTo>
                        <a:pt x="97664" y="21690"/>
                      </a:lnTo>
                      <a:lnTo>
                        <a:pt x="98102" y="19643"/>
                      </a:lnTo>
                      <a:lnTo>
                        <a:pt x="98503" y="18640"/>
                      </a:lnTo>
                      <a:lnTo>
                        <a:pt x="99475" y="17820"/>
                      </a:lnTo>
                      <a:lnTo>
                        <a:pt x="100783" y="17679"/>
                      </a:lnTo>
                      <a:lnTo>
                        <a:pt x="102649" y="17763"/>
                      </a:lnTo>
                      <a:lnTo>
                        <a:pt x="103872" y="17556"/>
                      </a:lnTo>
                      <a:lnTo>
                        <a:pt x="105304" y="16942"/>
                      </a:lnTo>
                      <a:lnTo>
                        <a:pt x="110229" y="14233"/>
                      </a:lnTo>
                      <a:lnTo>
                        <a:pt x="118024" y="11481"/>
                      </a:lnTo>
                      <a:lnTo>
                        <a:pt x="119186" y="11250"/>
                      </a:lnTo>
                      <a:lnTo>
                        <a:pt x="124847" y="10946"/>
                      </a:lnTo>
                      <a:lnTo>
                        <a:pt x="126013" y="10655"/>
                      </a:lnTo>
                      <a:lnTo>
                        <a:pt x="126800" y="10229"/>
                      </a:lnTo>
                      <a:lnTo>
                        <a:pt x="127462" y="9450"/>
                      </a:lnTo>
                      <a:lnTo>
                        <a:pt x="128559" y="8455"/>
                      </a:lnTo>
                      <a:lnTo>
                        <a:pt x="129534" y="8022"/>
                      </a:lnTo>
                      <a:lnTo>
                        <a:pt x="135212" y="7774"/>
                      </a:lnTo>
                      <a:lnTo>
                        <a:pt x="136383" y="7324"/>
                      </a:lnTo>
                      <a:lnTo>
                        <a:pt x="137108" y="6564"/>
                      </a:lnTo>
                      <a:lnTo>
                        <a:pt x="137673" y="3903"/>
                      </a:lnTo>
                      <a:lnTo>
                        <a:pt x="138318" y="2877"/>
                      </a:lnTo>
                      <a:lnTo>
                        <a:pt x="139257" y="1940"/>
                      </a:lnTo>
                      <a:lnTo>
                        <a:pt x="141429" y="42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3" name="Freeform 143">
                  <a:extLst>
                    <a:ext uri="{FF2B5EF4-FFF2-40B4-BE49-F238E27FC236}">
                      <a16:creationId xmlns:a16="http://schemas.microsoft.com/office/drawing/2014/main" id="{36AB81B6-23EB-4E9A-8502-53FB49E8C2F5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3723566" y="4020183"/>
                  <a:ext cx="433572" cy="65721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41282" h="972070">
                      <a:moveTo>
                        <a:pt x="526974" y="4057"/>
                      </a:moveTo>
                      <a:lnTo>
                        <a:pt x="554837" y="3285"/>
                      </a:lnTo>
                      <a:lnTo>
                        <a:pt x="582693" y="2496"/>
                      </a:lnTo>
                      <a:lnTo>
                        <a:pt x="609368" y="1426"/>
                      </a:lnTo>
                      <a:lnTo>
                        <a:pt x="625566" y="705"/>
                      </a:lnTo>
                      <a:lnTo>
                        <a:pt x="641281" y="0"/>
                      </a:lnTo>
                      <a:lnTo>
                        <a:pt x="639048" y="13101"/>
                      </a:lnTo>
                      <a:lnTo>
                        <a:pt x="636681" y="26930"/>
                      </a:lnTo>
                      <a:lnTo>
                        <a:pt x="634736" y="43176"/>
                      </a:lnTo>
                      <a:lnTo>
                        <a:pt x="632979" y="58999"/>
                      </a:lnTo>
                      <a:lnTo>
                        <a:pt x="631034" y="76804"/>
                      </a:lnTo>
                      <a:lnTo>
                        <a:pt x="628580" y="98363"/>
                      </a:lnTo>
                      <a:lnTo>
                        <a:pt x="626593" y="116040"/>
                      </a:lnTo>
                      <a:lnTo>
                        <a:pt x="625286" y="128540"/>
                      </a:lnTo>
                      <a:lnTo>
                        <a:pt x="623297" y="128597"/>
                      </a:lnTo>
                      <a:lnTo>
                        <a:pt x="622328" y="128625"/>
                      </a:lnTo>
                      <a:lnTo>
                        <a:pt x="614759" y="128838"/>
                      </a:lnTo>
                      <a:lnTo>
                        <a:pt x="599390" y="129275"/>
                      </a:lnTo>
                      <a:lnTo>
                        <a:pt x="579052" y="129846"/>
                      </a:lnTo>
                      <a:lnTo>
                        <a:pt x="579690" y="137204"/>
                      </a:lnTo>
                      <a:lnTo>
                        <a:pt x="581753" y="162358"/>
                      </a:lnTo>
                      <a:lnTo>
                        <a:pt x="583819" y="187535"/>
                      </a:lnTo>
                      <a:lnTo>
                        <a:pt x="585873" y="212722"/>
                      </a:lnTo>
                      <a:lnTo>
                        <a:pt x="587914" y="237918"/>
                      </a:lnTo>
                      <a:lnTo>
                        <a:pt x="589947" y="263127"/>
                      </a:lnTo>
                      <a:lnTo>
                        <a:pt x="591976" y="288351"/>
                      </a:lnTo>
                      <a:lnTo>
                        <a:pt x="593999" y="313583"/>
                      </a:lnTo>
                      <a:lnTo>
                        <a:pt x="596008" y="338832"/>
                      </a:lnTo>
                      <a:lnTo>
                        <a:pt x="598009" y="364097"/>
                      </a:lnTo>
                      <a:lnTo>
                        <a:pt x="600005" y="389365"/>
                      </a:lnTo>
                      <a:lnTo>
                        <a:pt x="601992" y="414646"/>
                      </a:lnTo>
                      <a:lnTo>
                        <a:pt x="603967" y="439942"/>
                      </a:lnTo>
                      <a:lnTo>
                        <a:pt x="605934" y="465246"/>
                      </a:lnTo>
                      <a:lnTo>
                        <a:pt x="607899" y="490562"/>
                      </a:lnTo>
                      <a:lnTo>
                        <a:pt x="609853" y="515891"/>
                      </a:lnTo>
                      <a:lnTo>
                        <a:pt x="611791" y="541230"/>
                      </a:lnTo>
                      <a:lnTo>
                        <a:pt x="612306" y="547877"/>
                      </a:lnTo>
                      <a:lnTo>
                        <a:pt x="611791" y="548661"/>
                      </a:lnTo>
                      <a:lnTo>
                        <a:pt x="602918" y="552804"/>
                      </a:lnTo>
                      <a:lnTo>
                        <a:pt x="600391" y="555485"/>
                      </a:lnTo>
                      <a:lnTo>
                        <a:pt x="599101" y="559076"/>
                      </a:lnTo>
                      <a:lnTo>
                        <a:pt x="600055" y="562096"/>
                      </a:lnTo>
                      <a:lnTo>
                        <a:pt x="603985" y="567912"/>
                      </a:lnTo>
                      <a:lnTo>
                        <a:pt x="604459" y="575437"/>
                      </a:lnTo>
                      <a:lnTo>
                        <a:pt x="595320" y="584280"/>
                      </a:lnTo>
                      <a:lnTo>
                        <a:pt x="595314" y="590996"/>
                      </a:lnTo>
                      <a:lnTo>
                        <a:pt x="596293" y="592436"/>
                      </a:lnTo>
                      <a:lnTo>
                        <a:pt x="597491" y="593279"/>
                      </a:lnTo>
                      <a:lnTo>
                        <a:pt x="599847" y="594475"/>
                      </a:lnTo>
                      <a:lnTo>
                        <a:pt x="604819" y="598598"/>
                      </a:lnTo>
                      <a:lnTo>
                        <a:pt x="606614" y="601688"/>
                      </a:lnTo>
                      <a:lnTo>
                        <a:pt x="608404" y="608173"/>
                      </a:lnTo>
                      <a:lnTo>
                        <a:pt x="609599" y="611112"/>
                      </a:lnTo>
                      <a:lnTo>
                        <a:pt x="611496" y="613021"/>
                      </a:lnTo>
                      <a:lnTo>
                        <a:pt x="616308" y="616446"/>
                      </a:lnTo>
                      <a:lnTo>
                        <a:pt x="617405" y="618647"/>
                      </a:lnTo>
                      <a:lnTo>
                        <a:pt x="617977" y="625825"/>
                      </a:lnTo>
                      <a:lnTo>
                        <a:pt x="617651" y="627771"/>
                      </a:lnTo>
                      <a:lnTo>
                        <a:pt x="615728" y="630586"/>
                      </a:lnTo>
                      <a:lnTo>
                        <a:pt x="615391" y="632648"/>
                      </a:lnTo>
                      <a:lnTo>
                        <a:pt x="617600" y="639069"/>
                      </a:lnTo>
                      <a:lnTo>
                        <a:pt x="621437" y="645750"/>
                      </a:lnTo>
                      <a:lnTo>
                        <a:pt x="623973" y="652573"/>
                      </a:lnTo>
                      <a:lnTo>
                        <a:pt x="620181" y="665559"/>
                      </a:lnTo>
                      <a:lnTo>
                        <a:pt x="619504" y="666851"/>
                      </a:lnTo>
                      <a:lnTo>
                        <a:pt x="617709" y="667235"/>
                      </a:lnTo>
                      <a:lnTo>
                        <a:pt x="615614" y="667279"/>
                      </a:lnTo>
                      <a:lnTo>
                        <a:pt x="614060" y="667572"/>
                      </a:lnTo>
                      <a:lnTo>
                        <a:pt x="611745" y="669544"/>
                      </a:lnTo>
                      <a:lnTo>
                        <a:pt x="609642" y="672557"/>
                      </a:lnTo>
                      <a:lnTo>
                        <a:pt x="608650" y="676083"/>
                      </a:lnTo>
                      <a:lnTo>
                        <a:pt x="609671" y="679571"/>
                      </a:lnTo>
                      <a:lnTo>
                        <a:pt x="609273" y="680521"/>
                      </a:lnTo>
                      <a:lnTo>
                        <a:pt x="608845" y="681222"/>
                      </a:lnTo>
                      <a:lnTo>
                        <a:pt x="608345" y="681728"/>
                      </a:lnTo>
                      <a:lnTo>
                        <a:pt x="607780" y="682124"/>
                      </a:lnTo>
                      <a:lnTo>
                        <a:pt x="608730" y="682101"/>
                      </a:lnTo>
                      <a:lnTo>
                        <a:pt x="606834" y="683242"/>
                      </a:lnTo>
                      <a:lnTo>
                        <a:pt x="604967" y="684760"/>
                      </a:lnTo>
                      <a:lnTo>
                        <a:pt x="603558" y="686791"/>
                      </a:lnTo>
                      <a:lnTo>
                        <a:pt x="603014" y="689448"/>
                      </a:lnTo>
                      <a:lnTo>
                        <a:pt x="603759" y="692180"/>
                      </a:lnTo>
                      <a:lnTo>
                        <a:pt x="606627" y="695802"/>
                      </a:lnTo>
                      <a:lnTo>
                        <a:pt x="606809" y="697863"/>
                      </a:lnTo>
                      <a:lnTo>
                        <a:pt x="605903" y="699821"/>
                      </a:lnTo>
                      <a:lnTo>
                        <a:pt x="605083" y="699691"/>
                      </a:lnTo>
                      <a:lnTo>
                        <a:pt x="604099" y="698939"/>
                      </a:lnTo>
                      <a:lnTo>
                        <a:pt x="602709" y="699055"/>
                      </a:lnTo>
                      <a:lnTo>
                        <a:pt x="601632" y="699906"/>
                      </a:lnTo>
                      <a:lnTo>
                        <a:pt x="600117" y="701708"/>
                      </a:lnTo>
                      <a:lnTo>
                        <a:pt x="598892" y="702747"/>
                      </a:lnTo>
                      <a:lnTo>
                        <a:pt x="594233" y="705129"/>
                      </a:lnTo>
                      <a:lnTo>
                        <a:pt x="589652" y="706581"/>
                      </a:lnTo>
                      <a:lnTo>
                        <a:pt x="589752" y="707887"/>
                      </a:lnTo>
                      <a:lnTo>
                        <a:pt x="592239" y="709908"/>
                      </a:lnTo>
                      <a:lnTo>
                        <a:pt x="591727" y="713457"/>
                      </a:lnTo>
                      <a:lnTo>
                        <a:pt x="589670" y="717238"/>
                      </a:lnTo>
                      <a:lnTo>
                        <a:pt x="587522" y="719943"/>
                      </a:lnTo>
                      <a:lnTo>
                        <a:pt x="586475" y="720545"/>
                      </a:lnTo>
                      <a:lnTo>
                        <a:pt x="583544" y="721590"/>
                      </a:lnTo>
                      <a:lnTo>
                        <a:pt x="582371" y="722469"/>
                      </a:lnTo>
                      <a:lnTo>
                        <a:pt x="581254" y="724441"/>
                      </a:lnTo>
                      <a:lnTo>
                        <a:pt x="580202" y="728459"/>
                      </a:lnTo>
                      <a:lnTo>
                        <a:pt x="579338" y="730403"/>
                      </a:lnTo>
                      <a:lnTo>
                        <a:pt x="578979" y="732018"/>
                      </a:lnTo>
                      <a:lnTo>
                        <a:pt x="578914" y="734248"/>
                      </a:lnTo>
                      <a:lnTo>
                        <a:pt x="578646" y="736234"/>
                      </a:lnTo>
                      <a:lnTo>
                        <a:pt x="577697" y="737107"/>
                      </a:lnTo>
                      <a:lnTo>
                        <a:pt x="576192" y="736380"/>
                      </a:lnTo>
                      <a:lnTo>
                        <a:pt x="575397" y="734703"/>
                      </a:lnTo>
                      <a:lnTo>
                        <a:pt x="574888" y="733019"/>
                      </a:lnTo>
                      <a:lnTo>
                        <a:pt x="574227" y="732270"/>
                      </a:lnTo>
                      <a:lnTo>
                        <a:pt x="573155" y="732863"/>
                      </a:lnTo>
                      <a:lnTo>
                        <a:pt x="572036" y="734183"/>
                      </a:lnTo>
                      <a:lnTo>
                        <a:pt x="571162" y="735650"/>
                      </a:lnTo>
                      <a:lnTo>
                        <a:pt x="570202" y="738958"/>
                      </a:lnTo>
                      <a:lnTo>
                        <a:pt x="568464" y="738073"/>
                      </a:lnTo>
                      <a:lnTo>
                        <a:pt x="566852" y="736068"/>
                      </a:lnTo>
                      <a:lnTo>
                        <a:pt x="566594" y="734971"/>
                      </a:lnTo>
                      <a:lnTo>
                        <a:pt x="563676" y="735719"/>
                      </a:lnTo>
                      <a:lnTo>
                        <a:pt x="562392" y="737910"/>
                      </a:lnTo>
                      <a:lnTo>
                        <a:pt x="561760" y="740780"/>
                      </a:lnTo>
                      <a:lnTo>
                        <a:pt x="560839" y="743623"/>
                      </a:lnTo>
                      <a:lnTo>
                        <a:pt x="559595" y="745207"/>
                      </a:lnTo>
                      <a:lnTo>
                        <a:pt x="558364" y="746258"/>
                      </a:lnTo>
                      <a:lnTo>
                        <a:pt x="557424" y="747487"/>
                      </a:lnTo>
                      <a:lnTo>
                        <a:pt x="557072" y="749608"/>
                      </a:lnTo>
                      <a:lnTo>
                        <a:pt x="557606" y="751494"/>
                      </a:lnTo>
                      <a:lnTo>
                        <a:pt x="558773" y="752818"/>
                      </a:lnTo>
                      <a:lnTo>
                        <a:pt x="559943" y="753903"/>
                      </a:lnTo>
                      <a:lnTo>
                        <a:pt x="560531" y="755035"/>
                      </a:lnTo>
                      <a:lnTo>
                        <a:pt x="562176" y="756675"/>
                      </a:lnTo>
                      <a:lnTo>
                        <a:pt x="565222" y="758119"/>
                      </a:lnTo>
                      <a:lnTo>
                        <a:pt x="567279" y="760075"/>
                      </a:lnTo>
                      <a:lnTo>
                        <a:pt x="565926" y="763260"/>
                      </a:lnTo>
                      <a:lnTo>
                        <a:pt x="564556" y="764074"/>
                      </a:lnTo>
                      <a:lnTo>
                        <a:pt x="561238" y="764875"/>
                      </a:lnTo>
                      <a:lnTo>
                        <a:pt x="559798" y="765868"/>
                      </a:lnTo>
                      <a:lnTo>
                        <a:pt x="556688" y="768888"/>
                      </a:lnTo>
                      <a:lnTo>
                        <a:pt x="553302" y="771313"/>
                      </a:lnTo>
                      <a:lnTo>
                        <a:pt x="555846" y="772361"/>
                      </a:lnTo>
                      <a:lnTo>
                        <a:pt x="560667" y="771787"/>
                      </a:lnTo>
                      <a:lnTo>
                        <a:pt x="563051" y="773595"/>
                      </a:lnTo>
                      <a:lnTo>
                        <a:pt x="561033" y="775396"/>
                      </a:lnTo>
                      <a:lnTo>
                        <a:pt x="558562" y="776988"/>
                      </a:lnTo>
                      <a:lnTo>
                        <a:pt x="555923" y="778154"/>
                      </a:lnTo>
                      <a:lnTo>
                        <a:pt x="553358" y="778632"/>
                      </a:lnTo>
                      <a:lnTo>
                        <a:pt x="551514" y="779478"/>
                      </a:lnTo>
                      <a:lnTo>
                        <a:pt x="553988" y="783747"/>
                      </a:lnTo>
                      <a:lnTo>
                        <a:pt x="552261" y="785866"/>
                      </a:lnTo>
                      <a:lnTo>
                        <a:pt x="553006" y="787602"/>
                      </a:lnTo>
                      <a:lnTo>
                        <a:pt x="553798" y="790462"/>
                      </a:lnTo>
                      <a:lnTo>
                        <a:pt x="554117" y="793145"/>
                      </a:lnTo>
                      <a:lnTo>
                        <a:pt x="553452" y="794359"/>
                      </a:lnTo>
                      <a:lnTo>
                        <a:pt x="552050" y="795320"/>
                      </a:lnTo>
                      <a:lnTo>
                        <a:pt x="552160" y="797449"/>
                      </a:lnTo>
                      <a:lnTo>
                        <a:pt x="553363" y="801022"/>
                      </a:lnTo>
                      <a:lnTo>
                        <a:pt x="553915" y="803442"/>
                      </a:lnTo>
                      <a:lnTo>
                        <a:pt x="554494" y="805121"/>
                      </a:lnTo>
                      <a:lnTo>
                        <a:pt x="554093" y="806398"/>
                      </a:lnTo>
                      <a:lnTo>
                        <a:pt x="551731" y="807619"/>
                      </a:lnTo>
                      <a:lnTo>
                        <a:pt x="550181" y="807634"/>
                      </a:lnTo>
                      <a:lnTo>
                        <a:pt x="543211" y="806618"/>
                      </a:lnTo>
                      <a:lnTo>
                        <a:pt x="545986" y="809515"/>
                      </a:lnTo>
                      <a:lnTo>
                        <a:pt x="554040" y="815882"/>
                      </a:lnTo>
                      <a:lnTo>
                        <a:pt x="555153" y="817812"/>
                      </a:lnTo>
                      <a:lnTo>
                        <a:pt x="553570" y="818640"/>
                      </a:lnTo>
                      <a:lnTo>
                        <a:pt x="551214" y="818845"/>
                      </a:lnTo>
                      <a:lnTo>
                        <a:pt x="546717" y="818663"/>
                      </a:lnTo>
                      <a:lnTo>
                        <a:pt x="546171" y="819048"/>
                      </a:lnTo>
                      <a:lnTo>
                        <a:pt x="546237" y="819877"/>
                      </a:lnTo>
                      <a:lnTo>
                        <a:pt x="546847" y="820688"/>
                      </a:lnTo>
                      <a:lnTo>
                        <a:pt x="547941" y="821036"/>
                      </a:lnTo>
                      <a:lnTo>
                        <a:pt x="550945" y="821263"/>
                      </a:lnTo>
                      <a:lnTo>
                        <a:pt x="554656" y="822526"/>
                      </a:lnTo>
                      <a:lnTo>
                        <a:pt x="554145" y="824869"/>
                      </a:lnTo>
                      <a:lnTo>
                        <a:pt x="554356" y="828364"/>
                      </a:lnTo>
                      <a:lnTo>
                        <a:pt x="553037" y="832341"/>
                      </a:lnTo>
                      <a:lnTo>
                        <a:pt x="550818" y="834775"/>
                      </a:lnTo>
                      <a:lnTo>
                        <a:pt x="542553" y="841709"/>
                      </a:lnTo>
                      <a:lnTo>
                        <a:pt x="540940" y="844133"/>
                      </a:lnTo>
                      <a:lnTo>
                        <a:pt x="539235" y="848042"/>
                      </a:lnTo>
                      <a:lnTo>
                        <a:pt x="538498" y="852261"/>
                      </a:lnTo>
                      <a:lnTo>
                        <a:pt x="539787" y="855612"/>
                      </a:lnTo>
                      <a:lnTo>
                        <a:pt x="542720" y="860353"/>
                      </a:lnTo>
                      <a:lnTo>
                        <a:pt x="543588" y="861314"/>
                      </a:lnTo>
                      <a:lnTo>
                        <a:pt x="548492" y="865637"/>
                      </a:lnTo>
                      <a:lnTo>
                        <a:pt x="552448" y="873144"/>
                      </a:lnTo>
                      <a:lnTo>
                        <a:pt x="551563" y="878168"/>
                      </a:lnTo>
                      <a:lnTo>
                        <a:pt x="546800" y="881221"/>
                      </a:lnTo>
                      <a:lnTo>
                        <a:pt x="518588" y="886524"/>
                      </a:lnTo>
                      <a:lnTo>
                        <a:pt x="509829" y="891416"/>
                      </a:lnTo>
                      <a:lnTo>
                        <a:pt x="507254" y="892136"/>
                      </a:lnTo>
                      <a:lnTo>
                        <a:pt x="500274" y="892199"/>
                      </a:lnTo>
                      <a:lnTo>
                        <a:pt x="497080" y="892704"/>
                      </a:lnTo>
                      <a:lnTo>
                        <a:pt x="494562" y="893973"/>
                      </a:lnTo>
                      <a:lnTo>
                        <a:pt x="492642" y="895881"/>
                      </a:lnTo>
                      <a:lnTo>
                        <a:pt x="491186" y="898310"/>
                      </a:lnTo>
                      <a:lnTo>
                        <a:pt x="488695" y="905771"/>
                      </a:lnTo>
                      <a:lnTo>
                        <a:pt x="488447" y="912709"/>
                      </a:lnTo>
                      <a:lnTo>
                        <a:pt x="490279" y="919078"/>
                      </a:lnTo>
                      <a:lnTo>
                        <a:pt x="494028" y="924842"/>
                      </a:lnTo>
                      <a:lnTo>
                        <a:pt x="499131" y="930918"/>
                      </a:lnTo>
                      <a:lnTo>
                        <a:pt x="502234" y="936181"/>
                      </a:lnTo>
                      <a:lnTo>
                        <a:pt x="502704" y="941812"/>
                      </a:lnTo>
                      <a:lnTo>
                        <a:pt x="499908" y="949012"/>
                      </a:lnTo>
                      <a:lnTo>
                        <a:pt x="495540" y="953272"/>
                      </a:lnTo>
                      <a:lnTo>
                        <a:pt x="489812" y="954260"/>
                      </a:lnTo>
                      <a:lnTo>
                        <a:pt x="483531" y="952745"/>
                      </a:lnTo>
                      <a:lnTo>
                        <a:pt x="471894" y="946293"/>
                      </a:lnTo>
                      <a:lnTo>
                        <a:pt x="428071" y="928631"/>
                      </a:lnTo>
                      <a:lnTo>
                        <a:pt x="420442" y="927448"/>
                      </a:lnTo>
                      <a:lnTo>
                        <a:pt x="413273" y="928389"/>
                      </a:lnTo>
                      <a:lnTo>
                        <a:pt x="406929" y="931111"/>
                      </a:lnTo>
                      <a:lnTo>
                        <a:pt x="401801" y="935289"/>
                      </a:lnTo>
                      <a:lnTo>
                        <a:pt x="400330" y="937212"/>
                      </a:lnTo>
                      <a:lnTo>
                        <a:pt x="395557" y="946215"/>
                      </a:lnTo>
                      <a:lnTo>
                        <a:pt x="390572" y="951814"/>
                      </a:lnTo>
                      <a:lnTo>
                        <a:pt x="387488" y="957286"/>
                      </a:lnTo>
                      <a:lnTo>
                        <a:pt x="388148" y="961917"/>
                      </a:lnTo>
                      <a:lnTo>
                        <a:pt x="391243" y="966162"/>
                      </a:lnTo>
                      <a:lnTo>
                        <a:pt x="396942" y="971675"/>
                      </a:lnTo>
                      <a:lnTo>
                        <a:pt x="393786" y="970466"/>
                      </a:lnTo>
                      <a:lnTo>
                        <a:pt x="392346" y="970860"/>
                      </a:lnTo>
                      <a:lnTo>
                        <a:pt x="390549" y="971588"/>
                      </a:lnTo>
                      <a:lnTo>
                        <a:pt x="388653" y="972069"/>
                      </a:lnTo>
                      <a:lnTo>
                        <a:pt x="386880" y="971694"/>
                      </a:lnTo>
                      <a:lnTo>
                        <a:pt x="385348" y="970165"/>
                      </a:lnTo>
                      <a:lnTo>
                        <a:pt x="384653" y="968357"/>
                      </a:lnTo>
                      <a:lnTo>
                        <a:pt x="384171" y="966425"/>
                      </a:lnTo>
                      <a:lnTo>
                        <a:pt x="383254" y="964540"/>
                      </a:lnTo>
                      <a:lnTo>
                        <a:pt x="381972" y="963372"/>
                      </a:lnTo>
                      <a:lnTo>
                        <a:pt x="378686" y="961627"/>
                      </a:lnTo>
                      <a:lnTo>
                        <a:pt x="377153" y="960448"/>
                      </a:lnTo>
                      <a:lnTo>
                        <a:pt x="376547" y="958909"/>
                      </a:lnTo>
                      <a:lnTo>
                        <a:pt x="375645" y="954717"/>
                      </a:lnTo>
                      <a:lnTo>
                        <a:pt x="374582" y="953872"/>
                      </a:lnTo>
                      <a:lnTo>
                        <a:pt x="370855" y="953888"/>
                      </a:lnTo>
                      <a:lnTo>
                        <a:pt x="368046" y="954350"/>
                      </a:lnTo>
                      <a:lnTo>
                        <a:pt x="367118" y="956111"/>
                      </a:lnTo>
                      <a:lnTo>
                        <a:pt x="369035" y="960001"/>
                      </a:lnTo>
                      <a:lnTo>
                        <a:pt x="370518" y="961474"/>
                      </a:lnTo>
                      <a:lnTo>
                        <a:pt x="371996" y="962514"/>
                      </a:lnTo>
                      <a:lnTo>
                        <a:pt x="373182" y="963937"/>
                      </a:lnTo>
                      <a:lnTo>
                        <a:pt x="373785" y="966586"/>
                      </a:lnTo>
                      <a:lnTo>
                        <a:pt x="373108" y="968468"/>
                      </a:lnTo>
                      <a:lnTo>
                        <a:pt x="371291" y="968494"/>
                      </a:lnTo>
                      <a:lnTo>
                        <a:pt x="364853" y="966198"/>
                      </a:lnTo>
                      <a:lnTo>
                        <a:pt x="356690" y="960519"/>
                      </a:lnTo>
                      <a:lnTo>
                        <a:pt x="354003" y="957880"/>
                      </a:lnTo>
                      <a:lnTo>
                        <a:pt x="354752" y="952783"/>
                      </a:lnTo>
                      <a:lnTo>
                        <a:pt x="352178" y="947766"/>
                      </a:lnTo>
                      <a:lnTo>
                        <a:pt x="345506" y="939986"/>
                      </a:lnTo>
                      <a:lnTo>
                        <a:pt x="341624" y="934268"/>
                      </a:lnTo>
                      <a:lnTo>
                        <a:pt x="340185" y="931434"/>
                      </a:lnTo>
                      <a:lnTo>
                        <a:pt x="339521" y="928504"/>
                      </a:lnTo>
                      <a:lnTo>
                        <a:pt x="339653" y="926191"/>
                      </a:lnTo>
                      <a:lnTo>
                        <a:pt x="337055" y="924390"/>
                      </a:lnTo>
                      <a:lnTo>
                        <a:pt x="335711" y="923761"/>
                      </a:lnTo>
                      <a:lnTo>
                        <a:pt x="332575" y="922774"/>
                      </a:lnTo>
                      <a:lnTo>
                        <a:pt x="331707" y="922085"/>
                      </a:lnTo>
                      <a:lnTo>
                        <a:pt x="331350" y="915279"/>
                      </a:lnTo>
                      <a:lnTo>
                        <a:pt x="335625" y="910189"/>
                      </a:lnTo>
                      <a:lnTo>
                        <a:pt x="340796" y="905262"/>
                      </a:lnTo>
                      <a:lnTo>
                        <a:pt x="343109" y="898914"/>
                      </a:lnTo>
                      <a:lnTo>
                        <a:pt x="341160" y="891556"/>
                      </a:lnTo>
                      <a:lnTo>
                        <a:pt x="337136" y="885545"/>
                      </a:lnTo>
                      <a:lnTo>
                        <a:pt x="332549" y="879969"/>
                      </a:lnTo>
                      <a:lnTo>
                        <a:pt x="328922" y="873930"/>
                      </a:lnTo>
                      <a:lnTo>
                        <a:pt x="328147" y="870373"/>
                      </a:lnTo>
                      <a:lnTo>
                        <a:pt x="328408" y="867166"/>
                      </a:lnTo>
                      <a:lnTo>
                        <a:pt x="329006" y="864160"/>
                      </a:lnTo>
                      <a:lnTo>
                        <a:pt x="329243" y="861199"/>
                      </a:lnTo>
                      <a:lnTo>
                        <a:pt x="328450" y="858060"/>
                      </a:lnTo>
                      <a:lnTo>
                        <a:pt x="327166" y="854866"/>
                      </a:lnTo>
                      <a:lnTo>
                        <a:pt x="326491" y="851983"/>
                      </a:lnTo>
                      <a:lnTo>
                        <a:pt x="327519" y="849819"/>
                      </a:lnTo>
                      <a:lnTo>
                        <a:pt x="323260" y="846597"/>
                      </a:lnTo>
                      <a:lnTo>
                        <a:pt x="307842" y="840577"/>
                      </a:lnTo>
                      <a:lnTo>
                        <a:pt x="304206" y="836959"/>
                      </a:lnTo>
                      <a:lnTo>
                        <a:pt x="299237" y="827405"/>
                      </a:lnTo>
                      <a:lnTo>
                        <a:pt x="295184" y="822576"/>
                      </a:lnTo>
                      <a:lnTo>
                        <a:pt x="291228" y="820256"/>
                      </a:lnTo>
                      <a:lnTo>
                        <a:pt x="281526" y="816758"/>
                      </a:lnTo>
                      <a:lnTo>
                        <a:pt x="277713" y="814558"/>
                      </a:lnTo>
                      <a:lnTo>
                        <a:pt x="268473" y="806420"/>
                      </a:lnTo>
                      <a:lnTo>
                        <a:pt x="263023" y="802860"/>
                      </a:lnTo>
                      <a:lnTo>
                        <a:pt x="257921" y="801636"/>
                      </a:lnTo>
                      <a:lnTo>
                        <a:pt x="255932" y="801148"/>
                      </a:lnTo>
                      <a:lnTo>
                        <a:pt x="250213" y="801343"/>
                      </a:lnTo>
                      <a:lnTo>
                        <a:pt x="247756" y="800013"/>
                      </a:lnTo>
                      <a:lnTo>
                        <a:pt x="238919" y="793567"/>
                      </a:lnTo>
                      <a:lnTo>
                        <a:pt x="233372" y="792118"/>
                      </a:lnTo>
                      <a:lnTo>
                        <a:pt x="228975" y="788525"/>
                      </a:lnTo>
                      <a:lnTo>
                        <a:pt x="225024" y="784201"/>
                      </a:lnTo>
                      <a:lnTo>
                        <a:pt x="220828" y="780570"/>
                      </a:lnTo>
                      <a:lnTo>
                        <a:pt x="214929" y="777629"/>
                      </a:lnTo>
                      <a:lnTo>
                        <a:pt x="212116" y="775575"/>
                      </a:lnTo>
                      <a:lnTo>
                        <a:pt x="210845" y="772946"/>
                      </a:lnTo>
                      <a:lnTo>
                        <a:pt x="209779" y="771385"/>
                      </a:lnTo>
                      <a:lnTo>
                        <a:pt x="205225" y="767402"/>
                      </a:lnTo>
                      <a:lnTo>
                        <a:pt x="204151" y="765807"/>
                      </a:lnTo>
                      <a:lnTo>
                        <a:pt x="195298" y="759300"/>
                      </a:lnTo>
                      <a:lnTo>
                        <a:pt x="193927" y="757689"/>
                      </a:lnTo>
                      <a:lnTo>
                        <a:pt x="192772" y="755929"/>
                      </a:lnTo>
                      <a:lnTo>
                        <a:pt x="191748" y="753807"/>
                      </a:lnTo>
                      <a:lnTo>
                        <a:pt x="190762" y="751097"/>
                      </a:lnTo>
                      <a:lnTo>
                        <a:pt x="188962" y="743013"/>
                      </a:lnTo>
                      <a:lnTo>
                        <a:pt x="189247" y="736494"/>
                      </a:lnTo>
                      <a:lnTo>
                        <a:pt x="191271" y="730907"/>
                      </a:lnTo>
                      <a:lnTo>
                        <a:pt x="198107" y="719862"/>
                      </a:lnTo>
                      <a:lnTo>
                        <a:pt x="204918" y="700200"/>
                      </a:lnTo>
                      <a:lnTo>
                        <a:pt x="212041" y="688879"/>
                      </a:lnTo>
                      <a:lnTo>
                        <a:pt x="214356" y="683332"/>
                      </a:lnTo>
                      <a:lnTo>
                        <a:pt x="214113" y="676096"/>
                      </a:lnTo>
                      <a:lnTo>
                        <a:pt x="212956" y="669065"/>
                      </a:lnTo>
                      <a:lnTo>
                        <a:pt x="213136" y="664750"/>
                      </a:lnTo>
                      <a:lnTo>
                        <a:pt x="215019" y="662801"/>
                      </a:lnTo>
                      <a:lnTo>
                        <a:pt x="217155" y="661056"/>
                      </a:lnTo>
                      <a:lnTo>
                        <a:pt x="219849" y="657071"/>
                      </a:lnTo>
                      <a:lnTo>
                        <a:pt x="222162" y="652626"/>
                      </a:lnTo>
                      <a:lnTo>
                        <a:pt x="223139" y="649489"/>
                      </a:lnTo>
                      <a:lnTo>
                        <a:pt x="220394" y="644886"/>
                      </a:lnTo>
                      <a:lnTo>
                        <a:pt x="214025" y="640464"/>
                      </a:lnTo>
                      <a:lnTo>
                        <a:pt x="198540" y="633052"/>
                      </a:lnTo>
                      <a:lnTo>
                        <a:pt x="190700" y="631145"/>
                      </a:lnTo>
                      <a:lnTo>
                        <a:pt x="187085" y="630855"/>
                      </a:lnTo>
                      <a:lnTo>
                        <a:pt x="184208" y="630262"/>
                      </a:lnTo>
                      <a:lnTo>
                        <a:pt x="178820" y="627256"/>
                      </a:lnTo>
                      <a:lnTo>
                        <a:pt x="175832" y="626266"/>
                      </a:lnTo>
                      <a:lnTo>
                        <a:pt x="168149" y="627886"/>
                      </a:lnTo>
                      <a:lnTo>
                        <a:pt x="159109" y="639412"/>
                      </a:lnTo>
                      <a:lnTo>
                        <a:pt x="152625" y="642303"/>
                      </a:lnTo>
                      <a:lnTo>
                        <a:pt x="146210" y="640247"/>
                      </a:lnTo>
                      <a:lnTo>
                        <a:pt x="141205" y="634958"/>
                      </a:lnTo>
                      <a:lnTo>
                        <a:pt x="133666" y="622055"/>
                      </a:lnTo>
                      <a:lnTo>
                        <a:pt x="134255" y="619860"/>
                      </a:lnTo>
                      <a:lnTo>
                        <a:pt x="133925" y="616962"/>
                      </a:lnTo>
                      <a:lnTo>
                        <a:pt x="132962" y="614083"/>
                      </a:lnTo>
                      <a:lnTo>
                        <a:pt x="131654" y="611975"/>
                      </a:lnTo>
                      <a:lnTo>
                        <a:pt x="130584" y="609665"/>
                      </a:lnTo>
                      <a:lnTo>
                        <a:pt x="131130" y="607494"/>
                      </a:lnTo>
                      <a:lnTo>
                        <a:pt x="132212" y="605450"/>
                      </a:lnTo>
                      <a:lnTo>
                        <a:pt x="132751" y="603535"/>
                      </a:lnTo>
                      <a:lnTo>
                        <a:pt x="132063" y="601627"/>
                      </a:lnTo>
                      <a:lnTo>
                        <a:pt x="129138" y="597873"/>
                      </a:lnTo>
                      <a:lnTo>
                        <a:pt x="128198" y="595729"/>
                      </a:lnTo>
                      <a:lnTo>
                        <a:pt x="127973" y="593369"/>
                      </a:lnTo>
                      <a:lnTo>
                        <a:pt x="128003" y="588526"/>
                      </a:lnTo>
                      <a:lnTo>
                        <a:pt x="127726" y="586177"/>
                      </a:lnTo>
                      <a:lnTo>
                        <a:pt x="126528" y="582781"/>
                      </a:lnTo>
                      <a:lnTo>
                        <a:pt x="124584" y="579013"/>
                      </a:lnTo>
                      <a:lnTo>
                        <a:pt x="120339" y="572603"/>
                      </a:lnTo>
                      <a:lnTo>
                        <a:pt x="116578" y="568436"/>
                      </a:lnTo>
                      <a:lnTo>
                        <a:pt x="113051" y="565532"/>
                      </a:lnTo>
                      <a:lnTo>
                        <a:pt x="76755" y="542944"/>
                      </a:lnTo>
                      <a:lnTo>
                        <a:pt x="74402" y="540904"/>
                      </a:lnTo>
                      <a:lnTo>
                        <a:pt x="73348" y="538525"/>
                      </a:lnTo>
                      <a:lnTo>
                        <a:pt x="72459" y="534794"/>
                      </a:lnTo>
                      <a:lnTo>
                        <a:pt x="70490" y="531554"/>
                      </a:lnTo>
                      <a:lnTo>
                        <a:pt x="67983" y="528971"/>
                      </a:lnTo>
                      <a:lnTo>
                        <a:pt x="28532" y="498482"/>
                      </a:lnTo>
                      <a:lnTo>
                        <a:pt x="25332" y="494173"/>
                      </a:lnTo>
                      <a:lnTo>
                        <a:pt x="23211" y="488317"/>
                      </a:lnTo>
                      <a:lnTo>
                        <a:pt x="22728" y="484209"/>
                      </a:lnTo>
                      <a:lnTo>
                        <a:pt x="22314" y="482372"/>
                      </a:lnTo>
                      <a:lnTo>
                        <a:pt x="21271" y="480596"/>
                      </a:lnTo>
                      <a:lnTo>
                        <a:pt x="16982" y="477151"/>
                      </a:lnTo>
                      <a:lnTo>
                        <a:pt x="15892" y="474856"/>
                      </a:lnTo>
                      <a:lnTo>
                        <a:pt x="13777" y="472826"/>
                      </a:lnTo>
                      <a:lnTo>
                        <a:pt x="13076" y="471663"/>
                      </a:lnTo>
                      <a:lnTo>
                        <a:pt x="12866" y="469628"/>
                      </a:lnTo>
                      <a:lnTo>
                        <a:pt x="13897" y="464499"/>
                      </a:lnTo>
                      <a:lnTo>
                        <a:pt x="13786" y="460230"/>
                      </a:lnTo>
                      <a:lnTo>
                        <a:pt x="13474" y="458649"/>
                      </a:lnTo>
                      <a:lnTo>
                        <a:pt x="12953" y="457292"/>
                      </a:lnTo>
                      <a:lnTo>
                        <a:pt x="12223" y="456053"/>
                      </a:lnTo>
                      <a:lnTo>
                        <a:pt x="11258" y="454835"/>
                      </a:lnTo>
                      <a:lnTo>
                        <a:pt x="8572" y="452060"/>
                      </a:lnTo>
                      <a:lnTo>
                        <a:pt x="6391" y="449265"/>
                      </a:lnTo>
                      <a:lnTo>
                        <a:pt x="5462" y="446627"/>
                      </a:lnTo>
                      <a:lnTo>
                        <a:pt x="236" y="417855"/>
                      </a:lnTo>
                      <a:lnTo>
                        <a:pt x="0" y="409771"/>
                      </a:lnTo>
                      <a:lnTo>
                        <a:pt x="744" y="402621"/>
                      </a:lnTo>
                      <a:lnTo>
                        <a:pt x="2638" y="393667"/>
                      </a:lnTo>
                      <a:lnTo>
                        <a:pt x="5783" y="385830"/>
                      </a:lnTo>
                      <a:lnTo>
                        <a:pt x="10296" y="382034"/>
                      </a:lnTo>
                      <a:lnTo>
                        <a:pt x="10303" y="382034"/>
                      </a:lnTo>
                      <a:lnTo>
                        <a:pt x="19111" y="379572"/>
                      </a:lnTo>
                      <a:lnTo>
                        <a:pt x="20382" y="377775"/>
                      </a:lnTo>
                      <a:lnTo>
                        <a:pt x="20055" y="375213"/>
                      </a:lnTo>
                      <a:lnTo>
                        <a:pt x="19033" y="370598"/>
                      </a:lnTo>
                      <a:lnTo>
                        <a:pt x="18904" y="367630"/>
                      </a:lnTo>
                      <a:lnTo>
                        <a:pt x="19614" y="362259"/>
                      </a:lnTo>
                      <a:lnTo>
                        <a:pt x="19384" y="359164"/>
                      </a:lnTo>
                      <a:lnTo>
                        <a:pt x="17890" y="356340"/>
                      </a:lnTo>
                      <a:lnTo>
                        <a:pt x="13686" y="353077"/>
                      </a:lnTo>
                      <a:lnTo>
                        <a:pt x="13059" y="351597"/>
                      </a:lnTo>
                      <a:lnTo>
                        <a:pt x="13302" y="349879"/>
                      </a:lnTo>
                      <a:lnTo>
                        <a:pt x="14631" y="348019"/>
                      </a:lnTo>
                      <a:lnTo>
                        <a:pt x="14896" y="346811"/>
                      </a:lnTo>
                      <a:lnTo>
                        <a:pt x="17399" y="343748"/>
                      </a:lnTo>
                      <a:lnTo>
                        <a:pt x="23300" y="340327"/>
                      </a:lnTo>
                      <a:lnTo>
                        <a:pt x="29894" y="337540"/>
                      </a:lnTo>
                      <a:lnTo>
                        <a:pt x="34457" y="336367"/>
                      </a:lnTo>
                      <a:lnTo>
                        <a:pt x="40451" y="335721"/>
                      </a:lnTo>
                      <a:lnTo>
                        <a:pt x="46292" y="333806"/>
                      </a:lnTo>
                      <a:lnTo>
                        <a:pt x="51344" y="330386"/>
                      </a:lnTo>
                      <a:lnTo>
                        <a:pt x="54982" y="325249"/>
                      </a:lnTo>
                      <a:lnTo>
                        <a:pt x="57567" y="318199"/>
                      </a:lnTo>
                      <a:lnTo>
                        <a:pt x="58306" y="314378"/>
                      </a:lnTo>
                      <a:lnTo>
                        <a:pt x="58443" y="306711"/>
                      </a:lnTo>
                      <a:lnTo>
                        <a:pt x="59005" y="303943"/>
                      </a:lnTo>
                      <a:lnTo>
                        <a:pt x="60392" y="301235"/>
                      </a:lnTo>
                      <a:lnTo>
                        <a:pt x="62867" y="297779"/>
                      </a:lnTo>
                      <a:lnTo>
                        <a:pt x="76935" y="282320"/>
                      </a:lnTo>
                      <a:lnTo>
                        <a:pt x="79254" y="276025"/>
                      </a:lnTo>
                      <a:lnTo>
                        <a:pt x="79408" y="267830"/>
                      </a:lnTo>
                      <a:lnTo>
                        <a:pt x="78075" y="259822"/>
                      </a:lnTo>
                      <a:lnTo>
                        <a:pt x="75174" y="252793"/>
                      </a:lnTo>
                      <a:lnTo>
                        <a:pt x="70615" y="247544"/>
                      </a:lnTo>
                      <a:lnTo>
                        <a:pt x="62860" y="242460"/>
                      </a:lnTo>
                      <a:lnTo>
                        <a:pt x="60699" y="241759"/>
                      </a:lnTo>
                      <a:lnTo>
                        <a:pt x="57590" y="240258"/>
                      </a:lnTo>
                      <a:lnTo>
                        <a:pt x="55680" y="236606"/>
                      </a:lnTo>
                      <a:lnTo>
                        <a:pt x="54722" y="232263"/>
                      </a:lnTo>
                      <a:lnTo>
                        <a:pt x="54512" y="228691"/>
                      </a:lnTo>
                      <a:lnTo>
                        <a:pt x="55364" y="221160"/>
                      </a:lnTo>
                      <a:lnTo>
                        <a:pt x="57306" y="213547"/>
                      </a:lnTo>
                      <a:lnTo>
                        <a:pt x="60051" y="206646"/>
                      </a:lnTo>
                      <a:lnTo>
                        <a:pt x="63328" y="201253"/>
                      </a:lnTo>
                      <a:lnTo>
                        <a:pt x="69012" y="197679"/>
                      </a:lnTo>
                      <a:lnTo>
                        <a:pt x="111481" y="193927"/>
                      </a:lnTo>
                      <a:lnTo>
                        <a:pt x="117747" y="191944"/>
                      </a:lnTo>
                      <a:lnTo>
                        <a:pt x="120638" y="189443"/>
                      </a:lnTo>
                      <a:lnTo>
                        <a:pt x="125968" y="183386"/>
                      </a:lnTo>
                      <a:lnTo>
                        <a:pt x="129019" y="182150"/>
                      </a:lnTo>
                      <a:lnTo>
                        <a:pt x="143619" y="179523"/>
                      </a:lnTo>
                      <a:lnTo>
                        <a:pt x="149726" y="177242"/>
                      </a:lnTo>
                      <a:lnTo>
                        <a:pt x="152378" y="175353"/>
                      </a:lnTo>
                      <a:lnTo>
                        <a:pt x="153387" y="172930"/>
                      </a:lnTo>
                      <a:lnTo>
                        <a:pt x="154681" y="171782"/>
                      </a:lnTo>
                      <a:lnTo>
                        <a:pt x="161005" y="168377"/>
                      </a:lnTo>
                      <a:lnTo>
                        <a:pt x="163140" y="166234"/>
                      </a:lnTo>
                      <a:lnTo>
                        <a:pt x="163777" y="164390"/>
                      </a:lnTo>
                      <a:lnTo>
                        <a:pt x="163988" y="162571"/>
                      </a:lnTo>
                      <a:lnTo>
                        <a:pt x="163801" y="158456"/>
                      </a:lnTo>
                      <a:lnTo>
                        <a:pt x="163435" y="157449"/>
                      </a:lnTo>
                      <a:lnTo>
                        <a:pt x="162838" y="156688"/>
                      </a:lnTo>
                      <a:lnTo>
                        <a:pt x="162534" y="155913"/>
                      </a:lnTo>
                      <a:lnTo>
                        <a:pt x="164466" y="152460"/>
                      </a:lnTo>
                      <a:lnTo>
                        <a:pt x="164825" y="148684"/>
                      </a:lnTo>
                      <a:lnTo>
                        <a:pt x="166075" y="144798"/>
                      </a:lnTo>
                      <a:lnTo>
                        <a:pt x="167835" y="141280"/>
                      </a:lnTo>
                      <a:lnTo>
                        <a:pt x="169739" y="138621"/>
                      </a:lnTo>
                      <a:lnTo>
                        <a:pt x="171710" y="136711"/>
                      </a:lnTo>
                      <a:lnTo>
                        <a:pt x="177659" y="132217"/>
                      </a:lnTo>
                      <a:lnTo>
                        <a:pt x="180012" y="131312"/>
                      </a:lnTo>
                      <a:lnTo>
                        <a:pt x="182519" y="129713"/>
                      </a:lnTo>
                      <a:lnTo>
                        <a:pt x="184175" y="126003"/>
                      </a:lnTo>
                      <a:lnTo>
                        <a:pt x="185806" y="118169"/>
                      </a:lnTo>
                      <a:lnTo>
                        <a:pt x="186265" y="107472"/>
                      </a:lnTo>
                      <a:lnTo>
                        <a:pt x="188500" y="101346"/>
                      </a:lnTo>
                      <a:lnTo>
                        <a:pt x="188858" y="93996"/>
                      </a:lnTo>
                      <a:lnTo>
                        <a:pt x="189285" y="91920"/>
                      </a:lnTo>
                      <a:lnTo>
                        <a:pt x="185185" y="84255"/>
                      </a:lnTo>
                      <a:lnTo>
                        <a:pt x="184566" y="81892"/>
                      </a:lnTo>
                      <a:lnTo>
                        <a:pt x="184427" y="79149"/>
                      </a:lnTo>
                      <a:lnTo>
                        <a:pt x="184062" y="77119"/>
                      </a:lnTo>
                      <a:lnTo>
                        <a:pt x="182988" y="75890"/>
                      </a:lnTo>
                      <a:lnTo>
                        <a:pt x="180712" y="75497"/>
                      </a:lnTo>
                      <a:lnTo>
                        <a:pt x="179284" y="74711"/>
                      </a:lnTo>
                      <a:lnTo>
                        <a:pt x="175368" y="70873"/>
                      </a:lnTo>
                      <a:lnTo>
                        <a:pt x="173776" y="69607"/>
                      </a:lnTo>
                      <a:lnTo>
                        <a:pt x="160807" y="63139"/>
                      </a:lnTo>
                      <a:lnTo>
                        <a:pt x="158792" y="62782"/>
                      </a:lnTo>
                      <a:lnTo>
                        <a:pt x="156759" y="61889"/>
                      </a:lnTo>
                      <a:lnTo>
                        <a:pt x="153373" y="57891"/>
                      </a:lnTo>
                      <a:lnTo>
                        <a:pt x="148408" y="55430"/>
                      </a:lnTo>
                      <a:lnTo>
                        <a:pt x="146862" y="51463"/>
                      </a:lnTo>
                      <a:lnTo>
                        <a:pt x="145926" y="41607"/>
                      </a:lnTo>
                      <a:lnTo>
                        <a:pt x="145994" y="42787"/>
                      </a:lnTo>
                      <a:lnTo>
                        <a:pt x="143075" y="36946"/>
                      </a:lnTo>
                      <a:lnTo>
                        <a:pt x="138289" y="32980"/>
                      </a:lnTo>
                      <a:lnTo>
                        <a:pt x="125280" y="26057"/>
                      </a:lnTo>
                      <a:lnTo>
                        <a:pt x="120390" y="22591"/>
                      </a:lnTo>
                      <a:lnTo>
                        <a:pt x="118044" y="20167"/>
                      </a:lnTo>
                      <a:lnTo>
                        <a:pt x="115688" y="18289"/>
                      </a:lnTo>
                      <a:lnTo>
                        <a:pt x="111097" y="16188"/>
                      </a:lnTo>
                      <a:lnTo>
                        <a:pt x="109168" y="13769"/>
                      </a:lnTo>
                      <a:lnTo>
                        <a:pt x="110855" y="9942"/>
                      </a:lnTo>
                      <a:lnTo>
                        <a:pt x="110899" y="9942"/>
                      </a:lnTo>
                      <a:lnTo>
                        <a:pt x="110934" y="9941"/>
                      </a:lnTo>
                      <a:lnTo>
                        <a:pt x="110970" y="9940"/>
                      </a:lnTo>
                      <a:lnTo>
                        <a:pt x="111013" y="9940"/>
                      </a:lnTo>
                      <a:lnTo>
                        <a:pt x="111056" y="9939"/>
                      </a:lnTo>
                      <a:lnTo>
                        <a:pt x="111092" y="9938"/>
                      </a:lnTo>
                      <a:lnTo>
                        <a:pt x="111131" y="9937"/>
                      </a:lnTo>
                      <a:lnTo>
                        <a:pt x="111173" y="9937"/>
                      </a:lnTo>
                      <a:lnTo>
                        <a:pt x="111213" y="9936"/>
                      </a:lnTo>
                      <a:lnTo>
                        <a:pt x="111253" y="9935"/>
                      </a:lnTo>
                      <a:lnTo>
                        <a:pt x="111292" y="9935"/>
                      </a:lnTo>
                      <a:lnTo>
                        <a:pt x="111331" y="9934"/>
                      </a:lnTo>
                      <a:lnTo>
                        <a:pt x="111374" y="9933"/>
                      </a:lnTo>
                      <a:lnTo>
                        <a:pt x="111410" y="9933"/>
                      </a:lnTo>
                      <a:lnTo>
                        <a:pt x="111456" y="9932"/>
                      </a:lnTo>
                      <a:lnTo>
                        <a:pt x="111496" y="9931"/>
                      </a:lnTo>
                      <a:lnTo>
                        <a:pt x="137481" y="9685"/>
                      </a:lnTo>
                      <a:lnTo>
                        <a:pt x="163462" y="9420"/>
                      </a:lnTo>
                      <a:lnTo>
                        <a:pt x="189440" y="9134"/>
                      </a:lnTo>
                      <a:lnTo>
                        <a:pt x="215419" y="8837"/>
                      </a:lnTo>
                      <a:lnTo>
                        <a:pt x="241396" y="8523"/>
                      </a:lnTo>
                      <a:lnTo>
                        <a:pt x="267375" y="8195"/>
                      </a:lnTo>
                      <a:lnTo>
                        <a:pt x="293348" y="7855"/>
                      </a:lnTo>
                      <a:lnTo>
                        <a:pt x="319318" y="7500"/>
                      </a:lnTo>
                      <a:lnTo>
                        <a:pt x="345286" y="7124"/>
                      </a:lnTo>
                      <a:lnTo>
                        <a:pt x="371247" y="6732"/>
                      </a:lnTo>
                      <a:lnTo>
                        <a:pt x="397210" y="6325"/>
                      </a:lnTo>
                      <a:lnTo>
                        <a:pt x="423172" y="5902"/>
                      </a:lnTo>
                      <a:lnTo>
                        <a:pt x="449129" y="5463"/>
                      </a:lnTo>
                      <a:lnTo>
                        <a:pt x="475075" y="5005"/>
                      </a:lnTo>
                      <a:lnTo>
                        <a:pt x="501026" y="4534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4" name="Freeform 144">
                  <a:extLst>
                    <a:ext uri="{FF2B5EF4-FFF2-40B4-BE49-F238E27FC236}">
                      <a16:creationId xmlns:a16="http://schemas.microsoft.com/office/drawing/2014/main" id="{345F0CAF-1B30-4C80-A448-AE2DEEB3FE89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4090832" y="4099368"/>
                  <a:ext cx="334442" cy="47964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94662" h="709427">
                      <a:moveTo>
                        <a:pt x="79117" y="11506"/>
                      </a:moveTo>
                      <a:lnTo>
                        <a:pt x="80086" y="11478"/>
                      </a:lnTo>
                      <a:lnTo>
                        <a:pt x="82075" y="11421"/>
                      </a:lnTo>
                      <a:lnTo>
                        <a:pt x="82989" y="11395"/>
                      </a:lnTo>
                      <a:lnTo>
                        <a:pt x="94440" y="11062"/>
                      </a:lnTo>
                      <a:lnTo>
                        <a:pt x="105882" y="10732"/>
                      </a:lnTo>
                      <a:lnTo>
                        <a:pt x="117332" y="10402"/>
                      </a:lnTo>
                      <a:lnTo>
                        <a:pt x="128776" y="10069"/>
                      </a:lnTo>
                      <a:lnTo>
                        <a:pt x="140217" y="9729"/>
                      </a:lnTo>
                      <a:lnTo>
                        <a:pt x="151659" y="9386"/>
                      </a:lnTo>
                      <a:lnTo>
                        <a:pt x="163106" y="9045"/>
                      </a:lnTo>
                      <a:lnTo>
                        <a:pt x="174548" y="8700"/>
                      </a:lnTo>
                      <a:lnTo>
                        <a:pt x="185988" y="8352"/>
                      </a:lnTo>
                      <a:lnTo>
                        <a:pt x="197424" y="7993"/>
                      </a:lnTo>
                      <a:lnTo>
                        <a:pt x="208861" y="7635"/>
                      </a:lnTo>
                      <a:lnTo>
                        <a:pt x="220300" y="7279"/>
                      </a:lnTo>
                      <a:lnTo>
                        <a:pt x="231737" y="6911"/>
                      </a:lnTo>
                      <a:lnTo>
                        <a:pt x="243172" y="6548"/>
                      </a:lnTo>
                      <a:lnTo>
                        <a:pt x="254607" y="6178"/>
                      </a:lnTo>
                      <a:lnTo>
                        <a:pt x="266040" y="5804"/>
                      </a:lnTo>
                      <a:lnTo>
                        <a:pt x="277474" y="5433"/>
                      </a:lnTo>
                      <a:lnTo>
                        <a:pt x="288907" y="5058"/>
                      </a:lnTo>
                      <a:lnTo>
                        <a:pt x="300337" y="4676"/>
                      </a:lnTo>
                      <a:lnTo>
                        <a:pt x="311767" y="4292"/>
                      </a:lnTo>
                      <a:lnTo>
                        <a:pt x="323197" y="3911"/>
                      </a:lnTo>
                      <a:lnTo>
                        <a:pt x="334625" y="3517"/>
                      </a:lnTo>
                      <a:lnTo>
                        <a:pt x="346048" y="3127"/>
                      </a:lnTo>
                      <a:lnTo>
                        <a:pt x="357478" y="2730"/>
                      </a:lnTo>
                      <a:lnTo>
                        <a:pt x="368903" y="2325"/>
                      </a:lnTo>
                      <a:lnTo>
                        <a:pt x="380319" y="1922"/>
                      </a:lnTo>
                      <a:lnTo>
                        <a:pt x="391746" y="1520"/>
                      </a:lnTo>
                      <a:lnTo>
                        <a:pt x="403168" y="1116"/>
                      </a:lnTo>
                      <a:lnTo>
                        <a:pt x="414589" y="703"/>
                      </a:lnTo>
                      <a:lnTo>
                        <a:pt x="426013" y="288"/>
                      </a:lnTo>
                      <a:lnTo>
                        <a:pt x="436003" y="0"/>
                      </a:lnTo>
                      <a:lnTo>
                        <a:pt x="437231" y="10684"/>
                      </a:lnTo>
                      <a:lnTo>
                        <a:pt x="438815" y="24494"/>
                      </a:lnTo>
                      <a:lnTo>
                        <a:pt x="440415" y="38472"/>
                      </a:lnTo>
                      <a:lnTo>
                        <a:pt x="442460" y="53924"/>
                      </a:lnTo>
                      <a:lnTo>
                        <a:pt x="444035" y="67745"/>
                      </a:lnTo>
                      <a:lnTo>
                        <a:pt x="446083" y="80773"/>
                      </a:lnTo>
                      <a:lnTo>
                        <a:pt x="447560" y="94944"/>
                      </a:lnTo>
                      <a:lnTo>
                        <a:pt x="449040" y="109110"/>
                      </a:lnTo>
                      <a:lnTo>
                        <a:pt x="450512" y="123285"/>
                      </a:lnTo>
                      <a:lnTo>
                        <a:pt x="451982" y="137462"/>
                      </a:lnTo>
                      <a:lnTo>
                        <a:pt x="453448" y="151644"/>
                      </a:lnTo>
                      <a:lnTo>
                        <a:pt x="454909" y="165825"/>
                      </a:lnTo>
                      <a:lnTo>
                        <a:pt x="456368" y="180015"/>
                      </a:lnTo>
                      <a:lnTo>
                        <a:pt x="457822" y="194204"/>
                      </a:lnTo>
                      <a:lnTo>
                        <a:pt x="459274" y="208401"/>
                      </a:lnTo>
                      <a:lnTo>
                        <a:pt x="460721" y="222598"/>
                      </a:lnTo>
                      <a:lnTo>
                        <a:pt x="462158" y="236804"/>
                      </a:lnTo>
                      <a:lnTo>
                        <a:pt x="463596" y="251012"/>
                      </a:lnTo>
                      <a:lnTo>
                        <a:pt x="465033" y="265225"/>
                      </a:lnTo>
                      <a:lnTo>
                        <a:pt x="466467" y="279446"/>
                      </a:lnTo>
                      <a:lnTo>
                        <a:pt x="467897" y="293666"/>
                      </a:lnTo>
                      <a:lnTo>
                        <a:pt x="469326" y="307885"/>
                      </a:lnTo>
                      <a:lnTo>
                        <a:pt x="470746" y="322114"/>
                      </a:lnTo>
                      <a:lnTo>
                        <a:pt x="472169" y="336345"/>
                      </a:lnTo>
                      <a:lnTo>
                        <a:pt x="473584" y="350576"/>
                      </a:lnTo>
                      <a:lnTo>
                        <a:pt x="474992" y="364816"/>
                      </a:lnTo>
                      <a:lnTo>
                        <a:pt x="476404" y="379054"/>
                      </a:lnTo>
                      <a:lnTo>
                        <a:pt x="477806" y="393301"/>
                      </a:lnTo>
                      <a:lnTo>
                        <a:pt x="479211" y="407552"/>
                      </a:lnTo>
                      <a:lnTo>
                        <a:pt x="480605" y="421802"/>
                      </a:lnTo>
                      <a:lnTo>
                        <a:pt x="482000" y="436064"/>
                      </a:lnTo>
                      <a:lnTo>
                        <a:pt x="483391" y="450330"/>
                      </a:lnTo>
                      <a:lnTo>
                        <a:pt x="484774" y="464592"/>
                      </a:lnTo>
                      <a:lnTo>
                        <a:pt x="482024" y="466336"/>
                      </a:lnTo>
                      <a:lnTo>
                        <a:pt x="477911" y="471122"/>
                      </a:lnTo>
                      <a:lnTo>
                        <a:pt x="478882" y="476747"/>
                      </a:lnTo>
                      <a:lnTo>
                        <a:pt x="483552" y="480626"/>
                      </a:lnTo>
                      <a:lnTo>
                        <a:pt x="486045" y="483205"/>
                      </a:lnTo>
                      <a:lnTo>
                        <a:pt x="487171" y="486179"/>
                      </a:lnTo>
                      <a:lnTo>
                        <a:pt x="485955" y="489263"/>
                      </a:lnTo>
                      <a:lnTo>
                        <a:pt x="481058" y="494284"/>
                      </a:lnTo>
                      <a:lnTo>
                        <a:pt x="479873" y="496048"/>
                      </a:lnTo>
                      <a:lnTo>
                        <a:pt x="481963" y="498164"/>
                      </a:lnTo>
                      <a:lnTo>
                        <a:pt x="484511" y="499139"/>
                      </a:lnTo>
                      <a:lnTo>
                        <a:pt x="491162" y="499268"/>
                      </a:lnTo>
                      <a:lnTo>
                        <a:pt x="494596" y="500250"/>
                      </a:lnTo>
                      <a:lnTo>
                        <a:pt x="494661" y="502841"/>
                      </a:lnTo>
                      <a:lnTo>
                        <a:pt x="492958" y="505913"/>
                      </a:lnTo>
                      <a:lnTo>
                        <a:pt x="491073" y="508342"/>
                      </a:lnTo>
                      <a:lnTo>
                        <a:pt x="490341" y="511803"/>
                      </a:lnTo>
                      <a:lnTo>
                        <a:pt x="493025" y="517550"/>
                      </a:lnTo>
                      <a:lnTo>
                        <a:pt x="491119" y="518617"/>
                      </a:lnTo>
                      <a:lnTo>
                        <a:pt x="478509" y="517843"/>
                      </a:lnTo>
                      <a:lnTo>
                        <a:pt x="473317" y="518676"/>
                      </a:lnTo>
                      <a:lnTo>
                        <a:pt x="464003" y="522642"/>
                      </a:lnTo>
                      <a:lnTo>
                        <a:pt x="443030" y="535840"/>
                      </a:lnTo>
                      <a:lnTo>
                        <a:pt x="436959" y="537269"/>
                      </a:lnTo>
                      <a:lnTo>
                        <a:pt x="433806" y="535692"/>
                      </a:lnTo>
                      <a:lnTo>
                        <a:pt x="428022" y="530422"/>
                      </a:lnTo>
                      <a:lnTo>
                        <a:pt x="425242" y="529348"/>
                      </a:lnTo>
                      <a:lnTo>
                        <a:pt x="415503" y="529241"/>
                      </a:lnTo>
                      <a:lnTo>
                        <a:pt x="398079" y="531322"/>
                      </a:lnTo>
                      <a:lnTo>
                        <a:pt x="395389" y="532865"/>
                      </a:lnTo>
                      <a:lnTo>
                        <a:pt x="395639" y="536185"/>
                      </a:lnTo>
                      <a:lnTo>
                        <a:pt x="397244" y="539812"/>
                      </a:lnTo>
                      <a:lnTo>
                        <a:pt x="398593" y="542232"/>
                      </a:lnTo>
                      <a:lnTo>
                        <a:pt x="400971" y="552990"/>
                      </a:lnTo>
                      <a:lnTo>
                        <a:pt x="404857" y="559740"/>
                      </a:lnTo>
                      <a:lnTo>
                        <a:pt x="404484" y="563038"/>
                      </a:lnTo>
                      <a:lnTo>
                        <a:pt x="402586" y="565704"/>
                      </a:lnTo>
                      <a:lnTo>
                        <a:pt x="394980" y="571404"/>
                      </a:lnTo>
                      <a:lnTo>
                        <a:pt x="393097" y="573662"/>
                      </a:lnTo>
                      <a:lnTo>
                        <a:pt x="391050" y="576798"/>
                      </a:lnTo>
                      <a:lnTo>
                        <a:pt x="388849" y="578468"/>
                      </a:lnTo>
                      <a:lnTo>
                        <a:pt x="382347" y="579266"/>
                      </a:lnTo>
                      <a:lnTo>
                        <a:pt x="379278" y="580124"/>
                      </a:lnTo>
                      <a:lnTo>
                        <a:pt x="375223" y="585369"/>
                      </a:lnTo>
                      <a:lnTo>
                        <a:pt x="373095" y="601003"/>
                      </a:lnTo>
                      <a:lnTo>
                        <a:pt x="370335" y="607086"/>
                      </a:lnTo>
                      <a:lnTo>
                        <a:pt x="365271" y="611098"/>
                      </a:lnTo>
                      <a:lnTo>
                        <a:pt x="362355" y="612728"/>
                      </a:lnTo>
                      <a:lnTo>
                        <a:pt x="356712" y="614516"/>
                      </a:lnTo>
                      <a:lnTo>
                        <a:pt x="354932" y="614520"/>
                      </a:lnTo>
                      <a:lnTo>
                        <a:pt x="354002" y="613003"/>
                      </a:lnTo>
                      <a:lnTo>
                        <a:pt x="353153" y="612362"/>
                      </a:lnTo>
                      <a:lnTo>
                        <a:pt x="351255" y="611741"/>
                      </a:lnTo>
                      <a:lnTo>
                        <a:pt x="349115" y="611355"/>
                      </a:lnTo>
                      <a:lnTo>
                        <a:pt x="347554" y="611402"/>
                      </a:lnTo>
                      <a:lnTo>
                        <a:pt x="345675" y="613542"/>
                      </a:lnTo>
                      <a:lnTo>
                        <a:pt x="343030" y="620889"/>
                      </a:lnTo>
                      <a:lnTo>
                        <a:pt x="341669" y="622518"/>
                      </a:lnTo>
                      <a:lnTo>
                        <a:pt x="339191" y="623863"/>
                      </a:lnTo>
                      <a:lnTo>
                        <a:pt x="337416" y="627027"/>
                      </a:lnTo>
                      <a:lnTo>
                        <a:pt x="336355" y="630966"/>
                      </a:lnTo>
                      <a:lnTo>
                        <a:pt x="335968" y="634610"/>
                      </a:lnTo>
                      <a:lnTo>
                        <a:pt x="336111" y="651476"/>
                      </a:lnTo>
                      <a:lnTo>
                        <a:pt x="334974" y="656064"/>
                      </a:lnTo>
                      <a:lnTo>
                        <a:pt x="334156" y="657647"/>
                      </a:lnTo>
                      <a:lnTo>
                        <a:pt x="333078" y="659100"/>
                      </a:lnTo>
                      <a:lnTo>
                        <a:pt x="331724" y="660380"/>
                      </a:lnTo>
                      <a:lnTo>
                        <a:pt x="330041" y="661489"/>
                      </a:lnTo>
                      <a:lnTo>
                        <a:pt x="322655" y="662928"/>
                      </a:lnTo>
                      <a:lnTo>
                        <a:pt x="319179" y="664258"/>
                      </a:lnTo>
                      <a:lnTo>
                        <a:pt x="317932" y="667265"/>
                      </a:lnTo>
                      <a:lnTo>
                        <a:pt x="316590" y="668631"/>
                      </a:lnTo>
                      <a:lnTo>
                        <a:pt x="313050" y="666338"/>
                      </a:lnTo>
                      <a:lnTo>
                        <a:pt x="306714" y="660869"/>
                      </a:lnTo>
                      <a:lnTo>
                        <a:pt x="303175" y="660138"/>
                      </a:lnTo>
                      <a:lnTo>
                        <a:pt x="295365" y="659859"/>
                      </a:lnTo>
                      <a:lnTo>
                        <a:pt x="292173" y="658338"/>
                      </a:lnTo>
                      <a:lnTo>
                        <a:pt x="289527" y="656634"/>
                      </a:lnTo>
                      <a:lnTo>
                        <a:pt x="283156" y="653855"/>
                      </a:lnTo>
                      <a:lnTo>
                        <a:pt x="280547" y="652007"/>
                      </a:lnTo>
                      <a:lnTo>
                        <a:pt x="278904" y="649508"/>
                      </a:lnTo>
                      <a:lnTo>
                        <a:pt x="278406" y="646794"/>
                      </a:lnTo>
                      <a:lnTo>
                        <a:pt x="278269" y="639381"/>
                      </a:lnTo>
                      <a:lnTo>
                        <a:pt x="276697" y="637371"/>
                      </a:lnTo>
                      <a:lnTo>
                        <a:pt x="268229" y="631908"/>
                      </a:lnTo>
                      <a:lnTo>
                        <a:pt x="265331" y="630775"/>
                      </a:lnTo>
                      <a:lnTo>
                        <a:pt x="262052" y="630568"/>
                      </a:lnTo>
                      <a:lnTo>
                        <a:pt x="260460" y="631809"/>
                      </a:lnTo>
                      <a:lnTo>
                        <a:pt x="262625" y="635024"/>
                      </a:lnTo>
                      <a:lnTo>
                        <a:pt x="265862" y="636626"/>
                      </a:lnTo>
                      <a:lnTo>
                        <a:pt x="269121" y="637448"/>
                      </a:lnTo>
                      <a:lnTo>
                        <a:pt x="270489" y="638695"/>
                      </a:lnTo>
                      <a:lnTo>
                        <a:pt x="268033" y="641536"/>
                      </a:lnTo>
                      <a:lnTo>
                        <a:pt x="261771" y="644237"/>
                      </a:lnTo>
                      <a:lnTo>
                        <a:pt x="258173" y="644666"/>
                      </a:lnTo>
                      <a:lnTo>
                        <a:pt x="256256" y="644174"/>
                      </a:lnTo>
                      <a:lnTo>
                        <a:pt x="255303" y="642507"/>
                      </a:lnTo>
                      <a:lnTo>
                        <a:pt x="254443" y="641865"/>
                      </a:lnTo>
                      <a:lnTo>
                        <a:pt x="252594" y="641044"/>
                      </a:lnTo>
                      <a:lnTo>
                        <a:pt x="250813" y="640988"/>
                      </a:lnTo>
                      <a:lnTo>
                        <a:pt x="250151" y="642654"/>
                      </a:lnTo>
                      <a:lnTo>
                        <a:pt x="250901" y="644508"/>
                      </a:lnTo>
                      <a:lnTo>
                        <a:pt x="253889" y="647210"/>
                      </a:lnTo>
                      <a:lnTo>
                        <a:pt x="254927" y="649129"/>
                      </a:lnTo>
                      <a:lnTo>
                        <a:pt x="254643" y="652919"/>
                      </a:lnTo>
                      <a:lnTo>
                        <a:pt x="252206" y="655178"/>
                      </a:lnTo>
                      <a:lnTo>
                        <a:pt x="248766" y="656278"/>
                      </a:lnTo>
                      <a:lnTo>
                        <a:pt x="245489" y="656616"/>
                      </a:lnTo>
                      <a:lnTo>
                        <a:pt x="243564" y="658253"/>
                      </a:lnTo>
                      <a:lnTo>
                        <a:pt x="243143" y="662016"/>
                      </a:lnTo>
                      <a:lnTo>
                        <a:pt x="244635" y="673553"/>
                      </a:lnTo>
                      <a:lnTo>
                        <a:pt x="244411" y="676240"/>
                      </a:lnTo>
                      <a:lnTo>
                        <a:pt x="242614" y="677990"/>
                      </a:lnTo>
                      <a:lnTo>
                        <a:pt x="234463" y="679850"/>
                      </a:lnTo>
                      <a:lnTo>
                        <a:pt x="233771" y="682502"/>
                      </a:lnTo>
                      <a:lnTo>
                        <a:pt x="234093" y="685966"/>
                      </a:lnTo>
                      <a:lnTo>
                        <a:pt x="233148" y="689560"/>
                      </a:lnTo>
                      <a:lnTo>
                        <a:pt x="230095" y="691539"/>
                      </a:lnTo>
                      <a:lnTo>
                        <a:pt x="226386" y="691581"/>
                      </a:lnTo>
                      <a:lnTo>
                        <a:pt x="224003" y="689930"/>
                      </a:lnTo>
                      <a:lnTo>
                        <a:pt x="224909" y="686837"/>
                      </a:lnTo>
                      <a:lnTo>
                        <a:pt x="226382" y="683250"/>
                      </a:lnTo>
                      <a:lnTo>
                        <a:pt x="223374" y="682597"/>
                      </a:lnTo>
                      <a:lnTo>
                        <a:pt x="216655" y="684005"/>
                      </a:lnTo>
                      <a:lnTo>
                        <a:pt x="211188" y="683230"/>
                      </a:lnTo>
                      <a:lnTo>
                        <a:pt x="206169" y="679856"/>
                      </a:lnTo>
                      <a:lnTo>
                        <a:pt x="202421" y="675209"/>
                      </a:lnTo>
                      <a:lnTo>
                        <a:pt x="200755" y="670599"/>
                      </a:lnTo>
                      <a:lnTo>
                        <a:pt x="198028" y="667491"/>
                      </a:lnTo>
                      <a:lnTo>
                        <a:pt x="192644" y="669616"/>
                      </a:lnTo>
                      <a:lnTo>
                        <a:pt x="187072" y="673852"/>
                      </a:lnTo>
                      <a:lnTo>
                        <a:pt x="183807" y="677073"/>
                      </a:lnTo>
                      <a:lnTo>
                        <a:pt x="181804" y="678065"/>
                      </a:lnTo>
                      <a:lnTo>
                        <a:pt x="172910" y="679172"/>
                      </a:lnTo>
                      <a:lnTo>
                        <a:pt x="170252" y="680325"/>
                      </a:lnTo>
                      <a:lnTo>
                        <a:pt x="168218" y="681696"/>
                      </a:lnTo>
                      <a:lnTo>
                        <a:pt x="166551" y="683680"/>
                      </a:lnTo>
                      <a:lnTo>
                        <a:pt x="164983" y="686600"/>
                      </a:lnTo>
                      <a:lnTo>
                        <a:pt x="161653" y="697779"/>
                      </a:lnTo>
                      <a:lnTo>
                        <a:pt x="159482" y="701962"/>
                      </a:lnTo>
                      <a:lnTo>
                        <a:pt x="154870" y="705026"/>
                      </a:lnTo>
                      <a:lnTo>
                        <a:pt x="153094" y="704083"/>
                      </a:lnTo>
                      <a:lnTo>
                        <a:pt x="151695" y="703048"/>
                      </a:lnTo>
                      <a:lnTo>
                        <a:pt x="149115" y="700357"/>
                      </a:lnTo>
                      <a:lnTo>
                        <a:pt x="148170" y="698515"/>
                      </a:lnTo>
                      <a:lnTo>
                        <a:pt x="147658" y="696528"/>
                      </a:lnTo>
                      <a:lnTo>
                        <a:pt x="146826" y="694953"/>
                      </a:lnTo>
                      <a:lnTo>
                        <a:pt x="144934" y="694344"/>
                      </a:lnTo>
                      <a:lnTo>
                        <a:pt x="142083" y="694229"/>
                      </a:lnTo>
                      <a:lnTo>
                        <a:pt x="139863" y="693754"/>
                      </a:lnTo>
                      <a:lnTo>
                        <a:pt x="138181" y="693070"/>
                      </a:lnTo>
                      <a:lnTo>
                        <a:pt x="132436" y="689855"/>
                      </a:lnTo>
                      <a:lnTo>
                        <a:pt x="121697" y="686373"/>
                      </a:lnTo>
                      <a:lnTo>
                        <a:pt x="118794" y="684740"/>
                      </a:lnTo>
                      <a:lnTo>
                        <a:pt x="115826" y="682618"/>
                      </a:lnTo>
                      <a:lnTo>
                        <a:pt x="112196" y="680673"/>
                      </a:lnTo>
                      <a:lnTo>
                        <a:pt x="108433" y="679211"/>
                      </a:lnTo>
                      <a:lnTo>
                        <a:pt x="105069" y="678532"/>
                      </a:lnTo>
                      <a:lnTo>
                        <a:pt x="98701" y="680206"/>
                      </a:lnTo>
                      <a:lnTo>
                        <a:pt x="92581" y="683533"/>
                      </a:lnTo>
                      <a:lnTo>
                        <a:pt x="86666" y="684811"/>
                      </a:lnTo>
                      <a:lnTo>
                        <a:pt x="80949" y="680337"/>
                      </a:lnTo>
                      <a:lnTo>
                        <a:pt x="80334" y="678611"/>
                      </a:lnTo>
                      <a:lnTo>
                        <a:pt x="80278" y="675668"/>
                      </a:lnTo>
                      <a:lnTo>
                        <a:pt x="79340" y="674366"/>
                      </a:lnTo>
                      <a:lnTo>
                        <a:pt x="78148" y="673919"/>
                      </a:lnTo>
                      <a:lnTo>
                        <a:pt x="76781" y="674181"/>
                      </a:lnTo>
                      <a:lnTo>
                        <a:pt x="75692" y="675317"/>
                      </a:lnTo>
                      <a:lnTo>
                        <a:pt x="75364" y="677526"/>
                      </a:lnTo>
                      <a:lnTo>
                        <a:pt x="76289" y="681436"/>
                      </a:lnTo>
                      <a:lnTo>
                        <a:pt x="79505" y="686469"/>
                      </a:lnTo>
                      <a:lnTo>
                        <a:pt x="80546" y="690077"/>
                      </a:lnTo>
                      <a:lnTo>
                        <a:pt x="79329" y="694931"/>
                      </a:lnTo>
                      <a:lnTo>
                        <a:pt x="75663" y="698973"/>
                      </a:lnTo>
                      <a:lnTo>
                        <a:pt x="71162" y="700727"/>
                      </a:lnTo>
                      <a:lnTo>
                        <a:pt x="67482" y="698710"/>
                      </a:lnTo>
                      <a:lnTo>
                        <a:pt x="66918" y="696045"/>
                      </a:lnTo>
                      <a:lnTo>
                        <a:pt x="68089" y="690285"/>
                      </a:lnTo>
                      <a:lnTo>
                        <a:pt x="67620" y="687884"/>
                      </a:lnTo>
                      <a:lnTo>
                        <a:pt x="65491" y="686483"/>
                      </a:lnTo>
                      <a:lnTo>
                        <a:pt x="62924" y="686765"/>
                      </a:lnTo>
                      <a:lnTo>
                        <a:pt x="60622" y="687965"/>
                      </a:lnTo>
                      <a:lnTo>
                        <a:pt x="59281" y="689288"/>
                      </a:lnTo>
                      <a:lnTo>
                        <a:pt x="57843" y="689443"/>
                      </a:lnTo>
                      <a:lnTo>
                        <a:pt x="51860" y="691480"/>
                      </a:lnTo>
                      <a:lnTo>
                        <a:pt x="48832" y="691944"/>
                      </a:lnTo>
                      <a:lnTo>
                        <a:pt x="45328" y="691410"/>
                      </a:lnTo>
                      <a:lnTo>
                        <a:pt x="42380" y="690093"/>
                      </a:lnTo>
                      <a:lnTo>
                        <a:pt x="39781" y="688130"/>
                      </a:lnTo>
                      <a:lnTo>
                        <a:pt x="37322" y="685610"/>
                      </a:lnTo>
                      <a:lnTo>
                        <a:pt x="34209" y="683411"/>
                      </a:lnTo>
                      <a:lnTo>
                        <a:pt x="30863" y="682967"/>
                      </a:lnTo>
                      <a:lnTo>
                        <a:pt x="28282" y="684485"/>
                      </a:lnTo>
                      <a:lnTo>
                        <a:pt x="27446" y="688197"/>
                      </a:lnTo>
                      <a:lnTo>
                        <a:pt x="28229" y="690543"/>
                      </a:lnTo>
                      <a:lnTo>
                        <a:pt x="33653" y="700835"/>
                      </a:lnTo>
                      <a:lnTo>
                        <a:pt x="27043" y="708240"/>
                      </a:lnTo>
                      <a:lnTo>
                        <a:pt x="26359" y="709426"/>
                      </a:lnTo>
                      <a:lnTo>
                        <a:pt x="23450" y="708815"/>
                      </a:lnTo>
                      <a:lnTo>
                        <a:pt x="17697" y="705773"/>
                      </a:lnTo>
                      <a:lnTo>
                        <a:pt x="14936" y="704879"/>
                      </a:lnTo>
                      <a:lnTo>
                        <a:pt x="11445" y="705407"/>
                      </a:lnTo>
                      <a:lnTo>
                        <a:pt x="7734" y="704144"/>
                      </a:lnTo>
                      <a:lnTo>
                        <a:pt x="4730" y="703917"/>
                      </a:lnTo>
                      <a:lnTo>
                        <a:pt x="3636" y="703569"/>
                      </a:lnTo>
                      <a:lnTo>
                        <a:pt x="3026" y="702758"/>
                      </a:lnTo>
                      <a:lnTo>
                        <a:pt x="2960" y="701929"/>
                      </a:lnTo>
                      <a:lnTo>
                        <a:pt x="3506" y="701544"/>
                      </a:lnTo>
                      <a:lnTo>
                        <a:pt x="8003" y="701726"/>
                      </a:lnTo>
                      <a:lnTo>
                        <a:pt x="10359" y="701521"/>
                      </a:lnTo>
                      <a:lnTo>
                        <a:pt x="11942" y="700693"/>
                      </a:lnTo>
                      <a:lnTo>
                        <a:pt x="10829" y="698763"/>
                      </a:lnTo>
                      <a:lnTo>
                        <a:pt x="2775" y="692396"/>
                      </a:lnTo>
                      <a:lnTo>
                        <a:pt x="0" y="689499"/>
                      </a:lnTo>
                      <a:lnTo>
                        <a:pt x="6970" y="690515"/>
                      </a:lnTo>
                      <a:lnTo>
                        <a:pt x="8520" y="690500"/>
                      </a:lnTo>
                      <a:lnTo>
                        <a:pt x="10882" y="689279"/>
                      </a:lnTo>
                      <a:lnTo>
                        <a:pt x="11283" y="688002"/>
                      </a:lnTo>
                      <a:lnTo>
                        <a:pt x="10704" y="686323"/>
                      </a:lnTo>
                      <a:lnTo>
                        <a:pt x="10152" y="683903"/>
                      </a:lnTo>
                      <a:lnTo>
                        <a:pt x="8949" y="680330"/>
                      </a:lnTo>
                      <a:lnTo>
                        <a:pt x="8839" y="678201"/>
                      </a:lnTo>
                      <a:lnTo>
                        <a:pt x="10241" y="677240"/>
                      </a:lnTo>
                      <a:lnTo>
                        <a:pt x="10906" y="676026"/>
                      </a:lnTo>
                      <a:lnTo>
                        <a:pt x="10587" y="673343"/>
                      </a:lnTo>
                      <a:lnTo>
                        <a:pt x="9795" y="670483"/>
                      </a:lnTo>
                      <a:lnTo>
                        <a:pt x="9050" y="668747"/>
                      </a:lnTo>
                      <a:lnTo>
                        <a:pt x="10777" y="666628"/>
                      </a:lnTo>
                      <a:lnTo>
                        <a:pt x="8303" y="662359"/>
                      </a:lnTo>
                      <a:lnTo>
                        <a:pt x="10147" y="661513"/>
                      </a:lnTo>
                      <a:lnTo>
                        <a:pt x="12712" y="661035"/>
                      </a:lnTo>
                      <a:lnTo>
                        <a:pt x="15351" y="659869"/>
                      </a:lnTo>
                      <a:lnTo>
                        <a:pt x="17822" y="658277"/>
                      </a:lnTo>
                      <a:lnTo>
                        <a:pt x="19840" y="656476"/>
                      </a:lnTo>
                      <a:lnTo>
                        <a:pt x="17456" y="654668"/>
                      </a:lnTo>
                      <a:lnTo>
                        <a:pt x="12635" y="655242"/>
                      </a:lnTo>
                      <a:lnTo>
                        <a:pt x="10091" y="654194"/>
                      </a:lnTo>
                      <a:lnTo>
                        <a:pt x="13477" y="651769"/>
                      </a:lnTo>
                      <a:lnTo>
                        <a:pt x="16587" y="648749"/>
                      </a:lnTo>
                      <a:lnTo>
                        <a:pt x="18027" y="647756"/>
                      </a:lnTo>
                      <a:lnTo>
                        <a:pt x="21345" y="646955"/>
                      </a:lnTo>
                      <a:lnTo>
                        <a:pt x="22715" y="646141"/>
                      </a:lnTo>
                      <a:lnTo>
                        <a:pt x="24068" y="642956"/>
                      </a:lnTo>
                      <a:lnTo>
                        <a:pt x="22011" y="641000"/>
                      </a:lnTo>
                      <a:lnTo>
                        <a:pt x="18965" y="639556"/>
                      </a:lnTo>
                      <a:lnTo>
                        <a:pt x="17320" y="637916"/>
                      </a:lnTo>
                      <a:lnTo>
                        <a:pt x="16732" y="636784"/>
                      </a:lnTo>
                      <a:lnTo>
                        <a:pt x="15562" y="635699"/>
                      </a:lnTo>
                      <a:lnTo>
                        <a:pt x="14395" y="634375"/>
                      </a:lnTo>
                      <a:lnTo>
                        <a:pt x="13861" y="632489"/>
                      </a:lnTo>
                      <a:lnTo>
                        <a:pt x="14213" y="630368"/>
                      </a:lnTo>
                      <a:lnTo>
                        <a:pt x="15153" y="629139"/>
                      </a:lnTo>
                      <a:lnTo>
                        <a:pt x="16384" y="628088"/>
                      </a:lnTo>
                      <a:lnTo>
                        <a:pt x="17628" y="626504"/>
                      </a:lnTo>
                      <a:lnTo>
                        <a:pt x="18549" y="623661"/>
                      </a:lnTo>
                      <a:lnTo>
                        <a:pt x="19181" y="620791"/>
                      </a:lnTo>
                      <a:lnTo>
                        <a:pt x="20465" y="618600"/>
                      </a:lnTo>
                      <a:lnTo>
                        <a:pt x="23383" y="617852"/>
                      </a:lnTo>
                      <a:lnTo>
                        <a:pt x="23641" y="618949"/>
                      </a:lnTo>
                      <a:lnTo>
                        <a:pt x="25253" y="620954"/>
                      </a:lnTo>
                      <a:lnTo>
                        <a:pt x="26991" y="621839"/>
                      </a:lnTo>
                      <a:lnTo>
                        <a:pt x="27951" y="618531"/>
                      </a:lnTo>
                      <a:lnTo>
                        <a:pt x="28825" y="617064"/>
                      </a:lnTo>
                      <a:lnTo>
                        <a:pt x="29944" y="615744"/>
                      </a:lnTo>
                      <a:lnTo>
                        <a:pt x="31016" y="615151"/>
                      </a:lnTo>
                      <a:lnTo>
                        <a:pt x="31677" y="615900"/>
                      </a:lnTo>
                      <a:lnTo>
                        <a:pt x="32186" y="617584"/>
                      </a:lnTo>
                      <a:lnTo>
                        <a:pt x="32981" y="619261"/>
                      </a:lnTo>
                      <a:lnTo>
                        <a:pt x="34486" y="619988"/>
                      </a:lnTo>
                      <a:lnTo>
                        <a:pt x="35435" y="619115"/>
                      </a:lnTo>
                      <a:lnTo>
                        <a:pt x="35703" y="617129"/>
                      </a:lnTo>
                      <a:lnTo>
                        <a:pt x="35768" y="614899"/>
                      </a:lnTo>
                      <a:lnTo>
                        <a:pt x="36127" y="613284"/>
                      </a:lnTo>
                      <a:lnTo>
                        <a:pt x="36991" y="611340"/>
                      </a:lnTo>
                      <a:lnTo>
                        <a:pt x="38043" y="607322"/>
                      </a:lnTo>
                      <a:lnTo>
                        <a:pt x="39160" y="605350"/>
                      </a:lnTo>
                      <a:lnTo>
                        <a:pt x="40333" y="604471"/>
                      </a:lnTo>
                      <a:lnTo>
                        <a:pt x="43264" y="603426"/>
                      </a:lnTo>
                      <a:lnTo>
                        <a:pt x="44311" y="602824"/>
                      </a:lnTo>
                      <a:lnTo>
                        <a:pt x="46459" y="600119"/>
                      </a:lnTo>
                      <a:lnTo>
                        <a:pt x="48516" y="596338"/>
                      </a:lnTo>
                      <a:lnTo>
                        <a:pt x="49028" y="592789"/>
                      </a:lnTo>
                      <a:lnTo>
                        <a:pt x="46541" y="590768"/>
                      </a:lnTo>
                      <a:lnTo>
                        <a:pt x="46441" y="589462"/>
                      </a:lnTo>
                      <a:lnTo>
                        <a:pt x="51022" y="588010"/>
                      </a:lnTo>
                      <a:lnTo>
                        <a:pt x="55681" y="585628"/>
                      </a:lnTo>
                      <a:lnTo>
                        <a:pt x="56906" y="584589"/>
                      </a:lnTo>
                      <a:lnTo>
                        <a:pt x="58421" y="582787"/>
                      </a:lnTo>
                      <a:lnTo>
                        <a:pt x="59498" y="581936"/>
                      </a:lnTo>
                      <a:lnTo>
                        <a:pt x="60888" y="581820"/>
                      </a:lnTo>
                      <a:lnTo>
                        <a:pt x="61872" y="582572"/>
                      </a:lnTo>
                      <a:lnTo>
                        <a:pt x="62692" y="582702"/>
                      </a:lnTo>
                      <a:lnTo>
                        <a:pt x="63598" y="580744"/>
                      </a:lnTo>
                      <a:lnTo>
                        <a:pt x="63416" y="578683"/>
                      </a:lnTo>
                      <a:lnTo>
                        <a:pt x="60548" y="575061"/>
                      </a:lnTo>
                      <a:lnTo>
                        <a:pt x="59803" y="572329"/>
                      </a:lnTo>
                      <a:lnTo>
                        <a:pt x="60347" y="569672"/>
                      </a:lnTo>
                      <a:lnTo>
                        <a:pt x="61756" y="567641"/>
                      </a:lnTo>
                      <a:lnTo>
                        <a:pt x="63623" y="566123"/>
                      </a:lnTo>
                      <a:lnTo>
                        <a:pt x="65519" y="564982"/>
                      </a:lnTo>
                      <a:lnTo>
                        <a:pt x="64569" y="565005"/>
                      </a:lnTo>
                      <a:lnTo>
                        <a:pt x="65134" y="564609"/>
                      </a:lnTo>
                      <a:lnTo>
                        <a:pt x="65634" y="564103"/>
                      </a:lnTo>
                      <a:lnTo>
                        <a:pt x="66062" y="563402"/>
                      </a:lnTo>
                      <a:lnTo>
                        <a:pt x="66460" y="562452"/>
                      </a:lnTo>
                      <a:lnTo>
                        <a:pt x="65439" y="558964"/>
                      </a:lnTo>
                      <a:lnTo>
                        <a:pt x="66431" y="555438"/>
                      </a:lnTo>
                      <a:lnTo>
                        <a:pt x="68534" y="552425"/>
                      </a:lnTo>
                      <a:lnTo>
                        <a:pt x="70849" y="550453"/>
                      </a:lnTo>
                      <a:lnTo>
                        <a:pt x="72403" y="550160"/>
                      </a:lnTo>
                      <a:lnTo>
                        <a:pt x="74498" y="550116"/>
                      </a:lnTo>
                      <a:lnTo>
                        <a:pt x="76293" y="549732"/>
                      </a:lnTo>
                      <a:lnTo>
                        <a:pt x="76970" y="548440"/>
                      </a:lnTo>
                      <a:lnTo>
                        <a:pt x="80762" y="535454"/>
                      </a:lnTo>
                      <a:lnTo>
                        <a:pt x="78226" y="528631"/>
                      </a:lnTo>
                      <a:lnTo>
                        <a:pt x="74389" y="521950"/>
                      </a:lnTo>
                      <a:lnTo>
                        <a:pt x="72180" y="515529"/>
                      </a:lnTo>
                      <a:lnTo>
                        <a:pt x="72517" y="513467"/>
                      </a:lnTo>
                      <a:lnTo>
                        <a:pt x="74440" y="510652"/>
                      </a:lnTo>
                      <a:lnTo>
                        <a:pt x="74766" y="508706"/>
                      </a:lnTo>
                      <a:lnTo>
                        <a:pt x="74194" y="501528"/>
                      </a:lnTo>
                      <a:lnTo>
                        <a:pt x="73097" y="499327"/>
                      </a:lnTo>
                      <a:lnTo>
                        <a:pt x="68285" y="495902"/>
                      </a:lnTo>
                      <a:lnTo>
                        <a:pt x="66388" y="493993"/>
                      </a:lnTo>
                      <a:lnTo>
                        <a:pt x="65193" y="491054"/>
                      </a:lnTo>
                      <a:lnTo>
                        <a:pt x="63403" y="484569"/>
                      </a:lnTo>
                      <a:lnTo>
                        <a:pt x="61608" y="481479"/>
                      </a:lnTo>
                      <a:lnTo>
                        <a:pt x="56636" y="477356"/>
                      </a:lnTo>
                      <a:lnTo>
                        <a:pt x="54280" y="476160"/>
                      </a:lnTo>
                      <a:lnTo>
                        <a:pt x="53082" y="475317"/>
                      </a:lnTo>
                      <a:lnTo>
                        <a:pt x="52103" y="473877"/>
                      </a:lnTo>
                      <a:lnTo>
                        <a:pt x="52109" y="467161"/>
                      </a:lnTo>
                      <a:lnTo>
                        <a:pt x="61248" y="458318"/>
                      </a:lnTo>
                      <a:lnTo>
                        <a:pt x="60774" y="450793"/>
                      </a:lnTo>
                      <a:lnTo>
                        <a:pt x="56844" y="444977"/>
                      </a:lnTo>
                      <a:lnTo>
                        <a:pt x="55890" y="441957"/>
                      </a:lnTo>
                      <a:lnTo>
                        <a:pt x="57180" y="438366"/>
                      </a:lnTo>
                      <a:lnTo>
                        <a:pt x="59707" y="435685"/>
                      </a:lnTo>
                      <a:lnTo>
                        <a:pt x="68580" y="431542"/>
                      </a:lnTo>
                      <a:lnTo>
                        <a:pt x="69095" y="430758"/>
                      </a:lnTo>
                      <a:lnTo>
                        <a:pt x="68580" y="424111"/>
                      </a:lnTo>
                      <a:lnTo>
                        <a:pt x="66642" y="398772"/>
                      </a:lnTo>
                      <a:lnTo>
                        <a:pt x="64688" y="373443"/>
                      </a:lnTo>
                      <a:lnTo>
                        <a:pt x="62723" y="348127"/>
                      </a:lnTo>
                      <a:lnTo>
                        <a:pt x="60756" y="322823"/>
                      </a:lnTo>
                      <a:lnTo>
                        <a:pt x="58781" y="297527"/>
                      </a:lnTo>
                      <a:lnTo>
                        <a:pt x="56794" y="272246"/>
                      </a:lnTo>
                      <a:lnTo>
                        <a:pt x="54798" y="246978"/>
                      </a:lnTo>
                      <a:lnTo>
                        <a:pt x="52797" y="221713"/>
                      </a:lnTo>
                      <a:lnTo>
                        <a:pt x="50788" y="196464"/>
                      </a:lnTo>
                      <a:lnTo>
                        <a:pt x="48765" y="171232"/>
                      </a:lnTo>
                      <a:lnTo>
                        <a:pt x="46736" y="146008"/>
                      </a:lnTo>
                      <a:lnTo>
                        <a:pt x="44703" y="120799"/>
                      </a:lnTo>
                      <a:lnTo>
                        <a:pt x="42662" y="95603"/>
                      </a:lnTo>
                      <a:lnTo>
                        <a:pt x="40608" y="70416"/>
                      </a:lnTo>
                      <a:lnTo>
                        <a:pt x="38542" y="45239"/>
                      </a:lnTo>
                      <a:lnTo>
                        <a:pt x="36479" y="20085"/>
                      </a:lnTo>
                      <a:lnTo>
                        <a:pt x="35841" y="12727"/>
                      </a:lnTo>
                      <a:lnTo>
                        <a:pt x="56179" y="12156"/>
                      </a:lnTo>
                      <a:lnTo>
                        <a:pt x="71548" y="11719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5" name="Freeform 145">
                  <a:extLst>
                    <a:ext uri="{FF2B5EF4-FFF2-40B4-BE49-F238E27FC236}">
                      <a16:creationId xmlns:a16="http://schemas.microsoft.com/office/drawing/2014/main" id="{5D8042FA-0399-4547-BE30-0C0FEB7D2F23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3947107" y="4407361"/>
                  <a:ext cx="788620" cy="3277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6422" h="484821">
                      <a:moveTo>
                        <a:pt x="5966" y="472811"/>
                      </a:moveTo>
                      <a:lnTo>
                        <a:pt x="11466" y="475090"/>
                      </a:lnTo>
                      <a:lnTo>
                        <a:pt x="13880" y="482094"/>
                      </a:lnTo>
                      <a:lnTo>
                        <a:pt x="13295" y="484411"/>
                      </a:lnTo>
                      <a:lnTo>
                        <a:pt x="3040" y="484821"/>
                      </a:lnTo>
                      <a:lnTo>
                        <a:pt x="1516" y="483314"/>
                      </a:lnTo>
                      <a:lnTo>
                        <a:pt x="0" y="481134"/>
                      </a:lnTo>
                      <a:lnTo>
                        <a:pt x="948" y="474931"/>
                      </a:lnTo>
                      <a:close/>
                      <a:moveTo>
                        <a:pt x="710627" y="0"/>
                      </a:moveTo>
                      <a:lnTo>
                        <a:pt x="712047" y="552"/>
                      </a:lnTo>
                      <a:lnTo>
                        <a:pt x="714259" y="3100"/>
                      </a:lnTo>
                      <a:lnTo>
                        <a:pt x="715134" y="3667"/>
                      </a:lnTo>
                      <a:lnTo>
                        <a:pt x="717503" y="4731"/>
                      </a:lnTo>
                      <a:lnTo>
                        <a:pt x="726018" y="11593"/>
                      </a:lnTo>
                      <a:lnTo>
                        <a:pt x="732530" y="11936"/>
                      </a:lnTo>
                      <a:lnTo>
                        <a:pt x="745018" y="6083"/>
                      </a:lnTo>
                      <a:lnTo>
                        <a:pt x="751367" y="4684"/>
                      </a:lnTo>
                      <a:lnTo>
                        <a:pt x="754858" y="6257"/>
                      </a:lnTo>
                      <a:lnTo>
                        <a:pt x="757350" y="9444"/>
                      </a:lnTo>
                      <a:lnTo>
                        <a:pt x="759311" y="12585"/>
                      </a:lnTo>
                      <a:lnTo>
                        <a:pt x="761185" y="13949"/>
                      </a:lnTo>
                      <a:lnTo>
                        <a:pt x="764213" y="14347"/>
                      </a:lnTo>
                      <a:lnTo>
                        <a:pt x="768075" y="15448"/>
                      </a:lnTo>
                      <a:lnTo>
                        <a:pt x="774812" y="18275"/>
                      </a:lnTo>
                      <a:lnTo>
                        <a:pt x="777342" y="20403"/>
                      </a:lnTo>
                      <a:lnTo>
                        <a:pt x="779258" y="23313"/>
                      </a:lnTo>
                      <a:lnTo>
                        <a:pt x="780542" y="26531"/>
                      </a:lnTo>
                      <a:lnTo>
                        <a:pt x="781179" y="29579"/>
                      </a:lnTo>
                      <a:lnTo>
                        <a:pt x="782228" y="32014"/>
                      </a:lnTo>
                      <a:lnTo>
                        <a:pt x="784241" y="33899"/>
                      </a:lnTo>
                      <a:lnTo>
                        <a:pt x="786497" y="35502"/>
                      </a:lnTo>
                      <a:lnTo>
                        <a:pt x="788274" y="37137"/>
                      </a:lnTo>
                      <a:lnTo>
                        <a:pt x="790047" y="39973"/>
                      </a:lnTo>
                      <a:lnTo>
                        <a:pt x="791363" y="43087"/>
                      </a:lnTo>
                      <a:lnTo>
                        <a:pt x="792294" y="46667"/>
                      </a:lnTo>
                      <a:lnTo>
                        <a:pt x="792924" y="50861"/>
                      </a:lnTo>
                      <a:lnTo>
                        <a:pt x="794693" y="53856"/>
                      </a:lnTo>
                      <a:lnTo>
                        <a:pt x="798294" y="56002"/>
                      </a:lnTo>
                      <a:lnTo>
                        <a:pt x="815926" y="61140"/>
                      </a:lnTo>
                      <a:lnTo>
                        <a:pt x="819335" y="61386"/>
                      </a:lnTo>
                      <a:lnTo>
                        <a:pt x="832670" y="58490"/>
                      </a:lnTo>
                      <a:lnTo>
                        <a:pt x="836305" y="58821"/>
                      </a:lnTo>
                      <a:lnTo>
                        <a:pt x="842768" y="61216"/>
                      </a:lnTo>
                      <a:lnTo>
                        <a:pt x="849441" y="62643"/>
                      </a:lnTo>
                      <a:lnTo>
                        <a:pt x="852093" y="65106"/>
                      </a:lnTo>
                      <a:lnTo>
                        <a:pt x="854489" y="68173"/>
                      </a:lnTo>
                      <a:lnTo>
                        <a:pt x="857147" y="70933"/>
                      </a:lnTo>
                      <a:lnTo>
                        <a:pt x="868554" y="80003"/>
                      </a:lnTo>
                      <a:lnTo>
                        <a:pt x="875025" y="83508"/>
                      </a:lnTo>
                      <a:lnTo>
                        <a:pt x="881800" y="84575"/>
                      </a:lnTo>
                      <a:lnTo>
                        <a:pt x="884764" y="83580"/>
                      </a:lnTo>
                      <a:lnTo>
                        <a:pt x="887187" y="81404"/>
                      </a:lnTo>
                      <a:lnTo>
                        <a:pt x="888737" y="78467"/>
                      </a:lnTo>
                      <a:lnTo>
                        <a:pt x="889066" y="75155"/>
                      </a:lnTo>
                      <a:lnTo>
                        <a:pt x="890662" y="73948"/>
                      </a:lnTo>
                      <a:lnTo>
                        <a:pt x="901035" y="70370"/>
                      </a:lnTo>
                      <a:lnTo>
                        <a:pt x="904424" y="70550"/>
                      </a:lnTo>
                      <a:lnTo>
                        <a:pt x="907728" y="71582"/>
                      </a:lnTo>
                      <a:lnTo>
                        <a:pt x="910824" y="73269"/>
                      </a:lnTo>
                      <a:lnTo>
                        <a:pt x="913595" y="75424"/>
                      </a:lnTo>
                      <a:lnTo>
                        <a:pt x="915087" y="76069"/>
                      </a:lnTo>
                      <a:lnTo>
                        <a:pt x="920470" y="75759"/>
                      </a:lnTo>
                      <a:lnTo>
                        <a:pt x="922679" y="76161"/>
                      </a:lnTo>
                      <a:lnTo>
                        <a:pt x="927240" y="77768"/>
                      </a:lnTo>
                      <a:lnTo>
                        <a:pt x="929297" y="78921"/>
                      </a:lnTo>
                      <a:lnTo>
                        <a:pt x="930534" y="80111"/>
                      </a:lnTo>
                      <a:lnTo>
                        <a:pt x="934816" y="85397"/>
                      </a:lnTo>
                      <a:lnTo>
                        <a:pt x="936929" y="87229"/>
                      </a:lnTo>
                      <a:lnTo>
                        <a:pt x="938153" y="87642"/>
                      </a:lnTo>
                      <a:lnTo>
                        <a:pt x="943501" y="86262"/>
                      </a:lnTo>
                      <a:lnTo>
                        <a:pt x="945197" y="84790"/>
                      </a:lnTo>
                      <a:lnTo>
                        <a:pt x="947333" y="83430"/>
                      </a:lnTo>
                      <a:lnTo>
                        <a:pt x="950873" y="83017"/>
                      </a:lnTo>
                      <a:lnTo>
                        <a:pt x="957977" y="83923"/>
                      </a:lnTo>
                      <a:lnTo>
                        <a:pt x="961177" y="83651"/>
                      </a:lnTo>
                      <a:lnTo>
                        <a:pt x="963712" y="81965"/>
                      </a:lnTo>
                      <a:lnTo>
                        <a:pt x="964714" y="80175"/>
                      </a:lnTo>
                      <a:lnTo>
                        <a:pt x="965859" y="76422"/>
                      </a:lnTo>
                      <a:lnTo>
                        <a:pt x="966534" y="75054"/>
                      </a:lnTo>
                      <a:lnTo>
                        <a:pt x="967617" y="74128"/>
                      </a:lnTo>
                      <a:lnTo>
                        <a:pt x="971549" y="72558"/>
                      </a:lnTo>
                      <a:lnTo>
                        <a:pt x="973485" y="70615"/>
                      </a:lnTo>
                      <a:lnTo>
                        <a:pt x="975295" y="68098"/>
                      </a:lnTo>
                      <a:lnTo>
                        <a:pt x="977463" y="65891"/>
                      </a:lnTo>
                      <a:lnTo>
                        <a:pt x="980479" y="64856"/>
                      </a:lnTo>
                      <a:lnTo>
                        <a:pt x="984285" y="64166"/>
                      </a:lnTo>
                      <a:lnTo>
                        <a:pt x="993010" y="59535"/>
                      </a:lnTo>
                      <a:lnTo>
                        <a:pt x="996886" y="58802"/>
                      </a:lnTo>
                      <a:lnTo>
                        <a:pt x="998841" y="59921"/>
                      </a:lnTo>
                      <a:lnTo>
                        <a:pt x="999650" y="62445"/>
                      </a:lnTo>
                      <a:lnTo>
                        <a:pt x="1000066" y="65934"/>
                      </a:lnTo>
                      <a:lnTo>
                        <a:pt x="1000967" y="69329"/>
                      </a:lnTo>
                      <a:lnTo>
                        <a:pt x="1006078" y="80823"/>
                      </a:lnTo>
                      <a:lnTo>
                        <a:pt x="1011364" y="87386"/>
                      </a:lnTo>
                      <a:lnTo>
                        <a:pt x="1018410" y="90501"/>
                      </a:lnTo>
                      <a:lnTo>
                        <a:pt x="1025774" y="92459"/>
                      </a:lnTo>
                      <a:lnTo>
                        <a:pt x="1032042" y="95565"/>
                      </a:lnTo>
                      <a:lnTo>
                        <a:pt x="1044283" y="105268"/>
                      </a:lnTo>
                      <a:lnTo>
                        <a:pt x="1046162" y="107703"/>
                      </a:lnTo>
                      <a:lnTo>
                        <a:pt x="1049381" y="113270"/>
                      </a:lnTo>
                      <a:lnTo>
                        <a:pt x="1051175" y="115316"/>
                      </a:lnTo>
                      <a:lnTo>
                        <a:pt x="1051271" y="116352"/>
                      </a:lnTo>
                      <a:lnTo>
                        <a:pt x="1051465" y="118322"/>
                      </a:lnTo>
                      <a:lnTo>
                        <a:pt x="1051458" y="122937"/>
                      </a:lnTo>
                      <a:lnTo>
                        <a:pt x="1051521" y="123591"/>
                      </a:lnTo>
                      <a:lnTo>
                        <a:pt x="1051637" y="124070"/>
                      </a:lnTo>
                      <a:lnTo>
                        <a:pt x="1052333" y="125384"/>
                      </a:lnTo>
                      <a:lnTo>
                        <a:pt x="1055793" y="130830"/>
                      </a:lnTo>
                      <a:lnTo>
                        <a:pt x="1056534" y="132864"/>
                      </a:lnTo>
                      <a:lnTo>
                        <a:pt x="1056910" y="134551"/>
                      </a:lnTo>
                      <a:lnTo>
                        <a:pt x="1056796" y="136762"/>
                      </a:lnTo>
                      <a:lnTo>
                        <a:pt x="1056934" y="140743"/>
                      </a:lnTo>
                      <a:lnTo>
                        <a:pt x="1057220" y="142619"/>
                      </a:lnTo>
                      <a:lnTo>
                        <a:pt x="1057449" y="143551"/>
                      </a:lnTo>
                      <a:lnTo>
                        <a:pt x="1057598" y="144534"/>
                      </a:lnTo>
                      <a:lnTo>
                        <a:pt x="1057640" y="145418"/>
                      </a:lnTo>
                      <a:lnTo>
                        <a:pt x="1057332" y="146070"/>
                      </a:lnTo>
                      <a:lnTo>
                        <a:pt x="1056737" y="146505"/>
                      </a:lnTo>
                      <a:lnTo>
                        <a:pt x="1054920" y="146915"/>
                      </a:lnTo>
                      <a:lnTo>
                        <a:pt x="1054183" y="147165"/>
                      </a:lnTo>
                      <a:lnTo>
                        <a:pt x="1053770" y="147679"/>
                      </a:lnTo>
                      <a:lnTo>
                        <a:pt x="1053629" y="148479"/>
                      </a:lnTo>
                      <a:lnTo>
                        <a:pt x="1053656" y="149442"/>
                      </a:lnTo>
                      <a:lnTo>
                        <a:pt x="1054206" y="152296"/>
                      </a:lnTo>
                      <a:lnTo>
                        <a:pt x="1054192" y="153182"/>
                      </a:lnTo>
                      <a:lnTo>
                        <a:pt x="1054037" y="153932"/>
                      </a:lnTo>
                      <a:lnTo>
                        <a:pt x="1053654" y="154686"/>
                      </a:lnTo>
                      <a:lnTo>
                        <a:pt x="1052670" y="155853"/>
                      </a:lnTo>
                      <a:lnTo>
                        <a:pt x="1050129" y="157788"/>
                      </a:lnTo>
                      <a:lnTo>
                        <a:pt x="1049701" y="158246"/>
                      </a:lnTo>
                      <a:lnTo>
                        <a:pt x="1049475" y="158670"/>
                      </a:lnTo>
                      <a:lnTo>
                        <a:pt x="1049347" y="159267"/>
                      </a:lnTo>
                      <a:lnTo>
                        <a:pt x="1049390" y="160103"/>
                      </a:lnTo>
                      <a:lnTo>
                        <a:pt x="1049581" y="160973"/>
                      </a:lnTo>
                      <a:lnTo>
                        <a:pt x="1050633" y="162472"/>
                      </a:lnTo>
                      <a:lnTo>
                        <a:pt x="1063995" y="176919"/>
                      </a:lnTo>
                      <a:lnTo>
                        <a:pt x="1065025" y="178408"/>
                      </a:lnTo>
                      <a:lnTo>
                        <a:pt x="1066149" y="180921"/>
                      </a:lnTo>
                      <a:lnTo>
                        <a:pt x="1067050" y="182518"/>
                      </a:lnTo>
                      <a:lnTo>
                        <a:pt x="1068270" y="183713"/>
                      </a:lnTo>
                      <a:lnTo>
                        <a:pt x="1077493" y="190133"/>
                      </a:lnTo>
                      <a:lnTo>
                        <a:pt x="1078150" y="190728"/>
                      </a:lnTo>
                      <a:lnTo>
                        <a:pt x="1079063" y="191742"/>
                      </a:lnTo>
                      <a:lnTo>
                        <a:pt x="1079776" y="193066"/>
                      </a:lnTo>
                      <a:lnTo>
                        <a:pt x="1080069" y="194005"/>
                      </a:lnTo>
                      <a:lnTo>
                        <a:pt x="1080066" y="194662"/>
                      </a:lnTo>
                      <a:lnTo>
                        <a:pt x="1079769" y="195426"/>
                      </a:lnTo>
                      <a:lnTo>
                        <a:pt x="1078191" y="198275"/>
                      </a:lnTo>
                      <a:lnTo>
                        <a:pt x="1077977" y="198803"/>
                      </a:lnTo>
                      <a:lnTo>
                        <a:pt x="1078222" y="199645"/>
                      </a:lnTo>
                      <a:lnTo>
                        <a:pt x="1079146" y="200571"/>
                      </a:lnTo>
                      <a:lnTo>
                        <a:pt x="1085859" y="204388"/>
                      </a:lnTo>
                      <a:lnTo>
                        <a:pt x="1086810" y="205128"/>
                      </a:lnTo>
                      <a:lnTo>
                        <a:pt x="1087829" y="206107"/>
                      </a:lnTo>
                      <a:lnTo>
                        <a:pt x="1089192" y="207876"/>
                      </a:lnTo>
                      <a:lnTo>
                        <a:pt x="1089881" y="209102"/>
                      </a:lnTo>
                      <a:lnTo>
                        <a:pt x="1090301" y="210236"/>
                      </a:lnTo>
                      <a:lnTo>
                        <a:pt x="1091742" y="215881"/>
                      </a:lnTo>
                      <a:lnTo>
                        <a:pt x="1092459" y="217644"/>
                      </a:lnTo>
                      <a:lnTo>
                        <a:pt x="1092896" y="218434"/>
                      </a:lnTo>
                      <a:lnTo>
                        <a:pt x="1093398" y="219140"/>
                      </a:lnTo>
                      <a:lnTo>
                        <a:pt x="1104189" y="227771"/>
                      </a:lnTo>
                      <a:lnTo>
                        <a:pt x="1106424" y="230193"/>
                      </a:lnTo>
                      <a:lnTo>
                        <a:pt x="1107727" y="232022"/>
                      </a:lnTo>
                      <a:lnTo>
                        <a:pt x="1107883" y="232989"/>
                      </a:lnTo>
                      <a:lnTo>
                        <a:pt x="1108192" y="233890"/>
                      </a:lnTo>
                      <a:lnTo>
                        <a:pt x="1111140" y="239641"/>
                      </a:lnTo>
                      <a:lnTo>
                        <a:pt x="1112150" y="242232"/>
                      </a:lnTo>
                      <a:lnTo>
                        <a:pt x="1113001" y="243162"/>
                      </a:lnTo>
                      <a:lnTo>
                        <a:pt x="1114429" y="243929"/>
                      </a:lnTo>
                      <a:lnTo>
                        <a:pt x="1120645" y="245735"/>
                      </a:lnTo>
                      <a:lnTo>
                        <a:pt x="1121931" y="246274"/>
                      </a:lnTo>
                      <a:lnTo>
                        <a:pt x="1123177" y="246972"/>
                      </a:lnTo>
                      <a:lnTo>
                        <a:pt x="1124818" y="248259"/>
                      </a:lnTo>
                      <a:lnTo>
                        <a:pt x="1128123" y="251920"/>
                      </a:lnTo>
                      <a:lnTo>
                        <a:pt x="1128596" y="252229"/>
                      </a:lnTo>
                      <a:lnTo>
                        <a:pt x="1129181" y="251876"/>
                      </a:lnTo>
                      <a:lnTo>
                        <a:pt x="1129958" y="251571"/>
                      </a:lnTo>
                      <a:lnTo>
                        <a:pt x="1131172" y="251768"/>
                      </a:lnTo>
                      <a:lnTo>
                        <a:pt x="1136447" y="255511"/>
                      </a:lnTo>
                      <a:lnTo>
                        <a:pt x="1137827" y="256783"/>
                      </a:lnTo>
                      <a:lnTo>
                        <a:pt x="1138425" y="257486"/>
                      </a:lnTo>
                      <a:lnTo>
                        <a:pt x="1138890" y="258290"/>
                      </a:lnTo>
                      <a:lnTo>
                        <a:pt x="1139175" y="259205"/>
                      </a:lnTo>
                      <a:lnTo>
                        <a:pt x="1139281" y="260188"/>
                      </a:lnTo>
                      <a:lnTo>
                        <a:pt x="1139286" y="261131"/>
                      </a:lnTo>
                      <a:lnTo>
                        <a:pt x="1140476" y="262130"/>
                      </a:lnTo>
                      <a:lnTo>
                        <a:pt x="1142680" y="263139"/>
                      </a:lnTo>
                      <a:lnTo>
                        <a:pt x="1155300" y="266179"/>
                      </a:lnTo>
                      <a:lnTo>
                        <a:pt x="1157193" y="266277"/>
                      </a:lnTo>
                      <a:lnTo>
                        <a:pt x="1161652" y="265107"/>
                      </a:lnTo>
                      <a:lnTo>
                        <a:pt x="1163368" y="265209"/>
                      </a:lnTo>
                      <a:lnTo>
                        <a:pt x="1166422" y="266532"/>
                      </a:lnTo>
                      <a:lnTo>
                        <a:pt x="1158621" y="273569"/>
                      </a:lnTo>
                      <a:lnTo>
                        <a:pt x="1146734" y="284303"/>
                      </a:lnTo>
                      <a:lnTo>
                        <a:pt x="1138144" y="292048"/>
                      </a:lnTo>
                      <a:lnTo>
                        <a:pt x="1124763" y="304067"/>
                      </a:lnTo>
                      <a:lnTo>
                        <a:pt x="1112661" y="314912"/>
                      </a:lnTo>
                      <a:lnTo>
                        <a:pt x="1109193" y="317388"/>
                      </a:lnTo>
                      <a:lnTo>
                        <a:pt x="1098664" y="322871"/>
                      </a:lnTo>
                      <a:lnTo>
                        <a:pt x="1087148" y="328850"/>
                      </a:lnTo>
                      <a:lnTo>
                        <a:pt x="1071676" y="336878"/>
                      </a:lnTo>
                      <a:lnTo>
                        <a:pt x="1064674" y="341915"/>
                      </a:lnTo>
                      <a:lnTo>
                        <a:pt x="1062166" y="344587"/>
                      </a:lnTo>
                      <a:lnTo>
                        <a:pt x="1061061" y="346306"/>
                      </a:lnTo>
                      <a:lnTo>
                        <a:pt x="1061059" y="347441"/>
                      </a:lnTo>
                      <a:lnTo>
                        <a:pt x="1061950" y="350171"/>
                      </a:lnTo>
                      <a:lnTo>
                        <a:pt x="1062671" y="354147"/>
                      </a:lnTo>
                      <a:lnTo>
                        <a:pt x="1062664" y="355178"/>
                      </a:lnTo>
                      <a:lnTo>
                        <a:pt x="1062492" y="356190"/>
                      </a:lnTo>
                      <a:lnTo>
                        <a:pt x="1062181" y="357147"/>
                      </a:lnTo>
                      <a:lnTo>
                        <a:pt x="1061774" y="357973"/>
                      </a:lnTo>
                      <a:lnTo>
                        <a:pt x="1061223" y="358666"/>
                      </a:lnTo>
                      <a:lnTo>
                        <a:pt x="1059741" y="359695"/>
                      </a:lnTo>
                      <a:lnTo>
                        <a:pt x="1046762" y="366378"/>
                      </a:lnTo>
                      <a:lnTo>
                        <a:pt x="1043340" y="369161"/>
                      </a:lnTo>
                      <a:lnTo>
                        <a:pt x="1042028" y="370685"/>
                      </a:lnTo>
                      <a:lnTo>
                        <a:pt x="1041339" y="372129"/>
                      </a:lnTo>
                      <a:lnTo>
                        <a:pt x="1041627" y="375038"/>
                      </a:lnTo>
                      <a:lnTo>
                        <a:pt x="1041855" y="375970"/>
                      </a:lnTo>
                      <a:lnTo>
                        <a:pt x="1042159" y="377883"/>
                      </a:lnTo>
                      <a:lnTo>
                        <a:pt x="1042192" y="380568"/>
                      </a:lnTo>
                      <a:lnTo>
                        <a:pt x="1042065" y="381466"/>
                      </a:lnTo>
                      <a:lnTo>
                        <a:pt x="1041875" y="382349"/>
                      </a:lnTo>
                      <a:lnTo>
                        <a:pt x="1041560" y="383262"/>
                      </a:lnTo>
                      <a:lnTo>
                        <a:pt x="1041122" y="384068"/>
                      </a:lnTo>
                      <a:lnTo>
                        <a:pt x="1040559" y="384752"/>
                      </a:lnTo>
                      <a:lnTo>
                        <a:pt x="1038335" y="386021"/>
                      </a:lnTo>
                      <a:lnTo>
                        <a:pt x="1029349" y="389675"/>
                      </a:lnTo>
                      <a:lnTo>
                        <a:pt x="1020031" y="393462"/>
                      </a:lnTo>
                      <a:lnTo>
                        <a:pt x="1013435" y="393737"/>
                      </a:lnTo>
                      <a:lnTo>
                        <a:pt x="1012466" y="394051"/>
                      </a:lnTo>
                      <a:lnTo>
                        <a:pt x="1011574" y="394605"/>
                      </a:lnTo>
                      <a:lnTo>
                        <a:pt x="1008814" y="397747"/>
                      </a:lnTo>
                      <a:lnTo>
                        <a:pt x="1006638" y="403571"/>
                      </a:lnTo>
                      <a:lnTo>
                        <a:pt x="1005712" y="405100"/>
                      </a:lnTo>
                      <a:lnTo>
                        <a:pt x="1004083" y="407038"/>
                      </a:lnTo>
                      <a:lnTo>
                        <a:pt x="1003761" y="407648"/>
                      </a:lnTo>
                      <a:lnTo>
                        <a:pt x="1003755" y="408303"/>
                      </a:lnTo>
                      <a:lnTo>
                        <a:pt x="1004236" y="409945"/>
                      </a:lnTo>
                      <a:lnTo>
                        <a:pt x="1004293" y="410879"/>
                      </a:lnTo>
                      <a:lnTo>
                        <a:pt x="1004070" y="411694"/>
                      </a:lnTo>
                      <a:lnTo>
                        <a:pt x="1003296" y="412382"/>
                      </a:lnTo>
                      <a:lnTo>
                        <a:pt x="1002017" y="413028"/>
                      </a:lnTo>
                      <a:lnTo>
                        <a:pt x="986365" y="415885"/>
                      </a:lnTo>
                      <a:lnTo>
                        <a:pt x="970947" y="421389"/>
                      </a:lnTo>
                      <a:lnTo>
                        <a:pt x="965156" y="424791"/>
                      </a:lnTo>
                      <a:lnTo>
                        <a:pt x="963326" y="426410"/>
                      </a:lnTo>
                      <a:lnTo>
                        <a:pt x="962184" y="427041"/>
                      </a:lnTo>
                      <a:lnTo>
                        <a:pt x="960573" y="427637"/>
                      </a:lnTo>
                      <a:lnTo>
                        <a:pt x="945824" y="429546"/>
                      </a:lnTo>
                      <a:lnTo>
                        <a:pt x="932609" y="434627"/>
                      </a:lnTo>
                      <a:lnTo>
                        <a:pt x="931541" y="434761"/>
                      </a:lnTo>
                      <a:lnTo>
                        <a:pt x="928690" y="436181"/>
                      </a:lnTo>
                      <a:lnTo>
                        <a:pt x="922404" y="441839"/>
                      </a:lnTo>
                      <a:lnTo>
                        <a:pt x="918355" y="443824"/>
                      </a:lnTo>
                      <a:lnTo>
                        <a:pt x="912962" y="445411"/>
                      </a:lnTo>
                      <a:lnTo>
                        <a:pt x="905406" y="445430"/>
                      </a:lnTo>
                      <a:lnTo>
                        <a:pt x="900690" y="445449"/>
                      </a:lnTo>
                      <a:lnTo>
                        <a:pt x="887371" y="445491"/>
                      </a:lnTo>
                      <a:lnTo>
                        <a:pt x="866669" y="445542"/>
                      </a:lnTo>
                      <a:lnTo>
                        <a:pt x="839815" y="445608"/>
                      </a:lnTo>
                      <a:lnTo>
                        <a:pt x="808040" y="445670"/>
                      </a:lnTo>
                      <a:lnTo>
                        <a:pt x="772561" y="445717"/>
                      </a:lnTo>
                      <a:lnTo>
                        <a:pt x="734622" y="445732"/>
                      </a:lnTo>
                      <a:lnTo>
                        <a:pt x="695453" y="445724"/>
                      </a:lnTo>
                      <a:lnTo>
                        <a:pt x="647958" y="448285"/>
                      </a:lnTo>
                      <a:lnTo>
                        <a:pt x="615514" y="448558"/>
                      </a:lnTo>
                      <a:lnTo>
                        <a:pt x="579031" y="448579"/>
                      </a:lnTo>
                      <a:lnTo>
                        <a:pt x="547783" y="448426"/>
                      </a:lnTo>
                      <a:lnTo>
                        <a:pt x="524217" y="447696"/>
                      </a:lnTo>
                      <a:lnTo>
                        <a:pt x="504327" y="446499"/>
                      </a:lnTo>
                      <a:lnTo>
                        <a:pt x="493440" y="445749"/>
                      </a:lnTo>
                      <a:lnTo>
                        <a:pt x="485352" y="445192"/>
                      </a:lnTo>
                      <a:lnTo>
                        <a:pt x="478543" y="445157"/>
                      </a:lnTo>
                      <a:lnTo>
                        <a:pt x="477214" y="445298"/>
                      </a:lnTo>
                      <a:lnTo>
                        <a:pt x="471677" y="446570"/>
                      </a:lnTo>
                      <a:lnTo>
                        <a:pt x="464933" y="446833"/>
                      </a:lnTo>
                      <a:lnTo>
                        <a:pt x="462842" y="446911"/>
                      </a:lnTo>
                      <a:lnTo>
                        <a:pt x="456909" y="447135"/>
                      </a:lnTo>
                      <a:lnTo>
                        <a:pt x="447699" y="447488"/>
                      </a:lnTo>
                      <a:lnTo>
                        <a:pt x="435746" y="447930"/>
                      </a:lnTo>
                      <a:lnTo>
                        <a:pt x="421617" y="448455"/>
                      </a:lnTo>
                      <a:lnTo>
                        <a:pt x="405837" y="449049"/>
                      </a:lnTo>
                      <a:lnTo>
                        <a:pt x="388954" y="449672"/>
                      </a:lnTo>
                      <a:lnTo>
                        <a:pt x="371531" y="450302"/>
                      </a:lnTo>
                      <a:lnTo>
                        <a:pt x="354099" y="450935"/>
                      </a:lnTo>
                      <a:lnTo>
                        <a:pt x="337214" y="451541"/>
                      </a:lnTo>
                      <a:lnTo>
                        <a:pt x="321425" y="452105"/>
                      </a:lnTo>
                      <a:lnTo>
                        <a:pt x="307281" y="452596"/>
                      </a:lnTo>
                      <a:lnTo>
                        <a:pt x="295323" y="453015"/>
                      </a:lnTo>
                      <a:lnTo>
                        <a:pt x="286096" y="453339"/>
                      </a:lnTo>
                      <a:lnTo>
                        <a:pt x="280162" y="453544"/>
                      </a:lnTo>
                      <a:lnTo>
                        <a:pt x="278065" y="453609"/>
                      </a:lnTo>
                      <a:lnTo>
                        <a:pt x="271705" y="453830"/>
                      </a:lnTo>
                      <a:lnTo>
                        <a:pt x="270809" y="454080"/>
                      </a:lnTo>
                      <a:lnTo>
                        <a:pt x="269925" y="453384"/>
                      </a:lnTo>
                      <a:lnTo>
                        <a:pt x="269213" y="452396"/>
                      </a:lnTo>
                      <a:lnTo>
                        <a:pt x="267899" y="450002"/>
                      </a:lnTo>
                      <a:lnTo>
                        <a:pt x="267067" y="449059"/>
                      </a:lnTo>
                      <a:lnTo>
                        <a:pt x="265796" y="448700"/>
                      </a:lnTo>
                      <a:lnTo>
                        <a:pt x="257171" y="448136"/>
                      </a:lnTo>
                      <a:lnTo>
                        <a:pt x="243076" y="447202"/>
                      </a:lnTo>
                      <a:lnTo>
                        <a:pt x="234588" y="446644"/>
                      </a:lnTo>
                      <a:lnTo>
                        <a:pt x="233817" y="446717"/>
                      </a:lnTo>
                      <a:lnTo>
                        <a:pt x="233580" y="446990"/>
                      </a:lnTo>
                      <a:lnTo>
                        <a:pt x="233629" y="447864"/>
                      </a:lnTo>
                      <a:lnTo>
                        <a:pt x="234128" y="449587"/>
                      </a:lnTo>
                      <a:lnTo>
                        <a:pt x="237498" y="457870"/>
                      </a:lnTo>
                      <a:lnTo>
                        <a:pt x="240204" y="466943"/>
                      </a:lnTo>
                      <a:lnTo>
                        <a:pt x="240647" y="469737"/>
                      </a:lnTo>
                      <a:lnTo>
                        <a:pt x="240921" y="476143"/>
                      </a:lnTo>
                      <a:lnTo>
                        <a:pt x="240744" y="480268"/>
                      </a:lnTo>
                      <a:lnTo>
                        <a:pt x="213699" y="480857"/>
                      </a:lnTo>
                      <a:lnTo>
                        <a:pt x="186643" y="481436"/>
                      </a:lnTo>
                      <a:lnTo>
                        <a:pt x="159592" y="482010"/>
                      </a:lnTo>
                      <a:lnTo>
                        <a:pt x="132539" y="482563"/>
                      </a:lnTo>
                      <a:lnTo>
                        <a:pt x="105481" y="483101"/>
                      </a:lnTo>
                      <a:lnTo>
                        <a:pt x="78415" y="483626"/>
                      </a:lnTo>
                      <a:lnTo>
                        <a:pt x="51351" y="484142"/>
                      </a:lnTo>
                      <a:lnTo>
                        <a:pt x="24279" y="484644"/>
                      </a:lnTo>
                      <a:lnTo>
                        <a:pt x="25009" y="482596"/>
                      </a:lnTo>
                      <a:lnTo>
                        <a:pt x="27007" y="474300"/>
                      </a:lnTo>
                      <a:lnTo>
                        <a:pt x="27304" y="471600"/>
                      </a:lnTo>
                      <a:lnTo>
                        <a:pt x="29155" y="464937"/>
                      </a:lnTo>
                      <a:lnTo>
                        <a:pt x="30515" y="461843"/>
                      </a:lnTo>
                      <a:lnTo>
                        <a:pt x="31428" y="460835"/>
                      </a:lnTo>
                      <a:lnTo>
                        <a:pt x="33146" y="459928"/>
                      </a:lnTo>
                      <a:lnTo>
                        <a:pt x="37083" y="462952"/>
                      </a:lnTo>
                      <a:lnTo>
                        <a:pt x="41067" y="466921"/>
                      </a:lnTo>
                      <a:lnTo>
                        <a:pt x="45397" y="470360"/>
                      </a:lnTo>
                      <a:lnTo>
                        <a:pt x="50376" y="471766"/>
                      </a:lnTo>
                      <a:lnTo>
                        <a:pt x="54486" y="469674"/>
                      </a:lnTo>
                      <a:lnTo>
                        <a:pt x="57478" y="464841"/>
                      </a:lnTo>
                      <a:lnTo>
                        <a:pt x="60741" y="454585"/>
                      </a:lnTo>
                      <a:lnTo>
                        <a:pt x="66276" y="442256"/>
                      </a:lnTo>
                      <a:lnTo>
                        <a:pt x="67201" y="437585"/>
                      </a:lnTo>
                      <a:lnTo>
                        <a:pt x="66708" y="433639"/>
                      </a:lnTo>
                      <a:lnTo>
                        <a:pt x="63971" y="427502"/>
                      </a:lnTo>
                      <a:lnTo>
                        <a:pt x="63168" y="423808"/>
                      </a:lnTo>
                      <a:lnTo>
                        <a:pt x="63673" y="421726"/>
                      </a:lnTo>
                      <a:lnTo>
                        <a:pt x="64984" y="419857"/>
                      </a:lnTo>
                      <a:lnTo>
                        <a:pt x="66374" y="418288"/>
                      </a:lnTo>
                      <a:lnTo>
                        <a:pt x="67134" y="417106"/>
                      </a:lnTo>
                      <a:lnTo>
                        <a:pt x="67251" y="415381"/>
                      </a:lnTo>
                      <a:lnTo>
                        <a:pt x="66690" y="409780"/>
                      </a:lnTo>
                      <a:lnTo>
                        <a:pt x="67248" y="402120"/>
                      </a:lnTo>
                      <a:lnTo>
                        <a:pt x="66308" y="399013"/>
                      </a:lnTo>
                      <a:lnTo>
                        <a:pt x="60609" y="393500"/>
                      </a:lnTo>
                      <a:lnTo>
                        <a:pt x="57514" y="389255"/>
                      </a:lnTo>
                      <a:lnTo>
                        <a:pt x="56854" y="384624"/>
                      </a:lnTo>
                      <a:lnTo>
                        <a:pt x="59938" y="379152"/>
                      </a:lnTo>
                      <a:lnTo>
                        <a:pt x="64923" y="373553"/>
                      </a:lnTo>
                      <a:lnTo>
                        <a:pt x="69696" y="364550"/>
                      </a:lnTo>
                      <a:lnTo>
                        <a:pt x="71167" y="362627"/>
                      </a:lnTo>
                      <a:lnTo>
                        <a:pt x="76295" y="358449"/>
                      </a:lnTo>
                      <a:lnTo>
                        <a:pt x="82639" y="355727"/>
                      </a:lnTo>
                      <a:lnTo>
                        <a:pt x="89808" y="354786"/>
                      </a:lnTo>
                      <a:lnTo>
                        <a:pt x="97437" y="355969"/>
                      </a:lnTo>
                      <a:lnTo>
                        <a:pt x="141260" y="373631"/>
                      </a:lnTo>
                      <a:lnTo>
                        <a:pt x="152897" y="380083"/>
                      </a:lnTo>
                      <a:lnTo>
                        <a:pt x="159178" y="381598"/>
                      </a:lnTo>
                      <a:lnTo>
                        <a:pt x="164906" y="380610"/>
                      </a:lnTo>
                      <a:lnTo>
                        <a:pt x="169274" y="376350"/>
                      </a:lnTo>
                      <a:lnTo>
                        <a:pt x="172070" y="369150"/>
                      </a:lnTo>
                      <a:lnTo>
                        <a:pt x="171600" y="363519"/>
                      </a:lnTo>
                      <a:lnTo>
                        <a:pt x="168497" y="358256"/>
                      </a:lnTo>
                      <a:lnTo>
                        <a:pt x="163394" y="352180"/>
                      </a:lnTo>
                      <a:lnTo>
                        <a:pt x="159645" y="346416"/>
                      </a:lnTo>
                      <a:lnTo>
                        <a:pt x="157813" y="340047"/>
                      </a:lnTo>
                      <a:lnTo>
                        <a:pt x="158061" y="333109"/>
                      </a:lnTo>
                      <a:lnTo>
                        <a:pt x="160552" y="325648"/>
                      </a:lnTo>
                      <a:lnTo>
                        <a:pt x="162008" y="323219"/>
                      </a:lnTo>
                      <a:lnTo>
                        <a:pt x="163928" y="321311"/>
                      </a:lnTo>
                      <a:lnTo>
                        <a:pt x="166446" y="320042"/>
                      </a:lnTo>
                      <a:lnTo>
                        <a:pt x="169640" y="319537"/>
                      </a:lnTo>
                      <a:lnTo>
                        <a:pt x="176620" y="319474"/>
                      </a:lnTo>
                      <a:lnTo>
                        <a:pt x="179195" y="318754"/>
                      </a:lnTo>
                      <a:lnTo>
                        <a:pt x="187954" y="313862"/>
                      </a:lnTo>
                      <a:lnTo>
                        <a:pt x="216166" y="308559"/>
                      </a:lnTo>
                      <a:lnTo>
                        <a:pt x="220929" y="305506"/>
                      </a:lnTo>
                      <a:lnTo>
                        <a:pt x="221814" y="300482"/>
                      </a:lnTo>
                      <a:lnTo>
                        <a:pt x="217858" y="292975"/>
                      </a:lnTo>
                      <a:lnTo>
                        <a:pt x="212954" y="288652"/>
                      </a:lnTo>
                      <a:lnTo>
                        <a:pt x="212086" y="287691"/>
                      </a:lnTo>
                      <a:lnTo>
                        <a:pt x="209153" y="282950"/>
                      </a:lnTo>
                      <a:lnTo>
                        <a:pt x="207864" y="279599"/>
                      </a:lnTo>
                      <a:lnTo>
                        <a:pt x="208601" y="275380"/>
                      </a:lnTo>
                      <a:lnTo>
                        <a:pt x="210306" y="271471"/>
                      </a:lnTo>
                      <a:lnTo>
                        <a:pt x="211919" y="269047"/>
                      </a:lnTo>
                      <a:lnTo>
                        <a:pt x="220184" y="262113"/>
                      </a:lnTo>
                      <a:lnTo>
                        <a:pt x="222403" y="259679"/>
                      </a:lnTo>
                      <a:lnTo>
                        <a:pt x="223722" y="255702"/>
                      </a:lnTo>
                      <a:lnTo>
                        <a:pt x="223511" y="252207"/>
                      </a:lnTo>
                      <a:lnTo>
                        <a:pt x="224022" y="249864"/>
                      </a:lnTo>
                      <a:lnTo>
                        <a:pt x="227513" y="249336"/>
                      </a:lnTo>
                      <a:lnTo>
                        <a:pt x="230274" y="250230"/>
                      </a:lnTo>
                      <a:lnTo>
                        <a:pt x="236027" y="253272"/>
                      </a:lnTo>
                      <a:lnTo>
                        <a:pt x="238936" y="253883"/>
                      </a:lnTo>
                      <a:lnTo>
                        <a:pt x="239620" y="252697"/>
                      </a:lnTo>
                      <a:lnTo>
                        <a:pt x="246230" y="245292"/>
                      </a:lnTo>
                      <a:lnTo>
                        <a:pt x="240806" y="235000"/>
                      </a:lnTo>
                      <a:lnTo>
                        <a:pt x="240023" y="232654"/>
                      </a:lnTo>
                      <a:lnTo>
                        <a:pt x="240859" y="228942"/>
                      </a:lnTo>
                      <a:lnTo>
                        <a:pt x="243440" y="227424"/>
                      </a:lnTo>
                      <a:lnTo>
                        <a:pt x="246786" y="227868"/>
                      </a:lnTo>
                      <a:lnTo>
                        <a:pt x="249899" y="230067"/>
                      </a:lnTo>
                      <a:lnTo>
                        <a:pt x="252358" y="232587"/>
                      </a:lnTo>
                      <a:lnTo>
                        <a:pt x="254957" y="234550"/>
                      </a:lnTo>
                      <a:lnTo>
                        <a:pt x="257905" y="235867"/>
                      </a:lnTo>
                      <a:lnTo>
                        <a:pt x="261409" y="236401"/>
                      </a:lnTo>
                      <a:lnTo>
                        <a:pt x="264437" y="235937"/>
                      </a:lnTo>
                      <a:lnTo>
                        <a:pt x="270420" y="233900"/>
                      </a:lnTo>
                      <a:lnTo>
                        <a:pt x="271858" y="233745"/>
                      </a:lnTo>
                      <a:lnTo>
                        <a:pt x="273199" y="232422"/>
                      </a:lnTo>
                      <a:lnTo>
                        <a:pt x="275501" y="231222"/>
                      </a:lnTo>
                      <a:lnTo>
                        <a:pt x="278068" y="230940"/>
                      </a:lnTo>
                      <a:lnTo>
                        <a:pt x="280197" y="232341"/>
                      </a:lnTo>
                      <a:lnTo>
                        <a:pt x="280666" y="234742"/>
                      </a:lnTo>
                      <a:lnTo>
                        <a:pt x="279495" y="240502"/>
                      </a:lnTo>
                      <a:lnTo>
                        <a:pt x="280059" y="243167"/>
                      </a:lnTo>
                      <a:lnTo>
                        <a:pt x="283739" y="245184"/>
                      </a:lnTo>
                      <a:lnTo>
                        <a:pt x="288240" y="243430"/>
                      </a:lnTo>
                      <a:lnTo>
                        <a:pt x="291906" y="239388"/>
                      </a:lnTo>
                      <a:lnTo>
                        <a:pt x="293123" y="234534"/>
                      </a:lnTo>
                      <a:lnTo>
                        <a:pt x="292082" y="230926"/>
                      </a:lnTo>
                      <a:lnTo>
                        <a:pt x="288866" y="225893"/>
                      </a:lnTo>
                      <a:lnTo>
                        <a:pt x="287941" y="221983"/>
                      </a:lnTo>
                      <a:lnTo>
                        <a:pt x="288269" y="219774"/>
                      </a:lnTo>
                      <a:lnTo>
                        <a:pt x="289358" y="218638"/>
                      </a:lnTo>
                      <a:lnTo>
                        <a:pt x="290725" y="218376"/>
                      </a:lnTo>
                      <a:lnTo>
                        <a:pt x="291917" y="218823"/>
                      </a:lnTo>
                      <a:lnTo>
                        <a:pt x="292855" y="220125"/>
                      </a:lnTo>
                      <a:lnTo>
                        <a:pt x="292911" y="223068"/>
                      </a:lnTo>
                      <a:lnTo>
                        <a:pt x="293526" y="224794"/>
                      </a:lnTo>
                      <a:lnTo>
                        <a:pt x="299243" y="229268"/>
                      </a:lnTo>
                      <a:lnTo>
                        <a:pt x="305158" y="227990"/>
                      </a:lnTo>
                      <a:lnTo>
                        <a:pt x="311278" y="224663"/>
                      </a:lnTo>
                      <a:lnTo>
                        <a:pt x="317646" y="222989"/>
                      </a:lnTo>
                      <a:lnTo>
                        <a:pt x="321010" y="223668"/>
                      </a:lnTo>
                      <a:lnTo>
                        <a:pt x="324773" y="225130"/>
                      </a:lnTo>
                      <a:lnTo>
                        <a:pt x="328403" y="227075"/>
                      </a:lnTo>
                      <a:lnTo>
                        <a:pt x="331371" y="229197"/>
                      </a:lnTo>
                      <a:lnTo>
                        <a:pt x="334274" y="230830"/>
                      </a:lnTo>
                      <a:lnTo>
                        <a:pt x="345013" y="234312"/>
                      </a:lnTo>
                      <a:lnTo>
                        <a:pt x="350758" y="237527"/>
                      </a:lnTo>
                      <a:lnTo>
                        <a:pt x="352440" y="238211"/>
                      </a:lnTo>
                      <a:lnTo>
                        <a:pt x="354660" y="238686"/>
                      </a:lnTo>
                      <a:lnTo>
                        <a:pt x="357511" y="238801"/>
                      </a:lnTo>
                      <a:lnTo>
                        <a:pt x="359403" y="239410"/>
                      </a:lnTo>
                      <a:lnTo>
                        <a:pt x="360235" y="240985"/>
                      </a:lnTo>
                      <a:lnTo>
                        <a:pt x="360747" y="242972"/>
                      </a:lnTo>
                      <a:lnTo>
                        <a:pt x="361692" y="244814"/>
                      </a:lnTo>
                      <a:lnTo>
                        <a:pt x="364272" y="247505"/>
                      </a:lnTo>
                      <a:lnTo>
                        <a:pt x="365671" y="248540"/>
                      </a:lnTo>
                      <a:lnTo>
                        <a:pt x="367447" y="249483"/>
                      </a:lnTo>
                      <a:lnTo>
                        <a:pt x="372059" y="246419"/>
                      </a:lnTo>
                      <a:lnTo>
                        <a:pt x="374230" y="242236"/>
                      </a:lnTo>
                      <a:lnTo>
                        <a:pt x="377560" y="231057"/>
                      </a:lnTo>
                      <a:lnTo>
                        <a:pt x="379128" y="228137"/>
                      </a:lnTo>
                      <a:lnTo>
                        <a:pt x="380795" y="226153"/>
                      </a:lnTo>
                      <a:lnTo>
                        <a:pt x="382829" y="224782"/>
                      </a:lnTo>
                      <a:lnTo>
                        <a:pt x="385487" y="223629"/>
                      </a:lnTo>
                      <a:lnTo>
                        <a:pt x="394381" y="222522"/>
                      </a:lnTo>
                      <a:lnTo>
                        <a:pt x="396384" y="221530"/>
                      </a:lnTo>
                      <a:lnTo>
                        <a:pt x="399649" y="218309"/>
                      </a:lnTo>
                      <a:lnTo>
                        <a:pt x="405221" y="214073"/>
                      </a:lnTo>
                      <a:lnTo>
                        <a:pt x="410605" y="211948"/>
                      </a:lnTo>
                      <a:lnTo>
                        <a:pt x="413332" y="215056"/>
                      </a:lnTo>
                      <a:lnTo>
                        <a:pt x="414998" y="219666"/>
                      </a:lnTo>
                      <a:lnTo>
                        <a:pt x="418746" y="224313"/>
                      </a:lnTo>
                      <a:lnTo>
                        <a:pt x="423765" y="227687"/>
                      </a:lnTo>
                      <a:lnTo>
                        <a:pt x="429232" y="228462"/>
                      </a:lnTo>
                      <a:lnTo>
                        <a:pt x="435951" y="227054"/>
                      </a:lnTo>
                      <a:lnTo>
                        <a:pt x="438959" y="227707"/>
                      </a:lnTo>
                      <a:lnTo>
                        <a:pt x="437486" y="231294"/>
                      </a:lnTo>
                      <a:lnTo>
                        <a:pt x="436580" y="234387"/>
                      </a:lnTo>
                      <a:lnTo>
                        <a:pt x="438963" y="236038"/>
                      </a:lnTo>
                      <a:lnTo>
                        <a:pt x="442672" y="235996"/>
                      </a:lnTo>
                      <a:lnTo>
                        <a:pt x="445725" y="234017"/>
                      </a:lnTo>
                      <a:lnTo>
                        <a:pt x="446670" y="230423"/>
                      </a:lnTo>
                      <a:lnTo>
                        <a:pt x="446348" y="226959"/>
                      </a:lnTo>
                      <a:lnTo>
                        <a:pt x="447040" y="224307"/>
                      </a:lnTo>
                      <a:lnTo>
                        <a:pt x="455191" y="222447"/>
                      </a:lnTo>
                      <a:lnTo>
                        <a:pt x="456988" y="220697"/>
                      </a:lnTo>
                      <a:lnTo>
                        <a:pt x="457212" y="218010"/>
                      </a:lnTo>
                      <a:lnTo>
                        <a:pt x="455720" y="206473"/>
                      </a:lnTo>
                      <a:lnTo>
                        <a:pt x="456141" y="202710"/>
                      </a:lnTo>
                      <a:lnTo>
                        <a:pt x="458066" y="201073"/>
                      </a:lnTo>
                      <a:lnTo>
                        <a:pt x="461343" y="200735"/>
                      </a:lnTo>
                      <a:lnTo>
                        <a:pt x="464783" y="199635"/>
                      </a:lnTo>
                      <a:lnTo>
                        <a:pt x="467220" y="197376"/>
                      </a:lnTo>
                      <a:lnTo>
                        <a:pt x="467504" y="193586"/>
                      </a:lnTo>
                      <a:lnTo>
                        <a:pt x="466466" y="191667"/>
                      </a:lnTo>
                      <a:lnTo>
                        <a:pt x="463478" y="188965"/>
                      </a:lnTo>
                      <a:lnTo>
                        <a:pt x="462728" y="187111"/>
                      </a:lnTo>
                      <a:lnTo>
                        <a:pt x="463390" y="185445"/>
                      </a:lnTo>
                      <a:lnTo>
                        <a:pt x="465171" y="185501"/>
                      </a:lnTo>
                      <a:lnTo>
                        <a:pt x="467020" y="186322"/>
                      </a:lnTo>
                      <a:lnTo>
                        <a:pt x="467880" y="186964"/>
                      </a:lnTo>
                      <a:lnTo>
                        <a:pt x="468833" y="188631"/>
                      </a:lnTo>
                      <a:lnTo>
                        <a:pt x="470750" y="189123"/>
                      </a:lnTo>
                      <a:lnTo>
                        <a:pt x="474348" y="188694"/>
                      </a:lnTo>
                      <a:lnTo>
                        <a:pt x="480610" y="185993"/>
                      </a:lnTo>
                      <a:lnTo>
                        <a:pt x="483066" y="183152"/>
                      </a:lnTo>
                      <a:lnTo>
                        <a:pt x="481698" y="181905"/>
                      </a:lnTo>
                      <a:lnTo>
                        <a:pt x="478439" y="181083"/>
                      </a:lnTo>
                      <a:lnTo>
                        <a:pt x="475202" y="179481"/>
                      </a:lnTo>
                      <a:lnTo>
                        <a:pt x="473037" y="176266"/>
                      </a:lnTo>
                      <a:lnTo>
                        <a:pt x="474629" y="175025"/>
                      </a:lnTo>
                      <a:lnTo>
                        <a:pt x="477908" y="175232"/>
                      </a:lnTo>
                      <a:lnTo>
                        <a:pt x="480806" y="176365"/>
                      </a:lnTo>
                      <a:lnTo>
                        <a:pt x="489274" y="181828"/>
                      </a:lnTo>
                      <a:lnTo>
                        <a:pt x="490846" y="183838"/>
                      </a:lnTo>
                      <a:lnTo>
                        <a:pt x="490983" y="191251"/>
                      </a:lnTo>
                      <a:lnTo>
                        <a:pt x="491481" y="193965"/>
                      </a:lnTo>
                      <a:lnTo>
                        <a:pt x="493124" y="196464"/>
                      </a:lnTo>
                      <a:lnTo>
                        <a:pt x="495733" y="198312"/>
                      </a:lnTo>
                      <a:lnTo>
                        <a:pt x="502104" y="201091"/>
                      </a:lnTo>
                      <a:lnTo>
                        <a:pt x="504750" y="202795"/>
                      </a:lnTo>
                      <a:lnTo>
                        <a:pt x="507942" y="204316"/>
                      </a:lnTo>
                      <a:lnTo>
                        <a:pt x="515752" y="204595"/>
                      </a:lnTo>
                      <a:lnTo>
                        <a:pt x="519291" y="205326"/>
                      </a:lnTo>
                      <a:lnTo>
                        <a:pt x="525627" y="210795"/>
                      </a:lnTo>
                      <a:lnTo>
                        <a:pt x="529167" y="213088"/>
                      </a:lnTo>
                      <a:lnTo>
                        <a:pt x="530509" y="211722"/>
                      </a:lnTo>
                      <a:lnTo>
                        <a:pt x="531756" y="208715"/>
                      </a:lnTo>
                      <a:lnTo>
                        <a:pt x="535232" y="207385"/>
                      </a:lnTo>
                      <a:lnTo>
                        <a:pt x="542618" y="205946"/>
                      </a:lnTo>
                      <a:lnTo>
                        <a:pt x="544301" y="204837"/>
                      </a:lnTo>
                      <a:lnTo>
                        <a:pt x="545655" y="203557"/>
                      </a:lnTo>
                      <a:lnTo>
                        <a:pt x="546733" y="202104"/>
                      </a:lnTo>
                      <a:lnTo>
                        <a:pt x="547551" y="200521"/>
                      </a:lnTo>
                      <a:lnTo>
                        <a:pt x="548688" y="195933"/>
                      </a:lnTo>
                      <a:lnTo>
                        <a:pt x="548545" y="179067"/>
                      </a:lnTo>
                      <a:lnTo>
                        <a:pt x="548932" y="175423"/>
                      </a:lnTo>
                      <a:lnTo>
                        <a:pt x="549993" y="171484"/>
                      </a:lnTo>
                      <a:lnTo>
                        <a:pt x="551768" y="168320"/>
                      </a:lnTo>
                      <a:lnTo>
                        <a:pt x="554246" y="166975"/>
                      </a:lnTo>
                      <a:lnTo>
                        <a:pt x="555607" y="165346"/>
                      </a:lnTo>
                      <a:lnTo>
                        <a:pt x="558252" y="157999"/>
                      </a:lnTo>
                      <a:lnTo>
                        <a:pt x="560131" y="155859"/>
                      </a:lnTo>
                      <a:lnTo>
                        <a:pt x="561692" y="155812"/>
                      </a:lnTo>
                      <a:lnTo>
                        <a:pt x="563832" y="156198"/>
                      </a:lnTo>
                      <a:lnTo>
                        <a:pt x="565730" y="156819"/>
                      </a:lnTo>
                      <a:lnTo>
                        <a:pt x="566579" y="157460"/>
                      </a:lnTo>
                      <a:lnTo>
                        <a:pt x="567509" y="158977"/>
                      </a:lnTo>
                      <a:lnTo>
                        <a:pt x="569289" y="158973"/>
                      </a:lnTo>
                      <a:lnTo>
                        <a:pt x="574932" y="157185"/>
                      </a:lnTo>
                      <a:lnTo>
                        <a:pt x="577848" y="155555"/>
                      </a:lnTo>
                      <a:lnTo>
                        <a:pt x="582912" y="151543"/>
                      </a:lnTo>
                      <a:lnTo>
                        <a:pt x="585672" y="145460"/>
                      </a:lnTo>
                      <a:lnTo>
                        <a:pt x="587800" y="129826"/>
                      </a:lnTo>
                      <a:lnTo>
                        <a:pt x="591855" y="124581"/>
                      </a:lnTo>
                      <a:lnTo>
                        <a:pt x="594924" y="123723"/>
                      </a:lnTo>
                      <a:lnTo>
                        <a:pt x="601426" y="122925"/>
                      </a:lnTo>
                      <a:lnTo>
                        <a:pt x="603627" y="121255"/>
                      </a:lnTo>
                      <a:lnTo>
                        <a:pt x="605674" y="118119"/>
                      </a:lnTo>
                      <a:lnTo>
                        <a:pt x="607557" y="115861"/>
                      </a:lnTo>
                      <a:lnTo>
                        <a:pt x="615163" y="110161"/>
                      </a:lnTo>
                      <a:lnTo>
                        <a:pt x="617061" y="107495"/>
                      </a:lnTo>
                      <a:lnTo>
                        <a:pt x="617434" y="104197"/>
                      </a:lnTo>
                      <a:lnTo>
                        <a:pt x="613548" y="97447"/>
                      </a:lnTo>
                      <a:lnTo>
                        <a:pt x="611170" y="86689"/>
                      </a:lnTo>
                      <a:lnTo>
                        <a:pt x="609821" y="84269"/>
                      </a:lnTo>
                      <a:lnTo>
                        <a:pt x="608216" y="80642"/>
                      </a:lnTo>
                      <a:lnTo>
                        <a:pt x="607966" y="77322"/>
                      </a:lnTo>
                      <a:lnTo>
                        <a:pt x="610656" y="75779"/>
                      </a:lnTo>
                      <a:lnTo>
                        <a:pt x="628080" y="73698"/>
                      </a:lnTo>
                      <a:lnTo>
                        <a:pt x="637819" y="73805"/>
                      </a:lnTo>
                      <a:lnTo>
                        <a:pt x="640599" y="74879"/>
                      </a:lnTo>
                      <a:lnTo>
                        <a:pt x="646383" y="80149"/>
                      </a:lnTo>
                      <a:lnTo>
                        <a:pt x="649536" y="81726"/>
                      </a:lnTo>
                      <a:lnTo>
                        <a:pt x="655607" y="80297"/>
                      </a:lnTo>
                      <a:lnTo>
                        <a:pt x="676580" y="67099"/>
                      </a:lnTo>
                      <a:lnTo>
                        <a:pt x="685894" y="63133"/>
                      </a:lnTo>
                      <a:lnTo>
                        <a:pt x="691086" y="62300"/>
                      </a:lnTo>
                      <a:lnTo>
                        <a:pt x="703696" y="63074"/>
                      </a:lnTo>
                      <a:lnTo>
                        <a:pt x="705602" y="62007"/>
                      </a:lnTo>
                      <a:lnTo>
                        <a:pt x="702918" y="56260"/>
                      </a:lnTo>
                      <a:lnTo>
                        <a:pt x="703650" y="52799"/>
                      </a:lnTo>
                      <a:lnTo>
                        <a:pt x="705535" y="50370"/>
                      </a:lnTo>
                      <a:lnTo>
                        <a:pt x="707238" y="47298"/>
                      </a:lnTo>
                      <a:lnTo>
                        <a:pt x="707173" y="44707"/>
                      </a:lnTo>
                      <a:lnTo>
                        <a:pt x="703739" y="43725"/>
                      </a:lnTo>
                      <a:lnTo>
                        <a:pt x="697088" y="43596"/>
                      </a:lnTo>
                      <a:lnTo>
                        <a:pt x="694540" y="42621"/>
                      </a:lnTo>
                      <a:lnTo>
                        <a:pt x="692450" y="40505"/>
                      </a:lnTo>
                      <a:lnTo>
                        <a:pt x="693635" y="38741"/>
                      </a:lnTo>
                      <a:lnTo>
                        <a:pt x="698532" y="33720"/>
                      </a:lnTo>
                      <a:lnTo>
                        <a:pt x="699748" y="30636"/>
                      </a:lnTo>
                      <a:lnTo>
                        <a:pt x="698622" y="27662"/>
                      </a:lnTo>
                      <a:lnTo>
                        <a:pt x="696129" y="25083"/>
                      </a:lnTo>
                      <a:lnTo>
                        <a:pt x="691459" y="21204"/>
                      </a:lnTo>
                      <a:lnTo>
                        <a:pt x="690488" y="15579"/>
                      </a:lnTo>
                      <a:lnTo>
                        <a:pt x="694601" y="10793"/>
                      </a:lnTo>
                      <a:lnTo>
                        <a:pt x="697351" y="9049"/>
                      </a:lnTo>
                      <a:lnTo>
                        <a:pt x="705337" y="4008"/>
                      </a:lnTo>
                      <a:lnTo>
                        <a:pt x="707537" y="1561"/>
                      </a:lnTo>
                      <a:lnTo>
                        <a:pt x="708832" y="488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6" name="Freeform 147">
                  <a:extLst>
                    <a:ext uri="{FF2B5EF4-FFF2-40B4-BE49-F238E27FC236}">
                      <a16:creationId xmlns:a16="http://schemas.microsoft.com/office/drawing/2014/main" id="{C82EA2E4-9473-4A03-8804-C8FA2718125C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>
                  <a:off x="4520926" y="4673755"/>
                  <a:ext cx="932465" cy="3386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177" h="500814">
                      <a:moveTo>
                        <a:pt x="1034818" y="487549"/>
                      </a:moveTo>
                      <a:lnTo>
                        <a:pt x="1033160" y="498437"/>
                      </a:lnTo>
                      <a:lnTo>
                        <a:pt x="1032192" y="500091"/>
                      </a:lnTo>
                      <a:lnTo>
                        <a:pt x="1030239" y="499130"/>
                      </a:lnTo>
                      <a:lnTo>
                        <a:pt x="1027505" y="498340"/>
                      </a:lnTo>
                      <a:lnTo>
                        <a:pt x="1025022" y="497258"/>
                      </a:lnTo>
                      <a:lnTo>
                        <a:pt x="1023877" y="495466"/>
                      </a:lnTo>
                      <a:lnTo>
                        <a:pt x="1024683" y="492514"/>
                      </a:lnTo>
                      <a:lnTo>
                        <a:pt x="1026846" y="491095"/>
                      </a:lnTo>
                      <a:lnTo>
                        <a:pt x="1029334" y="491179"/>
                      </a:lnTo>
                      <a:lnTo>
                        <a:pt x="1031106" y="492647"/>
                      </a:lnTo>
                      <a:lnTo>
                        <a:pt x="1032036" y="491713"/>
                      </a:lnTo>
                      <a:close/>
                      <a:moveTo>
                        <a:pt x="1047385" y="439941"/>
                      </a:moveTo>
                      <a:lnTo>
                        <a:pt x="1047590" y="440796"/>
                      </a:lnTo>
                      <a:lnTo>
                        <a:pt x="1047318" y="441007"/>
                      </a:lnTo>
                      <a:lnTo>
                        <a:pt x="1046878" y="440978"/>
                      </a:lnTo>
                      <a:lnTo>
                        <a:pt x="1046494" y="441218"/>
                      </a:lnTo>
                      <a:lnTo>
                        <a:pt x="1044584" y="449761"/>
                      </a:lnTo>
                      <a:lnTo>
                        <a:pt x="1042950" y="454051"/>
                      </a:lnTo>
                      <a:lnTo>
                        <a:pt x="1041021" y="456362"/>
                      </a:lnTo>
                      <a:lnTo>
                        <a:pt x="1041993" y="451708"/>
                      </a:lnTo>
                      <a:lnTo>
                        <a:pt x="1042404" y="446466"/>
                      </a:lnTo>
                      <a:lnTo>
                        <a:pt x="1043717" y="442075"/>
                      </a:lnTo>
                      <a:close/>
                      <a:moveTo>
                        <a:pt x="1111443" y="373589"/>
                      </a:moveTo>
                      <a:lnTo>
                        <a:pt x="1111665" y="374530"/>
                      </a:lnTo>
                      <a:lnTo>
                        <a:pt x="1111401" y="374742"/>
                      </a:lnTo>
                      <a:lnTo>
                        <a:pt x="1110921" y="374731"/>
                      </a:lnTo>
                      <a:lnTo>
                        <a:pt x="1110476" y="374988"/>
                      </a:lnTo>
                      <a:lnTo>
                        <a:pt x="1106908" y="378488"/>
                      </a:lnTo>
                      <a:lnTo>
                        <a:pt x="1095080" y="385638"/>
                      </a:lnTo>
                      <a:lnTo>
                        <a:pt x="1090071" y="387105"/>
                      </a:lnTo>
                      <a:lnTo>
                        <a:pt x="1088026" y="388097"/>
                      </a:lnTo>
                      <a:lnTo>
                        <a:pt x="1073820" y="402541"/>
                      </a:lnTo>
                      <a:lnTo>
                        <a:pt x="1071643" y="405379"/>
                      </a:lnTo>
                      <a:lnTo>
                        <a:pt x="1073819" y="399329"/>
                      </a:lnTo>
                      <a:lnTo>
                        <a:pt x="1078686" y="393692"/>
                      </a:lnTo>
                      <a:lnTo>
                        <a:pt x="1097078" y="380080"/>
                      </a:lnTo>
                      <a:lnTo>
                        <a:pt x="1099795" y="379221"/>
                      </a:lnTo>
                      <a:lnTo>
                        <a:pt x="1102535" y="378302"/>
                      </a:lnTo>
                      <a:lnTo>
                        <a:pt x="1108240" y="374554"/>
                      </a:lnTo>
                      <a:close/>
                      <a:moveTo>
                        <a:pt x="1219789" y="338289"/>
                      </a:moveTo>
                      <a:lnTo>
                        <a:pt x="1231199" y="341368"/>
                      </a:lnTo>
                      <a:lnTo>
                        <a:pt x="1233048" y="342486"/>
                      </a:lnTo>
                      <a:lnTo>
                        <a:pt x="1235361" y="344401"/>
                      </a:lnTo>
                      <a:lnTo>
                        <a:pt x="1236367" y="346285"/>
                      </a:lnTo>
                      <a:lnTo>
                        <a:pt x="1234329" y="347351"/>
                      </a:lnTo>
                      <a:lnTo>
                        <a:pt x="1233506" y="346720"/>
                      </a:lnTo>
                      <a:lnTo>
                        <a:pt x="1227122" y="342933"/>
                      </a:lnTo>
                      <a:lnTo>
                        <a:pt x="1218761" y="340701"/>
                      </a:lnTo>
                      <a:lnTo>
                        <a:pt x="1216770" y="339701"/>
                      </a:lnTo>
                      <a:lnTo>
                        <a:pt x="1216571" y="338463"/>
                      </a:lnTo>
                      <a:close/>
                      <a:moveTo>
                        <a:pt x="1203460" y="334461"/>
                      </a:moveTo>
                      <a:lnTo>
                        <a:pt x="1211991" y="336245"/>
                      </a:lnTo>
                      <a:lnTo>
                        <a:pt x="1212189" y="337483"/>
                      </a:lnTo>
                      <a:lnTo>
                        <a:pt x="1193093" y="337265"/>
                      </a:lnTo>
                      <a:lnTo>
                        <a:pt x="1189132" y="337874"/>
                      </a:lnTo>
                      <a:lnTo>
                        <a:pt x="1147873" y="349645"/>
                      </a:lnTo>
                      <a:lnTo>
                        <a:pt x="1150164" y="346707"/>
                      </a:lnTo>
                      <a:lnTo>
                        <a:pt x="1154292" y="344795"/>
                      </a:lnTo>
                      <a:lnTo>
                        <a:pt x="1178286" y="339307"/>
                      </a:lnTo>
                      <a:close/>
                      <a:moveTo>
                        <a:pt x="1280080" y="289274"/>
                      </a:moveTo>
                      <a:lnTo>
                        <a:pt x="1277680" y="294334"/>
                      </a:lnTo>
                      <a:lnTo>
                        <a:pt x="1273892" y="297108"/>
                      </a:lnTo>
                      <a:lnTo>
                        <a:pt x="1267347" y="305527"/>
                      </a:lnTo>
                      <a:lnTo>
                        <a:pt x="1264148" y="307423"/>
                      </a:lnTo>
                      <a:lnTo>
                        <a:pt x="1261592" y="309480"/>
                      </a:lnTo>
                      <a:lnTo>
                        <a:pt x="1254373" y="319057"/>
                      </a:lnTo>
                      <a:lnTo>
                        <a:pt x="1239964" y="350846"/>
                      </a:lnTo>
                      <a:lnTo>
                        <a:pt x="1239010" y="355723"/>
                      </a:lnTo>
                      <a:lnTo>
                        <a:pt x="1237109" y="352368"/>
                      </a:lnTo>
                      <a:lnTo>
                        <a:pt x="1238478" y="346948"/>
                      </a:lnTo>
                      <a:lnTo>
                        <a:pt x="1252325" y="317937"/>
                      </a:lnTo>
                      <a:lnTo>
                        <a:pt x="1265870" y="301160"/>
                      </a:lnTo>
                      <a:lnTo>
                        <a:pt x="1271807" y="296594"/>
                      </a:lnTo>
                      <a:lnTo>
                        <a:pt x="1272552" y="295304"/>
                      </a:lnTo>
                      <a:lnTo>
                        <a:pt x="1273366" y="293776"/>
                      </a:lnTo>
                      <a:lnTo>
                        <a:pt x="1275508" y="291879"/>
                      </a:lnTo>
                      <a:lnTo>
                        <a:pt x="1278066" y="290180"/>
                      </a:lnTo>
                      <a:close/>
                      <a:moveTo>
                        <a:pt x="1296486" y="264886"/>
                      </a:moveTo>
                      <a:lnTo>
                        <a:pt x="1298587" y="265362"/>
                      </a:lnTo>
                      <a:lnTo>
                        <a:pt x="1302406" y="266973"/>
                      </a:lnTo>
                      <a:lnTo>
                        <a:pt x="1301982" y="267658"/>
                      </a:lnTo>
                      <a:lnTo>
                        <a:pt x="1301502" y="267935"/>
                      </a:lnTo>
                      <a:lnTo>
                        <a:pt x="1300960" y="268069"/>
                      </a:lnTo>
                      <a:lnTo>
                        <a:pt x="1300383" y="268307"/>
                      </a:lnTo>
                      <a:lnTo>
                        <a:pt x="1290080" y="276657"/>
                      </a:lnTo>
                      <a:lnTo>
                        <a:pt x="1288262" y="280195"/>
                      </a:lnTo>
                      <a:lnTo>
                        <a:pt x="1287296" y="280249"/>
                      </a:lnTo>
                      <a:lnTo>
                        <a:pt x="1288498" y="278214"/>
                      </a:lnTo>
                      <a:lnTo>
                        <a:pt x="1292514" y="273128"/>
                      </a:lnTo>
                      <a:lnTo>
                        <a:pt x="1293117" y="270516"/>
                      </a:lnTo>
                      <a:lnTo>
                        <a:pt x="1293490" y="269593"/>
                      </a:lnTo>
                      <a:lnTo>
                        <a:pt x="1294497" y="268522"/>
                      </a:lnTo>
                      <a:lnTo>
                        <a:pt x="1295452" y="267213"/>
                      </a:lnTo>
                      <a:lnTo>
                        <a:pt x="1295704" y="265503"/>
                      </a:lnTo>
                      <a:close/>
                      <a:moveTo>
                        <a:pt x="1339923" y="240174"/>
                      </a:moveTo>
                      <a:lnTo>
                        <a:pt x="1339249" y="241514"/>
                      </a:lnTo>
                      <a:lnTo>
                        <a:pt x="1338447" y="242441"/>
                      </a:lnTo>
                      <a:lnTo>
                        <a:pt x="1336172" y="243982"/>
                      </a:lnTo>
                      <a:lnTo>
                        <a:pt x="1333644" y="246860"/>
                      </a:lnTo>
                      <a:lnTo>
                        <a:pt x="1320298" y="252400"/>
                      </a:lnTo>
                      <a:lnTo>
                        <a:pt x="1305096" y="264353"/>
                      </a:lnTo>
                      <a:lnTo>
                        <a:pt x="1306564" y="262442"/>
                      </a:lnTo>
                      <a:lnTo>
                        <a:pt x="1307318" y="260248"/>
                      </a:lnTo>
                      <a:lnTo>
                        <a:pt x="1307908" y="255457"/>
                      </a:lnTo>
                      <a:lnTo>
                        <a:pt x="1311662" y="256270"/>
                      </a:lnTo>
                      <a:lnTo>
                        <a:pt x="1315628" y="254392"/>
                      </a:lnTo>
                      <a:lnTo>
                        <a:pt x="1323067" y="248541"/>
                      </a:lnTo>
                      <a:lnTo>
                        <a:pt x="1335876" y="242884"/>
                      </a:lnTo>
                      <a:close/>
                      <a:moveTo>
                        <a:pt x="1361213" y="133793"/>
                      </a:moveTo>
                      <a:lnTo>
                        <a:pt x="1364353" y="135998"/>
                      </a:lnTo>
                      <a:lnTo>
                        <a:pt x="1367084" y="140105"/>
                      </a:lnTo>
                      <a:lnTo>
                        <a:pt x="1369149" y="144773"/>
                      </a:lnTo>
                      <a:lnTo>
                        <a:pt x="1370252" y="148648"/>
                      </a:lnTo>
                      <a:lnTo>
                        <a:pt x="1371288" y="152286"/>
                      </a:lnTo>
                      <a:lnTo>
                        <a:pt x="1375797" y="161353"/>
                      </a:lnTo>
                      <a:lnTo>
                        <a:pt x="1377558" y="168575"/>
                      </a:lnTo>
                      <a:lnTo>
                        <a:pt x="1377078" y="182626"/>
                      </a:lnTo>
                      <a:lnTo>
                        <a:pt x="1379177" y="212892"/>
                      </a:lnTo>
                      <a:lnTo>
                        <a:pt x="1377684" y="226737"/>
                      </a:lnTo>
                      <a:lnTo>
                        <a:pt x="1376666" y="229728"/>
                      </a:lnTo>
                      <a:lnTo>
                        <a:pt x="1374131" y="231802"/>
                      </a:lnTo>
                      <a:lnTo>
                        <a:pt x="1372624" y="232124"/>
                      </a:lnTo>
                      <a:lnTo>
                        <a:pt x="1367660" y="232180"/>
                      </a:lnTo>
                      <a:lnTo>
                        <a:pt x="1362202" y="235070"/>
                      </a:lnTo>
                      <a:lnTo>
                        <a:pt x="1358987" y="235852"/>
                      </a:lnTo>
                      <a:lnTo>
                        <a:pt x="1353550" y="238790"/>
                      </a:lnTo>
                      <a:lnTo>
                        <a:pt x="1351139" y="239525"/>
                      </a:lnTo>
                      <a:lnTo>
                        <a:pt x="1350312" y="239933"/>
                      </a:lnTo>
                      <a:lnTo>
                        <a:pt x="1348482" y="241669"/>
                      </a:lnTo>
                      <a:lnTo>
                        <a:pt x="1347288" y="242106"/>
                      </a:lnTo>
                      <a:lnTo>
                        <a:pt x="1345617" y="241696"/>
                      </a:lnTo>
                      <a:lnTo>
                        <a:pt x="1345790" y="240540"/>
                      </a:lnTo>
                      <a:lnTo>
                        <a:pt x="1346938" y="239233"/>
                      </a:lnTo>
                      <a:lnTo>
                        <a:pt x="1348202" y="238351"/>
                      </a:lnTo>
                      <a:lnTo>
                        <a:pt x="1349692" y="238111"/>
                      </a:lnTo>
                      <a:lnTo>
                        <a:pt x="1350261" y="237395"/>
                      </a:lnTo>
                      <a:lnTo>
                        <a:pt x="1350519" y="236514"/>
                      </a:lnTo>
                      <a:lnTo>
                        <a:pt x="1351074" y="235717"/>
                      </a:lnTo>
                      <a:lnTo>
                        <a:pt x="1351226" y="235179"/>
                      </a:lnTo>
                      <a:lnTo>
                        <a:pt x="1351177" y="234301"/>
                      </a:lnTo>
                      <a:lnTo>
                        <a:pt x="1351357" y="233483"/>
                      </a:lnTo>
                      <a:lnTo>
                        <a:pt x="1352134" y="233085"/>
                      </a:lnTo>
                      <a:lnTo>
                        <a:pt x="1352659" y="233378"/>
                      </a:lnTo>
                      <a:lnTo>
                        <a:pt x="1352905" y="233996"/>
                      </a:lnTo>
                      <a:lnTo>
                        <a:pt x="1353186" y="234478"/>
                      </a:lnTo>
                      <a:lnTo>
                        <a:pt x="1353860" y="234336"/>
                      </a:lnTo>
                      <a:lnTo>
                        <a:pt x="1362812" y="228982"/>
                      </a:lnTo>
                      <a:lnTo>
                        <a:pt x="1373002" y="224684"/>
                      </a:lnTo>
                      <a:lnTo>
                        <a:pt x="1376616" y="221240"/>
                      </a:lnTo>
                      <a:lnTo>
                        <a:pt x="1375557" y="215800"/>
                      </a:lnTo>
                      <a:lnTo>
                        <a:pt x="1376140" y="213562"/>
                      </a:lnTo>
                      <a:lnTo>
                        <a:pt x="1376498" y="204661"/>
                      </a:lnTo>
                      <a:lnTo>
                        <a:pt x="1376010" y="197904"/>
                      </a:lnTo>
                      <a:lnTo>
                        <a:pt x="1376412" y="191345"/>
                      </a:lnTo>
                      <a:lnTo>
                        <a:pt x="1376068" y="187326"/>
                      </a:lnTo>
                      <a:lnTo>
                        <a:pt x="1375513" y="185398"/>
                      </a:lnTo>
                      <a:lnTo>
                        <a:pt x="1374115" y="182001"/>
                      </a:lnTo>
                      <a:lnTo>
                        <a:pt x="1373699" y="179956"/>
                      </a:lnTo>
                      <a:lnTo>
                        <a:pt x="1373945" y="177893"/>
                      </a:lnTo>
                      <a:lnTo>
                        <a:pt x="1375358" y="173786"/>
                      </a:lnTo>
                      <a:lnTo>
                        <a:pt x="1375495" y="171840"/>
                      </a:lnTo>
                      <a:lnTo>
                        <a:pt x="1374639" y="167618"/>
                      </a:lnTo>
                      <a:lnTo>
                        <a:pt x="1372339" y="160297"/>
                      </a:lnTo>
                      <a:lnTo>
                        <a:pt x="1366142" y="147462"/>
                      </a:lnTo>
                      <a:lnTo>
                        <a:pt x="1365256" y="144015"/>
                      </a:lnTo>
                      <a:lnTo>
                        <a:pt x="1361515" y="138118"/>
                      </a:lnTo>
                      <a:lnTo>
                        <a:pt x="1359972" y="134776"/>
                      </a:lnTo>
                      <a:close/>
                      <a:moveTo>
                        <a:pt x="1325661" y="105949"/>
                      </a:moveTo>
                      <a:lnTo>
                        <a:pt x="1327136" y="106089"/>
                      </a:lnTo>
                      <a:lnTo>
                        <a:pt x="1328560" y="106591"/>
                      </a:lnTo>
                      <a:lnTo>
                        <a:pt x="1329749" y="107246"/>
                      </a:lnTo>
                      <a:lnTo>
                        <a:pt x="1332121" y="108029"/>
                      </a:lnTo>
                      <a:lnTo>
                        <a:pt x="1333272" y="108643"/>
                      </a:lnTo>
                      <a:lnTo>
                        <a:pt x="1334403" y="109433"/>
                      </a:lnTo>
                      <a:lnTo>
                        <a:pt x="1334960" y="111079"/>
                      </a:lnTo>
                      <a:lnTo>
                        <a:pt x="1337369" y="113854"/>
                      </a:lnTo>
                      <a:lnTo>
                        <a:pt x="1343826" y="119953"/>
                      </a:lnTo>
                      <a:lnTo>
                        <a:pt x="1342965" y="123311"/>
                      </a:lnTo>
                      <a:lnTo>
                        <a:pt x="1343248" y="125142"/>
                      </a:lnTo>
                      <a:lnTo>
                        <a:pt x="1342891" y="125978"/>
                      </a:lnTo>
                      <a:lnTo>
                        <a:pt x="1340042" y="126323"/>
                      </a:lnTo>
                      <a:lnTo>
                        <a:pt x="1337452" y="125244"/>
                      </a:lnTo>
                      <a:lnTo>
                        <a:pt x="1335879" y="122405"/>
                      </a:lnTo>
                      <a:lnTo>
                        <a:pt x="1334589" y="119050"/>
                      </a:lnTo>
                      <a:lnTo>
                        <a:pt x="1332893" y="116341"/>
                      </a:lnTo>
                      <a:lnTo>
                        <a:pt x="1327529" y="111887"/>
                      </a:lnTo>
                      <a:lnTo>
                        <a:pt x="1325947" y="109935"/>
                      </a:lnTo>
                      <a:lnTo>
                        <a:pt x="1324920" y="109050"/>
                      </a:lnTo>
                      <a:lnTo>
                        <a:pt x="1323770" y="108297"/>
                      </a:lnTo>
                      <a:lnTo>
                        <a:pt x="1323292" y="107453"/>
                      </a:lnTo>
                      <a:lnTo>
                        <a:pt x="1324355" y="106335"/>
                      </a:lnTo>
                      <a:close/>
                      <a:moveTo>
                        <a:pt x="1257606" y="1417"/>
                      </a:moveTo>
                      <a:lnTo>
                        <a:pt x="1257803" y="1827"/>
                      </a:lnTo>
                      <a:lnTo>
                        <a:pt x="1258181" y="3970"/>
                      </a:lnTo>
                      <a:lnTo>
                        <a:pt x="1257853" y="7428"/>
                      </a:lnTo>
                      <a:lnTo>
                        <a:pt x="1258314" y="10268"/>
                      </a:lnTo>
                      <a:lnTo>
                        <a:pt x="1260208" y="13843"/>
                      </a:lnTo>
                      <a:lnTo>
                        <a:pt x="1263493" y="17190"/>
                      </a:lnTo>
                      <a:lnTo>
                        <a:pt x="1267378" y="19981"/>
                      </a:lnTo>
                      <a:lnTo>
                        <a:pt x="1271065" y="21789"/>
                      </a:lnTo>
                      <a:lnTo>
                        <a:pt x="1268583" y="23239"/>
                      </a:lnTo>
                      <a:lnTo>
                        <a:pt x="1271210" y="27437"/>
                      </a:lnTo>
                      <a:lnTo>
                        <a:pt x="1275868" y="31816"/>
                      </a:lnTo>
                      <a:lnTo>
                        <a:pt x="1279443" y="33689"/>
                      </a:lnTo>
                      <a:lnTo>
                        <a:pt x="1277787" y="32236"/>
                      </a:lnTo>
                      <a:lnTo>
                        <a:pt x="1276596" y="30982"/>
                      </a:lnTo>
                      <a:lnTo>
                        <a:pt x="1275765" y="29604"/>
                      </a:lnTo>
                      <a:lnTo>
                        <a:pt x="1275115" y="27813"/>
                      </a:lnTo>
                      <a:lnTo>
                        <a:pt x="1275702" y="27910"/>
                      </a:lnTo>
                      <a:lnTo>
                        <a:pt x="1276305" y="25767"/>
                      </a:lnTo>
                      <a:lnTo>
                        <a:pt x="1276876" y="22132"/>
                      </a:lnTo>
                      <a:lnTo>
                        <a:pt x="1278816" y="21900"/>
                      </a:lnTo>
                      <a:lnTo>
                        <a:pt x="1279993" y="26630"/>
                      </a:lnTo>
                      <a:lnTo>
                        <a:pt x="1280604" y="34850"/>
                      </a:lnTo>
                      <a:lnTo>
                        <a:pt x="1282462" y="37522"/>
                      </a:lnTo>
                      <a:lnTo>
                        <a:pt x="1288729" y="44456"/>
                      </a:lnTo>
                      <a:lnTo>
                        <a:pt x="1290321" y="47231"/>
                      </a:lnTo>
                      <a:lnTo>
                        <a:pt x="1291240" y="49433"/>
                      </a:lnTo>
                      <a:lnTo>
                        <a:pt x="1303177" y="69611"/>
                      </a:lnTo>
                      <a:lnTo>
                        <a:pt x="1304318" y="72312"/>
                      </a:lnTo>
                      <a:lnTo>
                        <a:pt x="1306140" y="75706"/>
                      </a:lnTo>
                      <a:lnTo>
                        <a:pt x="1308943" y="79510"/>
                      </a:lnTo>
                      <a:lnTo>
                        <a:pt x="1310243" y="82613"/>
                      </a:lnTo>
                      <a:lnTo>
                        <a:pt x="1307507" y="83859"/>
                      </a:lnTo>
                      <a:lnTo>
                        <a:pt x="1304701" y="82751"/>
                      </a:lnTo>
                      <a:lnTo>
                        <a:pt x="1301633" y="80207"/>
                      </a:lnTo>
                      <a:lnTo>
                        <a:pt x="1296788" y="75219"/>
                      </a:lnTo>
                      <a:lnTo>
                        <a:pt x="1295717" y="73561"/>
                      </a:lnTo>
                      <a:lnTo>
                        <a:pt x="1295744" y="71977"/>
                      </a:lnTo>
                      <a:lnTo>
                        <a:pt x="1296165" y="70466"/>
                      </a:lnTo>
                      <a:lnTo>
                        <a:pt x="1296285" y="69045"/>
                      </a:lnTo>
                      <a:lnTo>
                        <a:pt x="1295576" y="67249"/>
                      </a:lnTo>
                      <a:lnTo>
                        <a:pt x="1294320" y="65301"/>
                      </a:lnTo>
                      <a:lnTo>
                        <a:pt x="1291956" y="62542"/>
                      </a:lnTo>
                      <a:lnTo>
                        <a:pt x="1288016" y="60043"/>
                      </a:lnTo>
                      <a:lnTo>
                        <a:pt x="1287001" y="59144"/>
                      </a:lnTo>
                      <a:lnTo>
                        <a:pt x="1286453" y="58005"/>
                      </a:lnTo>
                      <a:lnTo>
                        <a:pt x="1285895" y="55475"/>
                      </a:lnTo>
                      <a:lnTo>
                        <a:pt x="1285189" y="54345"/>
                      </a:lnTo>
                      <a:lnTo>
                        <a:pt x="1282742" y="52982"/>
                      </a:lnTo>
                      <a:lnTo>
                        <a:pt x="1280339" y="52194"/>
                      </a:lnTo>
                      <a:lnTo>
                        <a:pt x="1279259" y="50698"/>
                      </a:lnTo>
                      <a:lnTo>
                        <a:pt x="1280759" y="47242"/>
                      </a:lnTo>
                      <a:lnTo>
                        <a:pt x="1275995" y="44083"/>
                      </a:lnTo>
                      <a:lnTo>
                        <a:pt x="1273489" y="42958"/>
                      </a:lnTo>
                      <a:lnTo>
                        <a:pt x="1270422" y="42934"/>
                      </a:lnTo>
                      <a:lnTo>
                        <a:pt x="1272292" y="45576"/>
                      </a:lnTo>
                      <a:lnTo>
                        <a:pt x="1274207" y="46692"/>
                      </a:lnTo>
                      <a:lnTo>
                        <a:pt x="1275939" y="48149"/>
                      </a:lnTo>
                      <a:lnTo>
                        <a:pt x="1278392" y="54769"/>
                      </a:lnTo>
                      <a:lnTo>
                        <a:pt x="1280114" y="58115"/>
                      </a:lnTo>
                      <a:lnTo>
                        <a:pt x="1280811" y="60872"/>
                      </a:lnTo>
                      <a:lnTo>
                        <a:pt x="1278992" y="62077"/>
                      </a:lnTo>
                      <a:lnTo>
                        <a:pt x="1283588" y="65570"/>
                      </a:lnTo>
                      <a:lnTo>
                        <a:pt x="1286031" y="66904"/>
                      </a:lnTo>
                      <a:lnTo>
                        <a:pt x="1288493" y="67660"/>
                      </a:lnTo>
                      <a:lnTo>
                        <a:pt x="1288705" y="68878"/>
                      </a:lnTo>
                      <a:lnTo>
                        <a:pt x="1277205" y="66283"/>
                      </a:lnTo>
                      <a:lnTo>
                        <a:pt x="1273930" y="66065"/>
                      </a:lnTo>
                      <a:lnTo>
                        <a:pt x="1270533" y="65182"/>
                      </a:lnTo>
                      <a:lnTo>
                        <a:pt x="1267456" y="62786"/>
                      </a:lnTo>
                      <a:lnTo>
                        <a:pt x="1262772" y="57571"/>
                      </a:lnTo>
                      <a:lnTo>
                        <a:pt x="1261379" y="56714"/>
                      </a:lnTo>
                      <a:lnTo>
                        <a:pt x="1258451" y="56155"/>
                      </a:lnTo>
                      <a:lnTo>
                        <a:pt x="1257014" y="55331"/>
                      </a:lnTo>
                      <a:lnTo>
                        <a:pt x="1253797" y="52519"/>
                      </a:lnTo>
                      <a:lnTo>
                        <a:pt x="1250295" y="50140"/>
                      </a:lnTo>
                      <a:lnTo>
                        <a:pt x="1247590" y="48989"/>
                      </a:lnTo>
                      <a:lnTo>
                        <a:pt x="1239058" y="47234"/>
                      </a:lnTo>
                      <a:lnTo>
                        <a:pt x="1240288" y="46387"/>
                      </a:lnTo>
                      <a:lnTo>
                        <a:pt x="1241191" y="45053"/>
                      </a:lnTo>
                      <a:lnTo>
                        <a:pt x="1240991" y="43857"/>
                      </a:lnTo>
                      <a:lnTo>
                        <a:pt x="1238933" y="43437"/>
                      </a:lnTo>
                      <a:lnTo>
                        <a:pt x="1237604" y="44510"/>
                      </a:lnTo>
                      <a:lnTo>
                        <a:pt x="1236607" y="46703"/>
                      </a:lnTo>
                      <a:lnTo>
                        <a:pt x="1236240" y="48876"/>
                      </a:lnTo>
                      <a:lnTo>
                        <a:pt x="1236842" y="49822"/>
                      </a:lnTo>
                      <a:lnTo>
                        <a:pt x="1240464" y="50408"/>
                      </a:lnTo>
                      <a:lnTo>
                        <a:pt x="1244250" y="52118"/>
                      </a:lnTo>
                      <a:lnTo>
                        <a:pt x="1247681" y="54340"/>
                      </a:lnTo>
                      <a:lnTo>
                        <a:pt x="1250220" y="56402"/>
                      </a:lnTo>
                      <a:lnTo>
                        <a:pt x="1253442" y="60489"/>
                      </a:lnTo>
                      <a:lnTo>
                        <a:pt x="1255409" y="62532"/>
                      </a:lnTo>
                      <a:lnTo>
                        <a:pt x="1259480" y="64190"/>
                      </a:lnTo>
                      <a:lnTo>
                        <a:pt x="1261737" y="68275"/>
                      </a:lnTo>
                      <a:lnTo>
                        <a:pt x="1263713" y="69117"/>
                      </a:lnTo>
                      <a:lnTo>
                        <a:pt x="1265529" y="69560"/>
                      </a:lnTo>
                      <a:lnTo>
                        <a:pt x="1264795" y="70819"/>
                      </a:lnTo>
                      <a:lnTo>
                        <a:pt x="1261731" y="73034"/>
                      </a:lnTo>
                      <a:lnTo>
                        <a:pt x="1260058" y="73746"/>
                      </a:lnTo>
                      <a:lnTo>
                        <a:pt x="1254528" y="74574"/>
                      </a:lnTo>
                      <a:lnTo>
                        <a:pt x="1254758" y="75900"/>
                      </a:lnTo>
                      <a:lnTo>
                        <a:pt x="1255814" y="75839"/>
                      </a:lnTo>
                      <a:lnTo>
                        <a:pt x="1256007" y="76948"/>
                      </a:lnTo>
                      <a:lnTo>
                        <a:pt x="1251168" y="77405"/>
                      </a:lnTo>
                      <a:lnTo>
                        <a:pt x="1249585" y="77322"/>
                      </a:lnTo>
                      <a:lnTo>
                        <a:pt x="1247965" y="76838"/>
                      </a:lnTo>
                      <a:lnTo>
                        <a:pt x="1242627" y="74322"/>
                      </a:lnTo>
                      <a:lnTo>
                        <a:pt x="1239323" y="70371"/>
                      </a:lnTo>
                      <a:lnTo>
                        <a:pt x="1238164" y="69503"/>
                      </a:lnTo>
                      <a:lnTo>
                        <a:pt x="1236664" y="69048"/>
                      </a:lnTo>
                      <a:lnTo>
                        <a:pt x="1231762" y="66068"/>
                      </a:lnTo>
                      <a:lnTo>
                        <a:pt x="1228997" y="63945"/>
                      </a:lnTo>
                      <a:lnTo>
                        <a:pt x="1227933" y="63846"/>
                      </a:lnTo>
                      <a:lnTo>
                        <a:pt x="1228399" y="66263"/>
                      </a:lnTo>
                      <a:lnTo>
                        <a:pt x="1229352" y="67781"/>
                      </a:lnTo>
                      <a:lnTo>
                        <a:pt x="1230876" y="69295"/>
                      </a:lnTo>
                      <a:lnTo>
                        <a:pt x="1232610" y="70439"/>
                      </a:lnTo>
                      <a:lnTo>
                        <a:pt x="1234127" y="70841"/>
                      </a:lnTo>
                      <a:lnTo>
                        <a:pt x="1236139" y="72239"/>
                      </a:lnTo>
                      <a:lnTo>
                        <a:pt x="1242747" y="79080"/>
                      </a:lnTo>
                      <a:lnTo>
                        <a:pt x="1246010" y="81314"/>
                      </a:lnTo>
                      <a:lnTo>
                        <a:pt x="1246203" y="82430"/>
                      </a:lnTo>
                      <a:lnTo>
                        <a:pt x="1242506" y="83362"/>
                      </a:lnTo>
                      <a:lnTo>
                        <a:pt x="1238601" y="82790"/>
                      </a:lnTo>
                      <a:lnTo>
                        <a:pt x="1221213" y="76952"/>
                      </a:lnTo>
                      <a:lnTo>
                        <a:pt x="1216451" y="74665"/>
                      </a:lnTo>
                      <a:lnTo>
                        <a:pt x="1213224" y="70944"/>
                      </a:lnTo>
                      <a:lnTo>
                        <a:pt x="1210807" y="71741"/>
                      </a:lnTo>
                      <a:lnTo>
                        <a:pt x="1207863" y="70344"/>
                      </a:lnTo>
                      <a:lnTo>
                        <a:pt x="1204727" y="68154"/>
                      </a:lnTo>
                      <a:lnTo>
                        <a:pt x="1201714" y="66572"/>
                      </a:lnTo>
                      <a:lnTo>
                        <a:pt x="1204441" y="70614"/>
                      </a:lnTo>
                      <a:lnTo>
                        <a:pt x="1205924" y="72380"/>
                      </a:lnTo>
                      <a:lnTo>
                        <a:pt x="1207278" y="73618"/>
                      </a:lnTo>
                      <a:lnTo>
                        <a:pt x="1213323" y="76213"/>
                      </a:lnTo>
                      <a:lnTo>
                        <a:pt x="1214355" y="77565"/>
                      </a:lnTo>
                      <a:lnTo>
                        <a:pt x="1216366" y="79367"/>
                      </a:lnTo>
                      <a:lnTo>
                        <a:pt x="1220654" y="81411"/>
                      </a:lnTo>
                      <a:lnTo>
                        <a:pt x="1225262" y="83012"/>
                      </a:lnTo>
                      <a:lnTo>
                        <a:pt x="1228250" y="83469"/>
                      </a:lnTo>
                      <a:lnTo>
                        <a:pt x="1228476" y="84787"/>
                      </a:lnTo>
                      <a:lnTo>
                        <a:pt x="1213371" y="88019"/>
                      </a:lnTo>
                      <a:lnTo>
                        <a:pt x="1211045" y="89477"/>
                      </a:lnTo>
                      <a:lnTo>
                        <a:pt x="1211271" y="90812"/>
                      </a:lnTo>
                      <a:lnTo>
                        <a:pt x="1211792" y="90840"/>
                      </a:lnTo>
                      <a:lnTo>
                        <a:pt x="1213387" y="90690"/>
                      </a:lnTo>
                      <a:lnTo>
                        <a:pt x="1210678" y="94430"/>
                      </a:lnTo>
                      <a:lnTo>
                        <a:pt x="1206293" y="97784"/>
                      </a:lnTo>
                      <a:lnTo>
                        <a:pt x="1201605" y="100261"/>
                      </a:lnTo>
                      <a:lnTo>
                        <a:pt x="1198028" y="101386"/>
                      </a:lnTo>
                      <a:lnTo>
                        <a:pt x="1192778" y="102057"/>
                      </a:lnTo>
                      <a:lnTo>
                        <a:pt x="1189875" y="102046"/>
                      </a:lnTo>
                      <a:lnTo>
                        <a:pt x="1187871" y="101290"/>
                      </a:lnTo>
                      <a:lnTo>
                        <a:pt x="1182399" y="95045"/>
                      </a:lnTo>
                      <a:lnTo>
                        <a:pt x="1180714" y="93655"/>
                      </a:lnTo>
                      <a:lnTo>
                        <a:pt x="1178811" y="97998"/>
                      </a:lnTo>
                      <a:lnTo>
                        <a:pt x="1175251" y="98199"/>
                      </a:lnTo>
                      <a:lnTo>
                        <a:pt x="1171572" y="95224"/>
                      </a:lnTo>
                      <a:lnTo>
                        <a:pt x="1167773" y="85653"/>
                      </a:lnTo>
                      <a:lnTo>
                        <a:pt x="1162801" y="77883"/>
                      </a:lnTo>
                      <a:lnTo>
                        <a:pt x="1161188" y="73236"/>
                      </a:lnTo>
                      <a:lnTo>
                        <a:pt x="1161965" y="65165"/>
                      </a:lnTo>
                      <a:lnTo>
                        <a:pt x="1162485" y="63272"/>
                      </a:lnTo>
                      <a:lnTo>
                        <a:pt x="1164283" y="60713"/>
                      </a:lnTo>
                      <a:lnTo>
                        <a:pt x="1165180" y="58960"/>
                      </a:lnTo>
                      <a:lnTo>
                        <a:pt x="1165790" y="53961"/>
                      </a:lnTo>
                      <a:lnTo>
                        <a:pt x="1163902" y="50903"/>
                      </a:lnTo>
                      <a:lnTo>
                        <a:pt x="1160609" y="49168"/>
                      </a:lnTo>
                      <a:lnTo>
                        <a:pt x="1156966" y="48154"/>
                      </a:lnTo>
                      <a:lnTo>
                        <a:pt x="1158263" y="50156"/>
                      </a:lnTo>
                      <a:lnTo>
                        <a:pt x="1161556" y="53017"/>
                      </a:lnTo>
                      <a:lnTo>
                        <a:pt x="1162411" y="54658"/>
                      </a:lnTo>
                      <a:lnTo>
                        <a:pt x="1162460" y="57023"/>
                      </a:lnTo>
                      <a:lnTo>
                        <a:pt x="1161800" y="58529"/>
                      </a:lnTo>
                      <a:lnTo>
                        <a:pt x="1159699" y="60937"/>
                      </a:lnTo>
                      <a:lnTo>
                        <a:pt x="1157675" y="64465"/>
                      </a:lnTo>
                      <a:lnTo>
                        <a:pt x="1156749" y="67683"/>
                      </a:lnTo>
                      <a:lnTo>
                        <a:pt x="1156734" y="71404"/>
                      </a:lnTo>
                      <a:lnTo>
                        <a:pt x="1158588" y="83195"/>
                      </a:lnTo>
                      <a:lnTo>
                        <a:pt x="1159413" y="85123"/>
                      </a:lnTo>
                      <a:lnTo>
                        <a:pt x="1162271" y="89057"/>
                      </a:lnTo>
                      <a:lnTo>
                        <a:pt x="1164096" y="94029"/>
                      </a:lnTo>
                      <a:lnTo>
                        <a:pt x="1165519" y="95544"/>
                      </a:lnTo>
                      <a:lnTo>
                        <a:pt x="1167118" y="96726"/>
                      </a:lnTo>
                      <a:lnTo>
                        <a:pt x="1168568" y="98137"/>
                      </a:lnTo>
                      <a:lnTo>
                        <a:pt x="1169342" y="100258"/>
                      </a:lnTo>
                      <a:lnTo>
                        <a:pt x="1169575" y="102337"/>
                      </a:lnTo>
                      <a:lnTo>
                        <a:pt x="1170352" y="103786"/>
                      </a:lnTo>
                      <a:lnTo>
                        <a:pt x="1172757" y="104045"/>
                      </a:lnTo>
                      <a:lnTo>
                        <a:pt x="1172233" y="106620"/>
                      </a:lnTo>
                      <a:lnTo>
                        <a:pt x="1168012" y="114012"/>
                      </a:lnTo>
                      <a:lnTo>
                        <a:pt x="1168233" y="115338"/>
                      </a:lnTo>
                      <a:lnTo>
                        <a:pt x="1189677" y="114227"/>
                      </a:lnTo>
                      <a:lnTo>
                        <a:pt x="1193939" y="115119"/>
                      </a:lnTo>
                      <a:lnTo>
                        <a:pt x="1195087" y="115054"/>
                      </a:lnTo>
                      <a:lnTo>
                        <a:pt x="1199592" y="111791"/>
                      </a:lnTo>
                      <a:lnTo>
                        <a:pt x="1207226" y="108262"/>
                      </a:lnTo>
                      <a:lnTo>
                        <a:pt x="1215132" y="106208"/>
                      </a:lnTo>
                      <a:lnTo>
                        <a:pt x="1220484" y="107366"/>
                      </a:lnTo>
                      <a:lnTo>
                        <a:pt x="1221422" y="109114"/>
                      </a:lnTo>
                      <a:lnTo>
                        <a:pt x="1221531" y="110915"/>
                      </a:lnTo>
                      <a:lnTo>
                        <a:pt x="1221390" y="112482"/>
                      </a:lnTo>
                      <a:lnTo>
                        <a:pt x="1221533" y="113550"/>
                      </a:lnTo>
                      <a:lnTo>
                        <a:pt x="1222823" y="114626"/>
                      </a:lnTo>
                      <a:lnTo>
                        <a:pt x="1223844" y="114041"/>
                      </a:lnTo>
                      <a:lnTo>
                        <a:pt x="1224993" y="112826"/>
                      </a:lnTo>
                      <a:lnTo>
                        <a:pt x="1226615" y="112030"/>
                      </a:lnTo>
                      <a:lnTo>
                        <a:pt x="1230047" y="112448"/>
                      </a:lnTo>
                      <a:lnTo>
                        <a:pt x="1237107" y="114921"/>
                      </a:lnTo>
                      <a:lnTo>
                        <a:pt x="1241087" y="114890"/>
                      </a:lnTo>
                      <a:lnTo>
                        <a:pt x="1238651" y="112738"/>
                      </a:lnTo>
                      <a:lnTo>
                        <a:pt x="1235109" y="111191"/>
                      </a:lnTo>
                      <a:lnTo>
                        <a:pt x="1233413" y="109378"/>
                      </a:lnTo>
                      <a:lnTo>
                        <a:pt x="1236451" y="106451"/>
                      </a:lnTo>
                      <a:lnTo>
                        <a:pt x="1249566" y="102003"/>
                      </a:lnTo>
                      <a:lnTo>
                        <a:pt x="1264168" y="100028"/>
                      </a:lnTo>
                      <a:lnTo>
                        <a:pt x="1268021" y="100683"/>
                      </a:lnTo>
                      <a:lnTo>
                        <a:pt x="1272638" y="102450"/>
                      </a:lnTo>
                      <a:lnTo>
                        <a:pt x="1276036" y="104955"/>
                      </a:lnTo>
                      <a:lnTo>
                        <a:pt x="1276289" y="107819"/>
                      </a:lnTo>
                      <a:lnTo>
                        <a:pt x="1272550" y="106250"/>
                      </a:lnTo>
                      <a:lnTo>
                        <a:pt x="1271144" y="108017"/>
                      </a:lnTo>
                      <a:lnTo>
                        <a:pt x="1270989" y="114281"/>
                      </a:lnTo>
                      <a:lnTo>
                        <a:pt x="1275970" y="112087"/>
                      </a:lnTo>
                      <a:lnTo>
                        <a:pt x="1278079" y="111517"/>
                      </a:lnTo>
                      <a:lnTo>
                        <a:pt x="1277374" y="115507"/>
                      </a:lnTo>
                      <a:lnTo>
                        <a:pt x="1275940" y="119378"/>
                      </a:lnTo>
                      <a:lnTo>
                        <a:pt x="1273657" y="122200"/>
                      </a:lnTo>
                      <a:lnTo>
                        <a:pt x="1270362" y="123036"/>
                      </a:lnTo>
                      <a:lnTo>
                        <a:pt x="1270571" y="124254"/>
                      </a:lnTo>
                      <a:lnTo>
                        <a:pt x="1274513" y="126767"/>
                      </a:lnTo>
                      <a:lnTo>
                        <a:pt x="1277255" y="131795"/>
                      </a:lnTo>
                      <a:lnTo>
                        <a:pt x="1277246" y="136449"/>
                      </a:lnTo>
                      <a:lnTo>
                        <a:pt x="1272906" y="137866"/>
                      </a:lnTo>
                      <a:lnTo>
                        <a:pt x="1268502" y="136742"/>
                      </a:lnTo>
                      <a:lnTo>
                        <a:pt x="1266685" y="136847"/>
                      </a:lnTo>
                      <a:lnTo>
                        <a:pt x="1268185" y="138687"/>
                      </a:lnTo>
                      <a:lnTo>
                        <a:pt x="1270194" y="139781"/>
                      </a:lnTo>
                      <a:lnTo>
                        <a:pt x="1272801" y="140597"/>
                      </a:lnTo>
                      <a:lnTo>
                        <a:pt x="1275481" y="141058"/>
                      </a:lnTo>
                      <a:lnTo>
                        <a:pt x="1277727" y="141038"/>
                      </a:lnTo>
                      <a:lnTo>
                        <a:pt x="1276667" y="141099"/>
                      </a:lnTo>
                      <a:lnTo>
                        <a:pt x="1278151" y="142135"/>
                      </a:lnTo>
                      <a:lnTo>
                        <a:pt x="1279991" y="144205"/>
                      </a:lnTo>
                      <a:lnTo>
                        <a:pt x="1281096" y="146259"/>
                      </a:lnTo>
                      <a:lnTo>
                        <a:pt x="1280401" y="147259"/>
                      </a:lnTo>
                      <a:lnTo>
                        <a:pt x="1278990" y="148404"/>
                      </a:lnTo>
                      <a:lnTo>
                        <a:pt x="1280109" y="150619"/>
                      </a:lnTo>
                      <a:lnTo>
                        <a:pt x="1282060" y="152624"/>
                      </a:lnTo>
                      <a:lnTo>
                        <a:pt x="1283107" y="153150"/>
                      </a:lnTo>
                      <a:lnTo>
                        <a:pt x="1280909" y="155960"/>
                      </a:lnTo>
                      <a:lnTo>
                        <a:pt x="1276057" y="155339"/>
                      </a:lnTo>
                      <a:lnTo>
                        <a:pt x="1270705" y="153851"/>
                      </a:lnTo>
                      <a:lnTo>
                        <a:pt x="1267012" y="154078"/>
                      </a:lnTo>
                      <a:lnTo>
                        <a:pt x="1270460" y="158431"/>
                      </a:lnTo>
                      <a:lnTo>
                        <a:pt x="1274384" y="159708"/>
                      </a:lnTo>
                      <a:lnTo>
                        <a:pt x="1278563" y="159190"/>
                      </a:lnTo>
                      <a:lnTo>
                        <a:pt x="1282790" y="158080"/>
                      </a:lnTo>
                      <a:lnTo>
                        <a:pt x="1282762" y="158668"/>
                      </a:lnTo>
                      <a:lnTo>
                        <a:pt x="1283033" y="159430"/>
                      </a:lnTo>
                      <a:lnTo>
                        <a:pt x="1283621" y="160407"/>
                      </a:lnTo>
                      <a:lnTo>
                        <a:pt x="1284565" y="161672"/>
                      </a:lnTo>
                      <a:lnTo>
                        <a:pt x="1285538" y="161616"/>
                      </a:lnTo>
                      <a:lnTo>
                        <a:pt x="1288709" y="147152"/>
                      </a:lnTo>
                      <a:lnTo>
                        <a:pt x="1288433" y="141098"/>
                      </a:lnTo>
                      <a:lnTo>
                        <a:pt x="1284654" y="119179"/>
                      </a:lnTo>
                      <a:lnTo>
                        <a:pt x="1285551" y="117522"/>
                      </a:lnTo>
                      <a:lnTo>
                        <a:pt x="1290121" y="113913"/>
                      </a:lnTo>
                      <a:lnTo>
                        <a:pt x="1291082" y="112553"/>
                      </a:lnTo>
                      <a:lnTo>
                        <a:pt x="1292008" y="111913"/>
                      </a:lnTo>
                      <a:lnTo>
                        <a:pt x="1294631" y="113943"/>
                      </a:lnTo>
                      <a:lnTo>
                        <a:pt x="1298396" y="117811"/>
                      </a:lnTo>
                      <a:lnTo>
                        <a:pt x="1302503" y="119535"/>
                      </a:lnTo>
                      <a:lnTo>
                        <a:pt x="1303489" y="119755"/>
                      </a:lnTo>
                      <a:lnTo>
                        <a:pt x="1304755" y="119124"/>
                      </a:lnTo>
                      <a:lnTo>
                        <a:pt x="1304883" y="117885"/>
                      </a:lnTo>
                      <a:lnTo>
                        <a:pt x="1304173" y="116695"/>
                      </a:lnTo>
                      <a:lnTo>
                        <a:pt x="1300830" y="115550"/>
                      </a:lnTo>
                      <a:lnTo>
                        <a:pt x="1298760" y="113744"/>
                      </a:lnTo>
                      <a:lnTo>
                        <a:pt x="1296974" y="111446"/>
                      </a:lnTo>
                      <a:lnTo>
                        <a:pt x="1295746" y="109253"/>
                      </a:lnTo>
                      <a:lnTo>
                        <a:pt x="1299101" y="109847"/>
                      </a:lnTo>
                      <a:lnTo>
                        <a:pt x="1302622" y="110997"/>
                      </a:lnTo>
                      <a:lnTo>
                        <a:pt x="1305986" y="111385"/>
                      </a:lnTo>
                      <a:lnTo>
                        <a:pt x="1308838" y="109714"/>
                      </a:lnTo>
                      <a:lnTo>
                        <a:pt x="1307197" y="108543"/>
                      </a:lnTo>
                      <a:lnTo>
                        <a:pt x="1305513" y="107866"/>
                      </a:lnTo>
                      <a:lnTo>
                        <a:pt x="1303759" y="107588"/>
                      </a:lnTo>
                      <a:lnTo>
                        <a:pt x="1301877" y="107662"/>
                      </a:lnTo>
                      <a:lnTo>
                        <a:pt x="1302625" y="106262"/>
                      </a:lnTo>
                      <a:lnTo>
                        <a:pt x="1303056" y="104756"/>
                      </a:lnTo>
                      <a:lnTo>
                        <a:pt x="1303182" y="103107"/>
                      </a:lnTo>
                      <a:lnTo>
                        <a:pt x="1303002" y="101345"/>
                      </a:lnTo>
                      <a:lnTo>
                        <a:pt x="1308858" y="104502"/>
                      </a:lnTo>
                      <a:lnTo>
                        <a:pt x="1314124" y="109234"/>
                      </a:lnTo>
                      <a:lnTo>
                        <a:pt x="1323427" y="119930"/>
                      </a:lnTo>
                      <a:lnTo>
                        <a:pt x="1323839" y="122288"/>
                      </a:lnTo>
                      <a:lnTo>
                        <a:pt x="1327096" y="125843"/>
                      </a:lnTo>
                      <a:lnTo>
                        <a:pt x="1327979" y="127037"/>
                      </a:lnTo>
                      <a:lnTo>
                        <a:pt x="1328522" y="130327"/>
                      </a:lnTo>
                      <a:lnTo>
                        <a:pt x="1327805" y="132972"/>
                      </a:lnTo>
                      <a:lnTo>
                        <a:pt x="1326849" y="135449"/>
                      </a:lnTo>
                      <a:lnTo>
                        <a:pt x="1326612" y="138183"/>
                      </a:lnTo>
                      <a:lnTo>
                        <a:pt x="1327353" y="139849"/>
                      </a:lnTo>
                      <a:lnTo>
                        <a:pt x="1330061" y="142916"/>
                      </a:lnTo>
                      <a:lnTo>
                        <a:pt x="1331185" y="145416"/>
                      </a:lnTo>
                      <a:lnTo>
                        <a:pt x="1331993" y="149176"/>
                      </a:lnTo>
                      <a:lnTo>
                        <a:pt x="1331573" y="150426"/>
                      </a:lnTo>
                      <a:lnTo>
                        <a:pt x="1327692" y="150551"/>
                      </a:lnTo>
                      <a:lnTo>
                        <a:pt x="1324089" y="151100"/>
                      </a:lnTo>
                      <a:lnTo>
                        <a:pt x="1324286" y="152379"/>
                      </a:lnTo>
                      <a:lnTo>
                        <a:pt x="1326428" y="155539"/>
                      </a:lnTo>
                      <a:lnTo>
                        <a:pt x="1330797" y="160425"/>
                      </a:lnTo>
                      <a:lnTo>
                        <a:pt x="1331326" y="162265"/>
                      </a:lnTo>
                      <a:lnTo>
                        <a:pt x="1329767" y="166112"/>
                      </a:lnTo>
                      <a:lnTo>
                        <a:pt x="1329212" y="166967"/>
                      </a:lnTo>
                      <a:lnTo>
                        <a:pt x="1328368" y="167617"/>
                      </a:lnTo>
                      <a:lnTo>
                        <a:pt x="1327019" y="167931"/>
                      </a:lnTo>
                      <a:lnTo>
                        <a:pt x="1325727" y="168623"/>
                      </a:lnTo>
                      <a:lnTo>
                        <a:pt x="1325819" y="170070"/>
                      </a:lnTo>
                      <a:lnTo>
                        <a:pt x="1326296" y="171649"/>
                      </a:lnTo>
                      <a:lnTo>
                        <a:pt x="1326199" y="172792"/>
                      </a:lnTo>
                      <a:lnTo>
                        <a:pt x="1324626" y="173779"/>
                      </a:lnTo>
                      <a:lnTo>
                        <a:pt x="1322625" y="174277"/>
                      </a:lnTo>
                      <a:lnTo>
                        <a:pt x="1317845" y="174615"/>
                      </a:lnTo>
                      <a:lnTo>
                        <a:pt x="1317617" y="173293"/>
                      </a:lnTo>
                      <a:lnTo>
                        <a:pt x="1319524" y="172286"/>
                      </a:lnTo>
                      <a:lnTo>
                        <a:pt x="1320612" y="172003"/>
                      </a:lnTo>
                      <a:lnTo>
                        <a:pt x="1320348" y="171291"/>
                      </a:lnTo>
                      <a:lnTo>
                        <a:pt x="1320035" y="170694"/>
                      </a:lnTo>
                      <a:lnTo>
                        <a:pt x="1319673" y="170150"/>
                      </a:lnTo>
                      <a:lnTo>
                        <a:pt x="1319230" y="169619"/>
                      </a:lnTo>
                      <a:lnTo>
                        <a:pt x="1315674" y="171396"/>
                      </a:lnTo>
                      <a:lnTo>
                        <a:pt x="1312775" y="170017"/>
                      </a:lnTo>
                      <a:lnTo>
                        <a:pt x="1310388" y="166716"/>
                      </a:lnTo>
                      <a:lnTo>
                        <a:pt x="1308403" y="162754"/>
                      </a:lnTo>
                      <a:lnTo>
                        <a:pt x="1307624" y="165564"/>
                      </a:lnTo>
                      <a:lnTo>
                        <a:pt x="1308015" y="168687"/>
                      </a:lnTo>
                      <a:lnTo>
                        <a:pt x="1308620" y="171468"/>
                      </a:lnTo>
                      <a:lnTo>
                        <a:pt x="1308507" y="173257"/>
                      </a:lnTo>
                      <a:lnTo>
                        <a:pt x="1301100" y="182466"/>
                      </a:lnTo>
                      <a:lnTo>
                        <a:pt x="1300406" y="182888"/>
                      </a:lnTo>
                      <a:lnTo>
                        <a:pt x="1297613" y="183592"/>
                      </a:lnTo>
                      <a:lnTo>
                        <a:pt x="1297548" y="184586"/>
                      </a:lnTo>
                      <a:lnTo>
                        <a:pt x="1298197" y="185774"/>
                      </a:lnTo>
                      <a:lnTo>
                        <a:pt x="1298510" y="186819"/>
                      </a:lnTo>
                      <a:lnTo>
                        <a:pt x="1299108" y="187664"/>
                      </a:lnTo>
                      <a:lnTo>
                        <a:pt x="1299198" y="188561"/>
                      </a:lnTo>
                      <a:lnTo>
                        <a:pt x="1298501" y="189944"/>
                      </a:lnTo>
                      <a:lnTo>
                        <a:pt x="1297634" y="190632"/>
                      </a:lnTo>
                      <a:lnTo>
                        <a:pt x="1293939" y="192121"/>
                      </a:lnTo>
                      <a:lnTo>
                        <a:pt x="1295492" y="194562"/>
                      </a:lnTo>
                      <a:lnTo>
                        <a:pt x="1294904" y="196217"/>
                      </a:lnTo>
                      <a:lnTo>
                        <a:pt x="1293625" y="197531"/>
                      </a:lnTo>
                      <a:lnTo>
                        <a:pt x="1293068" y="198992"/>
                      </a:lnTo>
                      <a:lnTo>
                        <a:pt x="1293319" y="201487"/>
                      </a:lnTo>
                      <a:lnTo>
                        <a:pt x="1293004" y="202943"/>
                      </a:lnTo>
                      <a:lnTo>
                        <a:pt x="1292021" y="203212"/>
                      </a:lnTo>
                      <a:lnTo>
                        <a:pt x="1290302" y="202166"/>
                      </a:lnTo>
                      <a:lnTo>
                        <a:pt x="1291248" y="200879"/>
                      </a:lnTo>
                      <a:lnTo>
                        <a:pt x="1287989" y="199240"/>
                      </a:lnTo>
                      <a:lnTo>
                        <a:pt x="1286102" y="201916"/>
                      </a:lnTo>
                      <a:lnTo>
                        <a:pt x="1286008" y="205955"/>
                      </a:lnTo>
                      <a:lnTo>
                        <a:pt x="1288144" y="208451"/>
                      </a:lnTo>
                      <a:lnTo>
                        <a:pt x="1288330" y="209549"/>
                      </a:lnTo>
                      <a:lnTo>
                        <a:pt x="1286086" y="209897"/>
                      </a:lnTo>
                      <a:lnTo>
                        <a:pt x="1280392" y="212056"/>
                      </a:lnTo>
                      <a:lnTo>
                        <a:pt x="1278767" y="213344"/>
                      </a:lnTo>
                      <a:lnTo>
                        <a:pt x="1277239" y="215896"/>
                      </a:lnTo>
                      <a:lnTo>
                        <a:pt x="1276164" y="216919"/>
                      </a:lnTo>
                      <a:lnTo>
                        <a:pt x="1265557" y="217213"/>
                      </a:lnTo>
                      <a:lnTo>
                        <a:pt x="1262682" y="216590"/>
                      </a:lnTo>
                      <a:lnTo>
                        <a:pt x="1260451" y="213328"/>
                      </a:lnTo>
                      <a:lnTo>
                        <a:pt x="1259305" y="213085"/>
                      </a:lnTo>
                      <a:lnTo>
                        <a:pt x="1258324" y="213808"/>
                      </a:lnTo>
                      <a:lnTo>
                        <a:pt x="1258138" y="215747"/>
                      </a:lnTo>
                      <a:lnTo>
                        <a:pt x="1257692" y="217746"/>
                      </a:lnTo>
                      <a:lnTo>
                        <a:pt x="1255833" y="217425"/>
                      </a:lnTo>
                      <a:lnTo>
                        <a:pt x="1250578" y="214671"/>
                      </a:lnTo>
                      <a:lnTo>
                        <a:pt x="1247670" y="210135"/>
                      </a:lnTo>
                      <a:lnTo>
                        <a:pt x="1246072" y="208378"/>
                      </a:lnTo>
                      <a:lnTo>
                        <a:pt x="1242252" y="206885"/>
                      </a:lnTo>
                      <a:lnTo>
                        <a:pt x="1241225" y="208431"/>
                      </a:lnTo>
                      <a:lnTo>
                        <a:pt x="1241597" y="210895"/>
                      </a:lnTo>
                      <a:lnTo>
                        <a:pt x="1241927" y="212182"/>
                      </a:lnTo>
                      <a:lnTo>
                        <a:pt x="1243276" y="213279"/>
                      </a:lnTo>
                      <a:lnTo>
                        <a:pt x="1244195" y="215764"/>
                      </a:lnTo>
                      <a:lnTo>
                        <a:pt x="1243873" y="218319"/>
                      </a:lnTo>
                      <a:lnTo>
                        <a:pt x="1241500" y="219596"/>
                      </a:lnTo>
                      <a:lnTo>
                        <a:pt x="1240260" y="217848"/>
                      </a:lnTo>
                      <a:lnTo>
                        <a:pt x="1237743" y="216333"/>
                      </a:lnTo>
                      <a:lnTo>
                        <a:pt x="1236272" y="215923"/>
                      </a:lnTo>
                      <a:lnTo>
                        <a:pt x="1235157" y="216140"/>
                      </a:lnTo>
                      <a:lnTo>
                        <a:pt x="1234187" y="215886"/>
                      </a:lnTo>
                      <a:lnTo>
                        <a:pt x="1233154" y="214024"/>
                      </a:lnTo>
                      <a:lnTo>
                        <a:pt x="1239545" y="213665"/>
                      </a:lnTo>
                      <a:lnTo>
                        <a:pt x="1239322" y="212329"/>
                      </a:lnTo>
                      <a:lnTo>
                        <a:pt x="1237718" y="210953"/>
                      </a:lnTo>
                      <a:lnTo>
                        <a:pt x="1236568" y="208011"/>
                      </a:lnTo>
                      <a:lnTo>
                        <a:pt x="1235399" y="202272"/>
                      </a:lnTo>
                      <a:lnTo>
                        <a:pt x="1233559" y="199063"/>
                      </a:lnTo>
                      <a:lnTo>
                        <a:pt x="1230924" y="198331"/>
                      </a:lnTo>
                      <a:lnTo>
                        <a:pt x="1229506" y="199760"/>
                      </a:lnTo>
                      <a:lnTo>
                        <a:pt x="1231327" y="203050"/>
                      </a:lnTo>
                      <a:lnTo>
                        <a:pt x="1228958" y="209340"/>
                      </a:lnTo>
                      <a:lnTo>
                        <a:pt x="1226982" y="208345"/>
                      </a:lnTo>
                      <a:lnTo>
                        <a:pt x="1225147" y="208242"/>
                      </a:lnTo>
                      <a:lnTo>
                        <a:pt x="1223668" y="209043"/>
                      </a:lnTo>
                      <a:lnTo>
                        <a:pt x="1222759" y="210808"/>
                      </a:lnTo>
                      <a:lnTo>
                        <a:pt x="1223954" y="211343"/>
                      </a:lnTo>
                      <a:lnTo>
                        <a:pt x="1224985" y="212121"/>
                      </a:lnTo>
                      <a:lnTo>
                        <a:pt x="1225865" y="213142"/>
                      </a:lnTo>
                      <a:lnTo>
                        <a:pt x="1226572" y="214393"/>
                      </a:lnTo>
                      <a:lnTo>
                        <a:pt x="1220629" y="212086"/>
                      </a:lnTo>
                      <a:lnTo>
                        <a:pt x="1218243" y="210475"/>
                      </a:lnTo>
                      <a:lnTo>
                        <a:pt x="1215792" y="207614"/>
                      </a:lnTo>
                      <a:lnTo>
                        <a:pt x="1217145" y="207282"/>
                      </a:lnTo>
                      <a:lnTo>
                        <a:pt x="1217828" y="206849"/>
                      </a:lnTo>
                      <a:lnTo>
                        <a:pt x="1218180" y="206155"/>
                      </a:lnTo>
                      <a:lnTo>
                        <a:pt x="1218583" y="204996"/>
                      </a:lnTo>
                      <a:lnTo>
                        <a:pt x="1211606" y="202887"/>
                      </a:lnTo>
                      <a:lnTo>
                        <a:pt x="1209099" y="201107"/>
                      </a:lnTo>
                      <a:lnTo>
                        <a:pt x="1211168" y="199160"/>
                      </a:lnTo>
                      <a:lnTo>
                        <a:pt x="1210985" y="198057"/>
                      </a:lnTo>
                      <a:lnTo>
                        <a:pt x="1207600" y="196150"/>
                      </a:lnTo>
                      <a:lnTo>
                        <a:pt x="1205525" y="193819"/>
                      </a:lnTo>
                      <a:lnTo>
                        <a:pt x="1205899" y="191791"/>
                      </a:lnTo>
                      <a:lnTo>
                        <a:pt x="1209771" y="190739"/>
                      </a:lnTo>
                      <a:lnTo>
                        <a:pt x="1217779" y="191455"/>
                      </a:lnTo>
                      <a:lnTo>
                        <a:pt x="1220183" y="190045"/>
                      </a:lnTo>
                      <a:lnTo>
                        <a:pt x="1221689" y="185045"/>
                      </a:lnTo>
                      <a:lnTo>
                        <a:pt x="1217787" y="186048"/>
                      </a:lnTo>
                      <a:lnTo>
                        <a:pt x="1214215" y="186094"/>
                      </a:lnTo>
                      <a:lnTo>
                        <a:pt x="1206715" y="184646"/>
                      </a:lnTo>
                      <a:lnTo>
                        <a:pt x="1202461" y="184584"/>
                      </a:lnTo>
                      <a:lnTo>
                        <a:pt x="1199408" y="186058"/>
                      </a:lnTo>
                      <a:lnTo>
                        <a:pt x="1193609" y="190300"/>
                      </a:lnTo>
                      <a:lnTo>
                        <a:pt x="1196092" y="190741"/>
                      </a:lnTo>
                      <a:lnTo>
                        <a:pt x="1198037" y="191833"/>
                      </a:lnTo>
                      <a:lnTo>
                        <a:pt x="1199560" y="193309"/>
                      </a:lnTo>
                      <a:lnTo>
                        <a:pt x="1200819" y="194931"/>
                      </a:lnTo>
                      <a:lnTo>
                        <a:pt x="1199897" y="198872"/>
                      </a:lnTo>
                      <a:lnTo>
                        <a:pt x="1199476" y="199812"/>
                      </a:lnTo>
                      <a:lnTo>
                        <a:pt x="1202089" y="202113"/>
                      </a:lnTo>
                      <a:lnTo>
                        <a:pt x="1203255" y="202898"/>
                      </a:lnTo>
                      <a:lnTo>
                        <a:pt x="1204369" y="203452"/>
                      </a:lnTo>
                      <a:lnTo>
                        <a:pt x="1204550" y="204548"/>
                      </a:lnTo>
                      <a:lnTo>
                        <a:pt x="1203761" y="205075"/>
                      </a:lnTo>
                      <a:lnTo>
                        <a:pt x="1203416" y="205659"/>
                      </a:lnTo>
                      <a:lnTo>
                        <a:pt x="1203221" y="206336"/>
                      </a:lnTo>
                      <a:lnTo>
                        <a:pt x="1202829" y="207105"/>
                      </a:lnTo>
                      <a:lnTo>
                        <a:pt x="1204488" y="207622"/>
                      </a:lnTo>
                      <a:lnTo>
                        <a:pt x="1205837" y="208309"/>
                      </a:lnTo>
                      <a:lnTo>
                        <a:pt x="1206903" y="209260"/>
                      </a:lnTo>
                      <a:lnTo>
                        <a:pt x="1207688" y="210529"/>
                      </a:lnTo>
                      <a:lnTo>
                        <a:pt x="1204716" y="212298"/>
                      </a:lnTo>
                      <a:lnTo>
                        <a:pt x="1200050" y="211678"/>
                      </a:lnTo>
                      <a:lnTo>
                        <a:pt x="1196289" y="209117"/>
                      </a:lnTo>
                      <a:lnTo>
                        <a:pt x="1196037" y="205021"/>
                      </a:lnTo>
                      <a:lnTo>
                        <a:pt x="1194635" y="205370"/>
                      </a:lnTo>
                      <a:lnTo>
                        <a:pt x="1193522" y="205871"/>
                      </a:lnTo>
                      <a:lnTo>
                        <a:pt x="1192671" y="206614"/>
                      </a:lnTo>
                      <a:lnTo>
                        <a:pt x="1192095" y="207701"/>
                      </a:lnTo>
                      <a:lnTo>
                        <a:pt x="1187384" y="206907"/>
                      </a:lnTo>
                      <a:lnTo>
                        <a:pt x="1179293" y="209426"/>
                      </a:lnTo>
                      <a:lnTo>
                        <a:pt x="1175497" y="208009"/>
                      </a:lnTo>
                      <a:lnTo>
                        <a:pt x="1171741" y="205155"/>
                      </a:lnTo>
                      <a:lnTo>
                        <a:pt x="1168410" y="203874"/>
                      </a:lnTo>
                      <a:lnTo>
                        <a:pt x="1160244" y="203311"/>
                      </a:lnTo>
                      <a:lnTo>
                        <a:pt x="1155669" y="202324"/>
                      </a:lnTo>
                      <a:lnTo>
                        <a:pt x="1147587" y="198724"/>
                      </a:lnTo>
                      <a:lnTo>
                        <a:pt x="1140301" y="197490"/>
                      </a:lnTo>
                      <a:lnTo>
                        <a:pt x="1136859" y="195752"/>
                      </a:lnTo>
                      <a:lnTo>
                        <a:pt x="1130195" y="191327"/>
                      </a:lnTo>
                      <a:lnTo>
                        <a:pt x="1133599" y="196632"/>
                      </a:lnTo>
                      <a:lnTo>
                        <a:pt x="1135558" y="198743"/>
                      </a:lnTo>
                      <a:lnTo>
                        <a:pt x="1137470" y="199533"/>
                      </a:lnTo>
                      <a:lnTo>
                        <a:pt x="1140676" y="200251"/>
                      </a:lnTo>
                      <a:lnTo>
                        <a:pt x="1142512" y="202377"/>
                      </a:lnTo>
                      <a:lnTo>
                        <a:pt x="1144765" y="207839"/>
                      </a:lnTo>
                      <a:lnTo>
                        <a:pt x="1149212" y="205027"/>
                      </a:lnTo>
                      <a:lnTo>
                        <a:pt x="1155883" y="206201"/>
                      </a:lnTo>
                      <a:lnTo>
                        <a:pt x="1162854" y="209399"/>
                      </a:lnTo>
                      <a:lnTo>
                        <a:pt x="1168213" y="212709"/>
                      </a:lnTo>
                      <a:lnTo>
                        <a:pt x="1170810" y="213951"/>
                      </a:lnTo>
                      <a:lnTo>
                        <a:pt x="1180495" y="215602"/>
                      </a:lnTo>
                      <a:lnTo>
                        <a:pt x="1191227" y="220505"/>
                      </a:lnTo>
                      <a:lnTo>
                        <a:pt x="1204550" y="222640"/>
                      </a:lnTo>
                      <a:lnTo>
                        <a:pt x="1219410" y="226242"/>
                      </a:lnTo>
                      <a:lnTo>
                        <a:pt x="1223189" y="226325"/>
                      </a:lnTo>
                      <a:lnTo>
                        <a:pt x="1223938" y="228181"/>
                      </a:lnTo>
                      <a:lnTo>
                        <a:pt x="1225253" y="229817"/>
                      </a:lnTo>
                      <a:lnTo>
                        <a:pt x="1228004" y="232200"/>
                      </a:lnTo>
                      <a:lnTo>
                        <a:pt x="1228561" y="233400"/>
                      </a:lnTo>
                      <a:lnTo>
                        <a:pt x="1227495" y="236569"/>
                      </a:lnTo>
                      <a:lnTo>
                        <a:pt x="1227333" y="238455"/>
                      </a:lnTo>
                      <a:lnTo>
                        <a:pt x="1226248" y="240810"/>
                      </a:lnTo>
                      <a:lnTo>
                        <a:pt x="1222736" y="240969"/>
                      </a:lnTo>
                      <a:lnTo>
                        <a:pt x="1214656" y="239775"/>
                      </a:lnTo>
                      <a:lnTo>
                        <a:pt x="1214839" y="240879"/>
                      </a:lnTo>
                      <a:lnTo>
                        <a:pt x="1218797" y="242273"/>
                      </a:lnTo>
                      <a:lnTo>
                        <a:pt x="1220874" y="243360"/>
                      </a:lnTo>
                      <a:lnTo>
                        <a:pt x="1221957" y="244957"/>
                      </a:lnTo>
                      <a:lnTo>
                        <a:pt x="1221292" y="246534"/>
                      </a:lnTo>
                      <a:lnTo>
                        <a:pt x="1219083" y="246311"/>
                      </a:lnTo>
                      <a:lnTo>
                        <a:pt x="1214496" y="244805"/>
                      </a:lnTo>
                      <a:lnTo>
                        <a:pt x="1211964" y="245392"/>
                      </a:lnTo>
                      <a:lnTo>
                        <a:pt x="1210283" y="246791"/>
                      </a:lnTo>
                      <a:lnTo>
                        <a:pt x="1209099" y="248183"/>
                      </a:lnTo>
                      <a:lnTo>
                        <a:pt x="1208075" y="248855"/>
                      </a:lnTo>
                      <a:lnTo>
                        <a:pt x="1205692" y="249141"/>
                      </a:lnTo>
                      <a:lnTo>
                        <a:pt x="1203189" y="249836"/>
                      </a:lnTo>
                      <a:lnTo>
                        <a:pt x="1200976" y="251087"/>
                      </a:lnTo>
                      <a:lnTo>
                        <a:pt x="1199516" y="253021"/>
                      </a:lnTo>
                      <a:lnTo>
                        <a:pt x="1201710" y="253582"/>
                      </a:lnTo>
                      <a:lnTo>
                        <a:pt x="1208320" y="253643"/>
                      </a:lnTo>
                      <a:lnTo>
                        <a:pt x="1210345" y="254500"/>
                      </a:lnTo>
                      <a:lnTo>
                        <a:pt x="1212062" y="255622"/>
                      </a:lnTo>
                      <a:lnTo>
                        <a:pt x="1213854" y="255993"/>
                      </a:lnTo>
                      <a:lnTo>
                        <a:pt x="1216097" y="254564"/>
                      </a:lnTo>
                      <a:lnTo>
                        <a:pt x="1215270" y="254265"/>
                      </a:lnTo>
                      <a:lnTo>
                        <a:pt x="1214442" y="253702"/>
                      </a:lnTo>
                      <a:lnTo>
                        <a:pt x="1213653" y="253350"/>
                      </a:lnTo>
                      <a:lnTo>
                        <a:pt x="1213473" y="252252"/>
                      </a:lnTo>
                      <a:lnTo>
                        <a:pt x="1215480" y="250799"/>
                      </a:lnTo>
                      <a:lnTo>
                        <a:pt x="1218927" y="255713"/>
                      </a:lnTo>
                      <a:lnTo>
                        <a:pt x="1218777" y="260282"/>
                      </a:lnTo>
                      <a:lnTo>
                        <a:pt x="1215962" y="263855"/>
                      </a:lnTo>
                      <a:lnTo>
                        <a:pt x="1211381" y="265786"/>
                      </a:lnTo>
                      <a:lnTo>
                        <a:pt x="1212665" y="268657"/>
                      </a:lnTo>
                      <a:lnTo>
                        <a:pt x="1207775" y="272848"/>
                      </a:lnTo>
                      <a:lnTo>
                        <a:pt x="1201448" y="276942"/>
                      </a:lnTo>
                      <a:lnTo>
                        <a:pt x="1198447" y="279584"/>
                      </a:lnTo>
                      <a:lnTo>
                        <a:pt x="1196513" y="283826"/>
                      </a:lnTo>
                      <a:lnTo>
                        <a:pt x="1190811" y="286182"/>
                      </a:lnTo>
                      <a:lnTo>
                        <a:pt x="1184089" y="286899"/>
                      </a:lnTo>
                      <a:lnTo>
                        <a:pt x="1179034" y="286227"/>
                      </a:lnTo>
                      <a:lnTo>
                        <a:pt x="1173161" y="283628"/>
                      </a:lnTo>
                      <a:lnTo>
                        <a:pt x="1168319" y="280546"/>
                      </a:lnTo>
                      <a:lnTo>
                        <a:pt x="1160080" y="273544"/>
                      </a:lnTo>
                      <a:lnTo>
                        <a:pt x="1157821" y="272508"/>
                      </a:lnTo>
                      <a:lnTo>
                        <a:pt x="1151718" y="270565"/>
                      </a:lnTo>
                      <a:lnTo>
                        <a:pt x="1142751" y="260966"/>
                      </a:lnTo>
                      <a:lnTo>
                        <a:pt x="1136745" y="258886"/>
                      </a:lnTo>
                      <a:lnTo>
                        <a:pt x="1145051" y="268821"/>
                      </a:lnTo>
                      <a:lnTo>
                        <a:pt x="1145641" y="270702"/>
                      </a:lnTo>
                      <a:lnTo>
                        <a:pt x="1148919" y="271932"/>
                      </a:lnTo>
                      <a:lnTo>
                        <a:pt x="1151955" y="275140"/>
                      </a:lnTo>
                      <a:lnTo>
                        <a:pt x="1156775" y="282517"/>
                      </a:lnTo>
                      <a:lnTo>
                        <a:pt x="1163560" y="289350"/>
                      </a:lnTo>
                      <a:lnTo>
                        <a:pt x="1170445" y="291816"/>
                      </a:lnTo>
                      <a:lnTo>
                        <a:pt x="1177696" y="292620"/>
                      </a:lnTo>
                      <a:lnTo>
                        <a:pt x="1185655" y="294477"/>
                      </a:lnTo>
                      <a:lnTo>
                        <a:pt x="1191687" y="297846"/>
                      </a:lnTo>
                      <a:lnTo>
                        <a:pt x="1192627" y="299057"/>
                      </a:lnTo>
                      <a:lnTo>
                        <a:pt x="1193415" y="299879"/>
                      </a:lnTo>
                      <a:lnTo>
                        <a:pt x="1194234" y="300289"/>
                      </a:lnTo>
                      <a:lnTo>
                        <a:pt x="1195314" y="299930"/>
                      </a:lnTo>
                      <a:lnTo>
                        <a:pt x="1196588" y="298020"/>
                      </a:lnTo>
                      <a:lnTo>
                        <a:pt x="1200522" y="296346"/>
                      </a:lnTo>
                      <a:lnTo>
                        <a:pt x="1202898" y="293790"/>
                      </a:lnTo>
                      <a:lnTo>
                        <a:pt x="1205059" y="290782"/>
                      </a:lnTo>
                      <a:lnTo>
                        <a:pt x="1207403" y="288270"/>
                      </a:lnTo>
                      <a:lnTo>
                        <a:pt x="1210064" y="286100"/>
                      </a:lnTo>
                      <a:lnTo>
                        <a:pt x="1211632" y="285435"/>
                      </a:lnTo>
                      <a:lnTo>
                        <a:pt x="1213508" y="285471"/>
                      </a:lnTo>
                      <a:lnTo>
                        <a:pt x="1215147" y="286430"/>
                      </a:lnTo>
                      <a:lnTo>
                        <a:pt x="1216670" y="288048"/>
                      </a:lnTo>
                      <a:lnTo>
                        <a:pt x="1217740" y="289574"/>
                      </a:lnTo>
                      <a:lnTo>
                        <a:pt x="1218058" y="290261"/>
                      </a:lnTo>
                      <a:lnTo>
                        <a:pt x="1221045" y="291521"/>
                      </a:lnTo>
                      <a:lnTo>
                        <a:pt x="1225068" y="293772"/>
                      </a:lnTo>
                      <a:lnTo>
                        <a:pt x="1227624" y="294468"/>
                      </a:lnTo>
                      <a:lnTo>
                        <a:pt x="1226268" y="291043"/>
                      </a:lnTo>
                      <a:lnTo>
                        <a:pt x="1222087" y="286276"/>
                      </a:lnTo>
                      <a:lnTo>
                        <a:pt x="1221347" y="283787"/>
                      </a:lnTo>
                      <a:lnTo>
                        <a:pt x="1224352" y="282520"/>
                      </a:lnTo>
                      <a:lnTo>
                        <a:pt x="1226641" y="282380"/>
                      </a:lnTo>
                      <a:lnTo>
                        <a:pt x="1229096" y="282626"/>
                      </a:lnTo>
                      <a:lnTo>
                        <a:pt x="1231678" y="283878"/>
                      </a:lnTo>
                      <a:lnTo>
                        <a:pt x="1234306" y="286792"/>
                      </a:lnTo>
                      <a:lnTo>
                        <a:pt x="1234816" y="284145"/>
                      </a:lnTo>
                      <a:lnTo>
                        <a:pt x="1234506" y="281542"/>
                      </a:lnTo>
                      <a:lnTo>
                        <a:pt x="1233936" y="279116"/>
                      </a:lnTo>
                      <a:lnTo>
                        <a:pt x="1233668" y="276975"/>
                      </a:lnTo>
                      <a:lnTo>
                        <a:pt x="1234281" y="274446"/>
                      </a:lnTo>
                      <a:lnTo>
                        <a:pt x="1235578" y="271000"/>
                      </a:lnTo>
                      <a:lnTo>
                        <a:pt x="1236959" y="268473"/>
                      </a:lnTo>
                      <a:lnTo>
                        <a:pt x="1237800" y="268749"/>
                      </a:lnTo>
                      <a:lnTo>
                        <a:pt x="1238272" y="269515"/>
                      </a:lnTo>
                      <a:lnTo>
                        <a:pt x="1240097" y="271630"/>
                      </a:lnTo>
                      <a:lnTo>
                        <a:pt x="1240537" y="272280"/>
                      </a:lnTo>
                      <a:lnTo>
                        <a:pt x="1240645" y="274027"/>
                      </a:lnTo>
                      <a:lnTo>
                        <a:pt x="1240308" y="276900"/>
                      </a:lnTo>
                      <a:lnTo>
                        <a:pt x="1240385" y="278510"/>
                      </a:lnTo>
                      <a:lnTo>
                        <a:pt x="1243814" y="282061"/>
                      </a:lnTo>
                      <a:lnTo>
                        <a:pt x="1244969" y="283693"/>
                      </a:lnTo>
                      <a:lnTo>
                        <a:pt x="1244307" y="284750"/>
                      </a:lnTo>
                      <a:lnTo>
                        <a:pt x="1240545" y="286997"/>
                      </a:lnTo>
                      <a:lnTo>
                        <a:pt x="1239350" y="286954"/>
                      </a:lnTo>
                      <a:lnTo>
                        <a:pt x="1238381" y="287315"/>
                      </a:lnTo>
                      <a:lnTo>
                        <a:pt x="1237926" y="289167"/>
                      </a:lnTo>
                      <a:lnTo>
                        <a:pt x="1238108" y="290669"/>
                      </a:lnTo>
                      <a:lnTo>
                        <a:pt x="1238725" y="291655"/>
                      </a:lnTo>
                      <a:lnTo>
                        <a:pt x="1239591" y="292275"/>
                      </a:lnTo>
                      <a:lnTo>
                        <a:pt x="1240561" y="292705"/>
                      </a:lnTo>
                      <a:lnTo>
                        <a:pt x="1243099" y="292426"/>
                      </a:lnTo>
                      <a:lnTo>
                        <a:pt x="1249594" y="289997"/>
                      </a:lnTo>
                      <a:lnTo>
                        <a:pt x="1251037" y="290291"/>
                      </a:lnTo>
                      <a:lnTo>
                        <a:pt x="1252036" y="287036"/>
                      </a:lnTo>
                      <a:lnTo>
                        <a:pt x="1255184" y="285745"/>
                      </a:lnTo>
                      <a:lnTo>
                        <a:pt x="1258500" y="285362"/>
                      </a:lnTo>
                      <a:lnTo>
                        <a:pt x="1259936" y="284806"/>
                      </a:lnTo>
                      <a:lnTo>
                        <a:pt x="1259004" y="282076"/>
                      </a:lnTo>
                      <a:lnTo>
                        <a:pt x="1255755" y="278449"/>
                      </a:lnTo>
                      <a:lnTo>
                        <a:pt x="1254046" y="275843"/>
                      </a:lnTo>
                      <a:lnTo>
                        <a:pt x="1259104" y="276882"/>
                      </a:lnTo>
                      <a:lnTo>
                        <a:pt x="1262030" y="279749"/>
                      </a:lnTo>
                      <a:lnTo>
                        <a:pt x="1264620" y="282908"/>
                      </a:lnTo>
                      <a:lnTo>
                        <a:pt x="1268677" y="284883"/>
                      </a:lnTo>
                      <a:lnTo>
                        <a:pt x="1268897" y="286214"/>
                      </a:lnTo>
                      <a:lnTo>
                        <a:pt x="1267570" y="287279"/>
                      </a:lnTo>
                      <a:lnTo>
                        <a:pt x="1265831" y="290239"/>
                      </a:lnTo>
                      <a:lnTo>
                        <a:pt x="1264260" y="291392"/>
                      </a:lnTo>
                      <a:lnTo>
                        <a:pt x="1261802" y="291602"/>
                      </a:lnTo>
                      <a:lnTo>
                        <a:pt x="1259885" y="291048"/>
                      </a:lnTo>
                      <a:lnTo>
                        <a:pt x="1258618" y="291383"/>
                      </a:lnTo>
                      <a:lnTo>
                        <a:pt x="1258156" y="294197"/>
                      </a:lnTo>
                      <a:lnTo>
                        <a:pt x="1258792" y="295997"/>
                      </a:lnTo>
                      <a:lnTo>
                        <a:pt x="1259969" y="297061"/>
                      </a:lnTo>
                      <a:lnTo>
                        <a:pt x="1260538" y="298527"/>
                      </a:lnTo>
                      <a:lnTo>
                        <a:pt x="1259360" y="301522"/>
                      </a:lnTo>
                      <a:lnTo>
                        <a:pt x="1258186" y="302637"/>
                      </a:lnTo>
                      <a:lnTo>
                        <a:pt x="1252481" y="305602"/>
                      </a:lnTo>
                      <a:lnTo>
                        <a:pt x="1252029" y="304652"/>
                      </a:lnTo>
                      <a:lnTo>
                        <a:pt x="1251071" y="303002"/>
                      </a:lnTo>
                      <a:lnTo>
                        <a:pt x="1250714" y="302001"/>
                      </a:lnTo>
                      <a:lnTo>
                        <a:pt x="1249727" y="302055"/>
                      </a:lnTo>
                      <a:lnTo>
                        <a:pt x="1249414" y="303438"/>
                      </a:lnTo>
                      <a:lnTo>
                        <a:pt x="1249826" y="306475"/>
                      </a:lnTo>
                      <a:lnTo>
                        <a:pt x="1249669" y="308224"/>
                      </a:lnTo>
                      <a:lnTo>
                        <a:pt x="1248991" y="309979"/>
                      </a:lnTo>
                      <a:lnTo>
                        <a:pt x="1248231" y="311071"/>
                      </a:lnTo>
                      <a:lnTo>
                        <a:pt x="1246087" y="313348"/>
                      </a:lnTo>
                      <a:lnTo>
                        <a:pt x="1241850" y="319842"/>
                      </a:lnTo>
                      <a:lnTo>
                        <a:pt x="1240876" y="320695"/>
                      </a:lnTo>
                      <a:lnTo>
                        <a:pt x="1239858" y="321360"/>
                      </a:lnTo>
                      <a:lnTo>
                        <a:pt x="1238889" y="322250"/>
                      </a:lnTo>
                      <a:lnTo>
                        <a:pt x="1238071" y="323748"/>
                      </a:lnTo>
                      <a:lnTo>
                        <a:pt x="1238226" y="324709"/>
                      </a:lnTo>
                      <a:lnTo>
                        <a:pt x="1238913" y="325765"/>
                      </a:lnTo>
                      <a:lnTo>
                        <a:pt x="1239359" y="327004"/>
                      </a:lnTo>
                      <a:lnTo>
                        <a:pt x="1238846" y="328529"/>
                      </a:lnTo>
                      <a:lnTo>
                        <a:pt x="1237614" y="329581"/>
                      </a:lnTo>
                      <a:lnTo>
                        <a:pt x="1236115" y="330103"/>
                      </a:lnTo>
                      <a:lnTo>
                        <a:pt x="1232628" y="330205"/>
                      </a:lnTo>
                      <a:lnTo>
                        <a:pt x="1229108" y="329297"/>
                      </a:lnTo>
                      <a:lnTo>
                        <a:pt x="1226020" y="327160"/>
                      </a:lnTo>
                      <a:lnTo>
                        <a:pt x="1224843" y="324465"/>
                      </a:lnTo>
                      <a:lnTo>
                        <a:pt x="1227042" y="321776"/>
                      </a:lnTo>
                      <a:lnTo>
                        <a:pt x="1223174" y="319110"/>
                      </a:lnTo>
                      <a:lnTo>
                        <a:pt x="1220451" y="316169"/>
                      </a:lnTo>
                      <a:lnTo>
                        <a:pt x="1219069" y="315856"/>
                      </a:lnTo>
                      <a:lnTo>
                        <a:pt x="1220548" y="331113"/>
                      </a:lnTo>
                      <a:lnTo>
                        <a:pt x="1219486" y="335112"/>
                      </a:lnTo>
                      <a:lnTo>
                        <a:pt x="1215161" y="333057"/>
                      </a:lnTo>
                      <a:lnTo>
                        <a:pt x="1213512" y="329602"/>
                      </a:lnTo>
                      <a:lnTo>
                        <a:pt x="1212462" y="324926"/>
                      </a:lnTo>
                      <a:lnTo>
                        <a:pt x="1211135" y="320837"/>
                      </a:lnTo>
                      <a:lnTo>
                        <a:pt x="1208656" y="319188"/>
                      </a:lnTo>
                      <a:lnTo>
                        <a:pt x="1204922" y="320139"/>
                      </a:lnTo>
                      <a:lnTo>
                        <a:pt x="1201336" y="322264"/>
                      </a:lnTo>
                      <a:lnTo>
                        <a:pt x="1198387" y="325138"/>
                      </a:lnTo>
                      <a:lnTo>
                        <a:pt x="1196585" y="328360"/>
                      </a:lnTo>
                      <a:lnTo>
                        <a:pt x="1199081" y="328109"/>
                      </a:lnTo>
                      <a:lnTo>
                        <a:pt x="1200434" y="327596"/>
                      </a:lnTo>
                      <a:lnTo>
                        <a:pt x="1201619" y="326790"/>
                      </a:lnTo>
                      <a:lnTo>
                        <a:pt x="1202638" y="325678"/>
                      </a:lnTo>
                      <a:lnTo>
                        <a:pt x="1206865" y="330550"/>
                      </a:lnTo>
                      <a:lnTo>
                        <a:pt x="1208186" y="332768"/>
                      </a:lnTo>
                      <a:lnTo>
                        <a:pt x="1177333" y="331970"/>
                      </a:lnTo>
                      <a:lnTo>
                        <a:pt x="1172735" y="335342"/>
                      </a:lnTo>
                      <a:lnTo>
                        <a:pt x="1151077" y="342912"/>
                      </a:lnTo>
                      <a:lnTo>
                        <a:pt x="1149727" y="343958"/>
                      </a:lnTo>
                      <a:lnTo>
                        <a:pt x="1148135" y="344740"/>
                      </a:lnTo>
                      <a:lnTo>
                        <a:pt x="1146482" y="343697"/>
                      </a:lnTo>
                      <a:lnTo>
                        <a:pt x="1146166" y="341719"/>
                      </a:lnTo>
                      <a:lnTo>
                        <a:pt x="1148559" y="339642"/>
                      </a:lnTo>
                      <a:lnTo>
                        <a:pt x="1144381" y="334950"/>
                      </a:lnTo>
                      <a:lnTo>
                        <a:pt x="1142728" y="330829"/>
                      </a:lnTo>
                      <a:lnTo>
                        <a:pt x="1142642" y="330121"/>
                      </a:lnTo>
                      <a:lnTo>
                        <a:pt x="1139699" y="329794"/>
                      </a:lnTo>
                      <a:lnTo>
                        <a:pt x="1140070" y="332436"/>
                      </a:lnTo>
                      <a:lnTo>
                        <a:pt x="1141690" y="335459"/>
                      </a:lnTo>
                      <a:lnTo>
                        <a:pt x="1142528" y="336280"/>
                      </a:lnTo>
                      <a:lnTo>
                        <a:pt x="1142757" y="339377"/>
                      </a:lnTo>
                      <a:lnTo>
                        <a:pt x="1142258" y="342109"/>
                      </a:lnTo>
                      <a:lnTo>
                        <a:pt x="1141132" y="344141"/>
                      </a:lnTo>
                      <a:lnTo>
                        <a:pt x="1139487" y="345159"/>
                      </a:lnTo>
                      <a:lnTo>
                        <a:pt x="1138387" y="344726"/>
                      </a:lnTo>
                      <a:lnTo>
                        <a:pt x="1137327" y="343513"/>
                      </a:lnTo>
                      <a:lnTo>
                        <a:pt x="1136205" y="342560"/>
                      </a:lnTo>
                      <a:lnTo>
                        <a:pt x="1134899" y="342827"/>
                      </a:lnTo>
                      <a:lnTo>
                        <a:pt x="1134947" y="343998"/>
                      </a:lnTo>
                      <a:lnTo>
                        <a:pt x="1136826" y="347110"/>
                      </a:lnTo>
                      <a:lnTo>
                        <a:pt x="1136218" y="347795"/>
                      </a:lnTo>
                      <a:lnTo>
                        <a:pt x="1131856" y="350334"/>
                      </a:lnTo>
                      <a:lnTo>
                        <a:pt x="1125241" y="360830"/>
                      </a:lnTo>
                      <a:lnTo>
                        <a:pt x="1121227" y="363357"/>
                      </a:lnTo>
                      <a:lnTo>
                        <a:pt x="1119411" y="364008"/>
                      </a:lnTo>
                      <a:lnTo>
                        <a:pt x="1115937" y="366741"/>
                      </a:lnTo>
                      <a:lnTo>
                        <a:pt x="1113112" y="367460"/>
                      </a:lnTo>
                      <a:lnTo>
                        <a:pt x="1109476" y="364767"/>
                      </a:lnTo>
                      <a:lnTo>
                        <a:pt x="1108875" y="364600"/>
                      </a:lnTo>
                      <a:lnTo>
                        <a:pt x="1107944" y="363959"/>
                      </a:lnTo>
                      <a:lnTo>
                        <a:pt x="1102123" y="362992"/>
                      </a:lnTo>
                      <a:lnTo>
                        <a:pt x="1104024" y="360292"/>
                      </a:lnTo>
                      <a:lnTo>
                        <a:pt x="1110136" y="354967"/>
                      </a:lnTo>
                      <a:lnTo>
                        <a:pt x="1111190" y="351569"/>
                      </a:lnTo>
                      <a:lnTo>
                        <a:pt x="1109737" y="349643"/>
                      </a:lnTo>
                      <a:lnTo>
                        <a:pt x="1102654" y="342740"/>
                      </a:lnTo>
                      <a:lnTo>
                        <a:pt x="1099818" y="340983"/>
                      </a:lnTo>
                      <a:lnTo>
                        <a:pt x="1099644" y="339863"/>
                      </a:lnTo>
                      <a:lnTo>
                        <a:pt x="1102232" y="339640"/>
                      </a:lnTo>
                      <a:lnTo>
                        <a:pt x="1102535" y="338605"/>
                      </a:lnTo>
                      <a:lnTo>
                        <a:pt x="1101247" y="337229"/>
                      </a:lnTo>
                      <a:lnTo>
                        <a:pt x="1099046" y="335995"/>
                      </a:lnTo>
                      <a:lnTo>
                        <a:pt x="1097645" y="336023"/>
                      </a:lnTo>
                      <a:lnTo>
                        <a:pt x="1096095" y="336500"/>
                      </a:lnTo>
                      <a:lnTo>
                        <a:pt x="1094312" y="336183"/>
                      </a:lnTo>
                      <a:lnTo>
                        <a:pt x="1092225" y="333887"/>
                      </a:lnTo>
                      <a:lnTo>
                        <a:pt x="1094791" y="343164"/>
                      </a:lnTo>
                      <a:lnTo>
                        <a:pt x="1096268" y="346092"/>
                      </a:lnTo>
                      <a:lnTo>
                        <a:pt x="1098108" y="344853"/>
                      </a:lnTo>
                      <a:lnTo>
                        <a:pt x="1100249" y="346024"/>
                      </a:lnTo>
                      <a:lnTo>
                        <a:pt x="1102200" y="348386"/>
                      </a:lnTo>
                      <a:lnTo>
                        <a:pt x="1103484" y="350738"/>
                      </a:lnTo>
                      <a:lnTo>
                        <a:pt x="1103935" y="355157"/>
                      </a:lnTo>
                      <a:lnTo>
                        <a:pt x="1101969" y="357422"/>
                      </a:lnTo>
                      <a:lnTo>
                        <a:pt x="1099405" y="358112"/>
                      </a:lnTo>
                      <a:lnTo>
                        <a:pt x="1098070" y="357785"/>
                      </a:lnTo>
                      <a:lnTo>
                        <a:pt x="1097304" y="357084"/>
                      </a:lnTo>
                      <a:lnTo>
                        <a:pt x="1095859" y="357291"/>
                      </a:lnTo>
                      <a:lnTo>
                        <a:pt x="1094497" y="358249"/>
                      </a:lnTo>
                      <a:lnTo>
                        <a:pt x="1093974" y="359844"/>
                      </a:lnTo>
                      <a:lnTo>
                        <a:pt x="1094766" y="361255"/>
                      </a:lnTo>
                      <a:lnTo>
                        <a:pt x="1096513" y="363217"/>
                      </a:lnTo>
                      <a:lnTo>
                        <a:pt x="1098458" y="364964"/>
                      </a:lnTo>
                      <a:lnTo>
                        <a:pt x="1099828" y="365685"/>
                      </a:lnTo>
                      <a:lnTo>
                        <a:pt x="1102752" y="366193"/>
                      </a:lnTo>
                      <a:lnTo>
                        <a:pt x="1105737" y="367637"/>
                      </a:lnTo>
                      <a:lnTo>
                        <a:pt x="1107241" y="369568"/>
                      </a:lnTo>
                      <a:lnTo>
                        <a:pt x="1105702" y="371525"/>
                      </a:lnTo>
                      <a:lnTo>
                        <a:pt x="1105890" y="372747"/>
                      </a:lnTo>
                      <a:lnTo>
                        <a:pt x="1106827" y="373300"/>
                      </a:lnTo>
                      <a:lnTo>
                        <a:pt x="1107380" y="373873"/>
                      </a:lnTo>
                      <a:lnTo>
                        <a:pt x="1106082" y="374753"/>
                      </a:lnTo>
                      <a:lnTo>
                        <a:pt x="1103683" y="375779"/>
                      </a:lnTo>
                      <a:lnTo>
                        <a:pt x="1095899" y="378403"/>
                      </a:lnTo>
                      <a:lnTo>
                        <a:pt x="1084264" y="385620"/>
                      </a:lnTo>
                      <a:lnTo>
                        <a:pt x="1065890" y="403206"/>
                      </a:lnTo>
                      <a:lnTo>
                        <a:pt x="1057709" y="414485"/>
                      </a:lnTo>
                      <a:lnTo>
                        <a:pt x="1050951" y="427341"/>
                      </a:lnTo>
                      <a:lnTo>
                        <a:pt x="1046611" y="431891"/>
                      </a:lnTo>
                      <a:lnTo>
                        <a:pt x="1044472" y="434763"/>
                      </a:lnTo>
                      <a:lnTo>
                        <a:pt x="1043458" y="440584"/>
                      </a:lnTo>
                      <a:lnTo>
                        <a:pt x="1040851" y="447306"/>
                      </a:lnTo>
                      <a:lnTo>
                        <a:pt x="1040120" y="450254"/>
                      </a:lnTo>
                      <a:lnTo>
                        <a:pt x="1040066" y="470125"/>
                      </a:lnTo>
                      <a:lnTo>
                        <a:pt x="1038634" y="479908"/>
                      </a:lnTo>
                      <a:lnTo>
                        <a:pt x="1034460" y="485101"/>
                      </a:lnTo>
                      <a:lnTo>
                        <a:pt x="1035292" y="481738"/>
                      </a:lnTo>
                      <a:lnTo>
                        <a:pt x="1035293" y="480146"/>
                      </a:lnTo>
                      <a:lnTo>
                        <a:pt x="1034530" y="478834"/>
                      </a:lnTo>
                      <a:lnTo>
                        <a:pt x="1034368" y="477727"/>
                      </a:lnTo>
                      <a:lnTo>
                        <a:pt x="1035903" y="472311"/>
                      </a:lnTo>
                      <a:lnTo>
                        <a:pt x="1032517" y="458280"/>
                      </a:lnTo>
                      <a:lnTo>
                        <a:pt x="1033014" y="453070"/>
                      </a:lnTo>
                      <a:lnTo>
                        <a:pt x="1028973" y="446231"/>
                      </a:lnTo>
                      <a:lnTo>
                        <a:pt x="1025356" y="438573"/>
                      </a:lnTo>
                      <a:lnTo>
                        <a:pt x="1024366" y="438622"/>
                      </a:lnTo>
                      <a:lnTo>
                        <a:pt x="1025052" y="443631"/>
                      </a:lnTo>
                      <a:lnTo>
                        <a:pt x="1028605" y="456323"/>
                      </a:lnTo>
                      <a:lnTo>
                        <a:pt x="1030862" y="460561"/>
                      </a:lnTo>
                      <a:lnTo>
                        <a:pt x="1030198" y="463102"/>
                      </a:lnTo>
                      <a:lnTo>
                        <a:pt x="1030323" y="466073"/>
                      </a:lnTo>
                      <a:lnTo>
                        <a:pt x="1031392" y="472225"/>
                      </a:lnTo>
                      <a:lnTo>
                        <a:pt x="1031149" y="474629"/>
                      </a:lnTo>
                      <a:lnTo>
                        <a:pt x="1029110" y="481374"/>
                      </a:lnTo>
                      <a:lnTo>
                        <a:pt x="1024533" y="490239"/>
                      </a:lnTo>
                      <a:lnTo>
                        <a:pt x="1023345" y="491808"/>
                      </a:lnTo>
                      <a:lnTo>
                        <a:pt x="1021147" y="492642"/>
                      </a:lnTo>
                      <a:lnTo>
                        <a:pt x="1018416" y="492490"/>
                      </a:lnTo>
                      <a:lnTo>
                        <a:pt x="1003555" y="489370"/>
                      </a:lnTo>
                      <a:lnTo>
                        <a:pt x="1000481" y="489226"/>
                      </a:lnTo>
                      <a:lnTo>
                        <a:pt x="991748" y="489890"/>
                      </a:lnTo>
                      <a:lnTo>
                        <a:pt x="989565" y="489071"/>
                      </a:lnTo>
                      <a:lnTo>
                        <a:pt x="985392" y="488459"/>
                      </a:lnTo>
                      <a:lnTo>
                        <a:pt x="972936" y="491764"/>
                      </a:lnTo>
                      <a:lnTo>
                        <a:pt x="967410" y="490819"/>
                      </a:lnTo>
                      <a:lnTo>
                        <a:pt x="967995" y="489457"/>
                      </a:lnTo>
                      <a:lnTo>
                        <a:pt x="967889" y="487996"/>
                      </a:lnTo>
                      <a:lnTo>
                        <a:pt x="966538" y="484719"/>
                      </a:lnTo>
                      <a:lnTo>
                        <a:pt x="965363" y="484775"/>
                      </a:lnTo>
                      <a:lnTo>
                        <a:pt x="964461" y="489920"/>
                      </a:lnTo>
                      <a:lnTo>
                        <a:pt x="961064" y="492252"/>
                      </a:lnTo>
                      <a:lnTo>
                        <a:pt x="951499" y="495273"/>
                      </a:lnTo>
                      <a:lnTo>
                        <a:pt x="938204" y="500814"/>
                      </a:lnTo>
                      <a:lnTo>
                        <a:pt x="939341" y="498826"/>
                      </a:lnTo>
                      <a:lnTo>
                        <a:pt x="940000" y="498164"/>
                      </a:lnTo>
                      <a:lnTo>
                        <a:pt x="939842" y="497043"/>
                      </a:lnTo>
                      <a:lnTo>
                        <a:pt x="935615" y="498494"/>
                      </a:lnTo>
                      <a:lnTo>
                        <a:pt x="935611" y="498491"/>
                      </a:lnTo>
                      <a:lnTo>
                        <a:pt x="923815" y="489068"/>
                      </a:lnTo>
                      <a:lnTo>
                        <a:pt x="912030" y="479649"/>
                      </a:lnTo>
                      <a:lnTo>
                        <a:pt x="900256" y="470235"/>
                      </a:lnTo>
                      <a:lnTo>
                        <a:pt x="888478" y="460818"/>
                      </a:lnTo>
                      <a:lnTo>
                        <a:pt x="876714" y="451402"/>
                      </a:lnTo>
                      <a:lnTo>
                        <a:pt x="864958" y="441987"/>
                      </a:lnTo>
                      <a:lnTo>
                        <a:pt x="853208" y="432572"/>
                      </a:lnTo>
                      <a:lnTo>
                        <a:pt x="841468" y="423157"/>
                      </a:lnTo>
                      <a:lnTo>
                        <a:pt x="829733" y="413745"/>
                      </a:lnTo>
                      <a:lnTo>
                        <a:pt x="818002" y="404332"/>
                      </a:lnTo>
                      <a:lnTo>
                        <a:pt x="806283" y="394921"/>
                      </a:lnTo>
                      <a:lnTo>
                        <a:pt x="794571" y="385510"/>
                      </a:lnTo>
                      <a:lnTo>
                        <a:pt x="782863" y="376100"/>
                      </a:lnTo>
                      <a:lnTo>
                        <a:pt x="771166" y="366691"/>
                      </a:lnTo>
                      <a:lnTo>
                        <a:pt x="759477" y="357278"/>
                      </a:lnTo>
                      <a:lnTo>
                        <a:pt x="747792" y="347875"/>
                      </a:lnTo>
                      <a:lnTo>
                        <a:pt x="742129" y="343328"/>
                      </a:lnTo>
                      <a:lnTo>
                        <a:pt x="738848" y="342483"/>
                      </a:lnTo>
                      <a:lnTo>
                        <a:pt x="733958" y="341890"/>
                      </a:lnTo>
                      <a:lnTo>
                        <a:pt x="728050" y="342033"/>
                      </a:lnTo>
                      <a:lnTo>
                        <a:pt x="726286" y="342066"/>
                      </a:lnTo>
                      <a:lnTo>
                        <a:pt x="721289" y="342199"/>
                      </a:lnTo>
                      <a:lnTo>
                        <a:pt x="713523" y="342381"/>
                      </a:lnTo>
                      <a:lnTo>
                        <a:pt x="703457" y="342617"/>
                      </a:lnTo>
                      <a:lnTo>
                        <a:pt x="691543" y="342899"/>
                      </a:lnTo>
                      <a:lnTo>
                        <a:pt x="678240" y="343208"/>
                      </a:lnTo>
                      <a:lnTo>
                        <a:pt x="664022" y="343542"/>
                      </a:lnTo>
                      <a:lnTo>
                        <a:pt x="649332" y="343871"/>
                      </a:lnTo>
                      <a:lnTo>
                        <a:pt x="634645" y="344199"/>
                      </a:lnTo>
                      <a:lnTo>
                        <a:pt x="620415" y="344513"/>
                      </a:lnTo>
                      <a:lnTo>
                        <a:pt x="607109" y="344811"/>
                      </a:lnTo>
                      <a:lnTo>
                        <a:pt x="595191" y="345067"/>
                      </a:lnTo>
                      <a:lnTo>
                        <a:pt x="585113" y="345291"/>
                      </a:lnTo>
                      <a:lnTo>
                        <a:pt x="577343" y="345459"/>
                      </a:lnTo>
                      <a:lnTo>
                        <a:pt x="572340" y="345565"/>
                      </a:lnTo>
                      <a:lnTo>
                        <a:pt x="570575" y="345605"/>
                      </a:lnTo>
                      <a:lnTo>
                        <a:pt x="564329" y="345728"/>
                      </a:lnTo>
                      <a:lnTo>
                        <a:pt x="563058" y="345450"/>
                      </a:lnTo>
                      <a:lnTo>
                        <a:pt x="561972" y="344577"/>
                      </a:lnTo>
                      <a:lnTo>
                        <a:pt x="561497" y="343474"/>
                      </a:lnTo>
                      <a:lnTo>
                        <a:pt x="561282" y="342242"/>
                      </a:lnTo>
                      <a:lnTo>
                        <a:pt x="559574" y="323810"/>
                      </a:lnTo>
                      <a:lnTo>
                        <a:pt x="559305" y="322667"/>
                      </a:lnTo>
                      <a:lnTo>
                        <a:pt x="558618" y="321621"/>
                      </a:lnTo>
                      <a:lnTo>
                        <a:pt x="550655" y="313442"/>
                      </a:lnTo>
                      <a:lnTo>
                        <a:pt x="540833" y="303341"/>
                      </a:lnTo>
                      <a:lnTo>
                        <a:pt x="534161" y="296458"/>
                      </a:lnTo>
                      <a:lnTo>
                        <a:pt x="533579" y="295955"/>
                      </a:lnTo>
                      <a:lnTo>
                        <a:pt x="533032" y="295698"/>
                      </a:lnTo>
                      <a:lnTo>
                        <a:pt x="532332" y="295667"/>
                      </a:lnTo>
                      <a:lnTo>
                        <a:pt x="531325" y="296251"/>
                      </a:lnTo>
                      <a:lnTo>
                        <a:pt x="519372" y="305458"/>
                      </a:lnTo>
                      <a:lnTo>
                        <a:pt x="518520" y="305756"/>
                      </a:lnTo>
                      <a:lnTo>
                        <a:pt x="517700" y="305764"/>
                      </a:lnTo>
                      <a:lnTo>
                        <a:pt x="516539" y="304986"/>
                      </a:lnTo>
                      <a:lnTo>
                        <a:pt x="515847" y="304212"/>
                      </a:lnTo>
                      <a:lnTo>
                        <a:pt x="515212" y="303379"/>
                      </a:lnTo>
                      <a:lnTo>
                        <a:pt x="514884" y="302545"/>
                      </a:lnTo>
                      <a:lnTo>
                        <a:pt x="514629" y="301747"/>
                      </a:lnTo>
                      <a:lnTo>
                        <a:pt x="514599" y="301020"/>
                      </a:lnTo>
                      <a:lnTo>
                        <a:pt x="514649" y="300371"/>
                      </a:lnTo>
                      <a:lnTo>
                        <a:pt x="514791" y="299623"/>
                      </a:lnTo>
                      <a:lnTo>
                        <a:pt x="516143" y="296152"/>
                      </a:lnTo>
                      <a:lnTo>
                        <a:pt x="516389" y="295225"/>
                      </a:lnTo>
                      <a:lnTo>
                        <a:pt x="516356" y="294275"/>
                      </a:lnTo>
                      <a:lnTo>
                        <a:pt x="516179" y="293334"/>
                      </a:lnTo>
                      <a:lnTo>
                        <a:pt x="515848" y="292462"/>
                      </a:lnTo>
                      <a:lnTo>
                        <a:pt x="515404" y="291756"/>
                      </a:lnTo>
                      <a:lnTo>
                        <a:pt x="514861" y="291071"/>
                      </a:lnTo>
                      <a:lnTo>
                        <a:pt x="514198" y="290461"/>
                      </a:lnTo>
                      <a:lnTo>
                        <a:pt x="513471" y="289911"/>
                      </a:lnTo>
                      <a:lnTo>
                        <a:pt x="512090" y="289497"/>
                      </a:lnTo>
                      <a:lnTo>
                        <a:pt x="510073" y="289227"/>
                      </a:lnTo>
                      <a:lnTo>
                        <a:pt x="500288" y="289176"/>
                      </a:lnTo>
                      <a:lnTo>
                        <a:pt x="492161" y="289124"/>
                      </a:lnTo>
                      <a:lnTo>
                        <a:pt x="482122" y="289049"/>
                      </a:lnTo>
                      <a:lnTo>
                        <a:pt x="470505" y="288967"/>
                      </a:lnTo>
                      <a:lnTo>
                        <a:pt x="457657" y="288876"/>
                      </a:lnTo>
                      <a:lnTo>
                        <a:pt x="443904" y="288766"/>
                      </a:lnTo>
                      <a:lnTo>
                        <a:pt x="429587" y="288663"/>
                      </a:lnTo>
                      <a:lnTo>
                        <a:pt x="415030" y="288545"/>
                      </a:lnTo>
                      <a:lnTo>
                        <a:pt x="400582" y="288426"/>
                      </a:lnTo>
                      <a:lnTo>
                        <a:pt x="386575" y="288308"/>
                      </a:lnTo>
                      <a:lnTo>
                        <a:pt x="373348" y="288191"/>
                      </a:lnTo>
                      <a:lnTo>
                        <a:pt x="361232" y="288080"/>
                      </a:lnTo>
                      <a:lnTo>
                        <a:pt x="350565" y="287989"/>
                      </a:lnTo>
                      <a:lnTo>
                        <a:pt x="341689" y="287896"/>
                      </a:lnTo>
                      <a:lnTo>
                        <a:pt x="334929" y="287834"/>
                      </a:lnTo>
                      <a:lnTo>
                        <a:pt x="330623" y="287790"/>
                      </a:lnTo>
                      <a:lnTo>
                        <a:pt x="329110" y="287783"/>
                      </a:lnTo>
                      <a:lnTo>
                        <a:pt x="317784" y="287667"/>
                      </a:lnTo>
                      <a:lnTo>
                        <a:pt x="305986" y="289153"/>
                      </a:lnTo>
                      <a:lnTo>
                        <a:pt x="305279" y="288966"/>
                      </a:lnTo>
                      <a:lnTo>
                        <a:pt x="304655" y="288606"/>
                      </a:lnTo>
                      <a:lnTo>
                        <a:pt x="304215" y="288179"/>
                      </a:lnTo>
                      <a:lnTo>
                        <a:pt x="303391" y="287138"/>
                      </a:lnTo>
                      <a:lnTo>
                        <a:pt x="302842" y="286597"/>
                      </a:lnTo>
                      <a:lnTo>
                        <a:pt x="302211" y="286124"/>
                      </a:lnTo>
                      <a:lnTo>
                        <a:pt x="301133" y="286082"/>
                      </a:lnTo>
                      <a:lnTo>
                        <a:pt x="300068" y="286506"/>
                      </a:lnTo>
                      <a:lnTo>
                        <a:pt x="297896" y="288022"/>
                      </a:lnTo>
                      <a:lnTo>
                        <a:pt x="296957" y="288959"/>
                      </a:lnTo>
                      <a:lnTo>
                        <a:pt x="296312" y="289985"/>
                      </a:lnTo>
                      <a:lnTo>
                        <a:pt x="295747" y="292646"/>
                      </a:lnTo>
                      <a:lnTo>
                        <a:pt x="295022" y="293406"/>
                      </a:lnTo>
                      <a:lnTo>
                        <a:pt x="293851" y="293856"/>
                      </a:lnTo>
                      <a:lnTo>
                        <a:pt x="288173" y="294104"/>
                      </a:lnTo>
                      <a:lnTo>
                        <a:pt x="287198" y="294537"/>
                      </a:lnTo>
                      <a:lnTo>
                        <a:pt x="286101" y="295532"/>
                      </a:lnTo>
                      <a:lnTo>
                        <a:pt x="285439" y="296311"/>
                      </a:lnTo>
                      <a:lnTo>
                        <a:pt x="284652" y="296737"/>
                      </a:lnTo>
                      <a:lnTo>
                        <a:pt x="283486" y="297028"/>
                      </a:lnTo>
                      <a:lnTo>
                        <a:pt x="277825" y="297332"/>
                      </a:lnTo>
                      <a:lnTo>
                        <a:pt x="276663" y="297563"/>
                      </a:lnTo>
                      <a:lnTo>
                        <a:pt x="268868" y="300315"/>
                      </a:lnTo>
                      <a:lnTo>
                        <a:pt x="263943" y="303024"/>
                      </a:lnTo>
                      <a:lnTo>
                        <a:pt x="262511" y="303638"/>
                      </a:lnTo>
                      <a:lnTo>
                        <a:pt x="261288" y="303845"/>
                      </a:lnTo>
                      <a:lnTo>
                        <a:pt x="259422" y="303761"/>
                      </a:lnTo>
                      <a:lnTo>
                        <a:pt x="258114" y="303902"/>
                      </a:lnTo>
                      <a:lnTo>
                        <a:pt x="257142" y="304722"/>
                      </a:lnTo>
                      <a:lnTo>
                        <a:pt x="256741" y="305725"/>
                      </a:lnTo>
                      <a:lnTo>
                        <a:pt x="256303" y="307772"/>
                      </a:lnTo>
                      <a:lnTo>
                        <a:pt x="255297" y="308876"/>
                      </a:lnTo>
                      <a:lnTo>
                        <a:pt x="253717" y="310084"/>
                      </a:lnTo>
                      <a:lnTo>
                        <a:pt x="250176" y="312088"/>
                      </a:lnTo>
                      <a:lnTo>
                        <a:pt x="248613" y="313248"/>
                      </a:lnTo>
                      <a:lnTo>
                        <a:pt x="247271" y="313976"/>
                      </a:lnTo>
                      <a:lnTo>
                        <a:pt x="246459" y="314162"/>
                      </a:lnTo>
                      <a:lnTo>
                        <a:pt x="245261" y="313841"/>
                      </a:lnTo>
                      <a:lnTo>
                        <a:pt x="244575" y="313203"/>
                      </a:lnTo>
                      <a:lnTo>
                        <a:pt x="243730" y="311722"/>
                      </a:lnTo>
                      <a:lnTo>
                        <a:pt x="238789" y="312936"/>
                      </a:lnTo>
                      <a:lnTo>
                        <a:pt x="194113" y="328850"/>
                      </a:lnTo>
                      <a:lnTo>
                        <a:pt x="191230" y="328987"/>
                      </a:lnTo>
                      <a:lnTo>
                        <a:pt x="179287" y="329558"/>
                      </a:lnTo>
                      <a:lnTo>
                        <a:pt x="167342" y="330126"/>
                      </a:lnTo>
                      <a:lnTo>
                        <a:pt x="155406" y="330700"/>
                      </a:lnTo>
                      <a:lnTo>
                        <a:pt x="143460" y="331264"/>
                      </a:lnTo>
                      <a:lnTo>
                        <a:pt x="131516" y="331833"/>
                      </a:lnTo>
                      <a:lnTo>
                        <a:pt x="119574" y="332387"/>
                      </a:lnTo>
                      <a:lnTo>
                        <a:pt x="107619" y="332938"/>
                      </a:lnTo>
                      <a:lnTo>
                        <a:pt x="95673" y="333495"/>
                      </a:lnTo>
                      <a:lnTo>
                        <a:pt x="83724" y="334053"/>
                      </a:lnTo>
                      <a:lnTo>
                        <a:pt x="71769" y="334593"/>
                      </a:lnTo>
                      <a:lnTo>
                        <a:pt x="59816" y="335133"/>
                      </a:lnTo>
                      <a:lnTo>
                        <a:pt x="47865" y="335685"/>
                      </a:lnTo>
                      <a:lnTo>
                        <a:pt x="35914" y="336224"/>
                      </a:lnTo>
                      <a:lnTo>
                        <a:pt x="23958" y="336762"/>
                      </a:lnTo>
                      <a:lnTo>
                        <a:pt x="11995" y="337296"/>
                      </a:lnTo>
                      <a:lnTo>
                        <a:pt x="40" y="337828"/>
                      </a:lnTo>
                      <a:lnTo>
                        <a:pt x="26" y="329480"/>
                      </a:lnTo>
                      <a:lnTo>
                        <a:pt x="23" y="320983"/>
                      </a:lnTo>
                      <a:lnTo>
                        <a:pt x="10" y="311036"/>
                      </a:lnTo>
                      <a:lnTo>
                        <a:pt x="1" y="304485"/>
                      </a:lnTo>
                      <a:lnTo>
                        <a:pt x="0" y="298421"/>
                      </a:lnTo>
                      <a:lnTo>
                        <a:pt x="150" y="297039"/>
                      </a:lnTo>
                      <a:lnTo>
                        <a:pt x="380" y="296232"/>
                      </a:lnTo>
                      <a:lnTo>
                        <a:pt x="1188" y="294541"/>
                      </a:lnTo>
                      <a:lnTo>
                        <a:pt x="2844" y="292393"/>
                      </a:lnTo>
                      <a:lnTo>
                        <a:pt x="5372" y="289824"/>
                      </a:lnTo>
                      <a:lnTo>
                        <a:pt x="6279" y="289073"/>
                      </a:lnTo>
                      <a:lnTo>
                        <a:pt x="7488" y="288426"/>
                      </a:lnTo>
                      <a:lnTo>
                        <a:pt x="9864" y="287631"/>
                      </a:lnTo>
                      <a:lnTo>
                        <a:pt x="11177" y="287610"/>
                      </a:lnTo>
                      <a:lnTo>
                        <a:pt x="12205" y="287907"/>
                      </a:lnTo>
                      <a:lnTo>
                        <a:pt x="13524" y="289034"/>
                      </a:lnTo>
                      <a:lnTo>
                        <a:pt x="14308" y="289533"/>
                      </a:lnTo>
                      <a:lnTo>
                        <a:pt x="15106" y="289855"/>
                      </a:lnTo>
                      <a:lnTo>
                        <a:pt x="16206" y="290011"/>
                      </a:lnTo>
                      <a:lnTo>
                        <a:pt x="18475" y="289975"/>
                      </a:lnTo>
                      <a:lnTo>
                        <a:pt x="26902" y="288791"/>
                      </a:lnTo>
                      <a:lnTo>
                        <a:pt x="30961" y="288692"/>
                      </a:lnTo>
                      <a:lnTo>
                        <a:pt x="31556" y="288568"/>
                      </a:lnTo>
                      <a:lnTo>
                        <a:pt x="32573" y="287878"/>
                      </a:lnTo>
                      <a:lnTo>
                        <a:pt x="34022" y="286631"/>
                      </a:lnTo>
                      <a:lnTo>
                        <a:pt x="36820" y="283695"/>
                      </a:lnTo>
                      <a:lnTo>
                        <a:pt x="37935" y="282037"/>
                      </a:lnTo>
                      <a:lnTo>
                        <a:pt x="38527" y="280556"/>
                      </a:lnTo>
                      <a:lnTo>
                        <a:pt x="38204" y="274873"/>
                      </a:lnTo>
                      <a:lnTo>
                        <a:pt x="38314" y="273865"/>
                      </a:lnTo>
                      <a:lnTo>
                        <a:pt x="38816" y="272054"/>
                      </a:lnTo>
                      <a:lnTo>
                        <a:pt x="39169" y="271186"/>
                      </a:lnTo>
                      <a:lnTo>
                        <a:pt x="41560" y="267456"/>
                      </a:lnTo>
                      <a:lnTo>
                        <a:pt x="41918" y="266571"/>
                      </a:lnTo>
                      <a:lnTo>
                        <a:pt x="42149" y="265645"/>
                      </a:lnTo>
                      <a:lnTo>
                        <a:pt x="42206" y="264618"/>
                      </a:lnTo>
                      <a:lnTo>
                        <a:pt x="42023" y="263725"/>
                      </a:lnTo>
                      <a:lnTo>
                        <a:pt x="41094" y="261422"/>
                      </a:lnTo>
                      <a:lnTo>
                        <a:pt x="41033" y="260784"/>
                      </a:lnTo>
                      <a:lnTo>
                        <a:pt x="41106" y="260096"/>
                      </a:lnTo>
                      <a:lnTo>
                        <a:pt x="41352" y="259405"/>
                      </a:lnTo>
                      <a:lnTo>
                        <a:pt x="41769" y="258570"/>
                      </a:lnTo>
                      <a:lnTo>
                        <a:pt x="44998" y="254877"/>
                      </a:lnTo>
                      <a:lnTo>
                        <a:pt x="46053" y="254004"/>
                      </a:lnTo>
                      <a:lnTo>
                        <a:pt x="47393" y="253224"/>
                      </a:lnTo>
                      <a:lnTo>
                        <a:pt x="53800" y="250880"/>
                      </a:lnTo>
                      <a:lnTo>
                        <a:pt x="54813" y="250207"/>
                      </a:lnTo>
                      <a:lnTo>
                        <a:pt x="55930" y="248931"/>
                      </a:lnTo>
                      <a:lnTo>
                        <a:pt x="56556" y="248019"/>
                      </a:lnTo>
                      <a:lnTo>
                        <a:pt x="58632" y="243131"/>
                      </a:lnTo>
                      <a:lnTo>
                        <a:pt x="59513" y="242348"/>
                      </a:lnTo>
                      <a:lnTo>
                        <a:pt x="60783" y="241567"/>
                      </a:lnTo>
                      <a:lnTo>
                        <a:pt x="63301" y="240621"/>
                      </a:lnTo>
                      <a:lnTo>
                        <a:pt x="68237" y="239485"/>
                      </a:lnTo>
                      <a:lnTo>
                        <a:pt x="69501" y="238930"/>
                      </a:lnTo>
                      <a:lnTo>
                        <a:pt x="70946" y="238094"/>
                      </a:lnTo>
                      <a:lnTo>
                        <a:pt x="73201" y="236183"/>
                      </a:lnTo>
                      <a:lnTo>
                        <a:pt x="76725" y="233959"/>
                      </a:lnTo>
                      <a:lnTo>
                        <a:pt x="79681" y="232807"/>
                      </a:lnTo>
                      <a:lnTo>
                        <a:pt x="82789" y="231961"/>
                      </a:lnTo>
                      <a:lnTo>
                        <a:pt x="83801" y="231866"/>
                      </a:lnTo>
                      <a:lnTo>
                        <a:pt x="89416" y="232138"/>
                      </a:lnTo>
                      <a:lnTo>
                        <a:pt x="90054" y="232081"/>
                      </a:lnTo>
                      <a:lnTo>
                        <a:pt x="90586" y="231972"/>
                      </a:lnTo>
                      <a:lnTo>
                        <a:pt x="92061" y="231408"/>
                      </a:lnTo>
                      <a:lnTo>
                        <a:pt x="93068" y="231187"/>
                      </a:lnTo>
                      <a:lnTo>
                        <a:pt x="94086" y="231117"/>
                      </a:lnTo>
                      <a:lnTo>
                        <a:pt x="95119" y="231224"/>
                      </a:lnTo>
                      <a:lnTo>
                        <a:pt x="96068" y="231417"/>
                      </a:lnTo>
                      <a:lnTo>
                        <a:pt x="97491" y="231346"/>
                      </a:lnTo>
                      <a:lnTo>
                        <a:pt x="99228" y="231004"/>
                      </a:lnTo>
                      <a:lnTo>
                        <a:pt x="102203" y="230015"/>
                      </a:lnTo>
                      <a:lnTo>
                        <a:pt x="103766" y="230055"/>
                      </a:lnTo>
                      <a:lnTo>
                        <a:pt x="104942" y="230355"/>
                      </a:lnTo>
                      <a:lnTo>
                        <a:pt x="105655" y="230938"/>
                      </a:lnTo>
                      <a:lnTo>
                        <a:pt x="106457" y="231479"/>
                      </a:lnTo>
                      <a:lnTo>
                        <a:pt x="107383" y="231964"/>
                      </a:lnTo>
                      <a:lnTo>
                        <a:pt x="108475" y="232226"/>
                      </a:lnTo>
                      <a:lnTo>
                        <a:pt x="109579" y="232275"/>
                      </a:lnTo>
                      <a:lnTo>
                        <a:pt x="119747" y="230012"/>
                      </a:lnTo>
                      <a:lnTo>
                        <a:pt x="120667" y="229493"/>
                      </a:lnTo>
                      <a:lnTo>
                        <a:pt x="121710" y="228690"/>
                      </a:lnTo>
                      <a:lnTo>
                        <a:pt x="124899" y="225419"/>
                      </a:lnTo>
                      <a:lnTo>
                        <a:pt x="126335" y="223569"/>
                      </a:lnTo>
                      <a:lnTo>
                        <a:pt x="127268" y="222680"/>
                      </a:lnTo>
                      <a:lnTo>
                        <a:pt x="128562" y="221783"/>
                      </a:lnTo>
                      <a:lnTo>
                        <a:pt x="136673" y="218162"/>
                      </a:lnTo>
                      <a:lnTo>
                        <a:pt x="138605" y="216551"/>
                      </a:lnTo>
                      <a:lnTo>
                        <a:pt x="140148" y="214714"/>
                      </a:lnTo>
                      <a:lnTo>
                        <a:pt x="142252" y="212666"/>
                      </a:lnTo>
                      <a:lnTo>
                        <a:pt x="143562" y="211964"/>
                      </a:lnTo>
                      <a:lnTo>
                        <a:pt x="145170" y="211615"/>
                      </a:lnTo>
                      <a:lnTo>
                        <a:pt x="146581" y="211635"/>
                      </a:lnTo>
                      <a:lnTo>
                        <a:pt x="147756" y="211853"/>
                      </a:lnTo>
                      <a:lnTo>
                        <a:pt x="148931" y="211759"/>
                      </a:lnTo>
                      <a:lnTo>
                        <a:pt x="149934" y="211271"/>
                      </a:lnTo>
                      <a:lnTo>
                        <a:pt x="152717" y="207069"/>
                      </a:lnTo>
                      <a:lnTo>
                        <a:pt x="155707" y="203911"/>
                      </a:lnTo>
                      <a:lnTo>
                        <a:pt x="156166" y="203255"/>
                      </a:lnTo>
                      <a:lnTo>
                        <a:pt x="157019" y="202573"/>
                      </a:lnTo>
                      <a:lnTo>
                        <a:pt x="158167" y="201941"/>
                      </a:lnTo>
                      <a:lnTo>
                        <a:pt x="161971" y="200452"/>
                      </a:lnTo>
                      <a:lnTo>
                        <a:pt x="163448" y="199499"/>
                      </a:lnTo>
                      <a:lnTo>
                        <a:pt x="166896" y="195806"/>
                      </a:lnTo>
                      <a:lnTo>
                        <a:pt x="167793" y="195175"/>
                      </a:lnTo>
                      <a:lnTo>
                        <a:pt x="168986" y="194619"/>
                      </a:lnTo>
                      <a:lnTo>
                        <a:pt x="174294" y="192939"/>
                      </a:lnTo>
                      <a:lnTo>
                        <a:pt x="182083" y="188709"/>
                      </a:lnTo>
                      <a:lnTo>
                        <a:pt x="182909" y="188388"/>
                      </a:lnTo>
                      <a:lnTo>
                        <a:pt x="183743" y="188327"/>
                      </a:lnTo>
                      <a:lnTo>
                        <a:pt x="185641" y="188749"/>
                      </a:lnTo>
                      <a:lnTo>
                        <a:pt x="192223" y="189051"/>
                      </a:lnTo>
                      <a:lnTo>
                        <a:pt x="194578" y="189538"/>
                      </a:lnTo>
                      <a:lnTo>
                        <a:pt x="195509" y="189235"/>
                      </a:lnTo>
                      <a:lnTo>
                        <a:pt x="196666" y="188437"/>
                      </a:lnTo>
                      <a:lnTo>
                        <a:pt x="200223" y="183915"/>
                      </a:lnTo>
                      <a:lnTo>
                        <a:pt x="203483" y="178409"/>
                      </a:lnTo>
                      <a:lnTo>
                        <a:pt x="204156" y="176815"/>
                      </a:lnTo>
                      <a:lnTo>
                        <a:pt x="204319" y="175905"/>
                      </a:lnTo>
                      <a:lnTo>
                        <a:pt x="204467" y="174118"/>
                      </a:lnTo>
                      <a:lnTo>
                        <a:pt x="204872" y="173277"/>
                      </a:lnTo>
                      <a:lnTo>
                        <a:pt x="206431" y="171125"/>
                      </a:lnTo>
                      <a:lnTo>
                        <a:pt x="206695" y="170054"/>
                      </a:lnTo>
                      <a:lnTo>
                        <a:pt x="206613" y="169136"/>
                      </a:lnTo>
                      <a:lnTo>
                        <a:pt x="204927" y="166305"/>
                      </a:lnTo>
                      <a:lnTo>
                        <a:pt x="204577" y="165452"/>
                      </a:lnTo>
                      <a:lnTo>
                        <a:pt x="204313" y="164536"/>
                      </a:lnTo>
                      <a:lnTo>
                        <a:pt x="204233" y="163562"/>
                      </a:lnTo>
                      <a:lnTo>
                        <a:pt x="204311" y="162555"/>
                      </a:lnTo>
                      <a:lnTo>
                        <a:pt x="204528" y="161587"/>
                      </a:lnTo>
                      <a:lnTo>
                        <a:pt x="204862" y="160775"/>
                      </a:lnTo>
                      <a:lnTo>
                        <a:pt x="205298" y="160003"/>
                      </a:lnTo>
                      <a:lnTo>
                        <a:pt x="206110" y="159251"/>
                      </a:lnTo>
                      <a:lnTo>
                        <a:pt x="207315" y="158654"/>
                      </a:lnTo>
                      <a:lnTo>
                        <a:pt x="209677" y="158123"/>
                      </a:lnTo>
                      <a:lnTo>
                        <a:pt x="211314" y="158079"/>
                      </a:lnTo>
                      <a:lnTo>
                        <a:pt x="212714" y="158301"/>
                      </a:lnTo>
                      <a:lnTo>
                        <a:pt x="214793" y="159062"/>
                      </a:lnTo>
                      <a:lnTo>
                        <a:pt x="217159" y="160395"/>
                      </a:lnTo>
                      <a:lnTo>
                        <a:pt x="218934" y="161645"/>
                      </a:lnTo>
                      <a:lnTo>
                        <a:pt x="219785" y="161870"/>
                      </a:lnTo>
                      <a:lnTo>
                        <a:pt x="220791" y="161666"/>
                      </a:lnTo>
                      <a:lnTo>
                        <a:pt x="221668" y="161077"/>
                      </a:lnTo>
                      <a:lnTo>
                        <a:pt x="222412" y="159715"/>
                      </a:lnTo>
                      <a:lnTo>
                        <a:pt x="222667" y="158663"/>
                      </a:lnTo>
                      <a:lnTo>
                        <a:pt x="223251" y="157147"/>
                      </a:lnTo>
                      <a:lnTo>
                        <a:pt x="224860" y="155174"/>
                      </a:lnTo>
                      <a:lnTo>
                        <a:pt x="225235" y="154394"/>
                      </a:lnTo>
                      <a:lnTo>
                        <a:pt x="225415" y="153549"/>
                      </a:lnTo>
                      <a:lnTo>
                        <a:pt x="225070" y="151011"/>
                      </a:lnTo>
                      <a:lnTo>
                        <a:pt x="225209" y="150346"/>
                      </a:lnTo>
                      <a:lnTo>
                        <a:pt x="225488" y="149827"/>
                      </a:lnTo>
                      <a:lnTo>
                        <a:pt x="225685" y="149571"/>
                      </a:lnTo>
                      <a:lnTo>
                        <a:pt x="235774" y="143785"/>
                      </a:lnTo>
                      <a:lnTo>
                        <a:pt x="239373" y="142362"/>
                      </a:lnTo>
                      <a:lnTo>
                        <a:pt x="246495" y="138619"/>
                      </a:lnTo>
                      <a:lnTo>
                        <a:pt x="247952" y="138286"/>
                      </a:lnTo>
                      <a:lnTo>
                        <a:pt x="249099" y="138428"/>
                      </a:lnTo>
                      <a:lnTo>
                        <a:pt x="249812" y="139027"/>
                      </a:lnTo>
                      <a:lnTo>
                        <a:pt x="252800" y="142303"/>
                      </a:lnTo>
                      <a:lnTo>
                        <a:pt x="253093" y="142770"/>
                      </a:lnTo>
                      <a:lnTo>
                        <a:pt x="253171" y="143315"/>
                      </a:lnTo>
                      <a:lnTo>
                        <a:pt x="253025" y="144102"/>
                      </a:lnTo>
                      <a:lnTo>
                        <a:pt x="252323" y="146315"/>
                      </a:lnTo>
                      <a:lnTo>
                        <a:pt x="252235" y="147666"/>
                      </a:lnTo>
                      <a:lnTo>
                        <a:pt x="252279" y="148712"/>
                      </a:lnTo>
                      <a:lnTo>
                        <a:pt x="252528" y="149706"/>
                      </a:lnTo>
                      <a:lnTo>
                        <a:pt x="253672" y="151992"/>
                      </a:lnTo>
                      <a:lnTo>
                        <a:pt x="254214" y="152715"/>
                      </a:lnTo>
                      <a:lnTo>
                        <a:pt x="254834" y="153408"/>
                      </a:lnTo>
                      <a:lnTo>
                        <a:pt x="255525" y="154038"/>
                      </a:lnTo>
                      <a:lnTo>
                        <a:pt x="256375" y="154545"/>
                      </a:lnTo>
                      <a:lnTo>
                        <a:pt x="257333" y="154960"/>
                      </a:lnTo>
                      <a:lnTo>
                        <a:pt x="258409" y="155168"/>
                      </a:lnTo>
                      <a:lnTo>
                        <a:pt x="259442" y="155141"/>
                      </a:lnTo>
                      <a:lnTo>
                        <a:pt x="260383" y="154918"/>
                      </a:lnTo>
                      <a:lnTo>
                        <a:pt x="261736" y="154279"/>
                      </a:lnTo>
                      <a:lnTo>
                        <a:pt x="268462" y="149822"/>
                      </a:lnTo>
                      <a:lnTo>
                        <a:pt x="269124" y="149484"/>
                      </a:lnTo>
                      <a:lnTo>
                        <a:pt x="269782" y="149037"/>
                      </a:lnTo>
                      <a:lnTo>
                        <a:pt x="270726" y="148162"/>
                      </a:lnTo>
                      <a:lnTo>
                        <a:pt x="271737" y="146988"/>
                      </a:lnTo>
                      <a:lnTo>
                        <a:pt x="274163" y="143412"/>
                      </a:lnTo>
                      <a:lnTo>
                        <a:pt x="274731" y="142243"/>
                      </a:lnTo>
                      <a:lnTo>
                        <a:pt x="276298" y="137983"/>
                      </a:lnTo>
                      <a:lnTo>
                        <a:pt x="277658" y="135887"/>
                      </a:lnTo>
                      <a:lnTo>
                        <a:pt x="282466" y="130411"/>
                      </a:lnTo>
                      <a:lnTo>
                        <a:pt x="285040" y="128360"/>
                      </a:lnTo>
                      <a:lnTo>
                        <a:pt x="287399" y="127041"/>
                      </a:lnTo>
                      <a:lnTo>
                        <a:pt x="288809" y="126435"/>
                      </a:lnTo>
                      <a:lnTo>
                        <a:pt x="294199" y="124812"/>
                      </a:lnTo>
                      <a:lnTo>
                        <a:pt x="297891" y="122872"/>
                      </a:lnTo>
                      <a:lnTo>
                        <a:pt x="299163" y="122679"/>
                      </a:lnTo>
                      <a:lnTo>
                        <a:pt x="302513" y="122634"/>
                      </a:lnTo>
                      <a:lnTo>
                        <a:pt x="303319" y="122267"/>
                      </a:lnTo>
                      <a:lnTo>
                        <a:pt x="307792" y="118840"/>
                      </a:lnTo>
                      <a:lnTo>
                        <a:pt x="309464" y="118048"/>
                      </a:lnTo>
                      <a:lnTo>
                        <a:pt x="310274" y="117851"/>
                      </a:lnTo>
                      <a:lnTo>
                        <a:pt x="310863" y="117836"/>
                      </a:lnTo>
                      <a:lnTo>
                        <a:pt x="311722" y="118076"/>
                      </a:lnTo>
                      <a:lnTo>
                        <a:pt x="313305" y="119008"/>
                      </a:lnTo>
                      <a:lnTo>
                        <a:pt x="314226" y="119372"/>
                      </a:lnTo>
                      <a:lnTo>
                        <a:pt x="315296" y="119482"/>
                      </a:lnTo>
                      <a:lnTo>
                        <a:pt x="317434" y="119480"/>
                      </a:lnTo>
                      <a:lnTo>
                        <a:pt x="318408" y="119619"/>
                      </a:lnTo>
                      <a:lnTo>
                        <a:pt x="319328" y="119949"/>
                      </a:lnTo>
                      <a:lnTo>
                        <a:pt x="320032" y="120386"/>
                      </a:lnTo>
                      <a:lnTo>
                        <a:pt x="320580" y="120929"/>
                      </a:lnTo>
                      <a:lnTo>
                        <a:pt x="321003" y="121712"/>
                      </a:lnTo>
                      <a:lnTo>
                        <a:pt x="321319" y="122552"/>
                      </a:lnTo>
                      <a:lnTo>
                        <a:pt x="321533" y="123404"/>
                      </a:lnTo>
                      <a:lnTo>
                        <a:pt x="321855" y="124256"/>
                      </a:lnTo>
                      <a:lnTo>
                        <a:pt x="322259" y="125010"/>
                      </a:lnTo>
                      <a:lnTo>
                        <a:pt x="322926" y="125675"/>
                      </a:lnTo>
                      <a:lnTo>
                        <a:pt x="323695" y="126214"/>
                      </a:lnTo>
                      <a:lnTo>
                        <a:pt x="324623" y="126695"/>
                      </a:lnTo>
                      <a:lnTo>
                        <a:pt x="325684" y="127096"/>
                      </a:lnTo>
                      <a:lnTo>
                        <a:pt x="328137" y="127621"/>
                      </a:lnTo>
                      <a:lnTo>
                        <a:pt x="329371" y="127719"/>
                      </a:lnTo>
                      <a:lnTo>
                        <a:pt x="330483" y="127649"/>
                      </a:lnTo>
                      <a:lnTo>
                        <a:pt x="331761" y="127041"/>
                      </a:lnTo>
                      <a:lnTo>
                        <a:pt x="333161" y="126073"/>
                      </a:lnTo>
                      <a:lnTo>
                        <a:pt x="335441" y="123899"/>
                      </a:lnTo>
                      <a:lnTo>
                        <a:pt x="336852" y="123142"/>
                      </a:lnTo>
                      <a:lnTo>
                        <a:pt x="338253" y="121816"/>
                      </a:lnTo>
                      <a:lnTo>
                        <a:pt x="339301" y="120292"/>
                      </a:lnTo>
                      <a:lnTo>
                        <a:pt x="351661" y="92343"/>
                      </a:lnTo>
                      <a:lnTo>
                        <a:pt x="352242" y="91550"/>
                      </a:lnTo>
                      <a:lnTo>
                        <a:pt x="356093" y="88129"/>
                      </a:lnTo>
                      <a:lnTo>
                        <a:pt x="367254" y="80163"/>
                      </a:lnTo>
                      <a:lnTo>
                        <a:pt x="367997" y="79836"/>
                      </a:lnTo>
                      <a:lnTo>
                        <a:pt x="368752" y="79797"/>
                      </a:lnTo>
                      <a:lnTo>
                        <a:pt x="377311" y="81997"/>
                      </a:lnTo>
                      <a:lnTo>
                        <a:pt x="382215" y="82409"/>
                      </a:lnTo>
                      <a:lnTo>
                        <a:pt x="382921" y="82244"/>
                      </a:lnTo>
                      <a:lnTo>
                        <a:pt x="383182" y="81704"/>
                      </a:lnTo>
                      <a:lnTo>
                        <a:pt x="382805" y="80793"/>
                      </a:lnTo>
                      <a:lnTo>
                        <a:pt x="382269" y="80024"/>
                      </a:lnTo>
                      <a:lnTo>
                        <a:pt x="379801" y="77365"/>
                      </a:lnTo>
                      <a:lnTo>
                        <a:pt x="377779" y="74362"/>
                      </a:lnTo>
                      <a:lnTo>
                        <a:pt x="377418" y="73607"/>
                      </a:lnTo>
                      <a:lnTo>
                        <a:pt x="377370" y="72379"/>
                      </a:lnTo>
                      <a:lnTo>
                        <a:pt x="377708" y="70735"/>
                      </a:lnTo>
                      <a:lnTo>
                        <a:pt x="380824" y="63121"/>
                      </a:lnTo>
                      <a:lnTo>
                        <a:pt x="382485" y="56515"/>
                      </a:lnTo>
                      <a:lnTo>
                        <a:pt x="382201" y="54923"/>
                      </a:lnTo>
                      <a:lnTo>
                        <a:pt x="379446" y="50709"/>
                      </a:lnTo>
                      <a:lnTo>
                        <a:pt x="379073" y="49868"/>
                      </a:lnTo>
                      <a:lnTo>
                        <a:pt x="380041" y="46213"/>
                      </a:lnTo>
                      <a:lnTo>
                        <a:pt x="385939" y="34774"/>
                      </a:lnTo>
                      <a:lnTo>
                        <a:pt x="387243" y="36671"/>
                      </a:lnTo>
                      <a:lnTo>
                        <a:pt x="387890" y="37174"/>
                      </a:lnTo>
                      <a:lnTo>
                        <a:pt x="388971" y="37407"/>
                      </a:lnTo>
                      <a:lnTo>
                        <a:pt x="392430" y="37297"/>
                      </a:lnTo>
                      <a:lnTo>
                        <a:pt x="400109" y="37514"/>
                      </a:lnTo>
                      <a:lnTo>
                        <a:pt x="407789" y="37731"/>
                      </a:lnTo>
                      <a:lnTo>
                        <a:pt x="415468" y="37946"/>
                      </a:lnTo>
                      <a:lnTo>
                        <a:pt x="423145" y="38160"/>
                      </a:lnTo>
                      <a:lnTo>
                        <a:pt x="430822" y="38372"/>
                      </a:lnTo>
                      <a:lnTo>
                        <a:pt x="438501" y="38584"/>
                      </a:lnTo>
                      <a:lnTo>
                        <a:pt x="446178" y="38796"/>
                      </a:lnTo>
                      <a:lnTo>
                        <a:pt x="453856" y="39005"/>
                      </a:lnTo>
                      <a:lnTo>
                        <a:pt x="464553" y="38710"/>
                      </a:lnTo>
                      <a:lnTo>
                        <a:pt x="475251" y="38412"/>
                      </a:lnTo>
                      <a:lnTo>
                        <a:pt x="485949" y="38112"/>
                      </a:lnTo>
                      <a:lnTo>
                        <a:pt x="496644" y="37814"/>
                      </a:lnTo>
                      <a:lnTo>
                        <a:pt x="507342" y="37513"/>
                      </a:lnTo>
                      <a:lnTo>
                        <a:pt x="518035" y="37206"/>
                      </a:lnTo>
                      <a:lnTo>
                        <a:pt x="528728" y="36897"/>
                      </a:lnTo>
                      <a:lnTo>
                        <a:pt x="539421" y="36587"/>
                      </a:lnTo>
                      <a:lnTo>
                        <a:pt x="550879" y="36569"/>
                      </a:lnTo>
                      <a:lnTo>
                        <a:pt x="562339" y="36554"/>
                      </a:lnTo>
                      <a:lnTo>
                        <a:pt x="573798" y="36537"/>
                      </a:lnTo>
                      <a:lnTo>
                        <a:pt x="585255" y="36513"/>
                      </a:lnTo>
                      <a:lnTo>
                        <a:pt x="596713" y="36490"/>
                      </a:lnTo>
                      <a:lnTo>
                        <a:pt x="608169" y="36465"/>
                      </a:lnTo>
                      <a:lnTo>
                        <a:pt x="619624" y="36433"/>
                      </a:lnTo>
                      <a:lnTo>
                        <a:pt x="631084" y="36403"/>
                      </a:lnTo>
                      <a:lnTo>
                        <a:pt x="649503" y="35487"/>
                      </a:lnTo>
                      <a:lnTo>
                        <a:pt x="667922" y="34569"/>
                      </a:lnTo>
                      <a:lnTo>
                        <a:pt x="686333" y="33640"/>
                      </a:lnTo>
                      <a:lnTo>
                        <a:pt x="704741" y="32704"/>
                      </a:lnTo>
                      <a:lnTo>
                        <a:pt x="723145" y="31762"/>
                      </a:lnTo>
                      <a:lnTo>
                        <a:pt x="741547" y="30813"/>
                      </a:lnTo>
                      <a:lnTo>
                        <a:pt x="759947" y="29861"/>
                      </a:lnTo>
                      <a:lnTo>
                        <a:pt x="778340" y="28899"/>
                      </a:lnTo>
                      <a:lnTo>
                        <a:pt x="802320" y="27708"/>
                      </a:lnTo>
                      <a:lnTo>
                        <a:pt x="826300" y="26505"/>
                      </a:lnTo>
                      <a:lnTo>
                        <a:pt x="850271" y="25291"/>
                      </a:lnTo>
                      <a:lnTo>
                        <a:pt x="874237" y="24066"/>
                      </a:lnTo>
                      <a:lnTo>
                        <a:pt x="898194" y="22829"/>
                      </a:lnTo>
                      <a:lnTo>
                        <a:pt x="922147" y="21581"/>
                      </a:lnTo>
                      <a:lnTo>
                        <a:pt x="946092" y="20322"/>
                      </a:lnTo>
                      <a:lnTo>
                        <a:pt x="970030" y="19051"/>
                      </a:lnTo>
                      <a:lnTo>
                        <a:pt x="989035" y="17862"/>
                      </a:lnTo>
                      <a:lnTo>
                        <a:pt x="1008030" y="16673"/>
                      </a:lnTo>
                      <a:lnTo>
                        <a:pt x="1027023" y="15474"/>
                      </a:lnTo>
                      <a:lnTo>
                        <a:pt x="1046012" y="14269"/>
                      </a:lnTo>
                      <a:lnTo>
                        <a:pt x="1064998" y="13056"/>
                      </a:lnTo>
                      <a:lnTo>
                        <a:pt x="1083975" y="11837"/>
                      </a:lnTo>
                      <a:lnTo>
                        <a:pt x="1102948" y="10610"/>
                      </a:lnTo>
                      <a:lnTo>
                        <a:pt x="1121917" y="9371"/>
                      </a:lnTo>
                      <a:lnTo>
                        <a:pt x="1132157" y="8725"/>
                      </a:lnTo>
                      <a:lnTo>
                        <a:pt x="1142397" y="8074"/>
                      </a:lnTo>
                      <a:lnTo>
                        <a:pt x="1152637" y="7420"/>
                      </a:lnTo>
                      <a:lnTo>
                        <a:pt x="1162871" y="6764"/>
                      </a:lnTo>
                      <a:lnTo>
                        <a:pt x="1173104" y="6106"/>
                      </a:lnTo>
                      <a:lnTo>
                        <a:pt x="1183334" y="5445"/>
                      </a:lnTo>
                      <a:lnTo>
                        <a:pt x="1193572" y="4783"/>
                      </a:lnTo>
                      <a:lnTo>
                        <a:pt x="1203801" y="4123"/>
                      </a:lnTo>
                      <a:lnTo>
                        <a:pt x="1210531" y="3787"/>
                      </a:lnTo>
                      <a:lnTo>
                        <a:pt x="1217263" y="3456"/>
                      </a:lnTo>
                      <a:lnTo>
                        <a:pt x="1223992" y="3123"/>
                      </a:lnTo>
                      <a:lnTo>
                        <a:pt x="1230723" y="2789"/>
                      </a:lnTo>
                      <a:lnTo>
                        <a:pt x="1236419" y="2498"/>
                      </a:lnTo>
                      <a:lnTo>
                        <a:pt x="1242120" y="2210"/>
                      </a:lnTo>
                      <a:lnTo>
                        <a:pt x="1247821" y="1922"/>
                      </a:lnTo>
                      <a:lnTo>
                        <a:pt x="1253515" y="1628"/>
                      </a:lnTo>
                      <a:close/>
                      <a:moveTo>
                        <a:pt x="1276519" y="445"/>
                      </a:moveTo>
                      <a:lnTo>
                        <a:pt x="1276567" y="579"/>
                      </a:lnTo>
                      <a:lnTo>
                        <a:pt x="1277543" y="5452"/>
                      </a:lnTo>
                      <a:lnTo>
                        <a:pt x="1278257" y="7085"/>
                      </a:lnTo>
                      <a:lnTo>
                        <a:pt x="1279192" y="8653"/>
                      </a:lnTo>
                      <a:lnTo>
                        <a:pt x="1279408" y="9870"/>
                      </a:lnTo>
                      <a:lnTo>
                        <a:pt x="1277941" y="10448"/>
                      </a:lnTo>
                      <a:lnTo>
                        <a:pt x="1271639" y="10823"/>
                      </a:lnTo>
                      <a:lnTo>
                        <a:pt x="1268245" y="9876"/>
                      </a:lnTo>
                      <a:lnTo>
                        <a:pt x="1267219" y="7399"/>
                      </a:lnTo>
                      <a:lnTo>
                        <a:pt x="1266508" y="4909"/>
                      </a:lnTo>
                      <a:lnTo>
                        <a:pt x="1261739" y="2691"/>
                      </a:lnTo>
                      <a:lnTo>
                        <a:pt x="1260451" y="1269"/>
                      </a:lnTo>
                      <a:lnTo>
                        <a:pt x="1260482" y="1267"/>
                      </a:lnTo>
                      <a:lnTo>
                        <a:pt x="1267590" y="906"/>
                      </a:lnTo>
                      <a:lnTo>
                        <a:pt x="1267592" y="910"/>
                      </a:lnTo>
                      <a:lnTo>
                        <a:pt x="1268566" y="2081"/>
                      </a:lnTo>
                      <a:lnTo>
                        <a:pt x="1270424" y="1896"/>
                      </a:lnTo>
                      <a:lnTo>
                        <a:pt x="1271278" y="719"/>
                      </a:lnTo>
                      <a:lnTo>
                        <a:pt x="1271279" y="718"/>
                      </a:lnTo>
                      <a:lnTo>
                        <a:pt x="1273786" y="590"/>
                      </a:lnTo>
                      <a:close/>
                      <a:moveTo>
                        <a:pt x="1285123" y="0"/>
                      </a:moveTo>
                      <a:lnTo>
                        <a:pt x="1285125" y="1"/>
                      </a:lnTo>
                      <a:lnTo>
                        <a:pt x="1285197" y="194"/>
                      </a:lnTo>
                      <a:lnTo>
                        <a:pt x="1296695" y="29090"/>
                      </a:lnTo>
                      <a:lnTo>
                        <a:pt x="1300269" y="36183"/>
                      </a:lnTo>
                      <a:lnTo>
                        <a:pt x="1301629" y="39822"/>
                      </a:lnTo>
                      <a:lnTo>
                        <a:pt x="1302639" y="44097"/>
                      </a:lnTo>
                      <a:lnTo>
                        <a:pt x="1303823" y="46926"/>
                      </a:lnTo>
                      <a:lnTo>
                        <a:pt x="1309871" y="55449"/>
                      </a:lnTo>
                      <a:lnTo>
                        <a:pt x="1319737" y="73366"/>
                      </a:lnTo>
                      <a:lnTo>
                        <a:pt x="1350351" y="113785"/>
                      </a:lnTo>
                      <a:lnTo>
                        <a:pt x="1353210" y="121125"/>
                      </a:lnTo>
                      <a:lnTo>
                        <a:pt x="1359738" y="131423"/>
                      </a:lnTo>
                      <a:lnTo>
                        <a:pt x="1358407" y="130776"/>
                      </a:lnTo>
                      <a:lnTo>
                        <a:pt x="1355152" y="129760"/>
                      </a:lnTo>
                      <a:lnTo>
                        <a:pt x="1354001" y="129190"/>
                      </a:lnTo>
                      <a:lnTo>
                        <a:pt x="1353367" y="127973"/>
                      </a:lnTo>
                      <a:lnTo>
                        <a:pt x="1353119" y="126353"/>
                      </a:lnTo>
                      <a:lnTo>
                        <a:pt x="1352682" y="124956"/>
                      </a:lnTo>
                      <a:lnTo>
                        <a:pt x="1348927" y="123155"/>
                      </a:lnTo>
                      <a:lnTo>
                        <a:pt x="1347448" y="119958"/>
                      </a:lnTo>
                      <a:lnTo>
                        <a:pt x="1345920" y="113668"/>
                      </a:lnTo>
                      <a:lnTo>
                        <a:pt x="1342794" y="109103"/>
                      </a:lnTo>
                      <a:lnTo>
                        <a:pt x="1329831" y="96165"/>
                      </a:lnTo>
                      <a:lnTo>
                        <a:pt x="1328874" y="96222"/>
                      </a:lnTo>
                      <a:lnTo>
                        <a:pt x="1327072" y="97473"/>
                      </a:lnTo>
                      <a:lnTo>
                        <a:pt x="1324575" y="96859"/>
                      </a:lnTo>
                      <a:lnTo>
                        <a:pt x="1322693" y="94772"/>
                      </a:lnTo>
                      <a:lnTo>
                        <a:pt x="1322741" y="91676"/>
                      </a:lnTo>
                      <a:lnTo>
                        <a:pt x="1324352" y="93500"/>
                      </a:lnTo>
                      <a:lnTo>
                        <a:pt x="1325709" y="93698"/>
                      </a:lnTo>
                      <a:lnTo>
                        <a:pt x="1329170" y="92414"/>
                      </a:lnTo>
                      <a:lnTo>
                        <a:pt x="1327989" y="89648"/>
                      </a:lnTo>
                      <a:lnTo>
                        <a:pt x="1326432" y="87338"/>
                      </a:lnTo>
                      <a:lnTo>
                        <a:pt x="1324747" y="86433"/>
                      </a:lnTo>
                      <a:lnTo>
                        <a:pt x="1323134" y="87849"/>
                      </a:lnTo>
                      <a:lnTo>
                        <a:pt x="1320535" y="86105"/>
                      </a:lnTo>
                      <a:lnTo>
                        <a:pt x="1318911" y="83307"/>
                      </a:lnTo>
                      <a:lnTo>
                        <a:pt x="1317601" y="80132"/>
                      </a:lnTo>
                      <a:lnTo>
                        <a:pt x="1315931" y="77204"/>
                      </a:lnTo>
                      <a:lnTo>
                        <a:pt x="1315719" y="76001"/>
                      </a:lnTo>
                      <a:lnTo>
                        <a:pt x="1315616" y="71567"/>
                      </a:lnTo>
                      <a:lnTo>
                        <a:pt x="1313057" y="66240"/>
                      </a:lnTo>
                      <a:lnTo>
                        <a:pt x="1309941" y="61092"/>
                      </a:lnTo>
                      <a:lnTo>
                        <a:pt x="1307290" y="55347"/>
                      </a:lnTo>
                      <a:lnTo>
                        <a:pt x="1301557" y="47589"/>
                      </a:lnTo>
                      <a:lnTo>
                        <a:pt x="1299071" y="45540"/>
                      </a:lnTo>
                      <a:lnTo>
                        <a:pt x="1298407" y="44583"/>
                      </a:lnTo>
                      <a:lnTo>
                        <a:pt x="1298524" y="43954"/>
                      </a:lnTo>
                      <a:lnTo>
                        <a:pt x="1298966" y="43657"/>
                      </a:lnTo>
                      <a:lnTo>
                        <a:pt x="1299275" y="43683"/>
                      </a:lnTo>
                      <a:lnTo>
                        <a:pt x="1297368" y="38876"/>
                      </a:lnTo>
                      <a:lnTo>
                        <a:pt x="1294355" y="27283"/>
                      </a:lnTo>
                      <a:lnTo>
                        <a:pt x="1293435" y="24951"/>
                      </a:lnTo>
                      <a:lnTo>
                        <a:pt x="1290501" y="20720"/>
                      </a:lnTo>
                      <a:lnTo>
                        <a:pt x="1289465" y="17694"/>
                      </a:lnTo>
                      <a:lnTo>
                        <a:pt x="1286495" y="13508"/>
                      </a:lnTo>
                      <a:lnTo>
                        <a:pt x="1284280" y="7508"/>
                      </a:lnTo>
                      <a:lnTo>
                        <a:pt x="1281059" y="1408"/>
                      </a:lnTo>
                      <a:lnTo>
                        <a:pt x="1281003" y="445"/>
                      </a:lnTo>
                      <a:lnTo>
                        <a:pt x="1280881" y="214"/>
                      </a:lnTo>
                      <a:lnTo>
                        <a:pt x="1280904" y="213"/>
                      </a:lnTo>
                      <a:lnTo>
                        <a:pt x="1282965" y="11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7" name="Freeform 160">
                  <a:extLst>
                    <a:ext uri="{FF2B5EF4-FFF2-40B4-BE49-F238E27FC236}">
                      <a16:creationId xmlns:a16="http://schemas.microsoft.com/office/drawing/2014/main" id="{E290EF55-4CF8-4EEA-9430-D31447DF8109}"/>
                    </a:ext>
                  </a:extLst>
                </p:cNvPr>
                <p:cNvSpPr/>
                <p:nvPr>
                  <p:custDataLst>
                    <p:tags r:id="rId38"/>
                  </p:custDataLst>
                </p:nvPr>
              </p:nvSpPr>
              <p:spPr>
                <a:xfrm>
                  <a:off x="4386445" y="4013895"/>
                  <a:ext cx="444933" cy="4729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58086" h="699476">
                      <a:moveTo>
                        <a:pt x="658085" y="292368"/>
                      </a:moveTo>
                      <a:lnTo>
                        <a:pt x="655878" y="293056"/>
                      </a:lnTo>
                      <a:lnTo>
                        <a:pt x="649904" y="297655"/>
                      </a:lnTo>
                      <a:lnTo>
                        <a:pt x="647203" y="296466"/>
                      </a:lnTo>
                      <a:lnTo>
                        <a:pt x="643477" y="296766"/>
                      </a:lnTo>
                      <a:lnTo>
                        <a:pt x="639834" y="298114"/>
                      </a:lnTo>
                      <a:lnTo>
                        <a:pt x="637433" y="300088"/>
                      </a:lnTo>
                      <a:lnTo>
                        <a:pt x="636414" y="303676"/>
                      </a:lnTo>
                      <a:lnTo>
                        <a:pt x="637965" y="306636"/>
                      </a:lnTo>
                      <a:lnTo>
                        <a:pt x="643813" y="312405"/>
                      </a:lnTo>
                      <a:lnTo>
                        <a:pt x="648007" y="318099"/>
                      </a:lnTo>
                      <a:lnTo>
                        <a:pt x="649813" y="321132"/>
                      </a:lnTo>
                      <a:lnTo>
                        <a:pt x="650739" y="323652"/>
                      </a:lnTo>
                      <a:lnTo>
                        <a:pt x="650575" y="327624"/>
                      </a:lnTo>
                      <a:lnTo>
                        <a:pt x="648585" y="334637"/>
                      </a:lnTo>
                      <a:lnTo>
                        <a:pt x="648940" y="338730"/>
                      </a:lnTo>
                      <a:lnTo>
                        <a:pt x="649350" y="338684"/>
                      </a:lnTo>
                      <a:lnTo>
                        <a:pt x="650345" y="338823"/>
                      </a:lnTo>
                      <a:lnTo>
                        <a:pt x="651439" y="339182"/>
                      </a:lnTo>
                      <a:lnTo>
                        <a:pt x="652174" y="339778"/>
                      </a:lnTo>
                      <a:lnTo>
                        <a:pt x="652418" y="340614"/>
                      </a:lnTo>
                      <a:lnTo>
                        <a:pt x="652510" y="342508"/>
                      </a:lnTo>
                      <a:lnTo>
                        <a:pt x="652720" y="343363"/>
                      </a:lnTo>
                      <a:lnTo>
                        <a:pt x="654283" y="347232"/>
                      </a:lnTo>
                      <a:lnTo>
                        <a:pt x="654834" y="349552"/>
                      </a:lnTo>
                      <a:lnTo>
                        <a:pt x="654337" y="350615"/>
                      </a:lnTo>
                      <a:lnTo>
                        <a:pt x="653731" y="356118"/>
                      </a:lnTo>
                      <a:lnTo>
                        <a:pt x="653056" y="357219"/>
                      </a:lnTo>
                      <a:lnTo>
                        <a:pt x="649474" y="360412"/>
                      </a:lnTo>
                      <a:lnTo>
                        <a:pt x="648273" y="361867"/>
                      </a:lnTo>
                      <a:lnTo>
                        <a:pt x="646172" y="368892"/>
                      </a:lnTo>
                      <a:lnTo>
                        <a:pt x="645404" y="372991"/>
                      </a:lnTo>
                      <a:lnTo>
                        <a:pt x="645255" y="379275"/>
                      </a:lnTo>
                      <a:lnTo>
                        <a:pt x="644453" y="382506"/>
                      </a:lnTo>
                      <a:lnTo>
                        <a:pt x="642162" y="388779"/>
                      </a:lnTo>
                      <a:lnTo>
                        <a:pt x="641179" y="393156"/>
                      </a:lnTo>
                      <a:lnTo>
                        <a:pt x="641124" y="396546"/>
                      </a:lnTo>
                      <a:lnTo>
                        <a:pt x="642353" y="403775"/>
                      </a:lnTo>
                      <a:lnTo>
                        <a:pt x="642471" y="407781"/>
                      </a:lnTo>
                      <a:lnTo>
                        <a:pt x="641700" y="410271"/>
                      </a:lnTo>
                      <a:lnTo>
                        <a:pt x="640664" y="412447"/>
                      </a:lnTo>
                      <a:lnTo>
                        <a:pt x="639998" y="415500"/>
                      </a:lnTo>
                      <a:lnTo>
                        <a:pt x="640393" y="416648"/>
                      </a:lnTo>
                      <a:lnTo>
                        <a:pt x="641201" y="418079"/>
                      </a:lnTo>
                      <a:lnTo>
                        <a:pt x="641634" y="419717"/>
                      </a:lnTo>
                      <a:lnTo>
                        <a:pt x="640890" y="421485"/>
                      </a:lnTo>
                      <a:lnTo>
                        <a:pt x="639034" y="421804"/>
                      </a:lnTo>
                      <a:lnTo>
                        <a:pt x="636878" y="420906"/>
                      </a:lnTo>
                      <a:lnTo>
                        <a:pt x="635263" y="420803"/>
                      </a:lnTo>
                      <a:lnTo>
                        <a:pt x="635016" y="423525"/>
                      </a:lnTo>
                      <a:lnTo>
                        <a:pt x="635704" y="425311"/>
                      </a:lnTo>
                      <a:lnTo>
                        <a:pt x="636823" y="427295"/>
                      </a:lnTo>
                      <a:lnTo>
                        <a:pt x="637672" y="429177"/>
                      </a:lnTo>
                      <a:lnTo>
                        <a:pt x="637521" y="430636"/>
                      </a:lnTo>
                      <a:lnTo>
                        <a:pt x="635188" y="433897"/>
                      </a:lnTo>
                      <a:lnTo>
                        <a:pt x="634461" y="435427"/>
                      </a:lnTo>
                      <a:lnTo>
                        <a:pt x="633810" y="437493"/>
                      </a:lnTo>
                      <a:lnTo>
                        <a:pt x="633558" y="439325"/>
                      </a:lnTo>
                      <a:lnTo>
                        <a:pt x="633451" y="442822"/>
                      </a:lnTo>
                      <a:lnTo>
                        <a:pt x="632906" y="444667"/>
                      </a:lnTo>
                      <a:lnTo>
                        <a:pt x="629925" y="446742"/>
                      </a:lnTo>
                      <a:lnTo>
                        <a:pt x="628921" y="448261"/>
                      </a:lnTo>
                      <a:lnTo>
                        <a:pt x="630086" y="450335"/>
                      </a:lnTo>
                      <a:lnTo>
                        <a:pt x="632824" y="452656"/>
                      </a:lnTo>
                      <a:lnTo>
                        <a:pt x="634696" y="454609"/>
                      </a:lnTo>
                      <a:lnTo>
                        <a:pt x="635534" y="456923"/>
                      </a:lnTo>
                      <a:lnTo>
                        <a:pt x="635214" y="460337"/>
                      </a:lnTo>
                      <a:lnTo>
                        <a:pt x="633078" y="462234"/>
                      </a:lnTo>
                      <a:lnTo>
                        <a:pt x="632512" y="462994"/>
                      </a:lnTo>
                      <a:lnTo>
                        <a:pt x="632471" y="463777"/>
                      </a:lnTo>
                      <a:lnTo>
                        <a:pt x="632973" y="465736"/>
                      </a:lnTo>
                      <a:lnTo>
                        <a:pt x="633038" y="466582"/>
                      </a:lnTo>
                      <a:lnTo>
                        <a:pt x="631976" y="471468"/>
                      </a:lnTo>
                      <a:lnTo>
                        <a:pt x="631957" y="473272"/>
                      </a:lnTo>
                      <a:lnTo>
                        <a:pt x="622395" y="479156"/>
                      </a:lnTo>
                      <a:lnTo>
                        <a:pt x="607421" y="491887"/>
                      </a:lnTo>
                      <a:lnTo>
                        <a:pt x="603296" y="497055"/>
                      </a:lnTo>
                      <a:lnTo>
                        <a:pt x="600645" y="502999"/>
                      </a:lnTo>
                      <a:lnTo>
                        <a:pt x="598755" y="505783"/>
                      </a:lnTo>
                      <a:lnTo>
                        <a:pt x="593049" y="508066"/>
                      </a:lnTo>
                      <a:lnTo>
                        <a:pt x="590674" y="510239"/>
                      </a:lnTo>
                      <a:lnTo>
                        <a:pt x="587019" y="514710"/>
                      </a:lnTo>
                      <a:lnTo>
                        <a:pt x="584909" y="516189"/>
                      </a:lnTo>
                      <a:lnTo>
                        <a:pt x="582051" y="517508"/>
                      </a:lnTo>
                      <a:lnTo>
                        <a:pt x="578864" y="518505"/>
                      </a:lnTo>
                      <a:lnTo>
                        <a:pt x="575763" y="518959"/>
                      </a:lnTo>
                      <a:lnTo>
                        <a:pt x="572857" y="520207"/>
                      </a:lnTo>
                      <a:lnTo>
                        <a:pt x="568244" y="524906"/>
                      </a:lnTo>
                      <a:lnTo>
                        <a:pt x="564732" y="525504"/>
                      </a:lnTo>
                      <a:lnTo>
                        <a:pt x="561481" y="523686"/>
                      </a:lnTo>
                      <a:lnTo>
                        <a:pt x="559044" y="520491"/>
                      </a:lnTo>
                      <a:lnTo>
                        <a:pt x="557162" y="517472"/>
                      </a:lnTo>
                      <a:lnTo>
                        <a:pt x="555562" y="516166"/>
                      </a:lnTo>
                      <a:lnTo>
                        <a:pt x="549135" y="516413"/>
                      </a:lnTo>
                      <a:lnTo>
                        <a:pt x="546909" y="517567"/>
                      </a:lnTo>
                      <a:lnTo>
                        <a:pt x="536928" y="527977"/>
                      </a:lnTo>
                      <a:lnTo>
                        <a:pt x="536154" y="531157"/>
                      </a:lnTo>
                      <a:lnTo>
                        <a:pt x="536028" y="538006"/>
                      </a:lnTo>
                      <a:lnTo>
                        <a:pt x="534573" y="540254"/>
                      </a:lnTo>
                      <a:lnTo>
                        <a:pt x="533247" y="539370"/>
                      </a:lnTo>
                      <a:lnTo>
                        <a:pt x="532302" y="539106"/>
                      </a:lnTo>
                      <a:lnTo>
                        <a:pt x="531442" y="539455"/>
                      </a:lnTo>
                      <a:lnTo>
                        <a:pt x="530363" y="540445"/>
                      </a:lnTo>
                      <a:lnTo>
                        <a:pt x="529148" y="539184"/>
                      </a:lnTo>
                      <a:lnTo>
                        <a:pt x="526022" y="540494"/>
                      </a:lnTo>
                      <a:lnTo>
                        <a:pt x="522304" y="540760"/>
                      </a:lnTo>
                      <a:lnTo>
                        <a:pt x="519367" y="541703"/>
                      </a:lnTo>
                      <a:lnTo>
                        <a:pt x="517824" y="547762"/>
                      </a:lnTo>
                      <a:lnTo>
                        <a:pt x="511621" y="555763"/>
                      </a:lnTo>
                      <a:lnTo>
                        <a:pt x="510845" y="558571"/>
                      </a:lnTo>
                      <a:lnTo>
                        <a:pt x="510931" y="560757"/>
                      </a:lnTo>
                      <a:lnTo>
                        <a:pt x="512240" y="567247"/>
                      </a:lnTo>
                      <a:lnTo>
                        <a:pt x="512443" y="571288"/>
                      </a:lnTo>
                      <a:lnTo>
                        <a:pt x="511470" y="572954"/>
                      </a:lnTo>
                      <a:lnTo>
                        <a:pt x="504270" y="576102"/>
                      </a:lnTo>
                      <a:lnTo>
                        <a:pt x="503384" y="576197"/>
                      </a:lnTo>
                      <a:lnTo>
                        <a:pt x="503402" y="576827"/>
                      </a:lnTo>
                      <a:lnTo>
                        <a:pt x="504406" y="579107"/>
                      </a:lnTo>
                      <a:lnTo>
                        <a:pt x="505130" y="580154"/>
                      </a:lnTo>
                      <a:lnTo>
                        <a:pt x="506302" y="581288"/>
                      </a:lnTo>
                      <a:lnTo>
                        <a:pt x="507554" y="582191"/>
                      </a:lnTo>
                      <a:lnTo>
                        <a:pt x="508552" y="582539"/>
                      </a:lnTo>
                      <a:lnTo>
                        <a:pt x="510709" y="583790"/>
                      </a:lnTo>
                      <a:lnTo>
                        <a:pt x="511412" y="586899"/>
                      </a:lnTo>
                      <a:lnTo>
                        <a:pt x="511519" y="593273"/>
                      </a:lnTo>
                      <a:lnTo>
                        <a:pt x="512890" y="596154"/>
                      </a:lnTo>
                      <a:lnTo>
                        <a:pt x="514662" y="598838"/>
                      </a:lnTo>
                      <a:lnTo>
                        <a:pt x="515014" y="600873"/>
                      </a:lnTo>
                      <a:lnTo>
                        <a:pt x="512144" y="601798"/>
                      </a:lnTo>
                      <a:lnTo>
                        <a:pt x="510417" y="601270"/>
                      </a:lnTo>
                      <a:lnTo>
                        <a:pt x="507396" y="598775"/>
                      </a:lnTo>
                      <a:lnTo>
                        <a:pt x="505472" y="598255"/>
                      </a:lnTo>
                      <a:lnTo>
                        <a:pt x="504002" y="599213"/>
                      </a:lnTo>
                      <a:lnTo>
                        <a:pt x="503368" y="601334"/>
                      </a:lnTo>
                      <a:lnTo>
                        <a:pt x="502774" y="605619"/>
                      </a:lnTo>
                      <a:lnTo>
                        <a:pt x="501276" y="608188"/>
                      </a:lnTo>
                      <a:lnTo>
                        <a:pt x="498709" y="611149"/>
                      </a:lnTo>
                      <a:lnTo>
                        <a:pt x="495630" y="612859"/>
                      </a:lnTo>
                      <a:lnTo>
                        <a:pt x="492599" y="611653"/>
                      </a:lnTo>
                      <a:lnTo>
                        <a:pt x="491262" y="609779"/>
                      </a:lnTo>
                      <a:lnTo>
                        <a:pt x="491436" y="608908"/>
                      </a:lnTo>
                      <a:lnTo>
                        <a:pt x="492115" y="607886"/>
                      </a:lnTo>
                      <a:lnTo>
                        <a:pt x="492255" y="605528"/>
                      </a:lnTo>
                      <a:lnTo>
                        <a:pt x="492524" y="605007"/>
                      </a:lnTo>
                      <a:lnTo>
                        <a:pt x="493231" y="604674"/>
                      </a:lnTo>
                      <a:lnTo>
                        <a:pt x="493920" y="604169"/>
                      </a:lnTo>
                      <a:lnTo>
                        <a:pt x="494117" y="603138"/>
                      </a:lnTo>
                      <a:lnTo>
                        <a:pt x="493796" y="601966"/>
                      </a:lnTo>
                      <a:lnTo>
                        <a:pt x="493320" y="601045"/>
                      </a:lnTo>
                      <a:lnTo>
                        <a:pt x="492674" y="600134"/>
                      </a:lnTo>
                      <a:lnTo>
                        <a:pt x="491565" y="597378"/>
                      </a:lnTo>
                      <a:lnTo>
                        <a:pt x="489797" y="594681"/>
                      </a:lnTo>
                      <a:lnTo>
                        <a:pt x="487481" y="592655"/>
                      </a:lnTo>
                      <a:lnTo>
                        <a:pt x="482479" y="591061"/>
                      </a:lnTo>
                      <a:lnTo>
                        <a:pt x="479879" y="589190"/>
                      </a:lnTo>
                      <a:lnTo>
                        <a:pt x="476829" y="587620"/>
                      </a:lnTo>
                      <a:lnTo>
                        <a:pt x="473240" y="587711"/>
                      </a:lnTo>
                      <a:lnTo>
                        <a:pt x="468873" y="591230"/>
                      </a:lnTo>
                      <a:lnTo>
                        <a:pt x="464551" y="597538"/>
                      </a:lnTo>
                      <a:lnTo>
                        <a:pt x="461127" y="604505"/>
                      </a:lnTo>
                      <a:lnTo>
                        <a:pt x="459444" y="610022"/>
                      </a:lnTo>
                      <a:lnTo>
                        <a:pt x="459351" y="617261"/>
                      </a:lnTo>
                      <a:lnTo>
                        <a:pt x="458818" y="618914"/>
                      </a:lnTo>
                      <a:lnTo>
                        <a:pt x="457255" y="622088"/>
                      </a:lnTo>
                      <a:lnTo>
                        <a:pt x="456030" y="626230"/>
                      </a:lnTo>
                      <a:lnTo>
                        <a:pt x="453384" y="628168"/>
                      </a:lnTo>
                      <a:lnTo>
                        <a:pt x="451085" y="630380"/>
                      </a:lnTo>
                      <a:lnTo>
                        <a:pt x="451181" y="634502"/>
                      </a:lnTo>
                      <a:lnTo>
                        <a:pt x="452678" y="637489"/>
                      </a:lnTo>
                      <a:lnTo>
                        <a:pt x="454370" y="639838"/>
                      </a:lnTo>
                      <a:lnTo>
                        <a:pt x="455916" y="642668"/>
                      </a:lnTo>
                      <a:lnTo>
                        <a:pt x="456989" y="647094"/>
                      </a:lnTo>
                      <a:lnTo>
                        <a:pt x="456344" y="649646"/>
                      </a:lnTo>
                      <a:lnTo>
                        <a:pt x="456306" y="651461"/>
                      </a:lnTo>
                      <a:lnTo>
                        <a:pt x="458113" y="654453"/>
                      </a:lnTo>
                      <a:lnTo>
                        <a:pt x="459029" y="656664"/>
                      </a:lnTo>
                      <a:lnTo>
                        <a:pt x="459701" y="659026"/>
                      </a:lnTo>
                      <a:lnTo>
                        <a:pt x="459815" y="660804"/>
                      </a:lnTo>
                      <a:lnTo>
                        <a:pt x="457866" y="663801"/>
                      </a:lnTo>
                      <a:lnTo>
                        <a:pt x="454539" y="664530"/>
                      </a:lnTo>
                      <a:lnTo>
                        <a:pt x="447108" y="663864"/>
                      </a:lnTo>
                      <a:lnTo>
                        <a:pt x="445186" y="665581"/>
                      </a:lnTo>
                      <a:lnTo>
                        <a:pt x="443989" y="669460"/>
                      </a:lnTo>
                      <a:lnTo>
                        <a:pt x="442726" y="685065"/>
                      </a:lnTo>
                      <a:lnTo>
                        <a:pt x="441986" y="688232"/>
                      </a:lnTo>
                      <a:lnTo>
                        <a:pt x="440137" y="691379"/>
                      </a:lnTo>
                      <a:lnTo>
                        <a:pt x="437542" y="692489"/>
                      </a:lnTo>
                      <a:lnTo>
                        <a:pt x="426219" y="693824"/>
                      </a:lnTo>
                      <a:lnTo>
                        <a:pt x="413864" y="698566"/>
                      </a:lnTo>
                      <a:lnTo>
                        <a:pt x="407284" y="699475"/>
                      </a:lnTo>
                      <a:lnTo>
                        <a:pt x="401451" y="697374"/>
                      </a:lnTo>
                      <a:lnTo>
                        <a:pt x="401367" y="697279"/>
                      </a:lnTo>
                      <a:lnTo>
                        <a:pt x="399573" y="695233"/>
                      </a:lnTo>
                      <a:lnTo>
                        <a:pt x="396354" y="689666"/>
                      </a:lnTo>
                      <a:lnTo>
                        <a:pt x="394475" y="687231"/>
                      </a:lnTo>
                      <a:lnTo>
                        <a:pt x="382234" y="677528"/>
                      </a:lnTo>
                      <a:lnTo>
                        <a:pt x="375966" y="674422"/>
                      </a:lnTo>
                      <a:lnTo>
                        <a:pt x="368602" y="672464"/>
                      </a:lnTo>
                      <a:lnTo>
                        <a:pt x="361556" y="669349"/>
                      </a:lnTo>
                      <a:lnTo>
                        <a:pt x="356270" y="662786"/>
                      </a:lnTo>
                      <a:lnTo>
                        <a:pt x="351159" y="651292"/>
                      </a:lnTo>
                      <a:lnTo>
                        <a:pt x="350258" y="647897"/>
                      </a:lnTo>
                      <a:lnTo>
                        <a:pt x="349842" y="644408"/>
                      </a:lnTo>
                      <a:lnTo>
                        <a:pt x="349033" y="641884"/>
                      </a:lnTo>
                      <a:lnTo>
                        <a:pt x="347078" y="640765"/>
                      </a:lnTo>
                      <a:lnTo>
                        <a:pt x="343202" y="641498"/>
                      </a:lnTo>
                      <a:lnTo>
                        <a:pt x="334477" y="646129"/>
                      </a:lnTo>
                      <a:lnTo>
                        <a:pt x="330671" y="646819"/>
                      </a:lnTo>
                      <a:lnTo>
                        <a:pt x="327655" y="647854"/>
                      </a:lnTo>
                      <a:lnTo>
                        <a:pt x="325487" y="650061"/>
                      </a:lnTo>
                      <a:lnTo>
                        <a:pt x="323677" y="652578"/>
                      </a:lnTo>
                      <a:lnTo>
                        <a:pt x="321741" y="654521"/>
                      </a:lnTo>
                      <a:lnTo>
                        <a:pt x="317809" y="656091"/>
                      </a:lnTo>
                      <a:lnTo>
                        <a:pt x="316726" y="657017"/>
                      </a:lnTo>
                      <a:lnTo>
                        <a:pt x="316051" y="658385"/>
                      </a:lnTo>
                      <a:lnTo>
                        <a:pt x="314906" y="662138"/>
                      </a:lnTo>
                      <a:lnTo>
                        <a:pt x="313904" y="663928"/>
                      </a:lnTo>
                      <a:lnTo>
                        <a:pt x="311369" y="665614"/>
                      </a:lnTo>
                      <a:lnTo>
                        <a:pt x="308169" y="665886"/>
                      </a:lnTo>
                      <a:lnTo>
                        <a:pt x="301065" y="664980"/>
                      </a:lnTo>
                      <a:lnTo>
                        <a:pt x="297525" y="665393"/>
                      </a:lnTo>
                      <a:lnTo>
                        <a:pt x="295389" y="666753"/>
                      </a:lnTo>
                      <a:lnTo>
                        <a:pt x="293693" y="668225"/>
                      </a:lnTo>
                      <a:lnTo>
                        <a:pt x="288345" y="669605"/>
                      </a:lnTo>
                      <a:lnTo>
                        <a:pt x="287121" y="669192"/>
                      </a:lnTo>
                      <a:lnTo>
                        <a:pt x="285008" y="667360"/>
                      </a:lnTo>
                      <a:lnTo>
                        <a:pt x="280726" y="662074"/>
                      </a:lnTo>
                      <a:lnTo>
                        <a:pt x="279489" y="660884"/>
                      </a:lnTo>
                      <a:lnTo>
                        <a:pt x="277432" y="659731"/>
                      </a:lnTo>
                      <a:lnTo>
                        <a:pt x="272871" y="658124"/>
                      </a:lnTo>
                      <a:lnTo>
                        <a:pt x="270662" y="657722"/>
                      </a:lnTo>
                      <a:lnTo>
                        <a:pt x="265279" y="658032"/>
                      </a:lnTo>
                      <a:lnTo>
                        <a:pt x="263787" y="657387"/>
                      </a:lnTo>
                      <a:lnTo>
                        <a:pt x="261016" y="655232"/>
                      </a:lnTo>
                      <a:lnTo>
                        <a:pt x="257920" y="653545"/>
                      </a:lnTo>
                      <a:lnTo>
                        <a:pt x="254616" y="652513"/>
                      </a:lnTo>
                      <a:lnTo>
                        <a:pt x="251227" y="652333"/>
                      </a:lnTo>
                      <a:lnTo>
                        <a:pt x="240854" y="655911"/>
                      </a:lnTo>
                      <a:lnTo>
                        <a:pt x="239258" y="657118"/>
                      </a:lnTo>
                      <a:lnTo>
                        <a:pt x="238929" y="660430"/>
                      </a:lnTo>
                      <a:lnTo>
                        <a:pt x="237379" y="663367"/>
                      </a:lnTo>
                      <a:lnTo>
                        <a:pt x="234956" y="665543"/>
                      </a:lnTo>
                      <a:lnTo>
                        <a:pt x="231992" y="666538"/>
                      </a:lnTo>
                      <a:lnTo>
                        <a:pt x="225217" y="665471"/>
                      </a:lnTo>
                      <a:lnTo>
                        <a:pt x="218746" y="661966"/>
                      </a:lnTo>
                      <a:lnTo>
                        <a:pt x="207339" y="652896"/>
                      </a:lnTo>
                      <a:lnTo>
                        <a:pt x="204681" y="650136"/>
                      </a:lnTo>
                      <a:lnTo>
                        <a:pt x="202285" y="647069"/>
                      </a:lnTo>
                      <a:lnTo>
                        <a:pt x="199633" y="644606"/>
                      </a:lnTo>
                      <a:lnTo>
                        <a:pt x="192960" y="643179"/>
                      </a:lnTo>
                      <a:lnTo>
                        <a:pt x="186497" y="640784"/>
                      </a:lnTo>
                      <a:lnTo>
                        <a:pt x="182862" y="640453"/>
                      </a:lnTo>
                      <a:lnTo>
                        <a:pt x="169527" y="643349"/>
                      </a:lnTo>
                      <a:lnTo>
                        <a:pt x="166118" y="643103"/>
                      </a:lnTo>
                      <a:lnTo>
                        <a:pt x="148486" y="637965"/>
                      </a:lnTo>
                      <a:lnTo>
                        <a:pt x="144885" y="635819"/>
                      </a:lnTo>
                      <a:lnTo>
                        <a:pt x="143116" y="632824"/>
                      </a:lnTo>
                      <a:lnTo>
                        <a:pt x="142486" y="628630"/>
                      </a:lnTo>
                      <a:lnTo>
                        <a:pt x="141555" y="625050"/>
                      </a:lnTo>
                      <a:lnTo>
                        <a:pt x="140239" y="621936"/>
                      </a:lnTo>
                      <a:lnTo>
                        <a:pt x="138466" y="619100"/>
                      </a:lnTo>
                      <a:lnTo>
                        <a:pt x="136689" y="617465"/>
                      </a:lnTo>
                      <a:lnTo>
                        <a:pt x="134433" y="615862"/>
                      </a:lnTo>
                      <a:lnTo>
                        <a:pt x="132420" y="613977"/>
                      </a:lnTo>
                      <a:lnTo>
                        <a:pt x="131371" y="611542"/>
                      </a:lnTo>
                      <a:lnTo>
                        <a:pt x="130734" y="608494"/>
                      </a:lnTo>
                      <a:lnTo>
                        <a:pt x="129450" y="605276"/>
                      </a:lnTo>
                      <a:lnTo>
                        <a:pt x="127534" y="602366"/>
                      </a:lnTo>
                      <a:lnTo>
                        <a:pt x="125004" y="600238"/>
                      </a:lnTo>
                      <a:lnTo>
                        <a:pt x="118267" y="597411"/>
                      </a:lnTo>
                      <a:lnTo>
                        <a:pt x="114405" y="596310"/>
                      </a:lnTo>
                      <a:lnTo>
                        <a:pt x="111377" y="595912"/>
                      </a:lnTo>
                      <a:lnTo>
                        <a:pt x="109503" y="594548"/>
                      </a:lnTo>
                      <a:lnTo>
                        <a:pt x="107542" y="591407"/>
                      </a:lnTo>
                      <a:lnTo>
                        <a:pt x="105050" y="588220"/>
                      </a:lnTo>
                      <a:lnTo>
                        <a:pt x="101559" y="586647"/>
                      </a:lnTo>
                      <a:lnTo>
                        <a:pt x="95210" y="588046"/>
                      </a:lnTo>
                      <a:lnTo>
                        <a:pt x="82722" y="593899"/>
                      </a:lnTo>
                      <a:lnTo>
                        <a:pt x="76210" y="593556"/>
                      </a:lnTo>
                      <a:lnTo>
                        <a:pt x="67695" y="586694"/>
                      </a:lnTo>
                      <a:lnTo>
                        <a:pt x="65326" y="585630"/>
                      </a:lnTo>
                      <a:lnTo>
                        <a:pt x="64451" y="585063"/>
                      </a:lnTo>
                      <a:lnTo>
                        <a:pt x="62239" y="582515"/>
                      </a:lnTo>
                      <a:lnTo>
                        <a:pt x="60819" y="581963"/>
                      </a:lnTo>
                      <a:lnTo>
                        <a:pt x="59024" y="582451"/>
                      </a:lnTo>
                      <a:lnTo>
                        <a:pt x="57729" y="583524"/>
                      </a:lnTo>
                      <a:lnTo>
                        <a:pt x="55529" y="585971"/>
                      </a:lnTo>
                      <a:lnTo>
                        <a:pt x="47543" y="591012"/>
                      </a:lnTo>
                      <a:lnTo>
                        <a:pt x="46160" y="576750"/>
                      </a:lnTo>
                      <a:lnTo>
                        <a:pt x="44769" y="562484"/>
                      </a:lnTo>
                      <a:lnTo>
                        <a:pt x="43374" y="548222"/>
                      </a:lnTo>
                      <a:lnTo>
                        <a:pt x="41980" y="533972"/>
                      </a:lnTo>
                      <a:lnTo>
                        <a:pt x="40575" y="519721"/>
                      </a:lnTo>
                      <a:lnTo>
                        <a:pt x="39173" y="505474"/>
                      </a:lnTo>
                      <a:lnTo>
                        <a:pt x="37761" y="491236"/>
                      </a:lnTo>
                      <a:lnTo>
                        <a:pt x="36353" y="476996"/>
                      </a:lnTo>
                      <a:lnTo>
                        <a:pt x="34938" y="462765"/>
                      </a:lnTo>
                      <a:lnTo>
                        <a:pt x="33515" y="448534"/>
                      </a:lnTo>
                      <a:lnTo>
                        <a:pt x="32095" y="434305"/>
                      </a:lnTo>
                      <a:lnTo>
                        <a:pt x="30666" y="420086"/>
                      </a:lnTo>
                      <a:lnTo>
                        <a:pt x="29236" y="405866"/>
                      </a:lnTo>
                      <a:lnTo>
                        <a:pt x="27802" y="391645"/>
                      </a:lnTo>
                      <a:lnTo>
                        <a:pt x="26365" y="377432"/>
                      </a:lnTo>
                      <a:lnTo>
                        <a:pt x="24927" y="363224"/>
                      </a:lnTo>
                      <a:lnTo>
                        <a:pt x="23490" y="349018"/>
                      </a:lnTo>
                      <a:lnTo>
                        <a:pt x="22043" y="334821"/>
                      </a:lnTo>
                      <a:lnTo>
                        <a:pt x="20591" y="320624"/>
                      </a:lnTo>
                      <a:lnTo>
                        <a:pt x="19137" y="306435"/>
                      </a:lnTo>
                      <a:lnTo>
                        <a:pt x="17678" y="292245"/>
                      </a:lnTo>
                      <a:lnTo>
                        <a:pt x="16217" y="278064"/>
                      </a:lnTo>
                      <a:lnTo>
                        <a:pt x="14751" y="263882"/>
                      </a:lnTo>
                      <a:lnTo>
                        <a:pt x="13281" y="249705"/>
                      </a:lnTo>
                      <a:lnTo>
                        <a:pt x="11809" y="235530"/>
                      </a:lnTo>
                      <a:lnTo>
                        <a:pt x="10329" y="221364"/>
                      </a:lnTo>
                      <a:lnTo>
                        <a:pt x="8852" y="207193"/>
                      </a:lnTo>
                      <a:lnTo>
                        <a:pt x="6804" y="194165"/>
                      </a:lnTo>
                      <a:lnTo>
                        <a:pt x="5229" y="180344"/>
                      </a:lnTo>
                      <a:lnTo>
                        <a:pt x="3184" y="164892"/>
                      </a:lnTo>
                      <a:lnTo>
                        <a:pt x="1584" y="150914"/>
                      </a:lnTo>
                      <a:lnTo>
                        <a:pt x="0" y="137104"/>
                      </a:lnTo>
                      <a:lnTo>
                        <a:pt x="10131" y="136339"/>
                      </a:lnTo>
                      <a:lnTo>
                        <a:pt x="24170" y="135271"/>
                      </a:lnTo>
                      <a:lnTo>
                        <a:pt x="36650" y="134620"/>
                      </a:lnTo>
                      <a:lnTo>
                        <a:pt x="48821" y="133976"/>
                      </a:lnTo>
                      <a:lnTo>
                        <a:pt x="61253" y="132956"/>
                      </a:lnTo>
                      <a:lnTo>
                        <a:pt x="73824" y="132471"/>
                      </a:lnTo>
                      <a:lnTo>
                        <a:pt x="85491" y="131474"/>
                      </a:lnTo>
                      <a:lnTo>
                        <a:pt x="97786" y="130631"/>
                      </a:lnTo>
                      <a:lnTo>
                        <a:pt x="110187" y="129417"/>
                      </a:lnTo>
                      <a:lnTo>
                        <a:pt x="122783" y="128554"/>
                      </a:lnTo>
                      <a:lnTo>
                        <a:pt x="134410" y="127906"/>
                      </a:lnTo>
                      <a:lnTo>
                        <a:pt x="147132" y="126850"/>
                      </a:lnTo>
                      <a:lnTo>
                        <a:pt x="158328" y="125852"/>
                      </a:lnTo>
                      <a:lnTo>
                        <a:pt x="170893" y="124795"/>
                      </a:lnTo>
                      <a:lnTo>
                        <a:pt x="183449" y="124277"/>
                      </a:lnTo>
                      <a:lnTo>
                        <a:pt x="204002" y="122334"/>
                      </a:lnTo>
                      <a:lnTo>
                        <a:pt x="224093" y="102202"/>
                      </a:lnTo>
                      <a:lnTo>
                        <a:pt x="240882" y="85317"/>
                      </a:lnTo>
                      <a:lnTo>
                        <a:pt x="242378" y="88346"/>
                      </a:lnTo>
                      <a:lnTo>
                        <a:pt x="247231" y="95929"/>
                      </a:lnTo>
                      <a:lnTo>
                        <a:pt x="252129" y="100619"/>
                      </a:lnTo>
                      <a:lnTo>
                        <a:pt x="265465" y="106978"/>
                      </a:lnTo>
                      <a:lnTo>
                        <a:pt x="284168" y="115885"/>
                      </a:lnTo>
                      <a:lnTo>
                        <a:pt x="308505" y="127456"/>
                      </a:lnTo>
                      <a:lnTo>
                        <a:pt x="315264" y="129110"/>
                      </a:lnTo>
                      <a:lnTo>
                        <a:pt x="346863" y="127202"/>
                      </a:lnTo>
                      <a:lnTo>
                        <a:pt x="350629" y="126171"/>
                      </a:lnTo>
                      <a:lnTo>
                        <a:pt x="370065" y="113642"/>
                      </a:lnTo>
                      <a:lnTo>
                        <a:pt x="389474" y="101098"/>
                      </a:lnTo>
                      <a:lnTo>
                        <a:pt x="408829" y="88564"/>
                      </a:lnTo>
                      <a:lnTo>
                        <a:pt x="428138" y="76002"/>
                      </a:lnTo>
                      <a:lnTo>
                        <a:pt x="447398" y="63430"/>
                      </a:lnTo>
                      <a:lnTo>
                        <a:pt x="466631" y="50857"/>
                      </a:lnTo>
                      <a:lnTo>
                        <a:pt x="485815" y="38271"/>
                      </a:lnTo>
                      <a:lnTo>
                        <a:pt x="504961" y="25670"/>
                      </a:lnTo>
                      <a:lnTo>
                        <a:pt x="523181" y="21324"/>
                      </a:lnTo>
                      <a:lnTo>
                        <a:pt x="541382" y="16973"/>
                      </a:lnTo>
                      <a:lnTo>
                        <a:pt x="559574" y="12600"/>
                      </a:lnTo>
                      <a:lnTo>
                        <a:pt x="577745" y="8227"/>
                      </a:lnTo>
                      <a:lnTo>
                        <a:pt x="595911" y="3841"/>
                      </a:lnTo>
                      <a:lnTo>
                        <a:pt x="611789" y="0"/>
                      </a:lnTo>
                      <a:lnTo>
                        <a:pt x="614729" y="18149"/>
                      </a:lnTo>
                      <a:lnTo>
                        <a:pt x="617672" y="36377"/>
                      </a:lnTo>
                      <a:lnTo>
                        <a:pt x="620609" y="54616"/>
                      </a:lnTo>
                      <a:lnTo>
                        <a:pt x="623538" y="72867"/>
                      </a:lnTo>
                      <a:lnTo>
                        <a:pt x="626460" y="91124"/>
                      </a:lnTo>
                      <a:lnTo>
                        <a:pt x="629373" y="109388"/>
                      </a:lnTo>
                      <a:lnTo>
                        <a:pt x="632279" y="127655"/>
                      </a:lnTo>
                      <a:lnTo>
                        <a:pt x="635176" y="145924"/>
                      </a:lnTo>
                      <a:lnTo>
                        <a:pt x="638067" y="164208"/>
                      </a:lnTo>
                      <a:lnTo>
                        <a:pt x="640949" y="182495"/>
                      </a:lnTo>
                      <a:lnTo>
                        <a:pt x="643825" y="200794"/>
                      </a:lnTo>
                      <a:lnTo>
                        <a:pt x="646692" y="219090"/>
                      </a:lnTo>
                      <a:lnTo>
                        <a:pt x="649551" y="237398"/>
                      </a:lnTo>
                      <a:lnTo>
                        <a:pt x="652405" y="255719"/>
                      </a:lnTo>
                      <a:lnTo>
                        <a:pt x="655249" y="27404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8" name="Freeform 161">
                  <a:extLst>
                    <a:ext uri="{FF2B5EF4-FFF2-40B4-BE49-F238E27FC236}">
                      <a16:creationId xmlns:a16="http://schemas.microsoft.com/office/drawing/2014/main" id="{686BAB6E-A8EE-458C-A47C-2A7110B26A80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>
                <a:xfrm>
                  <a:off x="3877906" y="4697266"/>
                  <a:ext cx="903955" cy="21846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37009" h="323125">
                      <a:moveTo>
                        <a:pt x="373163" y="25291"/>
                      </a:moveTo>
                      <a:lnTo>
                        <a:pt x="374059" y="25041"/>
                      </a:lnTo>
                      <a:lnTo>
                        <a:pt x="380419" y="24820"/>
                      </a:lnTo>
                      <a:lnTo>
                        <a:pt x="382516" y="24755"/>
                      </a:lnTo>
                      <a:lnTo>
                        <a:pt x="388450" y="24550"/>
                      </a:lnTo>
                      <a:lnTo>
                        <a:pt x="397677" y="24226"/>
                      </a:lnTo>
                      <a:lnTo>
                        <a:pt x="409635" y="23807"/>
                      </a:lnTo>
                      <a:lnTo>
                        <a:pt x="423779" y="23316"/>
                      </a:lnTo>
                      <a:lnTo>
                        <a:pt x="439568" y="22752"/>
                      </a:lnTo>
                      <a:lnTo>
                        <a:pt x="456453" y="22146"/>
                      </a:lnTo>
                      <a:lnTo>
                        <a:pt x="473885" y="21513"/>
                      </a:lnTo>
                      <a:lnTo>
                        <a:pt x="491308" y="20883"/>
                      </a:lnTo>
                      <a:lnTo>
                        <a:pt x="508191" y="20260"/>
                      </a:lnTo>
                      <a:lnTo>
                        <a:pt x="523971" y="19666"/>
                      </a:lnTo>
                      <a:lnTo>
                        <a:pt x="538100" y="19141"/>
                      </a:lnTo>
                      <a:lnTo>
                        <a:pt x="550053" y="18699"/>
                      </a:lnTo>
                      <a:lnTo>
                        <a:pt x="559263" y="18346"/>
                      </a:lnTo>
                      <a:lnTo>
                        <a:pt x="565196" y="18122"/>
                      </a:lnTo>
                      <a:lnTo>
                        <a:pt x="567287" y="18044"/>
                      </a:lnTo>
                      <a:lnTo>
                        <a:pt x="574031" y="17781"/>
                      </a:lnTo>
                      <a:lnTo>
                        <a:pt x="579568" y="16509"/>
                      </a:lnTo>
                      <a:lnTo>
                        <a:pt x="580897" y="16368"/>
                      </a:lnTo>
                      <a:lnTo>
                        <a:pt x="587706" y="16403"/>
                      </a:lnTo>
                      <a:lnTo>
                        <a:pt x="595794" y="16960"/>
                      </a:lnTo>
                      <a:lnTo>
                        <a:pt x="606681" y="17710"/>
                      </a:lnTo>
                      <a:lnTo>
                        <a:pt x="626571" y="18907"/>
                      </a:lnTo>
                      <a:lnTo>
                        <a:pt x="650137" y="19637"/>
                      </a:lnTo>
                      <a:lnTo>
                        <a:pt x="681385" y="19790"/>
                      </a:lnTo>
                      <a:lnTo>
                        <a:pt x="717868" y="19769"/>
                      </a:lnTo>
                      <a:lnTo>
                        <a:pt x="750312" y="19496"/>
                      </a:lnTo>
                      <a:lnTo>
                        <a:pt x="797807" y="16935"/>
                      </a:lnTo>
                      <a:lnTo>
                        <a:pt x="836976" y="16943"/>
                      </a:lnTo>
                      <a:lnTo>
                        <a:pt x="874915" y="16928"/>
                      </a:lnTo>
                      <a:lnTo>
                        <a:pt x="910394" y="16881"/>
                      </a:lnTo>
                      <a:lnTo>
                        <a:pt x="942169" y="16819"/>
                      </a:lnTo>
                      <a:lnTo>
                        <a:pt x="969023" y="16753"/>
                      </a:lnTo>
                      <a:lnTo>
                        <a:pt x="989725" y="16702"/>
                      </a:lnTo>
                      <a:lnTo>
                        <a:pt x="1003044" y="16660"/>
                      </a:lnTo>
                      <a:lnTo>
                        <a:pt x="1007760" y="16641"/>
                      </a:lnTo>
                      <a:lnTo>
                        <a:pt x="1015316" y="16622"/>
                      </a:lnTo>
                      <a:lnTo>
                        <a:pt x="1020709" y="15035"/>
                      </a:lnTo>
                      <a:lnTo>
                        <a:pt x="1024758" y="13050"/>
                      </a:lnTo>
                      <a:lnTo>
                        <a:pt x="1040987" y="12547"/>
                      </a:lnTo>
                      <a:lnTo>
                        <a:pt x="1057209" y="12032"/>
                      </a:lnTo>
                      <a:lnTo>
                        <a:pt x="1073443" y="11519"/>
                      </a:lnTo>
                      <a:lnTo>
                        <a:pt x="1089663" y="11002"/>
                      </a:lnTo>
                      <a:lnTo>
                        <a:pt x="1105881" y="10471"/>
                      </a:lnTo>
                      <a:lnTo>
                        <a:pt x="1122103" y="9940"/>
                      </a:lnTo>
                      <a:lnTo>
                        <a:pt x="1138322" y="9407"/>
                      </a:lnTo>
                      <a:lnTo>
                        <a:pt x="1154534" y="8871"/>
                      </a:lnTo>
                      <a:lnTo>
                        <a:pt x="1170743" y="8324"/>
                      </a:lnTo>
                      <a:lnTo>
                        <a:pt x="1186953" y="7777"/>
                      </a:lnTo>
                      <a:lnTo>
                        <a:pt x="1203159" y="7224"/>
                      </a:lnTo>
                      <a:lnTo>
                        <a:pt x="1219362" y="6663"/>
                      </a:lnTo>
                      <a:lnTo>
                        <a:pt x="1235566" y="6096"/>
                      </a:lnTo>
                      <a:lnTo>
                        <a:pt x="1251765" y="5529"/>
                      </a:lnTo>
                      <a:lnTo>
                        <a:pt x="1267970" y="4957"/>
                      </a:lnTo>
                      <a:lnTo>
                        <a:pt x="1284164" y="4375"/>
                      </a:lnTo>
                      <a:lnTo>
                        <a:pt x="1291680" y="4107"/>
                      </a:lnTo>
                      <a:lnTo>
                        <a:pt x="1292852" y="3565"/>
                      </a:lnTo>
                      <a:lnTo>
                        <a:pt x="1295875" y="713"/>
                      </a:lnTo>
                      <a:lnTo>
                        <a:pt x="1297191" y="347"/>
                      </a:lnTo>
                      <a:lnTo>
                        <a:pt x="1298557" y="173"/>
                      </a:lnTo>
                      <a:lnTo>
                        <a:pt x="1309242" y="121"/>
                      </a:lnTo>
                      <a:lnTo>
                        <a:pt x="1322405" y="73"/>
                      </a:lnTo>
                      <a:lnTo>
                        <a:pt x="1337008" y="0"/>
                      </a:lnTo>
                      <a:lnTo>
                        <a:pt x="1331110" y="11439"/>
                      </a:lnTo>
                      <a:lnTo>
                        <a:pt x="1330142" y="15094"/>
                      </a:lnTo>
                      <a:lnTo>
                        <a:pt x="1330515" y="15935"/>
                      </a:lnTo>
                      <a:lnTo>
                        <a:pt x="1333270" y="20149"/>
                      </a:lnTo>
                      <a:lnTo>
                        <a:pt x="1333554" y="21741"/>
                      </a:lnTo>
                      <a:lnTo>
                        <a:pt x="1331893" y="28347"/>
                      </a:lnTo>
                      <a:lnTo>
                        <a:pt x="1328777" y="35961"/>
                      </a:lnTo>
                      <a:lnTo>
                        <a:pt x="1328439" y="37605"/>
                      </a:lnTo>
                      <a:lnTo>
                        <a:pt x="1328487" y="38833"/>
                      </a:lnTo>
                      <a:lnTo>
                        <a:pt x="1328848" y="39588"/>
                      </a:lnTo>
                      <a:lnTo>
                        <a:pt x="1330870" y="42591"/>
                      </a:lnTo>
                      <a:lnTo>
                        <a:pt x="1333338" y="45250"/>
                      </a:lnTo>
                      <a:lnTo>
                        <a:pt x="1333874" y="46019"/>
                      </a:lnTo>
                      <a:lnTo>
                        <a:pt x="1334251" y="46930"/>
                      </a:lnTo>
                      <a:lnTo>
                        <a:pt x="1333990" y="47470"/>
                      </a:lnTo>
                      <a:lnTo>
                        <a:pt x="1333284" y="47635"/>
                      </a:lnTo>
                      <a:lnTo>
                        <a:pt x="1328380" y="47223"/>
                      </a:lnTo>
                      <a:lnTo>
                        <a:pt x="1319821" y="45023"/>
                      </a:lnTo>
                      <a:lnTo>
                        <a:pt x="1319066" y="45062"/>
                      </a:lnTo>
                      <a:lnTo>
                        <a:pt x="1318323" y="45389"/>
                      </a:lnTo>
                      <a:lnTo>
                        <a:pt x="1307162" y="53355"/>
                      </a:lnTo>
                      <a:lnTo>
                        <a:pt x="1303311" y="56776"/>
                      </a:lnTo>
                      <a:lnTo>
                        <a:pt x="1302730" y="57569"/>
                      </a:lnTo>
                      <a:lnTo>
                        <a:pt x="1290370" y="85518"/>
                      </a:lnTo>
                      <a:lnTo>
                        <a:pt x="1289322" y="87042"/>
                      </a:lnTo>
                      <a:lnTo>
                        <a:pt x="1287921" y="88368"/>
                      </a:lnTo>
                      <a:lnTo>
                        <a:pt x="1286510" y="89125"/>
                      </a:lnTo>
                      <a:lnTo>
                        <a:pt x="1284230" y="91299"/>
                      </a:lnTo>
                      <a:lnTo>
                        <a:pt x="1282830" y="92267"/>
                      </a:lnTo>
                      <a:lnTo>
                        <a:pt x="1281552" y="92875"/>
                      </a:lnTo>
                      <a:lnTo>
                        <a:pt x="1280440" y="92945"/>
                      </a:lnTo>
                      <a:lnTo>
                        <a:pt x="1279206" y="92847"/>
                      </a:lnTo>
                      <a:lnTo>
                        <a:pt x="1276753" y="92322"/>
                      </a:lnTo>
                      <a:lnTo>
                        <a:pt x="1275692" y="91921"/>
                      </a:lnTo>
                      <a:lnTo>
                        <a:pt x="1274764" y="91440"/>
                      </a:lnTo>
                      <a:lnTo>
                        <a:pt x="1273995" y="90901"/>
                      </a:lnTo>
                      <a:lnTo>
                        <a:pt x="1273328" y="90236"/>
                      </a:lnTo>
                      <a:lnTo>
                        <a:pt x="1272924" y="89482"/>
                      </a:lnTo>
                      <a:lnTo>
                        <a:pt x="1272602" y="88630"/>
                      </a:lnTo>
                      <a:lnTo>
                        <a:pt x="1272388" y="87778"/>
                      </a:lnTo>
                      <a:lnTo>
                        <a:pt x="1272072" y="86938"/>
                      </a:lnTo>
                      <a:lnTo>
                        <a:pt x="1271649" y="86155"/>
                      </a:lnTo>
                      <a:lnTo>
                        <a:pt x="1271101" y="85612"/>
                      </a:lnTo>
                      <a:lnTo>
                        <a:pt x="1270397" y="85175"/>
                      </a:lnTo>
                      <a:lnTo>
                        <a:pt x="1269477" y="84845"/>
                      </a:lnTo>
                      <a:lnTo>
                        <a:pt x="1268503" y="84706"/>
                      </a:lnTo>
                      <a:lnTo>
                        <a:pt x="1266365" y="84708"/>
                      </a:lnTo>
                      <a:lnTo>
                        <a:pt x="1265295" y="84598"/>
                      </a:lnTo>
                      <a:lnTo>
                        <a:pt x="1264374" y="84234"/>
                      </a:lnTo>
                      <a:lnTo>
                        <a:pt x="1262791" y="83302"/>
                      </a:lnTo>
                      <a:lnTo>
                        <a:pt x="1261932" y="83062"/>
                      </a:lnTo>
                      <a:lnTo>
                        <a:pt x="1261343" y="83077"/>
                      </a:lnTo>
                      <a:lnTo>
                        <a:pt x="1260533" y="83274"/>
                      </a:lnTo>
                      <a:lnTo>
                        <a:pt x="1258861" y="84066"/>
                      </a:lnTo>
                      <a:lnTo>
                        <a:pt x="1254388" y="87493"/>
                      </a:lnTo>
                      <a:lnTo>
                        <a:pt x="1253582" y="87860"/>
                      </a:lnTo>
                      <a:lnTo>
                        <a:pt x="1250232" y="87905"/>
                      </a:lnTo>
                      <a:lnTo>
                        <a:pt x="1248960" y="88098"/>
                      </a:lnTo>
                      <a:lnTo>
                        <a:pt x="1245268" y="90038"/>
                      </a:lnTo>
                      <a:lnTo>
                        <a:pt x="1239878" y="91661"/>
                      </a:lnTo>
                      <a:lnTo>
                        <a:pt x="1238468" y="92267"/>
                      </a:lnTo>
                      <a:lnTo>
                        <a:pt x="1236109" y="93586"/>
                      </a:lnTo>
                      <a:lnTo>
                        <a:pt x="1233535" y="95637"/>
                      </a:lnTo>
                      <a:lnTo>
                        <a:pt x="1228727" y="101113"/>
                      </a:lnTo>
                      <a:lnTo>
                        <a:pt x="1227367" y="103209"/>
                      </a:lnTo>
                      <a:lnTo>
                        <a:pt x="1225800" y="107469"/>
                      </a:lnTo>
                      <a:lnTo>
                        <a:pt x="1225232" y="108638"/>
                      </a:lnTo>
                      <a:lnTo>
                        <a:pt x="1222806" y="112214"/>
                      </a:lnTo>
                      <a:lnTo>
                        <a:pt x="1221795" y="113388"/>
                      </a:lnTo>
                      <a:lnTo>
                        <a:pt x="1220851" y="114263"/>
                      </a:lnTo>
                      <a:lnTo>
                        <a:pt x="1220193" y="114710"/>
                      </a:lnTo>
                      <a:lnTo>
                        <a:pt x="1219531" y="115048"/>
                      </a:lnTo>
                      <a:lnTo>
                        <a:pt x="1212805" y="119505"/>
                      </a:lnTo>
                      <a:lnTo>
                        <a:pt x="1211452" y="120144"/>
                      </a:lnTo>
                      <a:lnTo>
                        <a:pt x="1210511" y="120367"/>
                      </a:lnTo>
                      <a:lnTo>
                        <a:pt x="1209478" y="120394"/>
                      </a:lnTo>
                      <a:lnTo>
                        <a:pt x="1208402" y="120186"/>
                      </a:lnTo>
                      <a:lnTo>
                        <a:pt x="1207444" y="119771"/>
                      </a:lnTo>
                      <a:lnTo>
                        <a:pt x="1206594" y="119264"/>
                      </a:lnTo>
                      <a:lnTo>
                        <a:pt x="1205903" y="118634"/>
                      </a:lnTo>
                      <a:lnTo>
                        <a:pt x="1205283" y="117941"/>
                      </a:lnTo>
                      <a:lnTo>
                        <a:pt x="1204741" y="117218"/>
                      </a:lnTo>
                      <a:lnTo>
                        <a:pt x="1203597" y="114932"/>
                      </a:lnTo>
                      <a:lnTo>
                        <a:pt x="1203348" y="113938"/>
                      </a:lnTo>
                      <a:lnTo>
                        <a:pt x="1203304" y="112892"/>
                      </a:lnTo>
                      <a:lnTo>
                        <a:pt x="1203392" y="111541"/>
                      </a:lnTo>
                      <a:lnTo>
                        <a:pt x="1204094" y="109328"/>
                      </a:lnTo>
                      <a:lnTo>
                        <a:pt x="1204240" y="108541"/>
                      </a:lnTo>
                      <a:lnTo>
                        <a:pt x="1204162" y="107996"/>
                      </a:lnTo>
                      <a:lnTo>
                        <a:pt x="1203869" y="107529"/>
                      </a:lnTo>
                      <a:lnTo>
                        <a:pt x="1200881" y="104253"/>
                      </a:lnTo>
                      <a:lnTo>
                        <a:pt x="1200168" y="103654"/>
                      </a:lnTo>
                      <a:lnTo>
                        <a:pt x="1199021" y="103512"/>
                      </a:lnTo>
                      <a:lnTo>
                        <a:pt x="1197564" y="103845"/>
                      </a:lnTo>
                      <a:lnTo>
                        <a:pt x="1190442" y="107588"/>
                      </a:lnTo>
                      <a:lnTo>
                        <a:pt x="1186843" y="109011"/>
                      </a:lnTo>
                      <a:lnTo>
                        <a:pt x="1176754" y="114797"/>
                      </a:lnTo>
                      <a:lnTo>
                        <a:pt x="1176557" y="115053"/>
                      </a:lnTo>
                      <a:lnTo>
                        <a:pt x="1176278" y="115572"/>
                      </a:lnTo>
                      <a:lnTo>
                        <a:pt x="1176139" y="116237"/>
                      </a:lnTo>
                      <a:lnTo>
                        <a:pt x="1176484" y="118775"/>
                      </a:lnTo>
                      <a:lnTo>
                        <a:pt x="1176304" y="119620"/>
                      </a:lnTo>
                      <a:lnTo>
                        <a:pt x="1175929" y="120400"/>
                      </a:lnTo>
                      <a:lnTo>
                        <a:pt x="1174320" y="122373"/>
                      </a:lnTo>
                      <a:lnTo>
                        <a:pt x="1173736" y="123889"/>
                      </a:lnTo>
                      <a:lnTo>
                        <a:pt x="1173481" y="124941"/>
                      </a:lnTo>
                      <a:lnTo>
                        <a:pt x="1172737" y="126303"/>
                      </a:lnTo>
                      <a:lnTo>
                        <a:pt x="1171860" y="126892"/>
                      </a:lnTo>
                      <a:lnTo>
                        <a:pt x="1170854" y="127096"/>
                      </a:lnTo>
                      <a:lnTo>
                        <a:pt x="1170003" y="126871"/>
                      </a:lnTo>
                      <a:lnTo>
                        <a:pt x="1168228" y="125621"/>
                      </a:lnTo>
                      <a:lnTo>
                        <a:pt x="1165862" y="124288"/>
                      </a:lnTo>
                      <a:lnTo>
                        <a:pt x="1163783" y="123527"/>
                      </a:lnTo>
                      <a:lnTo>
                        <a:pt x="1162383" y="123305"/>
                      </a:lnTo>
                      <a:lnTo>
                        <a:pt x="1160746" y="123349"/>
                      </a:lnTo>
                      <a:lnTo>
                        <a:pt x="1158384" y="123880"/>
                      </a:lnTo>
                      <a:lnTo>
                        <a:pt x="1157179" y="124477"/>
                      </a:lnTo>
                      <a:lnTo>
                        <a:pt x="1156367" y="125229"/>
                      </a:lnTo>
                      <a:lnTo>
                        <a:pt x="1155931" y="126001"/>
                      </a:lnTo>
                      <a:lnTo>
                        <a:pt x="1155597" y="126813"/>
                      </a:lnTo>
                      <a:lnTo>
                        <a:pt x="1155380" y="127781"/>
                      </a:lnTo>
                      <a:lnTo>
                        <a:pt x="1155302" y="128788"/>
                      </a:lnTo>
                      <a:lnTo>
                        <a:pt x="1155382" y="129762"/>
                      </a:lnTo>
                      <a:lnTo>
                        <a:pt x="1155646" y="130678"/>
                      </a:lnTo>
                      <a:lnTo>
                        <a:pt x="1155996" y="131531"/>
                      </a:lnTo>
                      <a:lnTo>
                        <a:pt x="1157682" y="134362"/>
                      </a:lnTo>
                      <a:lnTo>
                        <a:pt x="1157764" y="135280"/>
                      </a:lnTo>
                      <a:lnTo>
                        <a:pt x="1157500" y="136351"/>
                      </a:lnTo>
                      <a:lnTo>
                        <a:pt x="1155941" y="138503"/>
                      </a:lnTo>
                      <a:lnTo>
                        <a:pt x="1155536" y="139344"/>
                      </a:lnTo>
                      <a:lnTo>
                        <a:pt x="1155388" y="141131"/>
                      </a:lnTo>
                      <a:lnTo>
                        <a:pt x="1155225" y="142041"/>
                      </a:lnTo>
                      <a:lnTo>
                        <a:pt x="1154552" y="143635"/>
                      </a:lnTo>
                      <a:lnTo>
                        <a:pt x="1151292" y="149141"/>
                      </a:lnTo>
                      <a:lnTo>
                        <a:pt x="1147735" y="153663"/>
                      </a:lnTo>
                      <a:lnTo>
                        <a:pt x="1146578" y="154461"/>
                      </a:lnTo>
                      <a:lnTo>
                        <a:pt x="1145647" y="154764"/>
                      </a:lnTo>
                      <a:lnTo>
                        <a:pt x="1143292" y="154277"/>
                      </a:lnTo>
                      <a:lnTo>
                        <a:pt x="1136710" y="153975"/>
                      </a:lnTo>
                      <a:lnTo>
                        <a:pt x="1134812" y="153553"/>
                      </a:lnTo>
                      <a:lnTo>
                        <a:pt x="1133978" y="153614"/>
                      </a:lnTo>
                      <a:lnTo>
                        <a:pt x="1133152" y="153935"/>
                      </a:lnTo>
                      <a:lnTo>
                        <a:pt x="1125363" y="158165"/>
                      </a:lnTo>
                      <a:lnTo>
                        <a:pt x="1120055" y="159845"/>
                      </a:lnTo>
                      <a:lnTo>
                        <a:pt x="1118862" y="160401"/>
                      </a:lnTo>
                      <a:lnTo>
                        <a:pt x="1117965" y="161032"/>
                      </a:lnTo>
                      <a:lnTo>
                        <a:pt x="1114517" y="164725"/>
                      </a:lnTo>
                      <a:lnTo>
                        <a:pt x="1113040" y="165678"/>
                      </a:lnTo>
                      <a:lnTo>
                        <a:pt x="1109236" y="167167"/>
                      </a:lnTo>
                      <a:lnTo>
                        <a:pt x="1108088" y="167799"/>
                      </a:lnTo>
                      <a:lnTo>
                        <a:pt x="1107235" y="168481"/>
                      </a:lnTo>
                      <a:lnTo>
                        <a:pt x="1106776" y="169137"/>
                      </a:lnTo>
                      <a:lnTo>
                        <a:pt x="1103786" y="172295"/>
                      </a:lnTo>
                      <a:lnTo>
                        <a:pt x="1101003" y="176497"/>
                      </a:lnTo>
                      <a:lnTo>
                        <a:pt x="1100000" y="176985"/>
                      </a:lnTo>
                      <a:lnTo>
                        <a:pt x="1098825" y="177079"/>
                      </a:lnTo>
                      <a:lnTo>
                        <a:pt x="1097650" y="176861"/>
                      </a:lnTo>
                      <a:lnTo>
                        <a:pt x="1096239" y="176841"/>
                      </a:lnTo>
                      <a:lnTo>
                        <a:pt x="1094631" y="177190"/>
                      </a:lnTo>
                      <a:lnTo>
                        <a:pt x="1093321" y="177892"/>
                      </a:lnTo>
                      <a:lnTo>
                        <a:pt x="1091217" y="179940"/>
                      </a:lnTo>
                      <a:lnTo>
                        <a:pt x="1089674" y="181777"/>
                      </a:lnTo>
                      <a:lnTo>
                        <a:pt x="1087742" y="183388"/>
                      </a:lnTo>
                      <a:lnTo>
                        <a:pt x="1079631" y="187009"/>
                      </a:lnTo>
                      <a:lnTo>
                        <a:pt x="1078337" y="187906"/>
                      </a:lnTo>
                      <a:lnTo>
                        <a:pt x="1077404" y="188795"/>
                      </a:lnTo>
                      <a:lnTo>
                        <a:pt x="1075968" y="190645"/>
                      </a:lnTo>
                      <a:lnTo>
                        <a:pt x="1072779" y="193916"/>
                      </a:lnTo>
                      <a:lnTo>
                        <a:pt x="1071736" y="194719"/>
                      </a:lnTo>
                      <a:lnTo>
                        <a:pt x="1070816" y="195238"/>
                      </a:lnTo>
                      <a:lnTo>
                        <a:pt x="1060648" y="197501"/>
                      </a:lnTo>
                      <a:lnTo>
                        <a:pt x="1059544" y="197452"/>
                      </a:lnTo>
                      <a:lnTo>
                        <a:pt x="1058452" y="197190"/>
                      </a:lnTo>
                      <a:lnTo>
                        <a:pt x="1057526" y="196705"/>
                      </a:lnTo>
                      <a:lnTo>
                        <a:pt x="1056724" y="196164"/>
                      </a:lnTo>
                      <a:lnTo>
                        <a:pt x="1056011" y="195581"/>
                      </a:lnTo>
                      <a:lnTo>
                        <a:pt x="1054835" y="195281"/>
                      </a:lnTo>
                      <a:lnTo>
                        <a:pt x="1053272" y="195241"/>
                      </a:lnTo>
                      <a:lnTo>
                        <a:pt x="1050297" y="196230"/>
                      </a:lnTo>
                      <a:lnTo>
                        <a:pt x="1048560" y="196572"/>
                      </a:lnTo>
                      <a:lnTo>
                        <a:pt x="1047137" y="196643"/>
                      </a:lnTo>
                      <a:lnTo>
                        <a:pt x="1046188" y="196450"/>
                      </a:lnTo>
                      <a:lnTo>
                        <a:pt x="1045155" y="196343"/>
                      </a:lnTo>
                      <a:lnTo>
                        <a:pt x="1044137" y="196413"/>
                      </a:lnTo>
                      <a:lnTo>
                        <a:pt x="1043130" y="196634"/>
                      </a:lnTo>
                      <a:lnTo>
                        <a:pt x="1041655" y="197198"/>
                      </a:lnTo>
                      <a:lnTo>
                        <a:pt x="1041123" y="197307"/>
                      </a:lnTo>
                      <a:lnTo>
                        <a:pt x="1040485" y="197364"/>
                      </a:lnTo>
                      <a:lnTo>
                        <a:pt x="1034870" y="197092"/>
                      </a:lnTo>
                      <a:lnTo>
                        <a:pt x="1033858" y="197187"/>
                      </a:lnTo>
                      <a:lnTo>
                        <a:pt x="1030750" y="198033"/>
                      </a:lnTo>
                      <a:lnTo>
                        <a:pt x="1027794" y="199185"/>
                      </a:lnTo>
                      <a:lnTo>
                        <a:pt x="1024270" y="201409"/>
                      </a:lnTo>
                      <a:lnTo>
                        <a:pt x="1022015" y="203320"/>
                      </a:lnTo>
                      <a:lnTo>
                        <a:pt x="1020570" y="204156"/>
                      </a:lnTo>
                      <a:lnTo>
                        <a:pt x="1019306" y="204711"/>
                      </a:lnTo>
                      <a:lnTo>
                        <a:pt x="1014370" y="205847"/>
                      </a:lnTo>
                      <a:lnTo>
                        <a:pt x="1011852" y="206793"/>
                      </a:lnTo>
                      <a:lnTo>
                        <a:pt x="1010582" y="207574"/>
                      </a:lnTo>
                      <a:lnTo>
                        <a:pt x="1009701" y="208357"/>
                      </a:lnTo>
                      <a:lnTo>
                        <a:pt x="1007625" y="213245"/>
                      </a:lnTo>
                      <a:lnTo>
                        <a:pt x="1006999" y="214157"/>
                      </a:lnTo>
                      <a:lnTo>
                        <a:pt x="1005882" y="215433"/>
                      </a:lnTo>
                      <a:lnTo>
                        <a:pt x="1004869" y="216106"/>
                      </a:lnTo>
                      <a:lnTo>
                        <a:pt x="998462" y="218450"/>
                      </a:lnTo>
                      <a:lnTo>
                        <a:pt x="997122" y="219230"/>
                      </a:lnTo>
                      <a:lnTo>
                        <a:pt x="996067" y="220103"/>
                      </a:lnTo>
                      <a:lnTo>
                        <a:pt x="992838" y="223796"/>
                      </a:lnTo>
                      <a:lnTo>
                        <a:pt x="992421" y="224631"/>
                      </a:lnTo>
                      <a:lnTo>
                        <a:pt x="992175" y="225322"/>
                      </a:lnTo>
                      <a:lnTo>
                        <a:pt x="992102" y="226010"/>
                      </a:lnTo>
                      <a:lnTo>
                        <a:pt x="992163" y="226648"/>
                      </a:lnTo>
                      <a:lnTo>
                        <a:pt x="993092" y="228951"/>
                      </a:lnTo>
                      <a:lnTo>
                        <a:pt x="993275" y="229844"/>
                      </a:lnTo>
                      <a:lnTo>
                        <a:pt x="993218" y="230871"/>
                      </a:lnTo>
                      <a:lnTo>
                        <a:pt x="992987" y="231797"/>
                      </a:lnTo>
                      <a:lnTo>
                        <a:pt x="992629" y="232682"/>
                      </a:lnTo>
                      <a:lnTo>
                        <a:pt x="990238" y="236412"/>
                      </a:lnTo>
                      <a:lnTo>
                        <a:pt x="989885" y="237280"/>
                      </a:lnTo>
                      <a:lnTo>
                        <a:pt x="989383" y="239091"/>
                      </a:lnTo>
                      <a:lnTo>
                        <a:pt x="989273" y="240099"/>
                      </a:lnTo>
                      <a:lnTo>
                        <a:pt x="989596" y="245782"/>
                      </a:lnTo>
                      <a:lnTo>
                        <a:pt x="989004" y="247263"/>
                      </a:lnTo>
                      <a:lnTo>
                        <a:pt x="987889" y="248921"/>
                      </a:lnTo>
                      <a:lnTo>
                        <a:pt x="985091" y="251857"/>
                      </a:lnTo>
                      <a:lnTo>
                        <a:pt x="983642" y="253104"/>
                      </a:lnTo>
                      <a:lnTo>
                        <a:pt x="982625" y="253794"/>
                      </a:lnTo>
                      <a:lnTo>
                        <a:pt x="982030" y="253918"/>
                      </a:lnTo>
                      <a:lnTo>
                        <a:pt x="977971" y="254017"/>
                      </a:lnTo>
                      <a:lnTo>
                        <a:pt x="969544" y="255201"/>
                      </a:lnTo>
                      <a:lnTo>
                        <a:pt x="967275" y="255237"/>
                      </a:lnTo>
                      <a:lnTo>
                        <a:pt x="966175" y="255081"/>
                      </a:lnTo>
                      <a:lnTo>
                        <a:pt x="965377" y="254759"/>
                      </a:lnTo>
                      <a:lnTo>
                        <a:pt x="964593" y="254260"/>
                      </a:lnTo>
                      <a:lnTo>
                        <a:pt x="963274" y="253133"/>
                      </a:lnTo>
                      <a:lnTo>
                        <a:pt x="962246" y="252836"/>
                      </a:lnTo>
                      <a:lnTo>
                        <a:pt x="960933" y="252857"/>
                      </a:lnTo>
                      <a:lnTo>
                        <a:pt x="958557" y="253652"/>
                      </a:lnTo>
                      <a:lnTo>
                        <a:pt x="957348" y="254299"/>
                      </a:lnTo>
                      <a:lnTo>
                        <a:pt x="956441" y="255050"/>
                      </a:lnTo>
                      <a:lnTo>
                        <a:pt x="953913" y="257619"/>
                      </a:lnTo>
                      <a:lnTo>
                        <a:pt x="952257" y="259767"/>
                      </a:lnTo>
                      <a:lnTo>
                        <a:pt x="951449" y="261458"/>
                      </a:lnTo>
                      <a:lnTo>
                        <a:pt x="951219" y="262265"/>
                      </a:lnTo>
                      <a:lnTo>
                        <a:pt x="951069" y="263647"/>
                      </a:lnTo>
                      <a:lnTo>
                        <a:pt x="951070" y="269711"/>
                      </a:lnTo>
                      <a:lnTo>
                        <a:pt x="951079" y="276262"/>
                      </a:lnTo>
                      <a:lnTo>
                        <a:pt x="951092" y="286209"/>
                      </a:lnTo>
                      <a:lnTo>
                        <a:pt x="951095" y="294706"/>
                      </a:lnTo>
                      <a:lnTo>
                        <a:pt x="951109" y="303054"/>
                      </a:lnTo>
                      <a:lnTo>
                        <a:pt x="937169" y="303273"/>
                      </a:lnTo>
                      <a:lnTo>
                        <a:pt x="922294" y="303744"/>
                      </a:lnTo>
                      <a:lnTo>
                        <a:pt x="911092" y="304095"/>
                      </a:lnTo>
                      <a:lnTo>
                        <a:pt x="904471" y="304302"/>
                      </a:lnTo>
                      <a:lnTo>
                        <a:pt x="884577" y="304919"/>
                      </a:lnTo>
                      <a:lnTo>
                        <a:pt x="864684" y="305529"/>
                      </a:lnTo>
                      <a:lnTo>
                        <a:pt x="844800" y="306270"/>
                      </a:lnTo>
                      <a:lnTo>
                        <a:pt x="824910" y="307004"/>
                      </a:lnTo>
                      <a:lnTo>
                        <a:pt x="805030" y="307870"/>
                      </a:lnTo>
                      <a:lnTo>
                        <a:pt x="785150" y="308729"/>
                      </a:lnTo>
                      <a:lnTo>
                        <a:pt x="765242" y="309303"/>
                      </a:lnTo>
                      <a:lnTo>
                        <a:pt x="748138" y="309513"/>
                      </a:lnTo>
                      <a:lnTo>
                        <a:pt x="720276" y="309880"/>
                      </a:lnTo>
                      <a:lnTo>
                        <a:pt x="694676" y="310310"/>
                      </a:lnTo>
                      <a:lnTo>
                        <a:pt x="670266" y="310836"/>
                      </a:lnTo>
                      <a:lnTo>
                        <a:pt x="645262" y="311496"/>
                      </a:lnTo>
                      <a:lnTo>
                        <a:pt x="620266" y="312184"/>
                      </a:lnTo>
                      <a:lnTo>
                        <a:pt x="595262" y="312831"/>
                      </a:lnTo>
                      <a:lnTo>
                        <a:pt x="570253" y="313468"/>
                      </a:lnTo>
                      <a:lnTo>
                        <a:pt x="545201" y="313585"/>
                      </a:lnTo>
                      <a:lnTo>
                        <a:pt x="520142" y="313693"/>
                      </a:lnTo>
                      <a:lnTo>
                        <a:pt x="495074" y="313538"/>
                      </a:lnTo>
                      <a:lnTo>
                        <a:pt x="470021" y="313623"/>
                      </a:lnTo>
                      <a:lnTo>
                        <a:pt x="444957" y="313698"/>
                      </a:lnTo>
                      <a:lnTo>
                        <a:pt x="419937" y="314268"/>
                      </a:lnTo>
                      <a:lnTo>
                        <a:pt x="395671" y="314628"/>
                      </a:lnTo>
                      <a:lnTo>
                        <a:pt x="370625" y="314913"/>
                      </a:lnTo>
                      <a:lnTo>
                        <a:pt x="345571" y="315187"/>
                      </a:lnTo>
                      <a:lnTo>
                        <a:pt x="340060" y="315255"/>
                      </a:lnTo>
                      <a:lnTo>
                        <a:pt x="338272" y="315293"/>
                      </a:lnTo>
                      <a:lnTo>
                        <a:pt x="339433" y="317384"/>
                      </a:lnTo>
                      <a:lnTo>
                        <a:pt x="337881" y="317416"/>
                      </a:lnTo>
                      <a:lnTo>
                        <a:pt x="332217" y="317536"/>
                      </a:lnTo>
                      <a:lnTo>
                        <a:pt x="311557" y="317935"/>
                      </a:lnTo>
                      <a:lnTo>
                        <a:pt x="290892" y="318336"/>
                      </a:lnTo>
                      <a:lnTo>
                        <a:pt x="270233" y="318734"/>
                      </a:lnTo>
                      <a:lnTo>
                        <a:pt x="249563" y="319111"/>
                      </a:lnTo>
                      <a:lnTo>
                        <a:pt x="228898" y="319485"/>
                      </a:lnTo>
                      <a:lnTo>
                        <a:pt x="208229" y="319852"/>
                      </a:lnTo>
                      <a:lnTo>
                        <a:pt x="187558" y="320212"/>
                      </a:lnTo>
                      <a:lnTo>
                        <a:pt x="166882" y="320568"/>
                      </a:lnTo>
                      <a:lnTo>
                        <a:pt x="146212" y="320916"/>
                      </a:lnTo>
                      <a:lnTo>
                        <a:pt x="125533" y="321254"/>
                      </a:lnTo>
                      <a:lnTo>
                        <a:pt x="104856" y="321579"/>
                      </a:lnTo>
                      <a:lnTo>
                        <a:pt x="84184" y="321901"/>
                      </a:lnTo>
                      <a:lnTo>
                        <a:pt x="63496" y="322212"/>
                      </a:lnTo>
                      <a:lnTo>
                        <a:pt x="42814" y="322523"/>
                      </a:lnTo>
                      <a:lnTo>
                        <a:pt x="22136" y="322831"/>
                      </a:lnTo>
                      <a:lnTo>
                        <a:pt x="1447" y="323124"/>
                      </a:lnTo>
                      <a:lnTo>
                        <a:pt x="0" y="320947"/>
                      </a:lnTo>
                      <a:lnTo>
                        <a:pt x="1694" y="319610"/>
                      </a:lnTo>
                      <a:lnTo>
                        <a:pt x="4682" y="319002"/>
                      </a:lnTo>
                      <a:lnTo>
                        <a:pt x="8385" y="317588"/>
                      </a:lnTo>
                      <a:lnTo>
                        <a:pt x="14093" y="314471"/>
                      </a:lnTo>
                      <a:lnTo>
                        <a:pt x="16329" y="312134"/>
                      </a:lnTo>
                      <a:lnTo>
                        <a:pt x="17898" y="309437"/>
                      </a:lnTo>
                      <a:lnTo>
                        <a:pt x="18788" y="306373"/>
                      </a:lnTo>
                      <a:lnTo>
                        <a:pt x="18974" y="302904"/>
                      </a:lnTo>
                      <a:lnTo>
                        <a:pt x="20460" y="299819"/>
                      </a:lnTo>
                      <a:lnTo>
                        <a:pt x="24264" y="299681"/>
                      </a:lnTo>
                      <a:lnTo>
                        <a:pt x="28662" y="300625"/>
                      </a:lnTo>
                      <a:lnTo>
                        <a:pt x="31899" y="300772"/>
                      </a:lnTo>
                      <a:lnTo>
                        <a:pt x="34990" y="296328"/>
                      </a:lnTo>
                      <a:lnTo>
                        <a:pt x="34757" y="289134"/>
                      </a:lnTo>
                      <a:lnTo>
                        <a:pt x="32794" y="281723"/>
                      </a:lnTo>
                      <a:lnTo>
                        <a:pt x="29241" y="273005"/>
                      </a:lnTo>
                      <a:lnTo>
                        <a:pt x="28430" y="269437"/>
                      </a:lnTo>
                      <a:lnTo>
                        <a:pt x="27802" y="261366"/>
                      </a:lnTo>
                      <a:lnTo>
                        <a:pt x="28321" y="257247"/>
                      </a:lnTo>
                      <a:lnTo>
                        <a:pt x="30112" y="254391"/>
                      </a:lnTo>
                      <a:lnTo>
                        <a:pt x="38235" y="247838"/>
                      </a:lnTo>
                      <a:lnTo>
                        <a:pt x="40548" y="245233"/>
                      </a:lnTo>
                      <a:lnTo>
                        <a:pt x="42321" y="242304"/>
                      </a:lnTo>
                      <a:lnTo>
                        <a:pt x="42955" y="239367"/>
                      </a:lnTo>
                      <a:lnTo>
                        <a:pt x="42822" y="234857"/>
                      </a:lnTo>
                      <a:lnTo>
                        <a:pt x="43380" y="231858"/>
                      </a:lnTo>
                      <a:lnTo>
                        <a:pt x="45237" y="230004"/>
                      </a:lnTo>
                      <a:lnTo>
                        <a:pt x="49020" y="228939"/>
                      </a:lnTo>
                      <a:lnTo>
                        <a:pt x="52888" y="228418"/>
                      </a:lnTo>
                      <a:lnTo>
                        <a:pt x="56477" y="227421"/>
                      </a:lnTo>
                      <a:lnTo>
                        <a:pt x="57998" y="225179"/>
                      </a:lnTo>
                      <a:lnTo>
                        <a:pt x="55643" y="220918"/>
                      </a:lnTo>
                      <a:lnTo>
                        <a:pt x="53007" y="217682"/>
                      </a:lnTo>
                      <a:lnTo>
                        <a:pt x="52217" y="215621"/>
                      </a:lnTo>
                      <a:lnTo>
                        <a:pt x="53172" y="213955"/>
                      </a:lnTo>
                      <a:lnTo>
                        <a:pt x="55724" y="211909"/>
                      </a:lnTo>
                      <a:lnTo>
                        <a:pt x="58412" y="209056"/>
                      </a:lnTo>
                      <a:lnTo>
                        <a:pt x="58332" y="206741"/>
                      </a:lnTo>
                      <a:lnTo>
                        <a:pt x="53621" y="201566"/>
                      </a:lnTo>
                      <a:lnTo>
                        <a:pt x="51046" y="197492"/>
                      </a:lnTo>
                      <a:lnTo>
                        <a:pt x="51043" y="194335"/>
                      </a:lnTo>
                      <a:lnTo>
                        <a:pt x="53136" y="191933"/>
                      </a:lnTo>
                      <a:lnTo>
                        <a:pt x="76779" y="181895"/>
                      </a:lnTo>
                      <a:lnTo>
                        <a:pt x="86306" y="174192"/>
                      </a:lnTo>
                      <a:lnTo>
                        <a:pt x="84724" y="170976"/>
                      </a:lnTo>
                      <a:lnTo>
                        <a:pt x="80359" y="168292"/>
                      </a:lnTo>
                      <a:lnTo>
                        <a:pt x="76127" y="166552"/>
                      </a:lnTo>
                      <a:lnTo>
                        <a:pt x="77483" y="163247"/>
                      </a:lnTo>
                      <a:lnTo>
                        <a:pt x="79693" y="160959"/>
                      </a:lnTo>
                      <a:lnTo>
                        <a:pt x="82588" y="159601"/>
                      </a:lnTo>
                      <a:lnTo>
                        <a:pt x="86019" y="159132"/>
                      </a:lnTo>
                      <a:lnTo>
                        <a:pt x="90834" y="162412"/>
                      </a:lnTo>
                      <a:lnTo>
                        <a:pt x="93295" y="162956"/>
                      </a:lnTo>
                      <a:lnTo>
                        <a:pt x="94177" y="159591"/>
                      </a:lnTo>
                      <a:lnTo>
                        <a:pt x="91777" y="154227"/>
                      </a:lnTo>
                      <a:lnTo>
                        <a:pt x="87420" y="150426"/>
                      </a:lnTo>
                      <a:lnTo>
                        <a:pt x="84254" y="145958"/>
                      </a:lnTo>
                      <a:lnTo>
                        <a:pt x="84456" y="144684"/>
                      </a:lnTo>
                      <a:lnTo>
                        <a:pt x="85407" y="138621"/>
                      </a:lnTo>
                      <a:lnTo>
                        <a:pt x="89833" y="131198"/>
                      </a:lnTo>
                      <a:lnTo>
                        <a:pt x="90332" y="128277"/>
                      </a:lnTo>
                      <a:lnTo>
                        <a:pt x="91323" y="126585"/>
                      </a:lnTo>
                      <a:lnTo>
                        <a:pt x="93782" y="124773"/>
                      </a:lnTo>
                      <a:lnTo>
                        <a:pt x="96728" y="123310"/>
                      </a:lnTo>
                      <a:lnTo>
                        <a:pt x="99171" y="122692"/>
                      </a:lnTo>
                      <a:lnTo>
                        <a:pt x="100419" y="119442"/>
                      </a:lnTo>
                      <a:lnTo>
                        <a:pt x="95879" y="112343"/>
                      </a:lnTo>
                      <a:lnTo>
                        <a:pt x="86706" y="101081"/>
                      </a:lnTo>
                      <a:lnTo>
                        <a:pt x="89507" y="100170"/>
                      </a:lnTo>
                      <a:lnTo>
                        <a:pt x="104104" y="99402"/>
                      </a:lnTo>
                      <a:lnTo>
                        <a:pt x="105992" y="98902"/>
                      </a:lnTo>
                      <a:lnTo>
                        <a:pt x="107515" y="97753"/>
                      </a:lnTo>
                      <a:lnTo>
                        <a:pt x="108009" y="95799"/>
                      </a:lnTo>
                      <a:lnTo>
                        <a:pt x="106397" y="94650"/>
                      </a:lnTo>
                      <a:lnTo>
                        <a:pt x="102402" y="93565"/>
                      </a:lnTo>
                      <a:lnTo>
                        <a:pt x="99269" y="91034"/>
                      </a:lnTo>
                      <a:lnTo>
                        <a:pt x="96723" y="87448"/>
                      </a:lnTo>
                      <a:lnTo>
                        <a:pt x="96200" y="84218"/>
                      </a:lnTo>
                      <a:lnTo>
                        <a:pt x="99119" y="82764"/>
                      </a:lnTo>
                      <a:lnTo>
                        <a:pt x="103216" y="82730"/>
                      </a:lnTo>
                      <a:lnTo>
                        <a:pt x="106877" y="82215"/>
                      </a:lnTo>
                      <a:lnTo>
                        <a:pt x="109662" y="80415"/>
                      </a:lnTo>
                      <a:lnTo>
                        <a:pt x="111113" y="76524"/>
                      </a:lnTo>
                      <a:lnTo>
                        <a:pt x="110392" y="72540"/>
                      </a:lnTo>
                      <a:lnTo>
                        <a:pt x="106529" y="65315"/>
                      </a:lnTo>
                      <a:lnTo>
                        <a:pt x="106630" y="62571"/>
                      </a:lnTo>
                      <a:lnTo>
                        <a:pt x="107522" y="59278"/>
                      </a:lnTo>
                      <a:lnTo>
                        <a:pt x="106096" y="56722"/>
                      </a:lnTo>
                      <a:lnTo>
                        <a:pt x="105394" y="56032"/>
                      </a:lnTo>
                      <a:lnTo>
                        <a:pt x="115649" y="55622"/>
                      </a:lnTo>
                      <a:lnTo>
                        <a:pt x="115270" y="57120"/>
                      </a:lnTo>
                      <a:lnTo>
                        <a:pt x="113981" y="60679"/>
                      </a:lnTo>
                      <a:lnTo>
                        <a:pt x="114402" y="63279"/>
                      </a:lnTo>
                      <a:lnTo>
                        <a:pt x="118560" y="64222"/>
                      </a:lnTo>
                      <a:lnTo>
                        <a:pt x="120519" y="63194"/>
                      </a:lnTo>
                      <a:lnTo>
                        <a:pt x="122966" y="60886"/>
                      </a:lnTo>
                      <a:lnTo>
                        <a:pt x="126276" y="56845"/>
                      </a:lnTo>
                      <a:lnTo>
                        <a:pt x="126633" y="55855"/>
                      </a:lnTo>
                      <a:lnTo>
                        <a:pt x="153705" y="55353"/>
                      </a:lnTo>
                      <a:lnTo>
                        <a:pt x="180769" y="54837"/>
                      </a:lnTo>
                      <a:lnTo>
                        <a:pt x="207835" y="54312"/>
                      </a:lnTo>
                      <a:lnTo>
                        <a:pt x="234893" y="53774"/>
                      </a:lnTo>
                      <a:lnTo>
                        <a:pt x="261946" y="53221"/>
                      </a:lnTo>
                      <a:lnTo>
                        <a:pt x="288997" y="52647"/>
                      </a:lnTo>
                      <a:lnTo>
                        <a:pt x="316053" y="52068"/>
                      </a:lnTo>
                      <a:lnTo>
                        <a:pt x="343098" y="51479"/>
                      </a:lnTo>
                      <a:lnTo>
                        <a:pt x="343275" y="47354"/>
                      </a:lnTo>
                      <a:lnTo>
                        <a:pt x="343001" y="40948"/>
                      </a:lnTo>
                      <a:lnTo>
                        <a:pt x="342558" y="38154"/>
                      </a:lnTo>
                      <a:lnTo>
                        <a:pt x="339852" y="29081"/>
                      </a:lnTo>
                      <a:lnTo>
                        <a:pt x="336482" y="20798"/>
                      </a:lnTo>
                      <a:lnTo>
                        <a:pt x="335983" y="19075"/>
                      </a:lnTo>
                      <a:lnTo>
                        <a:pt x="335934" y="18201"/>
                      </a:lnTo>
                      <a:lnTo>
                        <a:pt x="336171" y="17928"/>
                      </a:lnTo>
                      <a:lnTo>
                        <a:pt x="336942" y="17855"/>
                      </a:lnTo>
                      <a:lnTo>
                        <a:pt x="345430" y="18413"/>
                      </a:lnTo>
                      <a:lnTo>
                        <a:pt x="359525" y="19347"/>
                      </a:lnTo>
                      <a:lnTo>
                        <a:pt x="368150" y="19911"/>
                      </a:lnTo>
                      <a:lnTo>
                        <a:pt x="369421" y="20270"/>
                      </a:lnTo>
                      <a:lnTo>
                        <a:pt x="370253" y="21213"/>
                      </a:lnTo>
                      <a:lnTo>
                        <a:pt x="371567" y="23607"/>
                      </a:lnTo>
                      <a:lnTo>
                        <a:pt x="372279" y="24595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9" name="Freeform 162">
                  <a:extLst>
                    <a:ext uri="{FF2B5EF4-FFF2-40B4-BE49-F238E27FC236}">
                      <a16:creationId xmlns:a16="http://schemas.microsoft.com/office/drawing/2014/main" id="{0C7CF681-051A-427F-B594-E8ED82B5D907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>
                <a:xfrm>
                  <a:off x="4570747" y="4341485"/>
                  <a:ext cx="849241" cy="364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6084" h="539275">
                      <a:moveTo>
                        <a:pt x="1201175" y="487237"/>
                      </a:moveTo>
                      <a:lnTo>
                        <a:pt x="1202829" y="491894"/>
                      </a:lnTo>
                      <a:lnTo>
                        <a:pt x="1202830" y="491896"/>
                      </a:lnTo>
                      <a:lnTo>
                        <a:pt x="1200097" y="492041"/>
                      </a:lnTo>
                      <a:lnTo>
                        <a:pt x="1197590" y="492169"/>
                      </a:lnTo>
                      <a:lnTo>
                        <a:pt x="1197686" y="492032"/>
                      </a:lnTo>
                      <a:lnTo>
                        <a:pt x="1196281" y="490097"/>
                      </a:lnTo>
                      <a:lnTo>
                        <a:pt x="1198589" y="488379"/>
                      </a:lnTo>
                      <a:close/>
                      <a:moveTo>
                        <a:pt x="1176378" y="393149"/>
                      </a:moveTo>
                      <a:lnTo>
                        <a:pt x="1177009" y="393662"/>
                      </a:lnTo>
                      <a:lnTo>
                        <a:pt x="1178137" y="393274"/>
                      </a:lnTo>
                      <a:lnTo>
                        <a:pt x="1179381" y="393498"/>
                      </a:lnTo>
                      <a:lnTo>
                        <a:pt x="1180422" y="394416"/>
                      </a:lnTo>
                      <a:lnTo>
                        <a:pt x="1180688" y="395819"/>
                      </a:lnTo>
                      <a:lnTo>
                        <a:pt x="1180039" y="396978"/>
                      </a:lnTo>
                      <a:lnTo>
                        <a:pt x="1177899" y="397311"/>
                      </a:lnTo>
                      <a:lnTo>
                        <a:pt x="1175888" y="397266"/>
                      </a:lnTo>
                      <a:lnTo>
                        <a:pt x="1174692" y="396235"/>
                      </a:lnTo>
                      <a:lnTo>
                        <a:pt x="1174173" y="394910"/>
                      </a:lnTo>
                      <a:lnTo>
                        <a:pt x="1174298" y="394159"/>
                      </a:lnTo>
                      <a:lnTo>
                        <a:pt x="1175125" y="393236"/>
                      </a:lnTo>
                      <a:close/>
                      <a:moveTo>
                        <a:pt x="1196206" y="360710"/>
                      </a:moveTo>
                      <a:lnTo>
                        <a:pt x="1196782" y="360862"/>
                      </a:lnTo>
                      <a:lnTo>
                        <a:pt x="1197028" y="361795"/>
                      </a:lnTo>
                      <a:lnTo>
                        <a:pt x="1197385" y="363671"/>
                      </a:lnTo>
                      <a:lnTo>
                        <a:pt x="1197837" y="364972"/>
                      </a:lnTo>
                      <a:lnTo>
                        <a:pt x="1197960" y="365977"/>
                      </a:lnTo>
                      <a:lnTo>
                        <a:pt x="1197439" y="366836"/>
                      </a:lnTo>
                      <a:lnTo>
                        <a:pt x="1196739" y="367835"/>
                      </a:lnTo>
                      <a:lnTo>
                        <a:pt x="1195625" y="368102"/>
                      </a:lnTo>
                      <a:lnTo>
                        <a:pt x="1195168" y="367500"/>
                      </a:lnTo>
                      <a:lnTo>
                        <a:pt x="1196056" y="367121"/>
                      </a:lnTo>
                      <a:lnTo>
                        <a:pt x="1196719" y="365935"/>
                      </a:lnTo>
                      <a:lnTo>
                        <a:pt x="1196673" y="364607"/>
                      </a:lnTo>
                      <a:lnTo>
                        <a:pt x="1196484" y="362529"/>
                      </a:lnTo>
                      <a:close/>
                      <a:moveTo>
                        <a:pt x="1184573" y="359892"/>
                      </a:moveTo>
                      <a:lnTo>
                        <a:pt x="1187162" y="361145"/>
                      </a:lnTo>
                      <a:lnTo>
                        <a:pt x="1188596" y="363165"/>
                      </a:lnTo>
                      <a:lnTo>
                        <a:pt x="1188564" y="364942"/>
                      </a:lnTo>
                      <a:lnTo>
                        <a:pt x="1186776" y="366267"/>
                      </a:lnTo>
                      <a:lnTo>
                        <a:pt x="1185763" y="368741"/>
                      </a:lnTo>
                      <a:lnTo>
                        <a:pt x="1185466" y="372713"/>
                      </a:lnTo>
                      <a:lnTo>
                        <a:pt x="1186820" y="374973"/>
                      </a:lnTo>
                      <a:lnTo>
                        <a:pt x="1188244" y="376171"/>
                      </a:lnTo>
                      <a:lnTo>
                        <a:pt x="1190168" y="376841"/>
                      </a:lnTo>
                      <a:lnTo>
                        <a:pt x="1192972" y="376895"/>
                      </a:lnTo>
                      <a:lnTo>
                        <a:pt x="1195353" y="376116"/>
                      </a:lnTo>
                      <a:lnTo>
                        <a:pt x="1195915" y="374167"/>
                      </a:lnTo>
                      <a:lnTo>
                        <a:pt x="1196699" y="373744"/>
                      </a:lnTo>
                      <a:lnTo>
                        <a:pt x="1197131" y="375317"/>
                      </a:lnTo>
                      <a:lnTo>
                        <a:pt x="1196751" y="377870"/>
                      </a:lnTo>
                      <a:lnTo>
                        <a:pt x="1195092" y="379649"/>
                      </a:lnTo>
                      <a:lnTo>
                        <a:pt x="1192378" y="382176"/>
                      </a:lnTo>
                      <a:lnTo>
                        <a:pt x="1189722" y="386057"/>
                      </a:lnTo>
                      <a:lnTo>
                        <a:pt x="1188034" y="389709"/>
                      </a:lnTo>
                      <a:lnTo>
                        <a:pt x="1186241" y="390858"/>
                      </a:lnTo>
                      <a:lnTo>
                        <a:pt x="1184095" y="391883"/>
                      </a:lnTo>
                      <a:lnTo>
                        <a:pt x="1181947" y="392032"/>
                      </a:lnTo>
                      <a:lnTo>
                        <a:pt x="1182117" y="391012"/>
                      </a:lnTo>
                      <a:lnTo>
                        <a:pt x="1183766" y="390786"/>
                      </a:lnTo>
                      <a:lnTo>
                        <a:pt x="1184813" y="389930"/>
                      </a:lnTo>
                      <a:lnTo>
                        <a:pt x="1185200" y="388784"/>
                      </a:lnTo>
                      <a:lnTo>
                        <a:pt x="1186508" y="386647"/>
                      </a:lnTo>
                      <a:lnTo>
                        <a:pt x="1185617" y="383009"/>
                      </a:lnTo>
                      <a:lnTo>
                        <a:pt x="1184015" y="380529"/>
                      </a:lnTo>
                      <a:lnTo>
                        <a:pt x="1182731" y="377198"/>
                      </a:lnTo>
                      <a:lnTo>
                        <a:pt x="1181573" y="370118"/>
                      </a:lnTo>
                      <a:lnTo>
                        <a:pt x="1182474" y="366734"/>
                      </a:lnTo>
                      <a:lnTo>
                        <a:pt x="1182527" y="361808"/>
                      </a:lnTo>
                      <a:close/>
                      <a:moveTo>
                        <a:pt x="1204689" y="346324"/>
                      </a:moveTo>
                      <a:lnTo>
                        <a:pt x="1205310" y="346345"/>
                      </a:lnTo>
                      <a:lnTo>
                        <a:pt x="1205441" y="347033"/>
                      </a:lnTo>
                      <a:lnTo>
                        <a:pt x="1205412" y="348682"/>
                      </a:lnTo>
                      <a:lnTo>
                        <a:pt x="1204853" y="350050"/>
                      </a:lnTo>
                      <a:lnTo>
                        <a:pt x="1204026" y="351817"/>
                      </a:lnTo>
                      <a:lnTo>
                        <a:pt x="1202635" y="353494"/>
                      </a:lnTo>
                      <a:lnTo>
                        <a:pt x="1201320" y="354851"/>
                      </a:lnTo>
                      <a:lnTo>
                        <a:pt x="1200401" y="356497"/>
                      </a:lnTo>
                      <a:lnTo>
                        <a:pt x="1198724" y="357751"/>
                      </a:lnTo>
                      <a:lnTo>
                        <a:pt x="1197754" y="357691"/>
                      </a:lnTo>
                      <a:lnTo>
                        <a:pt x="1198366" y="356952"/>
                      </a:lnTo>
                      <a:lnTo>
                        <a:pt x="1199476" y="356307"/>
                      </a:lnTo>
                      <a:lnTo>
                        <a:pt x="1200096" y="355251"/>
                      </a:lnTo>
                      <a:lnTo>
                        <a:pt x="1200871" y="353931"/>
                      </a:lnTo>
                      <a:lnTo>
                        <a:pt x="1202556" y="352359"/>
                      </a:lnTo>
                      <a:lnTo>
                        <a:pt x="1203453" y="350968"/>
                      </a:lnTo>
                      <a:lnTo>
                        <a:pt x="1204240" y="348634"/>
                      </a:lnTo>
                      <a:lnTo>
                        <a:pt x="1204383" y="347231"/>
                      </a:lnTo>
                      <a:close/>
                      <a:moveTo>
                        <a:pt x="1210017" y="327371"/>
                      </a:moveTo>
                      <a:lnTo>
                        <a:pt x="1212223" y="327474"/>
                      </a:lnTo>
                      <a:lnTo>
                        <a:pt x="1212167" y="330766"/>
                      </a:lnTo>
                      <a:lnTo>
                        <a:pt x="1209343" y="336016"/>
                      </a:lnTo>
                      <a:lnTo>
                        <a:pt x="1205654" y="344611"/>
                      </a:lnTo>
                      <a:lnTo>
                        <a:pt x="1204655" y="343667"/>
                      </a:lnTo>
                      <a:lnTo>
                        <a:pt x="1206384" y="339124"/>
                      </a:lnTo>
                      <a:lnTo>
                        <a:pt x="1208739" y="332137"/>
                      </a:lnTo>
                      <a:lnTo>
                        <a:pt x="1209335" y="328808"/>
                      </a:lnTo>
                      <a:close/>
                      <a:moveTo>
                        <a:pt x="1214900" y="306402"/>
                      </a:moveTo>
                      <a:lnTo>
                        <a:pt x="1217061" y="306782"/>
                      </a:lnTo>
                      <a:lnTo>
                        <a:pt x="1217117" y="309061"/>
                      </a:lnTo>
                      <a:lnTo>
                        <a:pt x="1212657" y="318494"/>
                      </a:lnTo>
                      <a:lnTo>
                        <a:pt x="1210995" y="323698"/>
                      </a:lnTo>
                      <a:lnTo>
                        <a:pt x="1209507" y="324852"/>
                      </a:lnTo>
                      <a:lnTo>
                        <a:pt x="1208648" y="323331"/>
                      </a:lnTo>
                      <a:lnTo>
                        <a:pt x="1209892" y="319910"/>
                      </a:lnTo>
                      <a:lnTo>
                        <a:pt x="1211675" y="314347"/>
                      </a:lnTo>
                      <a:lnTo>
                        <a:pt x="1212379" y="310085"/>
                      </a:lnTo>
                      <a:lnTo>
                        <a:pt x="1213822" y="307704"/>
                      </a:lnTo>
                      <a:close/>
                      <a:moveTo>
                        <a:pt x="1236133" y="226635"/>
                      </a:moveTo>
                      <a:lnTo>
                        <a:pt x="1236114" y="227269"/>
                      </a:lnTo>
                      <a:lnTo>
                        <a:pt x="1234497" y="228986"/>
                      </a:lnTo>
                      <a:lnTo>
                        <a:pt x="1232273" y="230077"/>
                      </a:lnTo>
                      <a:lnTo>
                        <a:pt x="1230381" y="231890"/>
                      </a:lnTo>
                      <a:lnTo>
                        <a:pt x="1230050" y="233962"/>
                      </a:lnTo>
                      <a:lnTo>
                        <a:pt x="1229307" y="236640"/>
                      </a:lnTo>
                      <a:lnTo>
                        <a:pt x="1230016" y="238389"/>
                      </a:lnTo>
                      <a:lnTo>
                        <a:pt x="1232230" y="239781"/>
                      </a:lnTo>
                      <a:lnTo>
                        <a:pt x="1231560" y="241109"/>
                      </a:lnTo>
                      <a:lnTo>
                        <a:pt x="1230087" y="241635"/>
                      </a:lnTo>
                      <a:lnTo>
                        <a:pt x="1230456" y="243065"/>
                      </a:lnTo>
                      <a:lnTo>
                        <a:pt x="1232938" y="243925"/>
                      </a:lnTo>
                      <a:lnTo>
                        <a:pt x="1232509" y="245066"/>
                      </a:lnTo>
                      <a:lnTo>
                        <a:pt x="1230485" y="246569"/>
                      </a:lnTo>
                      <a:lnTo>
                        <a:pt x="1229537" y="248857"/>
                      </a:lnTo>
                      <a:lnTo>
                        <a:pt x="1230415" y="249567"/>
                      </a:lnTo>
                      <a:lnTo>
                        <a:pt x="1232953" y="248799"/>
                      </a:lnTo>
                      <a:lnTo>
                        <a:pt x="1234459" y="249896"/>
                      </a:lnTo>
                      <a:lnTo>
                        <a:pt x="1233646" y="251916"/>
                      </a:lnTo>
                      <a:lnTo>
                        <a:pt x="1230615" y="253488"/>
                      </a:lnTo>
                      <a:lnTo>
                        <a:pt x="1227513" y="256603"/>
                      </a:lnTo>
                      <a:lnTo>
                        <a:pt x="1224903" y="260369"/>
                      </a:lnTo>
                      <a:lnTo>
                        <a:pt x="1222650" y="264541"/>
                      </a:lnTo>
                      <a:lnTo>
                        <a:pt x="1220430" y="268401"/>
                      </a:lnTo>
                      <a:lnTo>
                        <a:pt x="1217454" y="276478"/>
                      </a:lnTo>
                      <a:lnTo>
                        <a:pt x="1213193" y="284619"/>
                      </a:lnTo>
                      <a:lnTo>
                        <a:pt x="1209663" y="289537"/>
                      </a:lnTo>
                      <a:lnTo>
                        <a:pt x="1206781" y="295328"/>
                      </a:lnTo>
                      <a:lnTo>
                        <a:pt x="1200752" y="306893"/>
                      </a:lnTo>
                      <a:lnTo>
                        <a:pt x="1199796" y="310654"/>
                      </a:lnTo>
                      <a:lnTo>
                        <a:pt x="1198010" y="314975"/>
                      </a:lnTo>
                      <a:lnTo>
                        <a:pt x="1196663" y="317190"/>
                      </a:lnTo>
                      <a:lnTo>
                        <a:pt x="1194921" y="320213"/>
                      </a:lnTo>
                      <a:lnTo>
                        <a:pt x="1193719" y="323455"/>
                      </a:lnTo>
                      <a:lnTo>
                        <a:pt x="1192041" y="324763"/>
                      </a:lnTo>
                      <a:lnTo>
                        <a:pt x="1191622" y="326168"/>
                      </a:lnTo>
                      <a:lnTo>
                        <a:pt x="1188691" y="328811"/>
                      </a:lnTo>
                      <a:lnTo>
                        <a:pt x="1187697" y="330297"/>
                      </a:lnTo>
                      <a:lnTo>
                        <a:pt x="1189339" y="332194"/>
                      </a:lnTo>
                      <a:lnTo>
                        <a:pt x="1188868" y="333409"/>
                      </a:lnTo>
                      <a:lnTo>
                        <a:pt x="1187783" y="335078"/>
                      </a:lnTo>
                      <a:lnTo>
                        <a:pt x="1188389" y="336574"/>
                      </a:lnTo>
                      <a:lnTo>
                        <a:pt x="1190877" y="337231"/>
                      </a:lnTo>
                      <a:lnTo>
                        <a:pt x="1192753" y="338698"/>
                      </a:lnTo>
                      <a:lnTo>
                        <a:pt x="1192312" y="339732"/>
                      </a:lnTo>
                      <a:lnTo>
                        <a:pt x="1190604" y="340145"/>
                      </a:lnTo>
                      <a:lnTo>
                        <a:pt x="1189503" y="341402"/>
                      </a:lnTo>
                      <a:lnTo>
                        <a:pt x="1188276" y="341663"/>
                      </a:lnTo>
                      <a:lnTo>
                        <a:pt x="1186900" y="340812"/>
                      </a:lnTo>
                      <a:lnTo>
                        <a:pt x="1184008" y="340715"/>
                      </a:lnTo>
                      <a:lnTo>
                        <a:pt x="1181738" y="345894"/>
                      </a:lnTo>
                      <a:lnTo>
                        <a:pt x="1180391" y="348198"/>
                      </a:lnTo>
                      <a:lnTo>
                        <a:pt x="1179396" y="353904"/>
                      </a:lnTo>
                      <a:lnTo>
                        <a:pt x="1178828" y="360173"/>
                      </a:lnTo>
                      <a:lnTo>
                        <a:pt x="1178491" y="368508"/>
                      </a:lnTo>
                      <a:lnTo>
                        <a:pt x="1178971" y="374415"/>
                      </a:lnTo>
                      <a:lnTo>
                        <a:pt x="1179143" y="381236"/>
                      </a:lnTo>
                      <a:lnTo>
                        <a:pt x="1179484" y="383888"/>
                      </a:lnTo>
                      <a:lnTo>
                        <a:pt x="1180098" y="388052"/>
                      </a:lnTo>
                      <a:lnTo>
                        <a:pt x="1178404" y="389961"/>
                      </a:lnTo>
                      <a:lnTo>
                        <a:pt x="1175441" y="388374"/>
                      </a:lnTo>
                      <a:lnTo>
                        <a:pt x="1173106" y="383718"/>
                      </a:lnTo>
                      <a:lnTo>
                        <a:pt x="1168288" y="378115"/>
                      </a:lnTo>
                      <a:lnTo>
                        <a:pt x="1167434" y="373537"/>
                      </a:lnTo>
                      <a:lnTo>
                        <a:pt x="1167724" y="371066"/>
                      </a:lnTo>
                      <a:lnTo>
                        <a:pt x="1167528" y="369976"/>
                      </a:lnTo>
                      <a:lnTo>
                        <a:pt x="1163789" y="367005"/>
                      </a:lnTo>
                      <a:lnTo>
                        <a:pt x="1163334" y="362768"/>
                      </a:lnTo>
                      <a:lnTo>
                        <a:pt x="1164896" y="358730"/>
                      </a:lnTo>
                      <a:lnTo>
                        <a:pt x="1167168" y="356293"/>
                      </a:lnTo>
                      <a:lnTo>
                        <a:pt x="1165001" y="355724"/>
                      </a:lnTo>
                      <a:lnTo>
                        <a:pt x="1164181" y="355913"/>
                      </a:lnTo>
                      <a:lnTo>
                        <a:pt x="1162890" y="356553"/>
                      </a:lnTo>
                      <a:lnTo>
                        <a:pt x="1164733" y="349864"/>
                      </a:lnTo>
                      <a:lnTo>
                        <a:pt x="1165044" y="346458"/>
                      </a:lnTo>
                      <a:lnTo>
                        <a:pt x="1163841" y="344253"/>
                      </a:lnTo>
                      <a:lnTo>
                        <a:pt x="1166088" y="342868"/>
                      </a:lnTo>
                      <a:lnTo>
                        <a:pt x="1167484" y="340681"/>
                      </a:lnTo>
                      <a:lnTo>
                        <a:pt x="1168033" y="338377"/>
                      </a:lnTo>
                      <a:lnTo>
                        <a:pt x="1167808" y="336654"/>
                      </a:lnTo>
                      <a:lnTo>
                        <a:pt x="1167655" y="336781"/>
                      </a:lnTo>
                      <a:lnTo>
                        <a:pt x="1166750" y="336697"/>
                      </a:lnTo>
                      <a:lnTo>
                        <a:pt x="1166187" y="336950"/>
                      </a:lnTo>
                      <a:lnTo>
                        <a:pt x="1166074" y="338095"/>
                      </a:lnTo>
                      <a:lnTo>
                        <a:pt x="1164940" y="338165"/>
                      </a:lnTo>
                      <a:lnTo>
                        <a:pt x="1164821" y="335128"/>
                      </a:lnTo>
                      <a:lnTo>
                        <a:pt x="1165352" y="331899"/>
                      </a:lnTo>
                      <a:lnTo>
                        <a:pt x="1166672" y="329301"/>
                      </a:lnTo>
                      <a:lnTo>
                        <a:pt x="1170543" y="327013"/>
                      </a:lnTo>
                      <a:lnTo>
                        <a:pt x="1170437" y="325123"/>
                      </a:lnTo>
                      <a:lnTo>
                        <a:pt x="1168791" y="324135"/>
                      </a:lnTo>
                      <a:lnTo>
                        <a:pt x="1165827" y="325762"/>
                      </a:lnTo>
                      <a:lnTo>
                        <a:pt x="1165432" y="320597"/>
                      </a:lnTo>
                      <a:lnTo>
                        <a:pt x="1166867" y="316679"/>
                      </a:lnTo>
                      <a:lnTo>
                        <a:pt x="1169528" y="313794"/>
                      </a:lnTo>
                      <a:lnTo>
                        <a:pt x="1172744" y="311757"/>
                      </a:lnTo>
                      <a:lnTo>
                        <a:pt x="1166071" y="309716"/>
                      </a:lnTo>
                      <a:lnTo>
                        <a:pt x="1167818" y="307930"/>
                      </a:lnTo>
                      <a:lnTo>
                        <a:pt x="1169076" y="306219"/>
                      </a:lnTo>
                      <a:lnTo>
                        <a:pt x="1169041" y="304724"/>
                      </a:lnTo>
                      <a:lnTo>
                        <a:pt x="1166940" y="303541"/>
                      </a:lnTo>
                      <a:lnTo>
                        <a:pt x="1169243" y="301728"/>
                      </a:lnTo>
                      <a:lnTo>
                        <a:pt x="1172452" y="300830"/>
                      </a:lnTo>
                      <a:lnTo>
                        <a:pt x="1173971" y="299700"/>
                      </a:lnTo>
                      <a:lnTo>
                        <a:pt x="1171214" y="297156"/>
                      </a:lnTo>
                      <a:lnTo>
                        <a:pt x="1172307" y="294214"/>
                      </a:lnTo>
                      <a:lnTo>
                        <a:pt x="1174300" y="292603"/>
                      </a:lnTo>
                      <a:lnTo>
                        <a:pt x="1177106" y="291875"/>
                      </a:lnTo>
                      <a:lnTo>
                        <a:pt x="1180591" y="291571"/>
                      </a:lnTo>
                      <a:lnTo>
                        <a:pt x="1179140" y="288932"/>
                      </a:lnTo>
                      <a:lnTo>
                        <a:pt x="1179023" y="287379"/>
                      </a:lnTo>
                      <a:lnTo>
                        <a:pt x="1183351" y="281557"/>
                      </a:lnTo>
                      <a:lnTo>
                        <a:pt x="1182882" y="280543"/>
                      </a:lnTo>
                      <a:lnTo>
                        <a:pt x="1179632" y="280716"/>
                      </a:lnTo>
                      <a:lnTo>
                        <a:pt x="1179388" y="279396"/>
                      </a:lnTo>
                      <a:lnTo>
                        <a:pt x="1182160" y="276904"/>
                      </a:lnTo>
                      <a:lnTo>
                        <a:pt x="1183779" y="274549"/>
                      </a:lnTo>
                      <a:lnTo>
                        <a:pt x="1183263" y="272130"/>
                      </a:lnTo>
                      <a:lnTo>
                        <a:pt x="1179654" y="269482"/>
                      </a:lnTo>
                      <a:lnTo>
                        <a:pt x="1180941" y="267023"/>
                      </a:lnTo>
                      <a:lnTo>
                        <a:pt x="1182707" y="267175"/>
                      </a:lnTo>
                      <a:lnTo>
                        <a:pt x="1184630" y="268383"/>
                      </a:lnTo>
                      <a:lnTo>
                        <a:pt x="1186441" y="269058"/>
                      </a:lnTo>
                      <a:lnTo>
                        <a:pt x="1195177" y="267403"/>
                      </a:lnTo>
                      <a:lnTo>
                        <a:pt x="1193511" y="265996"/>
                      </a:lnTo>
                      <a:lnTo>
                        <a:pt x="1192427" y="264102"/>
                      </a:lnTo>
                      <a:lnTo>
                        <a:pt x="1192104" y="262065"/>
                      </a:lnTo>
                      <a:lnTo>
                        <a:pt x="1192695" y="260205"/>
                      </a:lnTo>
                      <a:lnTo>
                        <a:pt x="1193741" y="259891"/>
                      </a:lnTo>
                      <a:lnTo>
                        <a:pt x="1197401" y="260238"/>
                      </a:lnTo>
                      <a:lnTo>
                        <a:pt x="1198908" y="259814"/>
                      </a:lnTo>
                      <a:lnTo>
                        <a:pt x="1197338" y="258352"/>
                      </a:lnTo>
                      <a:lnTo>
                        <a:pt x="1196299" y="256739"/>
                      </a:lnTo>
                      <a:lnTo>
                        <a:pt x="1196015" y="255153"/>
                      </a:lnTo>
                      <a:lnTo>
                        <a:pt x="1196728" y="253722"/>
                      </a:lnTo>
                      <a:lnTo>
                        <a:pt x="1195774" y="251185"/>
                      </a:lnTo>
                      <a:lnTo>
                        <a:pt x="1192620" y="249333"/>
                      </a:lnTo>
                      <a:lnTo>
                        <a:pt x="1188161" y="248644"/>
                      </a:lnTo>
                      <a:lnTo>
                        <a:pt x="1184414" y="249491"/>
                      </a:lnTo>
                      <a:lnTo>
                        <a:pt x="1184210" y="248395"/>
                      </a:lnTo>
                      <a:lnTo>
                        <a:pt x="1187312" y="245430"/>
                      </a:lnTo>
                      <a:lnTo>
                        <a:pt x="1190642" y="243091"/>
                      </a:lnTo>
                      <a:lnTo>
                        <a:pt x="1195437" y="241848"/>
                      </a:lnTo>
                      <a:lnTo>
                        <a:pt x="1197689" y="240852"/>
                      </a:lnTo>
                      <a:lnTo>
                        <a:pt x="1199269" y="238871"/>
                      </a:lnTo>
                      <a:lnTo>
                        <a:pt x="1196849" y="238004"/>
                      </a:lnTo>
                      <a:lnTo>
                        <a:pt x="1197503" y="236339"/>
                      </a:lnTo>
                      <a:lnTo>
                        <a:pt x="1198697" y="234669"/>
                      </a:lnTo>
                      <a:lnTo>
                        <a:pt x="1199576" y="232713"/>
                      </a:lnTo>
                      <a:lnTo>
                        <a:pt x="1200620" y="232378"/>
                      </a:lnTo>
                      <a:lnTo>
                        <a:pt x="1204388" y="231880"/>
                      </a:lnTo>
                      <a:lnTo>
                        <a:pt x="1210788" y="230778"/>
                      </a:lnTo>
                      <a:lnTo>
                        <a:pt x="1217129" y="229767"/>
                      </a:lnTo>
                      <a:lnTo>
                        <a:pt x="1223803" y="228559"/>
                      </a:lnTo>
                      <a:lnTo>
                        <a:pt x="1229573" y="227669"/>
                      </a:lnTo>
                      <a:lnTo>
                        <a:pt x="1233759" y="227054"/>
                      </a:lnTo>
                      <a:lnTo>
                        <a:pt x="1236057" y="226645"/>
                      </a:lnTo>
                      <a:close/>
                      <a:moveTo>
                        <a:pt x="1256084" y="223649"/>
                      </a:moveTo>
                      <a:lnTo>
                        <a:pt x="1249028" y="243044"/>
                      </a:lnTo>
                      <a:lnTo>
                        <a:pt x="1248045" y="247917"/>
                      </a:lnTo>
                      <a:lnTo>
                        <a:pt x="1246166" y="251019"/>
                      </a:lnTo>
                      <a:lnTo>
                        <a:pt x="1244900" y="252542"/>
                      </a:lnTo>
                      <a:lnTo>
                        <a:pt x="1243070" y="253510"/>
                      </a:lnTo>
                      <a:lnTo>
                        <a:pt x="1241320" y="254897"/>
                      </a:lnTo>
                      <a:lnTo>
                        <a:pt x="1238841" y="253453"/>
                      </a:lnTo>
                      <a:lnTo>
                        <a:pt x="1237433" y="251854"/>
                      </a:lnTo>
                      <a:lnTo>
                        <a:pt x="1239009" y="250988"/>
                      </a:lnTo>
                      <a:lnTo>
                        <a:pt x="1242302" y="252376"/>
                      </a:lnTo>
                      <a:lnTo>
                        <a:pt x="1243770" y="251432"/>
                      </a:lnTo>
                      <a:lnTo>
                        <a:pt x="1244522" y="248674"/>
                      </a:lnTo>
                      <a:lnTo>
                        <a:pt x="1242247" y="247810"/>
                      </a:lnTo>
                      <a:lnTo>
                        <a:pt x="1240521" y="247416"/>
                      </a:lnTo>
                      <a:lnTo>
                        <a:pt x="1241130" y="245344"/>
                      </a:lnTo>
                      <a:lnTo>
                        <a:pt x="1243704" y="244473"/>
                      </a:lnTo>
                      <a:lnTo>
                        <a:pt x="1245260" y="243804"/>
                      </a:lnTo>
                      <a:lnTo>
                        <a:pt x="1246357" y="242617"/>
                      </a:lnTo>
                      <a:lnTo>
                        <a:pt x="1246801" y="240749"/>
                      </a:lnTo>
                      <a:lnTo>
                        <a:pt x="1247600" y="239318"/>
                      </a:lnTo>
                      <a:lnTo>
                        <a:pt x="1248523" y="233297"/>
                      </a:lnTo>
                      <a:lnTo>
                        <a:pt x="1249224" y="231222"/>
                      </a:lnTo>
                      <a:lnTo>
                        <a:pt x="1251336" y="227014"/>
                      </a:lnTo>
                      <a:lnTo>
                        <a:pt x="1253175" y="224205"/>
                      </a:lnTo>
                      <a:close/>
                      <a:moveTo>
                        <a:pt x="747112" y="0"/>
                      </a:moveTo>
                      <a:lnTo>
                        <a:pt x="749784" y="1604"/>
                      </a:lnTo>
                      <a:lnTo>
                        <a:pt x="759304" y="7368"/>
                      </a:lnTo>
                      <a:lnTo>
                        <a:pt x="768827" y="13142"/>
                      </a:lnTo>
                      <a:lnTo>
                        <a:pt x="778355" y="18919"/>
                      </a:lnTo>
                      <a:lnTo>
                        <a:pt x="787891" y="24683"/>
                      </a:lnTo>
                      <a:lnTo>
                        <a:pt x="797431" y="30455"/>
                      </a:lnTo>
                      <a:lnTo>
                        <a:pt x="806978" y="36222"/>
                      </a:lnTo>
                      <a:lnTo>
                        <a:pt x="816524" y="41990"/>
                      </a:lnTo>
                      <a:lnTo>
                        <a:pt x="826077" y="47762"/>
                      </a:lnTo>
                      <a:lnTo>
                        <a:pt x="827857" y="48832"/>
                      </a:lnTo>
                      <a:lnTo>
                        <a:pt x="829325" y="49802"/>
                      </a:lnTo>
                      <a:lnTo>
                        <a:pt x="829893" y="47608"/>
                      </a:lnTo>
                      <a:lnTo>
                        <a:pt x="830525" y="45351"/>
                      </a:lnTo>
                      <a:lnTo>
                        <a:pt x="832037" y="40024"/>
                      </a:lnTo>
                      <a:lnTo>
                        <a:pt x="834350" y="31771"/>
                      </a:lnTo>
                      <a:lnTo>
                        <a:pt x="835917" y="26205"/>
                      </a:lnTo>
                      <a:lnTo>
                        <a:pt x="837953" y="18902"/>
                      </a:lnTo>
                      <a:lnTo>
                        <a:pt x="838564" y="16696"/>
                      </a:lnTo>
                      <a:lnTo>
                        <a:pt x="838738" y="16022"/>
                      </a:lnTo>
                      <a:lnTo>
                        <a:pt x="841866" y="17111"/>
                      </a:lnTo>
                      <a:lnTo>
                        <a:pt x="849488" y="16692"/>
                      </a:lnTo>
                      <a:lnTo>
                        <a:pt x="852346" y="17024"/>
                      </a:lnTo>
                      <a:lnTo>
                        <a:pt x="859098" y="18998"/>
                      </a:lnTo>
                      <a:lnTo>
                        <a:pt x="866142" y="20117"/>
                      </a:lnTo>
                      <a:lnTo>
                        <a:pt x="868027" y="21413"/>
                      </a:lnTo>
                      <a:lnTo>
                        <a:pt x="871700" y="25709"/>
                      </a:lnTo>
                      <a:lnTo>
                        <a:pt x="874855" y="27327"/>
                      </a:lnTo>
                      <a:lnTo>
                        <a:pt x="878396" y="28013"/>
                      </a:lnTo>
                      <a:lnTo>
                        <a:pt x="881593" y="29035"/>
                      </a:lnTo>
                      <a:lnTo>
                        <a:pt x="883710" y="31687"/>
                      </a:lnTo>
                      <a:lnTo>
                        <a:pt x="883800" y="35321"/>
                      </a:lnTo>
                      <a:lnTo>
                        <a:pt x="882048" y="38141"/>
                      </a:lnTo>
                      <a:lnTo>
                        <a:pt x="877817" y="42474"/>
                      </a:lnTo>
                      <a:lnTo>
                        <a:pt x="877229" y="45515"/>
                      </a:lnTo>
                      <a:lnTo>
                        <a:pt x="878580" y="48173"/>
                      </a:lnTo>
                      <a:lnTo>
                        <a:pt x="880978" y="50396"/>
                      </a:lnTo>
                      <a:lnTo>
                        <a:pt x="883559" y="52178"/>
                      </a:lnTo>
                      <a:lnTo>
                        <a:pt x="889806" y="56878"/>
                      </a:lnTo>
                      <a:lnTo>
                        <a:pt x="893662" y="58494"/>
                      </a:lnTo>
                      <a:lnTo>
                        <a:pt x="907093" y="58896"/>
                      </a:lnTo>
                      <a:lnTo>
                        <a:pt x="912116" y="59884"/>
                      </a:lnTo>
                      <a:lnTo>
                        <a:pt x="916908" y="61835"/>
                      </a:lnTo>
                      <a:lnTo>
                        <a:pt x="920764" y="64858"/>
                      </a:lnTo>
                      <a:lnTo>
                        <a:pt x="922113" y="67226"/>
                      </a:lnTo>
                      <a:lnTo>
                        <a:pt x="923231" y="70004"/>
                      </a:lnTo>
                      <a:lnTo>
                        <a:pt x="924657" y="72263"/>
                      </a:lnTo>
                      <a:lnTo>
                        <a:pt x="926899" y="73114"/>
                      </a:lnTo>
                      <a:lnTo>
                        <a:pt x="929109" y="73365"/>
                      </a:lnTo>
                      <a:lnTo>
                        <a:pt x="934421" y="74718"/>
                      </a:lnTo>
                      <a:lnTo>
                        <a:pt x="938406" y="75346"/>
                      </a:lnTo>
                      <a:lnTo>
                        <a:pt x="940975" y="77710"/>
                      </a:lnTo>
                      <a:lnTo>
                        <a:pt x="943395" y="80512"/>
                      </a:lnTo>
                      <a:lnTo>
                        <a:pt x="947602" y="84869"/>
                      </a:lnTo>
                      <a:lnTo>
                        <a:pt x="949697" y="85601"/>
                      </a:lnTo>
                      <a:lnTo>
                        <a:pt x="952143" y="85715"/>
                      </a:lnTo>
                      <a:lnTo>
                        <a:pt x="953180" y="87557"/>
                      </a:lnTo>
                      <a:lnTo>
                        <a:pt x="955287" y="89242"/>
                      </a:lnTo>
                      <a:lnTo>
                        <a:pt x="956431" y="90047"/>
                      </a:lnTo>
                      <a:lnTo>
                        <a:pt x="957617" y="91389"/>
                      </a:lnTo>
                      <a:lnTo>
                        <a:pt x="958460" y="92639"/>
                      </a:lnTo>
                      <a:lnTo>
                        <a:pt x="958968" y="93857"/>
                      </a:lnTo>
                      <a:lnTo>
                        <a:pt x="959281" y="95390"/>
                      </a:lnTo>
                      <a:lnTo>
                        <a:pt x="958829" y="96384"/>
                      </a:lnTo>
                      <a:lnTo>
                        <a:pt x="957809" y="96525"/>
                      </a:lnTo>
                      <a:lnTo>
                        <a:pt x="958017" y="97228"/>
                      </a:lnTo>
                      <a:lnTo>
                        <a:pt x="958756" y="98607"/>
                      </a:lnTo>
                      <a:lnTo>
                        <a:pt x="959519" y="100763"/>
                      </a:lnTo>
                      <a:lnTo>
                        <a:pt x="959996" y="104081"/>
                      </a:lnTo>
                      <a:lnTo>
                        <a:pt x="959442" y="104905"/>
                      </a:lnTo>
                      <a:lnTo>
                        <a:pt x="958519" y="105517"/>
                      </a:lnTo>
                      <a:lnTo>
                        <a:pt x="958248" y="106437"/>
                      </a:lnTo>
                      <a:lnTo>
                        <a:pt x="959220" y="107679"/>
                      </a:lnTo>
                      <a:lnTo>
                        <a:pt x="959659" y="109201"/>
                      </a:lnTo>
                      <a:lnTo>
                        <a:pt x="960558" y="112663"/>
                      </a:lnTo>
                      <a:lnTo>
                        <a:pt x="961495" y="116006"/>
                      </a:lnTo>
                      <a:lnTo>
                        <a:pt x="961120" y="118380"/>
                      </a:lnTo>
                      <a:lnTo>
                        <a:pt x="957939" y="119473"/>
                      </a:lnTo>
                      <a:lnTo>
                        <a:pt x="955045" y="119693"/>
                      </a:lnTo>
                      <a:lnTo>
                        <a:pt x="953629" y="120408"/>
                      </a:lnTo>
                      <a:lnTo>
                        <a:pt x="952090" y="120384"/>
                      </a:lnTo>
                      <a:lnTo>
                        <a:pt x="950952" y="120676"/>
                      </a:lnTo>
                      <a:lnTo>
                        <a:pt x="950532" y="124097"/>
                      </a:lnTo>
                      <a:lnTo>
                        <a:pt x="949788" y="125926"/>
                      </a:lnTo>
                      <a:lnTo>
                        <a:pt x="948080" y="126063"/>
                      </a:lnTo>
                      <a:lnTo>
                        <a:pt x="946804" y="124582"/>
                      </a:lnTo>
                      <a:lnTo>
                        <a:pt x="945227" y="123623"/>
                      </a:lnTo>
                      <a:lnTo>
                        <a:pt x="943880" y="124178"/>
                      </a:lnTo>
                      <a:lnTo>
                        <a:pt x="943948" y="125890"/>
                      </a:lnTo>
                      <a:lnTo>
                        <a:pt x="946706" y="128524"/>
                      </a:lnTo>
                      <a:lnTo>
                        <a:pt x="949578" y="130710"/>
                      </a:lnTo>
                      <a:lnTo>
                        <a:pt x="950492" y="133181"/>
                      </a:lnTo>
                      <a:lnTo>
                        <a:pt x="946410" y="134270"/>
                      </a:lnTo>
                      <a:lnTo>
                        <a:pt x="943090" y="136380"/>
                      </a:lnTo>
                      <a:lnTo>
                        <a:pt x="940928" y="135981"/>
                      </a:lnTo>
                      <a:lnTo>
                        <a:pt x="939432" y="134766"/>
                      </a:lnTo>
                      <a:lnTo>
                        <a:pt x="939837" y="133335"/>
                      </a:lnTo>
                      <a:lnTo>
                        <a:pt x="940753" y="130286"/>
                      </a:lnTo>
                      <a:lnTo>
                        <a:pt x="939505" y="128705"/>
                      </a:lnTo>
                      <a:lnTo>
                        <a:pt x="937380" y="128844"/>
                      </a:lnTo>
                      <a:lnTo>
                        <a:pt x="935527" y="130427"/>
                      </a:lnTo>
                      <a:lnTo>
                        <a:pt x="935021" y="133112"/>
                      </a:lnTo>
                      <a:lnTo>
                        <a:pt x="935040" y="135853"/>
                      </a:lnTo>
                      <a:lnTo>
                        <a:pt x="934358" y="138949"/>
                      </a:lnTo>
                      <a:lnTo>
                        <a:pt x="933140" y="141755"/>
                      </a:lnTo>
                      <a:lnTo>
                        <a:pt x="931484" y="143660"/>
                      </a:lnTo>
                      <a:lnTo>
                        <a:pt x="932297" y="144156"/>
                      </a:lnTo>
                      <a:lnTo>
                        <a:pt x="933098" y="145220"/>
                      </a:lnTo>
                      <a:lnTo>
                        <a:pt x="933991" y="146060"/>
                      </a:lnTo>
                      <a:lnTo>
                        <a:pt x="931527" y="148033"/>
                      </a:lnTo>
                      <a:lnTo>
                        <a:pt x="930361" y="148603"/>
                      </a:lnTo>
                      <a:lnTo>
                        <a:pt x="930591" y="149917"/>
                      </a:lnTo>
                      <a:lnTo>
                        <a:pt x="930788" y="153265"/>
                      </a:lnTo>
                      <a:lnTo>
                        <a:pt x="928932" y="158373"/>
                      </a:lnTo>
                      <a:lnTo>
                        <a:pt x="927308" y="167603"/>
                      </a:lnTo>
                      <a:lnTo>
                        <a:pt x="930556" y="175408"/>
                      </a:lnTo>
                      <a:lnTo>
                        <a:pt x="927137" y="173720"/>
                      </a:lnTo>
                      <a:lnTo>
                        <a:pt x="924051" y="171024"/>
                      </a:lnTo>
                      <a:lnTo>
                        <a:pt x="923119" y="171713"/>
                      </a:lnTo>
                      <a:lnTo>
                        <a:pt x="925009" y="175120"/>
                      </a:lnTo>
                      <a:lnTo>
                        <a:pt x="929666" y="178304"/>
                      </a:lnTo>
                      <a:lnTo>
                        <a:pt x="932162" y="180067"/>
                      </a:lnTo>
                      <a:lnTo>
                        <a:pt x="934263" y="181862"/>
                      </a:lnTo>
                      <a:lnTo>
                        <a:pt x="935720" y="184446"/>
                      </a:lnTo>
                      <a:lnTo>
                        <a:pt x="933982" y="184463"/>
                      </a:lnTo>
                      <a:lnTo>
                        <a:pt x="930811" y="185331"/>
                      </a:lnTo>
                      <a:lnTo>
                        <a:pt x="927963" y="185806"/>
                      </a:lnTo>
                      <a:lnTo>
                        <a:pt x="928841" y="186841"/>
                      </a:lnTo>
                      <a:lnTo>
                        <a:pt x="935917" y="186763"/>
                      </a:lnTo>
                      <a:lnTo>
                        <a:pt x="942782" y="188300"/>
                      </a:lnTo>
                      <a:lnTo>
                        <a:pt x="951976" y="185319"/>
                      </a:lnTo>
                      <a:lnTo>
                        <a:pt x="954668" y="184392"/>
                      </a:lnTo>
                      <a:lnTo>
                        <a:pt x="959093" y="180696"/>
                      </a:lnTo>
                      <a:lnTo>
                        <a:pt x="966295" y="180044"/>
                      </a:lnTo>
                      <a:lnTo>
                        <a:pt x="969600" y="175247"/>
                      </a:lnTo>
                      <a:lnTo>
                        <a:pt x="972211" y="174787"/>
                      </a:lnTo>
                      <a:lnTo>
                        <a:pt x="975660" y="176604"/>
                      </a:lnTo>
                      <a:lnTo>
                        <a:pt x="976888" y="178719"/>
                      </a:lnTo>
                      <a:lnTo>
                        <a:pt x="977098" y="181776"/>
                      </a:lnTo>
                      <a:lnTo>
                        <a:pt x="977908" y="183802"/>
                      </a:lnTo>
                      <a:lnTo>
                        <a:pt x="978243" y="186106"/>
                      </a:lnTo>
                      <a:lnTo>
                        <a:pt x="977281" y="188030"/>
                      </a:lnTo>
                      <a:lnTo>
                        <a:pt x="974802" y="187731"/>
                      </a:lnTo>
                      <a:lnTo>
                        <a:pt x="972795" y="187763"/>
                      </a:lnTo>
                      <a:lnTo>
                        <a:pt x="972881" y="188863"/>
                      </a:lnTo>
                      <a:lnTo>
                        <a:pt x="975142" y="189425"/>
                      </a:lnTo>
                      <a:lnTo>
                        <a:pt x="976588" y="190279"/>
                      </a:lnTo>
                      <a:lnTo>
                        <a:pt x="982024" y="195383"/>
                      </a:lnTo>
                      <a:lnTo>
                        <a:pt x="986098" y="196323"/>
                      </a:lnTo>
                      <a:lnTo>
                        <a:pt x="987640" y="196849"/>
                      </a:lnTo>
                      <a:lnTo>
                        <a:pt x="988714" y="198053"/>
                      </a:lnTo>
                      <a:lnTo>
                        <a:pt x="989831" y="200301"/>
                      </a:lnTo>
                      <a:lnTo>
                        <a:pt x="989977" y="202379"/>
                      </a:lnTo>
                      <a:lnTo>
                        <a:pt x="989789" y="205467"/>
                      </a:lnTo>
                      <a:lnTo>
                        <a:pt x="991132" y="206837"/>
                      </a:lnTo>
                      <a:lnTo>
                        <a:pt x="997732" y="208411"/>
                      </a:lnTo>
                      <a:lnTo>
                        <a:pt x="1003135" y="212047"/>
                      </a:lnTo>
                      <a:lnTo>
                        <a:pt x="1011336" y="213625"/>
                      </a:lnTo>
                      <a:lnTo>
                        <a:pt x="1016218" y="212631"/>
                      </a:lnTo>
                      <a:lnTo>
                        <a:pt x="1019605" y="212861"/>
                      </a:lnTo>
                      <a:lnTo>
                        <a:pt x="1022629" y="213758"/>
                      </a:lnTo>
                      <a:lnTo>
                        <a:pt x="1023943" y="215927"/>
                      </a:lnTo>
                      <a:lnTo>
                        <a:pt x="1025983" y="217893"/>
                      </a:lnTo>
                      <a:lnTo>
                        <a:pt x="1029473" y="216753"/>
                      </a:lnTo>
                      <a:lnTo>
                        <a:pt x="1032712" y="214552"/>
                      </a:lnTo>
                      <a:lnTo>
                        <a:pt x="1034034" y="213381"/>
                      </a:lnTo>
                      <a:lnTo>
                        <a:pt x="1035823" y="213602"/>
                      </a:lnTo>
                      <a:lnTo>
                        <a:pt x="1037194" y="214326"/>
                      </a:lnTo>
                      <a:lnTo>
                        <a:pt x="1038388" y="215150"/>
                      </a:lnTo>
                      <a:lnTo>
                        <a:pt x="1039657" y="215597"/>
                      </a:lnTo>
                      <a:lnTo>
                        <a:pt x="1041467" y="215482"/>
                      </a:lnTo>
                      <a:lnTo>
                        <a:pt x="1044440" y="214342"/>
                      </a:lnTo>
                      <a:lnTo>
                        <a:pt x="1045788" y="215500"/>
                      </a:lnTo>
                      <a:lnTo>
                        <a:pt x="1047002" y="217378"/>
                      </a:lnTo>
                      <a:lnTo>
                        <a:pt x="1046758" y="220893"/>
                      </a:lnTo>
                      <a:lnTo>
                        <a:pt x="1048803" y="222181"/>
                      </a:lnTo>
                      <a:lnTo>
                        <a:pt x="1051168" y="223374"/>
                      </a:lnTo>
                      <a:lnTo>
                        <a:pt x="1054478" y="224632"/>
                      </a:lnTo>
                      <a:lnTo>
                        <a:pt x="1058980" y="226915"/>
                      </a:lnTo>
                      <a:lnTo>
                        <a:pt x="1060193" y="228794"/>
                      </a:lnTo>
                      <a:lnTo>
                        <a:pt x="1061766" y="230747"/>
                      </a:lnTo>
                      <a:lnTo>
                        <a:pt x="1060213" y="232653"/>
                      </a:lnTo>
                      <a:lnTo>
                        <a:pt x="1060524" y="233341"/>
                      </a:lnTo>
                      <a:lnTo>
                        <a:pt x="1061148" y="235734"/>
                      </a:lnTo>
                      <a:lnTo>
                        <a:pt x="1061985" y="236121"/>
                      </a:lnTo>
                      <a:lnTo>
                        <a:pt x="1065160" y="235760"/>
                      </a:lnTo>
                      <a:lnTo>
                        <a:pt x="1068152" y="235910"/>
                      </a:lnTo>
                      <a:lnTo>
                        <a:pt x="1070544" y="236754"/>
                      </a:lnTo>
                      <a:lnTo>
                        <a:pt x="1071717" y="236924"/>
                      </a:lnTo>
                      <a:lnTo>
                        <a:pt x="1073309" y="238392"/>
                      </a:lnTo>
                      <a:lnTo>
                        <a:pt x="1072313" y="239137"/>
                      </a:lnTo>
                      <a:lnTo>
                        <a:pt x="1071241" y="239449"/>
                      </a:lnTo>
                      <a:lnTo>
                        <a:pt x="1073006" y="240311"/>
                      </a:lnTo>
                      <a:lnTo>
                        <a:pt x="1081488" y="244439"/>
                      </a:lnTo>
                      <a:lnTo>
                        <a:pt x="1087106" y="245712"/>
                      </a:lnTo>
                      <a:lnTo>
                        <a:pt x="1100656" y="251261"/>
                      </a:lnTo>
                      <a:lnTo>
                        <a:pt x="1105436" y="252884"/>
                      </a:lnTo>
                      <a:lnTo>
                        <a:pt x="1107923" y="254672"/>
                      </a:lnTo>
                      <a:lnTo>
                        <a:pt x="1109454" y="258495"/>
                      </a:lnTo>
                      <a:lnTo>
                        <a:pt x="1111166" y="262329"/>
                      </a:lnTo>
                      <a:lnTo>
                        <a:pt x="1111348" y="266529"/>
                      </a:lnTo>
                      <a:lnTo>
                        <a:pt x="1110186" y="268975"/>
                      </a:lnTo>
                      <a:lnTo>
                        <a:pt x="1107428" y="268852"/>
                      </a:lnTo>
                      <a:lnTo>
                        <a:pt x="1101797" y="264457"/>
                      </a:lnTo>
                      <a:lnTo>
                        <a:pt x="1099172" y="263415"/>
                      </a:lnTo>
                      <a:lnTo>
                        <a:pt x="1098000" y="265081"/>
                      </a:lnTo>
                      <a:lnTo>
                        <a:pt x="1099698" y="268541"/>
                      </a:lnTo>
                      <a:lnTo>
                        <a:pt x="1103784" y="274144"/>
                      </a:lnTo>
                      <a:lnTo>
                        <a:pt x="1104886" y="276846"/>
                      </a:lnTo>
                      <a:lnTo>
                        <a:pt x="1105144" y="278484"/>
                      </a:lnTo>
                      <a:lnTo>
                        <a:pt x="1104896" y="280300"/>
                      </a:lnTo>
                      <a:lnTo>
                        <a:pt x="1104292" y="282777"/>
                      </a:lnTo>
                      <a:lnTo>
                        <a:pt x="1103655" y="283056"/>
                      </a:lnTo>
                      <a:lnTo>
                        <a:pt x="1102566" y="282882"/>
                      </a:lnTo>
                      <a:lnTo>
                        <a:pt x="1101585" y="282847"/>
                      </a:lnTo>
                      <a:lnTo>
                        <a:pt x="1101284" y="283571"/>
                      </a:lnTo>
                      <a:lnTo>
                        <a:pt x="1102907" y="285637"/>
                      </a:lnTo>
                      <a:lnTo>
                        <a:pt x="1108382" y="289126"/>
                      </a:lnTo>
                      <a:lnTo>
                        <a:pt x="1108958" y="291175"/>
                      </a:lnTo>
                      <a:lnTo>
                        <a:pt x="1107883" y="292086"/>
                      </a:lnTo>
                      <a:lnTo>
                        <a:pt x="1106155" y="292284"/>
                      </a:lnTo>
                      <a:lnTo>
                        <a:pt x="1104269" y="292027"/>
                      </a:lnTo>
                      <a:lnTo>
                        <a:pt x="1102719" y="291552"/>
                      </a:lnTo>
                      <a:lnTo>
                        <a:pt x="1103989" y="293946"/>
                      </a:lnTo>
                      <a:lnTo>
                        <a:pt x="1103331" y="295057"/>
                      </a:lnTo>
                      <a:lnTo>
                        <a:pt x="1102108" y="295802"/>
                      </a:lnTo>
                      <a:lnTo>
                        <a:pt x="1101608" y="297063"/>
                      </a:lnTo>
                      <a:lnTo>
                        <a:pt x="1102438" y="298762"/>
                      </a:lnTo>
                      <a:lnTo>
                        <a:pt x="1105100" y="301313"/>
                      </a:lnTo>
                      <a:lnTo>
                        <a:pt x="1105811" y="302488"/>
                      </a:lnTo>
                      <a:lnTo>
                        <a:pt x="1107795" y="302244"/>
                      </a:lnTo>
                      <a:lnTo>
                        <a:pt x="1105736" y="304854"/>
                      </a:lnTo>
                      <a:lnTo>
                        <a:pt x="1101298" y="304407"/>
                      </a:lnTo>
                      <a:lnTo>
                        <a:pt x="1092363" y="301956"/>
                      </a:lnTo>
                      <a:lnTo>
                        <a:pt x="1091564" y="301056"/>
                      </a:lnTo>
                      <a:lnTo>
                        <a:pt x="1089645" y="299357"/>
                      </a:lnTo>
                      <a:lnTo>
                        <a:pt x="1087789" y="298251"/>
                      </a:lnTo>
                      <a:lnTo>
                        <a:pt x="1087196" y="299205"/>
                      </a:lnTo>
                      <a:lnTo>
                        <a:pt x="1086615" y="299035"/>
                      </a:lnTo>
                      <a:lnTo>
                        <a:pt x="1085176" y="297701"/>
                      </a:lnTo>
                      <a:lnTo>
                        <a:pt x="1083659" y="295518"/>
                      </a:lnTo>
                      <a:lnTo>
                        <a:pt x="1083018" y="293961"/>
                      </a:lnTo>
                      <a:lnTo>
                        <a:pt x="1080562" y="291209"/>
                      </a:lnTo>
                      <a:lnTo>
                        <a:pt x="1079506" y="293705"/>
                      </a:lnTo>
                      <a:lnTo>
                        <a:pt x="1078998" y="300307"/>
                      </a:lnTo>
                      <a:lnTo>
                        <a:pt x="1076702" y="300699"/>
                      </a:lnTo>
                      <a:lnTo>
                        <a:pt x="1074510" y="298681"/>
                      </a:lnTo>
                      <a:lnTo>
                        <a:pt x="1072847" y="295385"/>
                      </a:lnTo>
                      <a:lnTo>
                        <a:pt x="1072413" y="293371"/>
                      </a:lnTo>
                      <a:lnTo>
                        <a:pt x="1070211" y="290596"/>
                      </a:lnTo>
                      <a:lnTo>
                        <a:pt x="1063632" y="284586"/>
                      </a:lnTo>
                      <a:lnTo>
                        <a:pt x="1061837" y="281110"/>
                      </a:lnTo>
                      <a:lnTo>
                        <a:pt x="1060968" y="280091"/>
                      </a:lnTo>
                      <a:lnTo>
                        <a:pt x="1055865" y="277024"/>
                      </a:lnTo>
                      <a:lnTo>
                        <a:pt x="1054916" y="275697"/>
                      </a:lnTo>
                      <a:lnTo>
                        <a:pt x="1053969" y="273954"/>
                      </a:lnTo>
                      <a:lnTo>
                        <a:pt x="1052819" y="273215"/>
                      </a:lnTo>
                      <a:lnTo>
                        <a:pt x="1051299" y="274965"/>
                      </a:lnTo>
                      <a:lnTo>
                        <a:pt x="1049796" y="274355"/>
                      </a:lnTo>
                      <a:lnTo>
                        <a:pt x="1048354" y="273378"/>
                      </a:lnTo>
                      <a:lnTo>
                        <a:pt x="1047320" y="271736"/>
                      </a:lnTo>
                      <a:lnTo>
                        <a:pt x="1047027" y="269103"/>
                      </a:lnTo>
                      <a:lnTo>
                        <a:pt x="1045435" y="271047"/>
                      </a:lnTo>
                      <a:lnTo>
                        <a:pt x="1043425" y="271414"/>
                      </a:lnTo>
                      <a:lnTo>
                        <a:pt x="1041243" y="270597"/>
                      </a:lnTo>
                      <a:lnTo>
                        <a:pt x="1039123" y="268903"/>
                      </a:lnTo>
                      <a:lnTo>
                        <a:pt x="1031904" y="260728"/>
                      </a:lnTo>
                      <a:lnTo>
                        <a:pt x="1028386" y="257480"/>
                      </a:lnTo>
                      <a:lnTo>
                        <a:pt x="1017970" y="253004"/>
                      </a:lnTo>
                      <a:lnTo>
                        <a:pt x="1014013" y="246267"/>
                      </a:lnTo>
                      <a:lnTo>
                        <a:pt x="1009213" y="244942"/>
                      </a:lnTo>
                      <a:lnTo>
                        <a:pt x="1006325" y="242189"/>
                      </a:lnTo>
                      <a:lnTo>
                        <a:pt x="1001390" y="231294"/>
                      </a:lnTo>
                      <a:lnTo>
                        <a:pt x="997679" y="227259"/>
                      </a:lnTo>
                      <a:lnTo>
                        <a:pt x="995541" y="225662"/>
                      </a:lnTo>
                      <a:lnTo>
                        <a:pt x="992949" y="224477"/>
                      </a:lnTo>
                      <a:lnTo>
                        <a:pt x="985930" y="223589"/>
                      </a:lnTo>
                      <a:lnTo>
                        <a:pt x="984484" y="223870"/>
                      </a:lnTo>
                      <a:lnTo>
                        <a:pt x="982691" y="221860"/>
                      </a:lnTo>
                      <a:lnTo>
                        <a:pt x="980728" y="219053"/>
                      </a:lnTo>
                      <a:lnTo>
                        <a:pt x="978546" y="216572"/>
                      </a:lnTo>
                      <a:lnTo>
                        <a:pt x="976086" y="215612"/>
                      </a:lnTo>
                      <a:lnTo>
                        <a:pt x="969049" y="214425"/>
                      </a:lnTo>
                      <a:lnTo>
                        <a:pt x="966180" y="214404"/>
                      </a:lnTo>
                      <a:lnTo>
                        <a:pt x="965268" y="216245"/>
                      </a:lnTo>
                      <a:lnTo>
                        <a:pt x="966691" y="218044"/>
                      </a:lnTo>
                      <a:lnTo>
                        <a:pt x="969508" y="219035"/>
                      </a:lnTo>
                      <a:lnTo>
                        <a:pt x="974715" y="219450"/>
                      </a:lnTo>
                      <a:lnTo>
                        <a:pt x="976501" y="218473"/>
                      </a:lnTo>
                      <a:lnTo>
                        <a:pt x="977667" y="218441"/>
                      </a:lnTo>
                      <a:lnTo>
                        <a:pt x="978439" y="219792"/>
                      </a:lnTo>
                      <a:lnTo>
                        <a:pt x="979008" y="222076"/>
                      </a:lnTo>
                      <a:lnTo>
                        <a:pt x="979852" y="223793"/>
                      </a:lnTo>
                      <a:lnTo>
                        <a:pt x="981060" y="225140"/>
                      </a:lnTo>
                      <a:lnTo>
                        <a:pt x="982713" y="226308"/>
                      </a:lnTo>
                      <a:lnTo>
                        <a:pt x="993926" y="228215"/>
                      </a:lnTo>
                      <a:lnTo>
                        <a:pt x="995990" y="229845"/>
                      </a:lnTo>
                      <a:lnTo>
                        <a:pt x="996802" y="230736"/>
                      </a:lnTo>
                      <a:lnTo>
                        <a:pt x="1000143" y="233346"/>
                      </a:lnTo>
                      <a:lnTo>
                        <a:pt x="1000967" y="234373"/>
                      </a:lnTo>
                      <a:lnTo>
                        <a:pt x="1001998" y="244337"/>
                      </a:lnTo>
                      <a:lnTo>
                        <a:pt x="1003070" y="247113"/>
                      </a:lnTo>
                      <a:lnTo>
                        <a:pt x="1005780" y="247855"/>
                      </a:lnTo>
                      <a:lnTo>
                        <a:pt x="1007964" y="247991"/>
                      </a:lnTo>
                      <a:lnTo>
                        <a:pt x="1009851" y="248709"/>
                      </a:lnTo>
                      <a:lnTo>
                        <a:pt x="1010689" y="251039"/>
                      </a:lnTo>
                      <a:lnTo>
                        <a:pt x="1012888" y="253481"/>
                      </a:lnTo>
                      <a:lnTo>
                        <a:pt x="1016163" y="255620"/>
                      </a:lnTo>
                      <a:lnTo>
                        <a:pt x="1018904" y="257349"/>
                      </a:lnTo>
                      <a:lnTo>
                        <a:pt x="1021600" y="259838"/>
                      </a:lnTo>
                      <a:lnTo>
                        <a:pt x="1025179" y="261701"/>
                      </a:lnTo>
                      <a:lnTo>
                        <a:pt x="1026576" y="263179"/>
                      </a:lnTo>
                      <a:lnTo>
                        <a:pt x="1028770" y="266830"/>
                      </a:lnTo>
                      <a:lnTo>
                        <a:pt x="1031054" y="270281"/>
                      </a:lnTo>
                      <a:lnTo>
                        <a:pt x="1033821" y="273590"/>
                      </a:lnTo>
                      <a:lnTo>
                        <a:pt x="1035882" y="275734"/>
                      </a:lnTo>
                      <a:lnTo>
                        <a:pt x="1038128" y="277479"/>
                      </a:lnTo>
                      <a:lnTo>
                        <a:pt x="1040441" y="279376"/>
                      </a:lnTo>
                      <a:lnTo>
                        <a:pt x="1042487" y="279460"/>
                      </a:lnTo>
                      <a:lnTo>
                        <a:pt x="1044696" y="278874"/>
                      </a:lnTo>
                      <a:lnTo>
                        <a:pt x="1045310" y="278881"/>
                      </a:lnTo>
                      <a:lnTo>
                        <a:pt x="1045914" y="278766"/>
                      </a:lnTo>
                      <a:lnTo>
                        <a:pt x="1046663" y="278895"/>
                      </a:lnTo>
                      <a:lnTo>
                        <a:pt x="1046894" y="279530"/>
                      </a:lnTo>
                      <a:lnTo>
                        <a:pt x="1047067" y="281886"/>
                      </a:lnTo>
                      <a:lnTo>
                        <a:pt x="1047306" y="282527"/>
                      </a:lnTo>
                      <a:lnTo>
                        <a:pt x="1048700" y="284720"/>
                      </a:lnTo>
                      <a:lnTo>
                        <a:pt x="1054445" y="285287"/>
                      </a:lnTo>
                      <a:lnTo>
                        <a:pt x="1057606" y="287048"/>
                      </a:lnTo>
                      <a:lnTo>
                        <a:pt x="1060008" y="290465"/>
                      </a:lnTo>
                      <a:lnTo>
                        <a:pt x="1063990" y="294070"/>
                      </a:lnTo>
                      <a:lnTo>
                        <a:pt x="1064212" y="294472"/>
                      </a:lnTo>
                      <a:lnTo>
                        <a:pt x="1064726" y="295818"/>
                      </a:lnTo>
                      <a:lnTo>
                        <a:pt x="1065681" y="298434"/>
                      </a:lnTo>
                      <a:lnTo>
                        <a:pt x="1066800" y="301949"/>
                      </a:lnTo>
                      <a:lnTo>
                        <a:pt x="1070499" y="306472"/>
                      </a:lnTo>
                      <a:lnTo>
                        <a:pt x="1075404" y="308307"/>
                      </a:lnTo>
                      <a:lnTo>
                        <a:pt x="1084231" y="307121"/>
                      </a:lnTo>
                      <a:lnTo>
                        <a:pt x="1087347" y="306928"/>
                      </a:lnTo>
                      <a:lnTo>
                        <a:pt x="1089425" y="305797"/>
                      </a:lnTo>
                      <a:lnTo>
                        <a:pt x="1094018" y="310901"/>
                      </a:lnTo>
                      <a:lnTo>
                        <a:pt x="1099923" y="312333"/>
                      </a:lnTo>
                      <a:lnTo>
                        <a:pt x="1106482" y="312580"/>
                      </a:lnTo>
                      <a:lnTo>
                        <a:pt x="1113092" y="314166"/>
                      </a:lnTo>
                      <a:lnTo>
                        <a:pt x="1110761" y="316391"/>
                      </a:lnTo>
                      <a:lnTo>
                        <a:pt x="1108279" y="317437"/>
                      </a:lnTo>
                      <a:lnTo>
                        <a:pt x="1101261" y="318551"/>
                      </a:lnTo>
                      <a:lnTo>
                        <a:pt x="1097386" y="320015"/>
                      </a:lnTo>
                      <a:lnTo>
                        <a:pt x="1097610" y="321620"/>
                      </a:lnTo>
                      <a:lnTo>
                        <a:pt x="1100254" y="322884"/>
                      </a:lnTo>
                      <a:lnTo>
                        <a:pt x="1103587" y="323297"/>
                      </a:lnTo>
                      <a:lnTo>
                        <a:pt x="1109396" y="326623"/>
                      </a:lnTo>
                      <a:lnTo>
                        <a:pt x="1112894" y="327747"/>
                      </a:lnTo>
                      <a:lnTo>
                        <a:pt x="1114023" y="325791"/>
                      </a:lnTo>
                      <a:lnTo>
                        <a:pt x="1113828" y="323110"/>
                      </a:lnTo>
                      <a:lnTo>
                        <a:pt x="1116901" y="323292"/>
                      </a:lnTo>
                      <a:lnTo>
                        <a:pt x="1118472" y="325783"/>
                      </a:lnTo>
                      <a:lnTo>
                        <a:pt x="1118795" y="328565"/>
                      </a:lnTo>
                      <a:lnTo>
                        <a:pt x="1118425" y="329712"/>
                      </a:lnTo>
                      <a:lnTo>
                        <a:pt x="1117302" y="331676"/>
                      </a:lnTo>
                      <a:lnTo>
                        <a:pt x="1117613" y="333583"/>
                      </a:lnTo>
                      <a:lnTo>
                        <a:pt x="1119346" y="334645"/>
                      </a:lnTo>
                      <a:lnTo>
                        <a:pt x="1121123" y="334524"/>
                      </a:lnTo>
                      <a:lnTo>
                        <a:pt x="1122948" y="335085"/>
                      </a:lnTo>
                      <a:lnTo>
                        <a:pt x="1123535" y="338445"/>
                      </a:lnTo>
                      <a:lnTo>
                        <a:pt x="1124440" y="344200"/>
                      </a:lnTo>
                      <a:lnTo>
                        <a:pt x="1124968" y="350400"/>
                      </a:lnTo>
                      <a:lnTo>
                        <a:pt x="1124565" y="355430"/>
                      </a:lnTo>
                      <a:lnTo>
                        <a:pt x="1121492" y="358153"/>
                      </a:lnTo>
                      <a:lnTo>
                        <a:pt x="1118379" y="355880"/>
                      </a:lnTo>
                      <a:lnTo>
                        <a:pt x="1114085" y="349709"/>
                      </a:lnTo>
                      <a:lnTo>
                        <a:pt x="1113189" y="347006"/>
                      </a:lnTo>
                      <a:lnTo>
                        <a:pt x="1111413" y="347352"/>
                      </a:lnTo>
                      <a:lnTo>
                        <a:pt x="1109359" y="348373"/>
                      </a:lnTo>
                      <a:lnTo>
                        <a:pt x="1106456" y="347714"/>
                      </a:lnTo>
                      <a:lnTo>
                        <a:pt x="1100387" y="340011"/>
                      </a:lnTo>
                      <a:lnTo>
                        <a:pt x="1097144" y="337856"/>
                      </a:lnTo>
                      <a:lnTo>
                        <a:pt x="1095923" y="342326"/>
                      </a:lnTo>
                      <a:lnTo>
                        <a:pt x="1097762" y="342785"/>
                      </a:lnTo>
                      <a:lnTo>
                        <a:pt x="1099137" y="343994"/>
                      </a:lnTo>
                      <a:lnTo>
                        <a:pt x="1100130" y="345525"/>
                      </a:lnTo>
                      <a:lnTo>
                        <a:pt x="1100863" y="346932"/>
                      </a:lnTo>
                      <a:lnTo>
                        <a:pt x="1099175" y="346296"/>
                      </a:lnTo>
                      <a:lnTo>
                        <a:pt x="1097441" y="345932"/>
                      </a:lnTo>
                      <a:lnTo>
                        <a:pt x="1095840" y="346174"/>
                      </a:lnTo>
                      <a:lnTo>
                        <a:pt x="1094602" y="347305"/>
                      </a:lnTo>
                      <a:lnTo>
                        <a:pt x="1094170" y="349292"/>
                      </a:lnTo>
                      <a:lnTo>
                        <a:pt x="1095155" y="350640"/>
                      </a:lnTo>
                      <a:lnTo>
                        <a:pt x="1099768" y="353292"/>
                      </a:lnTo>
                      <a:lnTo>
                        <a:pt x="1100950" y="353586"/>
                      </a:lnTo>
                      <a:lnTo>
                        <a:pt x="1101854" y="354225"/>
                      </a:lnTo>
                      <a:lnTo>
                        <a:pt x="1102463" y="355961"/>
                      </a:lnTo>
                      <a:lnTo>
                        <a:pt x="1101768" y="356395"/>
                      </a:lnTo>
                      <a:lnTo>
                        <a:pt x="1097669" y="358142"/>
                      </a:lnTo>
                      <a:lnTo>
                        <a:pt x="1097862" y="359239"/>
                      </a:lnTo>
                      <a:lnTo>
                        <a:pt x="1102752" y="358613"/>
                      </a:lnTo>
                      <a:lnTo>
                        <a:pt x="1104127" y="358867"/>
                      </a:lnTo>
                      <a:lnTo>
                        <a:pt x="1105591" y="360216"/>
                      </a:lnTo>
                      <a:lnTo>
                        <a:pt x="1107439" y="362602"/>
                      </a:lnTo>
                      <a:lnTo>
                        <a:pt x="1108613" y="364895"/>
                      </a:lnTo>
                      <a:lnTo>
                        <a:pt x="1108097" y="367741"/>
                      </a:lnTo>
                      <a:lnTo>
                        <a:pt x="1096387" y="370458"/>
                      </a:lnTo>
                      <a:lnTo>
                        <a:pt x="1090858" y="372925"/>
                      </a:lnTo>
                      <a:lnTo>
                        <a:pt x="1088184" y="369416"/>
                      </a:lnTo>
                      <a:lnTo>
                        <a:pt x="1082761" y="365494"/>
                      </a:lnTo>
                      <a:lnTo>
                        <a:pt x="1080061" y="363017"/>
                      </a:lnTo>
                      <a:lnTo>
                        <a:pt x="1078524" y="360383"/>
                      </a:lnTo>
                      <a:lnTo>
                        <a:pt x="1076528" y="360136"/>
                      </a:lnTo>
                      <a:lnTo>
                        <a:pt x="1075182" y="359267"/>
                      </a:lnTo>
                      <a:lnTo>
                        <a:pt x="1063505" y="345884"/>
                      </a:lnTo>
                      <a:lnTo>
                        <a:pt x="1060822" y="344402"/>
                      </a:lnTo>
                      <a:lnTo>
                        <a:pt x="1057066" y="342954"/>
                      </a:lnTo>
                      <a:lnTo>
                        <a:pt x="1053455" y="339237"/>
                      </a:lnTo>
                      <a:lnTo>
                        <a:pt x="1047518" y="331520"/>
                      </a:lnTo>
                      <a:lnTo>
                        <a:pt x="1038433" y="324709"/>
                      </a:lnTo>
                      <a:lnTo>
                        <a:pt x="1037116" y="325282"/>
                      </a:lnTo>
                      <a:lnTo>
                        <a:pt x="1036554" y="326589"/>
                      </a:lnTo>
                      <a:lnTo>
                        <a:pt x="1036516" y="328376"/>
                      </a:lnTo>
                      <a:lnTo>
                        <a:pt x="1036789" y="330371"/>
                      </a:lnTo>
                      <a:lnTo>
                        <a:pt x="1037598" y="331416"/>
                      </a:lnTo>
                      <a:lnTo>
                        <a:pt x="1039137" y="332011"/>
                      </a:lnTo>
                      <a:lnTo>
                        <a:pt x="1040928" y="332460"/>
                      </a:lnTo>
                      <a:lnTo>
                        <a:pt x="1042441" y="333150"/>
                      </a:lnTo>
                      <a:lnTo>
                        <a:pt x="1050801" y="343365"/>
                      </a:lnTo>
                      <a:lnTo>
                        <a:pt x="1056066" y="345949"/>
                      </a:lnTo>
                      <a:lnTo>
                        <a:pt x="1058766" y="348685"/>
                      </a:lnTo>
                      <a:lnTo>
                        <a:pt x="1063040" y="354062"/>
                      </a:lnTo>
                      <a:lnTo>
                        <a:pt x="1072562" y="365637"/>
                      </a:lnTo>
                      <a:lnTo>
                        <a:pt x="1084927" y="372128"/>
                      </a:lnTo>
                      <a:lnTo>
                        <a:pt x="1090129" y="376069"/>
                      </a:lnTo>
                      <a:lnTo>
                        <a:pt x="1096231" y="378908"/>
                      </a:lnTo>
                      <a:lnTo>
                        <a:pt x="1101437" y="377084"/>
                      </a:lnTo>
                      <a:lnTo>
                        <a:pt x="1105562" y="374795"/>
                      </a:lnTo>
                      <a:lnTo>
                        <a:pt x="1108259" y="374875"/>
                      </a:lnTo>
                      <a:lnTo>
                        <a:pt x="1110483" y="376954"/>
                      </a:lnTo>
                      <a:lnTo>
                        <a:pt x="1110221" y="377400"/>
                      </a:lnTo>
                      <a:lnTo>
                        <a:pt x="1110152" y="379287"/>
                      </a:lnTo>
                      <a:lnTo>
                        <a:pt x="1110269" y="381557"/>
                      </a:lnTo>
                      <a:lnTo>
                        <a:pt x="1110632" y="383184"/>
                      </a:lnTo>
                      <a:lnTo>
                        <a:pt x="1111935" y="384792"/>
                      </a:lnTo>
                      <a:lnTo>
                        <a:pt x="1113978" y="386357"/>
                      </a:lnTo>
                      <a:lnTo>
                        <a:pt x="1115683" y="386679"/>
                      </a:lnTo>
                      <a:lnTo>
                        <a:pt x="1116065" y="384635"/>
                      </a:lnTo>
                      <a:lnTo>
                        <a:pt x="1121004" y="387210"/>
                      </a:lnTo>
                      <a:lnTo>
                        <a:pt x="1124385" y="389680"/>
                      </a:lnTo>
                      <a:lnTo>
                        <a:pt x="1125843" y="392192"/>
                      </a:lnTo>
                      <a:lnTo>
                        <a:pt x="1124206" y="393041"/>
                      </a:lnTo>
                      <a:lnTo>
                        <a:pt x="1121153" y="395346"/>
                      </a:lnTo>
                      <a:lnTo>
                        <a:pt x="1119547" y="397661"/>
                      </a:lnTo>
                      <a:lnTo>
                        <a:pt x="1122258" y="398537"/>
                      </a:lnTo>
                      <a:lnTo>
                        <a:pt x="1128196" y="396709"/>
                      </a:lnTo>
                      <a:lnTo>
                        <a:pt x="1130119" y="397763"/>
                      </a:lnTo>
                      <a:lnTo>
                        <a:pt x="1131085" y="402794"/>
                      </a:lnTo>
                      <a:lnTo>
                        <a:pt x="1131042" y="406607"/>
                      </a:lnTo>
                      <a:lnTo>
                        <a:pt x="1130373" y="410203"/>
                      </a:lnTo>
                      <a:lnTo>
                        <a:pt x="1128800" y="412925"/>
                      </a:lnTo>
                      <a:lnTo>
                        <a:pt x="1126061" y="414109"/>
                      </a:lnTo>
                      <a:lnTo>
                        <a:pt x="1122328" y="414418"/>
                      </a:lnTo>
                      <a:lnTo>
                        <a:pt x="1119752" y="415030"/>
                      </a:lnTo>
                      <a:lnTo>
                        <a:pt x="1117742" y="416281"/>
                      </a:lnTo>
                      <a:lnTo>
                        <a:pt x="1114067" y="420118"/>
                      </a:lnTo>
                      <a:lnTo>
                        <a:pt x="1111807" y="421288"/>
                      </a:lnTo>
                      <a:lnTo>
                        <a:pt x="1109583" y="420747"/>
                      </a:lnTo>
                      <a:lnTo>
                        <a:pt x="1106653" y="413838"/>
                      </a:lnTo>
                      <a:lnTo>
                        <a:pt x="1104260" y="411395"/>
                      </a:lnTo>
                      <a:lnTo>
                        <a:pt x="1092538" y="407152"/>
                      </a:lnTo>
                      <a:lnTo>
                        <a:pt x="1088165" y="401717"/>
                      </a:lnTo>
                      <a:lnTo>
                        <a:pt x="1085655" y="402518"/>
                      </a:lnTo>
                      <a:lnTo>
                        <a:pt x="1077263" y="396970"/>
                      </a:lnTo>
                      <a:lnTo>
                        <a:pt x="1075778" y="395022"/>
                      </a:lnTo>
                      <a:lnTo>
                        <a:pt x="1075144" y="392612"/>
                      </a:lnTo>
                      <a:lnTo>
                        <a:pt x="1075676" y="387541"/>
                      </a:lnTo>
                      <a:lnTo>
                        <a:pt x="1073857" y="382877"/>
                      </a:lnTo>
                      <a:lnTo>
                        <a:pt x="1070638" y="379208"/>
                      </a:lnTo>
                      <a:lnTo>
                        <a:pt x="1067057" y="377062"/>
                      </a:lnTo>
                      <a:lnTo>
                        <a:pt x="1065043" y="378383"/>
                      </a:lnTo>
                      <a:lnTo>
                        <a:pt x="1058789" y="379302"/>
                      </a:lnTo>
                      <a:lnTo>
                        <a:pt x="1055994" y="380157"/>
                      </a:lnTo>
                      <a:lnTo>
                        <a:pt x="1055387" y="381439"/>
                      </a:lnTo>
                      <a:lnTo>
                        <a:pt x="1055149" y="383225"/>
                      </a:lnTo>
                      <a:lnTo>
                        <a:pt x="1054562" y="384302"/>
                      </a:lnTo>
                      <a:lnTo>
                        <a:pt x="1052859" y="383402"/>
                      </a:lnTo>
                      <a:lnTo>
                        <a:pt x="1051892" y="381993"/>
                      </a:lnTo>
                      <a:lnTo>
                        <a:pt x="1051025" y="380221"/>
                      </a:lnTo>
                      <a:lnTo>
                        <a:pt x="1050054" y="378716"/>
                      </a:lnTo>
                      <a:lnTo>
                        <a:pt x="1048782" y="378127"/>
                      </a:lnTo>
                      <a:lnTo>
                        <a:pt x="1045997" y="377727"/>
                      </a:lnTo>
                      <a:lnTo>
                        <a:pt x="1039881" y="375559"/>
                      </a:lnTo>
                      <a:lnTo>
                        <a:pt x="1037659" y="375105"/>
                      </a:lnTo>
                      <a:lnTo>
                        <a:pt x="1035461" y="373775"/>
                      </a:lnTo>
                      <a:lnTo>
                        <a:pt x="1034585" y="370341"/>
                      </a:lnTo>
                      <a:lnTo>
                        <a:pt x="1034055" y="366291"/>
                      </a:lnTo>
                      <a:lnTo>
                        <a:pt x="1032891" y="363050"/>
                      </a:lnTo>
                      <a:lnTo>
                        <a:pt x="1031652" y="364491"/>
                      </a:lnTo>
                      <a:lnTo>
                        <a:pt x="1031408" y="366357"/>
                      </a:lnTo>
                      <a:lnTo>
                        <a:pt x="1032275" y="371087"/>
                      </a:lnTo>
                      <a:lnTo>
                        <a:pt x="1031806" y="372812"/>
                      </a:lnTo>
                      <a:lnTo>
                        <a:pt x="1030413" y="374650"/>
                      </a:lnTo>
                      <a:lnTo>
                        <a:pt x="1027895" y="376894"/>
                      </a:lnTo>
                      <a:lnTo>
                        <a:pt x="1024375" y="377490"/>
                      </a:lnTo>
                      <a:lnTo>
                        <a:pt x="1022134" y="375688"/>
                      </a:lnTo>
                      <a:lnTo>
                        <a:pt x="1020210" y="372651"/>
                      </a:lnTo>
                      <a:lnTo>
                        <a:pt x="1014610" y="366029"/>
                      </a:lnTo>
                      <a:lnTo>
                        <a:pt x="1013053" y="364713"/>
                      </a:lnTo>
                      <a:lnTo>
                        <a:pt x="1010973" y="364315"/>
                      </a:lnTo>
                      <a:lnTo>
                        <a:pt x="1009433" y="365190"/>
                      </a:lnTo>
                      <a:lnTo>
                        <a:pt x="1005308" y="369069"/>
                      </a:lnTo>
                      <a:lnTo>
                        <a:pt x="1004518" y="370294"/>
                      </a:lnTo>
                      <a:lnTo>
                        <a:pt x="1004125" y="371147"/>
                      </a:lnTo>
                      <a:lnTo>
                        <a:pt x="1002693" y="369467"/>
                      </a:lnTo>
                      <a:lnTo>
                        <a:pt x="1001176" y="367179"/>
                      </a:lnTo>
                      <a:lnTo>
                        <a:pt x="1000637" y="366124"/>
                      </a:lnTo>
                      <a:lnTo>
                        <a:pt x="998825" y="364785"/>
                      </a:lnTo>
                      <a:lnTo>
                        <a:pt x="997452" y="364252"/>
                      </a:lnTo>
                      <a:lnTo>
                        <a:pt x="996055" y="364463"/>
                      </a:lnTo>
                      <a:lnTo>
                        <a:pt x="994171" y="365278"/>
                      </a:lnTo>
                      <a:lnTo>
                        <a:pt x="991149" y="366572"/>
                      </a:lnTo>
                      <a:lnTo>
                        <a:pt x="989634" y="366752"/>
                      </a:lnTo>
                      <a:lnTo>
                        <a:pt x="987917" y="366494"/>
                      </a:lnTo>
                      <a:lnTo>
                        <a:pt x="984983" y="365051"/>
                      </a:lnTo>
                      <a:lnTo>
                        <a:pt x="984057" y="364748"/>
                      </a:lnTo>
                      <a:lnTo>
                        <a:pt x="977695" y="365254"/>
                      </a:lnTo>
                      <a:lnTo>
                        <a:pt x="975247" y="364381"/>
                      </a:lnTo>
                      <a:lnTo>
                        <a:pt x="972386" y="361741"/>
                      </a:lnTo>
                      <a:lnTo>
                        <a:pt x="968819" y="365612"/>
                      </a:lnTo>
                      <a:lnTo>
                        <a:pt x="969762" y="367881"/>
                      </a:lnTo>
                      <a:lnTo>
                        <a:pt x="971362" y="368715"/>
                      </a:lnTo>
                      <a:lnTo>
                        <a:pt x="972913" y="368970"/>
                      </a:lnTo>
                      <a:lnTo>
                        <a:pt x="973699" y="369493"/>
                      </a:lnTo>
                      <a:lnTo>
                        <a:pt x="975311" y="368943"/>
                      </a:lnTo>
                      <a:lnTo>
                        <a:pt x="985813" y="371974"/>
                      </a:lnTo>
                      <a:lnTo>
                        <a:pt x="998926" y="371227"/>
                      </a:lnTo>
                      <a:lnTo>
                        <a:pt x="999985" y="372084"/>
                      </a:lnTo>
                      <a:lnTo>
                        <a:pt x="1001382" y="373796"/>
                      </a:lnTo>
                      <a:lnTo>
                        <a:pt x="1002969" y="374915"/>
                      </a:lnTo>
                      <a:lnTo>
                        <a:pt x="1004615" y="373947"/>
                      </a:lnTo>
                      <a:lnTo>
                        <a:pt x="1008603" y="370032"/>
                      </a:lnTo>
                      <a:lnTo>
                        <a:pt x="1009737" y="369383"/>
                      </a:lnTo>
                      <a:lnTo>
                        <a:pt x="1013323" y="370460"/>
                      </a:lnTo>
                      <a:lnTo>
                        <a:pt x="1015285" y="373765"/>
                      </a:lnTo>
                      <a:lnTo>
                        <a:pt x="1016571" y="377240"/>
                      </a:lnTo>
                      <a:lnTo>
                        <a:pt x="1018147" y="378796"/>
                      </a:lnTo>
                      <a:lnTo>
                        <a:pt x="1021742" y="379449"/>
                      </a:lnTo>
                      <a:lnTo>
                        <a:pt x="1028103" y="383084"/>
                      </a:lnTo>
                      <a:lnTo>
                        <a:pt x="1031336" y="384035"/>
                      </a:lnTo>
                      <a:lnTo>
                        <a:pt x="1045393" y="383222"/>
                      </a:lnTo>
                      <a:lnTo>
                        <a:pt x="1047756" y="384230"/>
                      </a:lnTo>
                      <a:lnTo>
                        <a:pt x="1052667" y="390368"/>
                      </a:lnTo>
                      <a:lnTo>
                        <a:pt x="1056446" y="391526"/>
                      </a:lnTo>
                      <a:lnTo>
                        <a:pt x="1059967" y="392498"/>
                      </a:lnTo>
                      <a:lnTo>
                        <a:pt x="1063199" y="385389"/>
                      </a:lnTo>
                      <a:lnTo>
                        <a:pt x="1066239" y="385860"/>
                      </a:lnTo>
                      <a:lnTo>
                        <a:pt x="1067968" y="392519"/>
                      </a:lnTo>
                      <a:lnTo>
                        <a:pt x="1070945" y="399905"/>
                      </a:lnTo>
                      <a:lnTo>
                        <a:pt x="1069384" y="406806"/>
                      </a:lnTo>
                      <a:lnTo>
                        <a:pt x="1072171" y="410916"/>
                      </a:lnTo>
                      <a:lnTo>
                        <a:pt x="1075609" y="411484"/>
                      </a:lnTo>
                      <a:lnTo>
                        <a:pt x="1086160" y="412894"/>
                      </a:lnTo>
                      <a:lnTo>
                        <a:pt x="1086354" y="414007"/>
                      </a:lnTo>
                      <a:lnTo>
                        <a:pt x="1085055" y="415089"/>
                      </a:lnTo>
                      <a:lnTo>
                        <a:pt x="1084676" y="415490"/>
                      </a:lnTo>
                      <a:lnTo>
                        <a:pt x="1084590" y="416546"/>
                      </a:lnTo>
                      <a:lnTo>
                        <a:pt x="1085658" y="417185"/>
                      </a:lnTo>
                      <a:lnTo>
                        <a:pt x="1087712" y="417255"/>
                      </a:lnTo>
                      <a:lnTo>
                        <a:pt x="1089099" y="417619"/>
                      </a:lnTo>
                      <a:lnTo>
                        <a:pt x="1090264" y="418230"/>
                      </a:lnTo>
                      <a:lnTo>
                        <a:pt x="1092658" y="419863"/>
                      </a:lnTo>
                      <a:lnTo>
                        <a:pt x="1096993" y="423480"/>
                      </a:lnTo>
                      <a:lnTo>
                        <a:pt x="1100227" y="425300"/>
                      </a:lnTo>
                      <a:lnTo>
                        <a:pt x="1100830" y="427159"/>
                      </a:lnTo>
                      <a:lnTo>
                        <a:pt x="1101435" y="428963"/>
                      </a:lnTo>
                      <a:lnTo>
                        <a:pt x="1103243" y="430945"/>
                      </a:lnTo>
                      <a:lnTo>
                        <a:pt x="1104526" y="433316"/>
                      </a:lnTo>
                      <a:lnTo>
                        <a:pt x="1103902" y="435025"/>
                      </a:lnTo>
                      <a:lnTo>
                        <a:pt x="1102113" y="437144"/>
                      </a:lnTo>
                      <a:lnTo>
                        <a:pt x="1098244" y="440363"/>
                      </a:lnTo>
                      <a:lnTo>
                        <a:pt x="1098473" y="441686"/>
                      </a:lnTo>
                      <a:lnTo>
                        <a:pt x="1102561" y="441090"/>
                      </a:lnTo>
                      <a:lnTo>
                        <a:pt x="1105537" y="439127"/>
                      </a:lnTo>
                      <a:lnTo>
                        <a:pt x="1108129" y="436697"/>
                      </a:lnTo>
                      <a:lnTo>
                        <a:pt x="1111112" y="434704"/>
                      </a:lnTo>
                      <a:lnTo>
                        <a:pt x="1115009" y="433753"/>
                      </a:lnTo>
                      <a:lnTo>
                        <a:pt x="1119373" y="433753"/>
                      </a:lnTo>
                      <a:lnTo>
                        <a:pt x="1123650" y="434625"/>
                      </a:lnTo>
                      <a:lnTo>
                        <a:pt x="1127270" y="436318"/>
                      </a:lnTo>
                      <a:lnTo>
                        <a:pt x="1127285" y="438458"/>
                      </a:lnTo>
                      <a:lnTo>
                        <a:pt x="1129191" y="440375"/>
                      </a:lnTo>
                      <a:lnTo>
                        <a:pt x="1131978" y="441694"/>
                      </a:lnTo>
                      <a:lnTo>
                        <a:pt x="1134622" y="442020"/>
                      </a:lnTo>
                      <a:lnTo>
                        <a:pt x="1131162" y="438477"/>
                      </a:lnTo>
                      <a:lnTo>
                        <a:pt x="1129561" y="436220"/>
                      </a:lnTo>
                      <a:lnTo>
                        <a:pt x="1129598" y="434230"/>
                      </a:lnTo>
                      <a:lnTo>
                        <a:pt x="1131251" y="431081"/>
                      </a:lnTo>
                      <a:lnTo>
                        <a:pt x="1130258" y="430058"/>
                      </a:lnTo>
                      <a:lnTo>
                        <a:pt x="1126505" y="428187"/>
                      </a:lnTo>
                      <a:lnTo>
                        <a:pt x="1125549" y="424564"/>
                      </a:lnTo>
                      <a:lnTo>
                        <a:pt x="1128373" y="422634"/>
                      </a:lnTo>
                      <a:lnTo>
                        <a:pt x="1134618" y="421942"/>
                      </a:lnTo>
                      <a:lnTo>
                        <a:pt x="1151003" y="426892"/>
                      </a:lnTo>
                      <a:lnTo>
                        <a:pt x="1157945" y="428662"/>
                      </a:lnTo>
                      <a:lnTo>
                        <a:pt x="1165430" y="429049"/>
                      </a:lnTo>
                      <a:lnTo>
                        <a:pt x="1168640" y="427664"/>
                      </a:lnTo>
                      <a:lnTo>
                        <a:pt x="1171232" y="424527"/>
                      </a:lnTo>
                      <a:lnTo>
                        <a:pt x="1176042" y="424685"/>
                      </a:lnTo>
                      <a:lnTo>
                        <a:pt x="1179089" y="428167"/>
                      </a:lnTo>
                      <a:lnTo>
                        <a:pt x="1186822" y="446601"/>
                      </a:lnTo>
                      <a:lnTo>
                        <a:pt x="1208532" y="484156"/>
                      </a:lnTo>
                      <a:lnTo>
                        <a:pt x="1211434" y="491451"/>
                      </a:lnTo>
                      <a:lnTo>
                        <a:pt x="1209276" y="491562"/>
                      </a:lnTo>
                      <a:lnTo>
                        <a:pt x="1207215" y="491664"/>
                      </a:lnTo>
                      <a:lnTo>
                        <a:pt x="1207192" y="491665"/>
                      </a:lnTo>
                      <a:lnTo>
                        <a:pt x="1207191" y="491662"/>
                      </a:lnTo>
                      <a:lnTo>
                        <a:pt x="1205991" y="489364"/>
                      </a:lnTo>
                      <a:lnTo>
                        <a:pt x="1205907" y="487283"/>
                      </a:lnTo>
                      <a:lnTo>
                        <a:pt x="1206133" y="485353"/>
                      </a:lnTo>
                      <a:lnTo>
                        <a:pt x="1205784" y="483281"/>
                      </a:lnTo>
                      <a:lnTo>
                        <a:pt x="1204927" y="481870"/>
                      </a:lnTo>
                      <a:lnTo>
                        <a:pt x="1202756" y="479790"/>
                      </a:lnTo>
                      <a:lnTo>
                        <a:pt x="1201750" y="478505"/>
                      </a:lnTo>
                      <a:lnTo>
                        <a:pt x="1197380" y="468806"/>
                      </a:lnTo>
                      <a:lnTo>
                        <a:pt x="1194971" y="464180"/>
                      </a:lnTo>
                      <a:lnTo>
                        <a:pt x="1193665" y="463198"/>
                      </a:lnTo>
                      <a:lnTo>
                        <a:pt x="1191665" y="462177"/>
                      </a:lnTo>
                      <a:lnTo>
                        <a:pt x="1189954" y="462104"/>
                      </a:lnTo>
                      <a:lnTo>
                        <a:pt x="1189524" y="463951"/>
                      </a:lnTo>
                      <a:lnTo>
                        <a:pt x="1190776" y="482393"/>
                      </a:lnTo>
                      <a:lnTo>
                        <a:pt x="1193638" y="492039"/>
                      </a:lnTo>
                      <a:lnTo>
                        <a:pt x="1193901" y="492357"/>
                      </a:lnTo>
                      <a:lnTo>
                        <a:pt x="1186793" y="492718"/>
                      </a:lnTo>
                      <a:lnTo>
                        <a:pt x="1186762" y="492720"/>
                      </a:lnTo>
                      <a:lnTo>
                        <a:pt x="1180708" y="486006"/>
                      </a:lnTo>
                      <a:lnTo>
                        <a:pt x="1181239" y="488446"/>
                      </a:lnTo>
                      <a:lnTo>
                        <a:pt x="1182123" y="489908"/>
                      </a:lnTo>
                      <a:lnTo>
                        <a:pt x="1183149" y="491244"/>
                      </a:lnTo>
                      <a:lnTo>
                        <a:pt x="1183915" y="492866"/>
                      </a:lnTo>
                      <a:lnTo>
                        <a:pt x="1183917" y="492868"/>
                      </a:lnTo>
                      <a:lnTo>
                        <a:pt x="1179826" y="493079"/>
                      </a:lnTo>
                      <a:lnTo>
                        <a:pt x="1174132" y="493373"/>
                      </a:lnTo>
                      <a:lnTo>
                        <a:pt x="1168431" y="493661"/>
                      </a:lnTo>
                      <a:lnTo>
                        <a:pt x="1162730" y="493949"/>
                      </a:lnTo>
                      <a:lnTo>
                        <a:pt x="1157034" y="494240"/>
                      </a:lnTo>
                      <a:lnTo>
                        <a:pt x="1150303" y="494574"/>
                      </a:lnTo>
                      <a:lnTo>
                        <a:pt x="1143574" y="494907"/>
                      </a:lnTo>
                      <a:lnTo>
                        <a:pt x="1136842" y="495238"/>
                      </a:lnTo>
                      <a:lnTo>
                        <a:pt x="1130112" y="495574"/>
                      </a:lnTo>
                      <a:lnTo>
                        <a:pt x="1119883" y="496234"/>
                      </a:lnTo>
                      <a:lnTo>
                        <a:pt x="1109645" y="496896"/>
                      </a:lnTo>
                      <a:lnTo>
                        <a:pt x="1099415" y="497557"/>
                      </a:lnTo>
                      <a:lnTo>
                        <a:pt x="1089182" y="498215"/>
                      </a:lnTo>
                      <a:lnTo>
                        <a:pt x="1078948" y="498871"/>
                      </a:lnTo>
                      <a:lnTo>
                        <a:pt x="1068708" y="499525"/>
                      </a:lnTo>
                      <a:lnTo>
                        <a:pt x="1058468" y="500176"/>
                      </a:lnTo>
                      <a:lnTo>
                        <a:pt x="1048228" y="500822"/>
                      </a:lnTo>
                      <a:lnTo>
                        <a:pt x="1029259" y="502061"/>
                      </a:lnTo>
                      <a:lnTo>
                        <a:pt x="1010286" y="503288"/>
                      </a:lnTo>
                      <a:lnTo>
                        <a:pt x="991309" y="504507"/>
                      </a:lnTo>
                      <a:lnTo>
                        <a:pt x="972323" y="505720"/>
                      </a:lnTo>
                      <a:lnTo>
                        <a:pt x="953334" y="506925"/>
                      </a:lnTo>
                      <a:lnTo>
                        <a:pt x="934341" y="508124"/>
                      </a:lnTo>
                      <a:lnTo>
                        <a:pt x="915346" y="509313"/>
                      </a:lnTo>
                      <a:lnTo>
                        <a:pt x="896341" y="510502"/>
                      </a:lnTo>
                      <a:lnTo>
                        <a:pt x="872403" y="511773"/>
                      </a:lnTo>
                      <a:lnTo>
                        <a:pt x="848458" y="513032"/>
                      </a:lnTo>
                      <a:lnTo>
                        <a:pt x="824505" y="514280"/>
                      </a:lnTo>
                      <a:lnTo>
                        <a:pt x="800548" y="515517"/>
                      </a:lnTo>
                      <a:lnTo>
                        <a:pt x="776582" y="516742"/>
                      </a:lnTo>
                      <a:lnTo>
                        <a:pt x="752611" y="517956"/>
                      </a:lnTo>
                      <a:lnTo>
                        <a:pt x="728631" y="519159"/>
                      </a:lnTo>
                      <a:lnTo>
                        <a:pt x="704651" y="520350"/>
                      </a:lnTo>
                      <a:lnTo>
                        <a:pt x="686258" y="521312"/>
                      </a:lnTo>
                      <a:lnTo>
                        <a:pt x="667858" y="522264"/>
                      </a:lnTo>
                      <a:lnTo>
                        <a:pt x="649456" y="523213"/>
                      </a:lnTo>
                      <a:lnTo>
                        <a:pt x="631052" y="524155"/>
                      </a:lnTo>
                      <a:lnTo>
                        <a:pt x="612644" y="525091"/>
                      </a:lnTo>
                      <a:lnTo>
                        <a:pt x="594233" y="526020"/>
                      </a:lnTo>
                      <a:lnTo>
                        <a:pt x="575814" y="526938"/>
                      </a:lnTo>
                      <a:lnTo>
                        <a:pt x="557395" y="527854"/>
                      </a:lnTo>
                      <a:lnTo>
                        <a:pt x="545935" y="527884"/>
                      </a:lnTo>
                      <a:lnTo>
                        <a:pt x="534480" y="527916"/>
                      </a:lnTo>
                      <a:lnTo>
                        <a:pt x="523024" y="527941"/>
                      </a:lnTo>
                      <a:lnTo>
                        <a:pt x="511566" y="527964"/>
                      </a:lnTo>
                      <a:lnTo>
                        <a:pt x="500109" y="527988"/>
                      </a:lnTo>
                      <a:lnTo>
                        <a:pt x="488650" y="528005"/>
                      </a:lnTo>
                      <a:lnTo>
                        <a:pt x="477190" y="528020"/>
                      </a:lnTo>
                      <a:lnTo>
                        <a:pt x="465732" y="528038"/>
                      </a:lnTo>
                      <a:lnTo>
                        <a:pt x="455039" y="528348"/>
                      </a:lnTo>
                      <a:lnTo>
                        <a:pt x="444346" y="528657"/>
                      </a:lnTo>
                      <a:lnTo>
                        <a:pt x="433653" y="528964"/>
                      </a:lnTo>
                      <a:lnTo>
                        <a:pt x="422955" y="529265"/>
                      </a:lnTo>
                      <a:lnTo>
                        <a:pt x="412260" y="529563"/>
                      </a:lnTo>
                      <a:lnTo>
                        <a:pt x="401562" y="529863"/>
                      </a:lnTo>
                      <a:lnTo>
                        <a:pt x="390864" y="530161"/>
                      </a:lnTo>
                      <a:lnTo>
                        <a:pt x="380167" y="530456"/>
                      </a:lnTo>
                      <a:lnTo>
                        <a:pt x="372489" y="530247"/>
                      </a:lnTo>
                      <a:lnTo>
                        <a:pt x="364812" y="530035"/>
                      </a:lnTo>
                      <a:lnTo>
                        <a:pt x="357133" y="529823"/>
                      </a:lnTo>
                      <a:lnTo>
                        <a:pt x="349456" y="529611"/>
                      </a:lnTo>
                      <a:lnTo>
                        <a:pt x="341779" y="529397"/>
                      </a:lnTo>
                      <a:lnTo>
                        <a:pt x="334100" y="529182"/>
                      </a:lnTo>
                      <a:lnTo>
                        <a:pt x="326420" y="528965"/>
                      </a:lnTo>
                      <a:lnTo>
                        <a:pt x="318741" y="528748"/>
                      </a:lnTo>
                      <a:lnTo>
                        <a:pt x="315282" y="528858"/>
                      </a:lnTo>
                      <a:lnTo>
                        <a:pt x="314201" y="528625"/>
                      </a:lnTo>
                      <a:lnTo>
                        <a:pt x="313554" y="528122"/>
                      </a:lnTo>
                      <a:lnTo>
                        <a:pt x="312250" y="526225"/>
                      </a:lnTo>
                      <a:lnTo>
                        <a:pt x="297647" y="526298"/>
                      </a:lnTo>
                      <a:lnTo>
                        <a:pt x="284484" y="526346"/>
                      </a:lnTo>
                      <a:lnTo>
                        <a:pt x="273799" y="526398"/>
                      </a:lnTo>
                      <a:lnTo>
                        <a:pt x="272433" y="526572"/>
                      </a:lnTo>
                      <a:lnTo>
                        <a:pt x="271117" y="526938"/>
                      </a:lnTo>
                      <a:lnTo>
                        <a:pt x="268094" y="529790"/>
                      </a:lnTo>
                      <a:lnTo>
                        <a:pt x="266922" y="530332"/>
                      </a:lnTo>
                      <a:lnTo>
                        <a:pt x="259406" y="530600"/>
                      </a:lnTo>
                      <a:lnTo>
                        <a:pt x="243212" y="531182"/>
                      </a:lnTo>
                      <a:lnTo>
                        <a:pt x="227007" y="531754"/>
                      </a:lnTo>
                      <a:lnTo>
                        <a:pt x="210808" y="532321"/>
                      </a:lnTo>
                      <a:lnTo>
                        <a:pt x="194604" y="532888"/>
                      </a:lnTo>
                      <a:lnTo>
                        <a:pt x="178401" y="533449"/>
                      </a:lnTo>
                      <a:lnTo>
                        <a:pt x="162195" y="534002"/>
                      </a:lnTo>
                      <a:lnTo>
                        <a:pt x="145985" y="534549"/>
                      </a:lnTo>
                      <a:lnTo>
                        <a:pt x="129776" y="535096"/>
                      </a:lnTo>
                      <a:lnTo>
                        <a:pt x="113564" y="535632"/>
                      </a:lnTo>
                      <a:lnTo>
                        <a:pt x="97345" y="536165"/>
                      </a:lnTo>
                      <a:lnTo>
                        <a:pt x="81123" y="536696"/>
                      </a:lnTo>
                      <a:lnTo>
                        <a:pt x="64905" y="537227"/>
                      </a:lnTo>
                      <a:lnTo>
                        <a:pt x="48685" y="537744"/>
                      </a:lnTo>
                      <a:lnTo>
                        <a:pt x="32451" y="538257"/>
                      </a:lnTo>
                      <a:lnTo>
                        <a:pt x="16229" y="538772"/>
                      </a:lnTo>
                      <a:lnTo>
                        <a:pt x="0" y="539275"/>
                      </a:lnTo>
                      <a:lnTo>
                        <a:pt x="6286" y="533617"/>
                      </a:lnTo>
                      <a:lnTo>
                        <a:pt x="9137" y="532197"/>
                      </a:lnTo>
                      <a:lnTo>
                        <a:pt x="10205" y="532063"/>
                      </a:lnTo>
                      <a:lnTo>
                        <a:pt x="23420" y="526982"/>
                      </a:lnTo>
                      <a:lnTo>
                        <a:pt x="38169" y="525073"/>
                      </a:lnTo>
                      <a:lnTo>
                        <a:pt x="39780" y="524477"/>
                      </a:lnTo>
                      <a:lnTo>
                        <a:pt x="40922" y="523846"/>
                      </a:lnTo>
                      <a:lnTo>
                        <a:pt x="42752" y="522227"/>
                      </a:lnTo>
                      <a:lnTo>
                        <a:pt x="48543" y="518825"/>
                      </a:lnTo>
                      <a:lnTo>
                        <a:pt x="63961" y="513321"/>
                      </a:lnTo>
                      <a:lnTo>
                        <a:pt x="79613" y="510464"/>
                      </a:lnTo>
                      <a:lnTo>
                        <a:pt x="80892" y="509818"/>
                      </a:lnTo>
                      <a:lnTo>
                        <a:pt x="81666" y="509130"/>
                      </a:lnTo>
                      <a:lnTo>
                        <a:pt x="81889" y="508315"/>
                      </a:lnTo>
                      <a:lnTo>
                        <a:pt x="81832" y="507381"/>
                      </a:lnTo>
                      <a:lnTo>
                        <a:pt x="81351" y="505739"/>
                      </a:lnTo>
                      <a:lnTo>
                        <a:pt x="81357" y="505084"/>
                      </a:lnTo>
                      <a:lnTo>
                        <a:pt x="81679" y="504474"/>
                      </a:lnTo>
                      <a:lnTo>
                        <a:pt x="83308" y="502536"/>
                      </a:lnTo>
                      <a:lnTo>
                        <a:pt x="84234" y="501007"/>
                      </a:lnTo>
                      <a:lnTo>
                        <a:pt x="86410" y="495183"/>
                      </a:lnTo>
                      <a:lnTo>
                        <a:pt x="89170" y="492041"/>
                      </a:lnTo>
                      <a:lnTo>
                        <a:pt x="90062" y="491487"/>
                      </a:lnTo>
                      <a:lnTo>
                        <a:pt x="91031" y="491173"/>
                      </a:lnTo>
                      <a:lnTo>
                        <a:pt x="97627" y="490898"/>
                      </a:lnTo>
                      <a:lnTo>
                        <a:pt x="106945" y="487111"/>
                      </a:lnTo>
                      <a:lnTo>
                        <a:pt x="115931" y="483457"/>
                      </a:lnTo>
                      <a:lnTo>
                        <a:pt x="118155" y="482188"/>
                      </a:lnTo>
                      <a:lnTo>
                        <a:pt x="118718" y="481504"/>
                      </a:lnTo>
                      <a:lnTo>
                        <a:pt x="119156" y="480698"/>
                      </a:lnTo>
                      <a:lnTo>
                        <a:pt x="119471" y="479785"/>
                      </a:lnTo>
                      <a:lnTo>
                        <a:pt x="119661" y="478902"/>
                      </a:lnTo>
                      <a:lnTo>
                        <a:pt x="119788" y="478004"/>
                      </a:lnTo>
                      <a:lnTo>
                        <a:pt x="119755" y="475319"/>
                      </a:lnTo>
                      <a:lnTo>
                        <a:pt x="119451" y="473406"/>
                      </a:lnTo>
                      <a:lnTo>
                        <a:pt x="119223" y="472474"/>
                      </a:lnTo>
                      <a:lnTo>
                        <a:pt x="118935" y="469565"/>
                      </a:lnTo>
                      <a:lnTo>
                        <a:pt x="119624" y="468121"/>
                      </a:lnTo>
                      <a:lnTo>
                        <a:pt x="120936" y="466597"/>
                      </a:lnTo>
                      <a:lnTo>
                        <a:pt x="124358" y="463814"/>
                      </a:lnTo>
                      <a:lnTo>
                        <a:pt x="137337" y="457131"/>
                      </a:lnTo>
                      <a:lnTo>
                        <a:pt x="138819" y="456102"/>
                      </a:lnTo>
                      <a:lnTo>
                        <a:pt x="139370" y="455409"/>
                      </a:lnTo>
                      <a:lnTo>
                        <a:pt x="139777" y="454583"/>
                      </a:lnTo>
                      <a:lnTo>
                        <a:pt x="140088" y="453626"/>
                      </a:lnTo>
                      <a:lnTo>
                        <a:pt x="140260" y="452614"/>
                      </a:lnTo>
                      <a:lnTo>
                        <a:pt x="140267" y="451583"/>
                      </a:lnTo>
                      <a:lnTo>
                        <a:pt x="139546" y="447607"/>
                      </a:lnTo>
                      <a:lnTo>
                        <a:pt x="138655" y="444877"/>
                      </a:lnTo>
                      <a:lnTo>
                        <a:pt x="138657" y="443742"/>
                      </a:lnTo>
                      <a:lnTo>
                        <a:pt x="139762" y="442023"/>
                      </a:lnTo>
                      <a:lnTo>
                        <a:pt x="142270" y="439351"/>
                      </a:lnTo>
                      <a:lnTo>
                        <a:pt x="149272" y="434314"/>
                      </a:lnTo>
                      <a:lnTo>
                        <a:pt x="164744" y="426286"/>
                      </a:lnTo>
                      <a:lnTo>
                        <a:pt x="176260" y="420307"/>
                      </a:lnTo>
                      <a:lnTo>
                        <a:pt x="186789" y="414824"/>
                      </a:lnTo>
                      <a:lnTo>
                        <a:pt x="190257" y="412348"/>
                      </a:lnTo>
                      <a:lnTo>
                        <a:pt x="202359" y="401503"/>
                      </a:lnTo>
                      <a:lnTo>
                        <a:pt x="215740" y="389484"/>
                      </a:lnTo>
                      <a:lnTo>
                        <a:pt x="224330" y="381739"/>
                      </a:lnTo>
                      <a:lnTo>
                        <a:pt x="236217" y="371005"/>
                      </a:lnTo>
                      <a:lnTo>
                        <a:pt x="244018" y="363968"/>
                      </a:lnTo>
                      <a:lnTo>
                        <a:pt x="245514" y="365180"/>
                      </a:lnTo>
                      <a:lnTo>
                        <a:pt x="246020" y="365783"/>
                      </a:lnTo>
                      <a:lnTo>
                        <a:pt x="246558" y="366626"/>
                      </a:lnTo>
                      <a:lnTo>
                        <a:pt x="246892" y="367518"/>
                      </a:lnTo>
                      <a:lnTo>
                        <a:pt x="247027" y="368500"/>
                      </a:lnTo>
                      <a:lnTo>
                        <a:pt x="246969" y="369451"/>
                      </a:lnTo>
                      <a:lnTo>
                        <a:pt x="246835" y="370184"/>
                      </a:lnTo>
                      <a:lnTo>
                        <a:pt x="246689" y="370546"/>
                      </a:lnTo>
                      <a:lnTo>
                        <a:pt x="246609" y="370697"/>
                      </a:lnTo>
                      <a:lnTo>
                        <a:pt x="243247" y="373523"/>
                      </a:lnTo>
                      <a:lnTo>
                        <a:pt x="242813" y="374178"/>
                      </a:lnTo>
                      <a:lnTo>
                        <a:pt x="242526" y="375013"/>
                      </a:lnTo>
                      <a:lnTo>
                        <a:pt x="242673" y="375808"/>
                      </a:lnTo>
                      <a:lnTo>
                        <a:pt x="243077" y="376520"/>
                      </a:lnTo>
                      <a:lnTo>
                        <a:pt x="243770" y="377093"/>
                      </a:lnTo>
                      <a:lnTo>
                        <a:pt x="249668" y="380105"/>
                      </a:lnTo>
                      <a:lnTo>
                        <a:pt x="250295" y="380598"/>
                      </a:lnTo>
                      <a:lnTo>
                        <a:pt x="250866" y="381203"/>
                      </a:lnTo>
                      <a:lnTo>
                        <a:pt x="251352" y="381928"/>
                      </a:lnTo>
                      <a:lnTo>
                        <a:pt x="251743" y="382765"/>
                      </a:lnTo>
                      <a:lnTo>
                        <a:pt x="252029" y="383685"/>
                      </a:lnTo>
                      <a:lnTo>
                        <a:pt x="252233" y="384578"/>
                      </a:lnTo>
                      <a:lnTo>
                        <a:pt x="252315" y="385597"/>
                      </a:lnTo>
                      <a:lnTo>
                        <a:pt x="252290" y="389858"/>
                      </a:lnTo>
                      <a:lnTo>
                        <a:pt x="252369" y="390899"/>
                      </a:lnTo>
                      <a:lnTo>
                        <a:pt x="252597" y="391826"/>
                      </a:lnTo>
                      <a:lnTo>
                        <a:pt x="253024" y="392654"/>
                      </a:lnTo>
                      <a:lnTo>
                        <a:pt x="253617" y="393370"/>
                      </a:lnTo>
                      <a:lnTo>
                        <a:pt x="254353" y="393972"/>
                      </a:lnTo>
                      <a:lnTo>
                        <a:pt x="262318" y="398411"/>
                      </a:lnTo>
                      <a:lnTo>
                        <a:pt x="263923" y="399500"/>
                      </a:lnTo>
                      <a:lnTo>
                        <a:pt x="264560" y="400142"/>
                      </a:lnTo>
                      <a:lnTo>
                        <a:pt x="265102" y="400856"/>
                      </a:lnTo>
                      <a:lnTo>
                        <a:pt x="266907" y="404118"/>
                      </a:lnTo>
                      <a:lnTo>
                        <a:pt x="267437" y="404825"/>
                      </a:lnTo>
                      <a:lnTo>
                        <a:pt x="268055" y="405483"/>
                      </a:lnTo>
                      <a:lnTo>
                        <a:pt x="269596" y="406672"/>
                      </a:lnTo>
                      <a:lnTo>
                        <a:pt x="271493" y="407598"/>
                      </a:lnTo>
                      <a:lnTo>
                        <a:pt x="272093" y="407698"/>
                      </a:lnTo>
                      <a:lnTo>
                        <a:pt x="274066" y="407815"/>
                      </a:lnTo>
                      <a:lnTo>
                        <a:pt x="276209" y="407694"/>
                      </a:lnTo>
                      <a:lnTo>
                        <a:pt x="279622" y="407863"/>
                      </a:lnTo>
                      <a:lnTo>
                        <a:pt x="281037" y="408241"/>
                      </a:lnTo>
                      <a:lnTo>
                        <a:pt x="281977" y="408609"/>
                      </a:lnTo>
                      <a:lnTo>
                        <a:pt x="282851" y="409127"/>
                      </a:lnTo>
                      <a:lnTo>
                        <a:pt x="283614" y="409706"/>
                      </a:lnTo>
                      <a:lnTo>
                        <a:pt x="284262" y="410325"/>
                      </a:lnTo>
                      <a:lnTo>
                        <a:pt x="286683" y="413137"/>
                      </a:lnTo>
                      <a:lnTo>
                        <a:pt x="288139" y="414355"/>
                      </a:lnTo>
                      <a:lnTo>
                        <a:pt x="288959" y="414875"/>
                      </a:lnTo>
                      <a:lnTo>
                        <a:pt x="294793" y="417235"/>
                      </a:lnTo>
                      <a:lnTo>
                        <a:pt x="298961" y="419626"/>
                      </a:lnTo>
                      <a:lnTo>
                        <a:pt x="300890" y="420043"/>
                      </a:lnTo>
                      <a:lnTo>
                        <a:pt x="310358" y="420456"/>
                      </a:lnTo>
                      <a:lnTo>
                        <a:pt x="313997" y="420036"/>
                      </a:lnTo>
                      <a:lnTo>
                        <a:pt x="314984" y="419581"/>
                      </a:lnTo>
                      <a:lnTo>
                        <a:pt x="316085" y="418788"/>
                      </a:lnTo>
                      <a:lnTo>
                        <a:pt x="323047" y="410545"/>
                      </a:lnTo>
                      <a:lnTo>
                        <a:pt x="323975" y="409859"/>
                      </a:lnTo>
                      <a:lnTo>
                        <a:pt x="325170" y="409230"/>
                      </a:lnTo>
                      <a:lnTo>
                        <a:pt x="327423" y="408505"/>
                      </a:lnTo>
                      <a:lnTo>
                        <a:pt x="333478" y="407631"/>
                      </a:lnTo>
                      <a:lnTo>
                        <a:pt x="334529" y="407048"/>
                      </a:lnTo>
                      <a:lnTo>
                        <a:pt x="335667" y="406061"/>
                      </a:lnTo>
                      <a:lnTo>
                        <a:pt x="337241" y="404011"/>
                      </a:lnTo>
                      <a:lnTo>
                        <a:pt x="337972" y="402612"/>
                      </a:lnTo>
                      <a:lnTo>
                        <a:pt x="338446" y="401325"/>
                      </a:lnTo>
                      <a:lnTo>
                        <a:pt x="339149" y="398362"/>
                      </a:lnTo>
                      <a:lnTo>
                        <a:pt x="339492" y="397609"/>
                      </a:lnTo>
                      <a:lnTo>
                        <a:pt x="340144" y="396821"/>
                      </a:lnTo>
                      <a:lnTo>
                        <a:pt x="341344" y="396053"/>
                      </a:lnTo>
                      <a:lnTo>
                        <a:pt x="343268" y="395840"/>
                      </a:lnTo>
                      <a:lnTo>
                        <a:pt x="344580" y="396035"/>
                      </a:lnTo>
                      <a:lnTo>
                        <a:pt x="345594" y="396549"/>
                      </a:lnTo>
                      <a:lnTo>
                        <a:pt x="346308" y="397144"/>
                      </a:lnTo>
                      <a:lnTo>
                        <a:pt x="349889" y="401035"/>
                      </a:lnTo>
                      <a:lnTo>
                        <a:pt x="350898" y="401911"/>
                      </a:lnTo>
                      <a:lnTo>
                        <a:pt x="351682" y="402428"/>
                      </a:lnTo>
                      <a:lnTo>
                        <a:pt x="360379" y="406769"/>
                      </a:lnTo>
                      <a:lnTo>
                        <a:pt x="361742" y="407672"/>
                      </a:lnTo>
                      <a:lnTo>
                        <a:pt x="362424" y="408250"/>
                      </a:lnTo>
                      <a:lnTo>
                        <a:pt x="362924" y="408853"/>
                      </a:lnTo>
                      <a:lnTo>
                        <a:pt x="363666" y="410106"/>
                      </a:lnTo>
                      <a:lnTo>
                        <a:pt x="364104" y="410602"/>
                      </a:lnTo>
                      <a:lnTo>
                        <a:pt x="364510" y="410876"/>
                      </a:lnTo>
                      <a:lnTo>
                        <a:pt x="364944" y="411061"/>
                      </a:lnTo>
                      <a:lnTo>
                        <a:pt x="366609" y="410592"/>
                      </a:lnTo>
                      <a:lnTo>
                        <a:pt x="378280" y="404089"/>
                      </a:lnTo>
                      <a:lnTo>
                        <a:pt x="393994" y="401491"/>
                      </a:lnTo>
                      <a:lnTo>
                        <a:pt x="395297" y="401029"/>
                      </a:lnTo>
                      <a:lnTo>
                        <a:pt x="399249" y="398874"/>
                      </a:lnTo>
                      <a:lnTo>
                        <a:pt x="400725" y="398673"/>
                      </a:lnTo>
                      <a:lnTo>
                        <a:pt x="401948" y="398792"/>
                      </a:lnTo>
                      <a:lnTo>
                        <a:pt x="404325" y="400391"/>
                      </a:lnTo>
                      <a:lnTo>
                        <a:pt x="405221" y="400530"/>
                      </a:lnTo>
                      <a:lnTo>
                        <a:pt x="406251" y="400254"/>
                      </a:lnTo>
                      <a:lnTo>
                        <a:pt x="415651" y="394318"/>
                      </a:lnTo>
                      <a:lnTo>
                        <a:pt x="416366" y="393508"/>
                      </a:lnTo>
                      <a:lnTo>
                        <a:pt x="417101" y="392433"/>
                      </a:lnTo>
                      <a:lnTo>
                        <a:pt x="417839" y="390564"/>
                      </a:lnTo>
                      <a:lnTo>
                        <a:pt x="417867" y="389329"/>
                      </a:lnTo>
                      <a:lnTo>
                        <a:pt x="417620" y="388329"/>
                      </a:lnTo>
                      <a:lnTo>
                        <a:pt x="414825" y="384639"/>
                      </a:lnTo>
                      <a:lnTo>
                        <a:pt x="414430" y="383798"/>
                      </a:lnTo>
                      <a:lnTo>
                        <a:pt x="414217" y="382822"/>
                      </a:lnTo>
                      <a:lnTo>
                        <a:pt x="414172" y="381803"/>
                      </a:lnTo>
                      <a:lnTo>
                        <a:pt x="414343" y="380790"/>
                      </a:lnTo>
                      <a:lnTo>
                        <a:pt x="414609" y="379866"/>
                      </a:lnTo>
                      <a:lnTo>
                        <a:pt x="415035" y="378996"/>
                      </a:lnTo>
                      <a:lnTo>
                        <a:pt x="415774" y="378182"/>
                      </a:lnTo>
                      <a:lnTo>
                        <a:pt x="416859" y="377394"/>
                      </a:lnTo>
                      <a:lnTo>
                        <a:pt x="418870" y="376574"/>
                      </a:lnTo>
                      <a:lnTo>
                        <a:pt x="420360" y="376333"/>
                      </a:lnTo>
                      <a:lnTo>
                        <a:pt x="421758" y="376339"/>
                      </a:lnTo>
                      <a:lnTo>
                        <a:pt x="426129" y="377026"/>
                      </a:lnTo>
                      <a:lnTo>
                        <a:pt x="426652" y="377198"/>
                      </a:lnTo>
                      <a:lnTo>
                        <a:pt x="427223" y="377541"/>
                      </a:lnTo>
                      <a:lnTo>
                        <a:pt x="427552" y="378003"/>
                      </a:lnTo>
                      <a:lnTo>
                        <a:pt x="427789" y="379412"/>
                      </a:lnTo>
                      <a:lnTo>
                        <a:pt x="428176" y="380006"/>
                      </a:lnTo>
                      <a:lnTo>
                        <a:pt x="428905" y="380382"/>
                      </a:lnTo>
                      <a:lnTo>
                        <a:pt x="431679" y="380772"/>
                      </a:lnTo>
                      <a:lnTo>
                        <a:pt x="432510" y="381047"/>
                      </a:lnTo>
                      <a:lnTo>
                        <a:pt x="433185" y="381503"/>
                      </a:lnTo>
                      <a:lnTo>
                        <a:pt x="433652" y="382098"/>
                      </a:lnTo>
                      <a:lnTo>
                        <a:pt x="434053" y="382753"/>
                      </a:lnTo>
                      <a:lnTo>
                        <a:pt x="434547" y="383208"/>
                      </a:lnTo>
                      <a:lnTo>
                        <a:pt x="435043" y="383441"/>
                      </a:lnTo>
                      <a:lnTo>
                        <a:pt x="435628" y="383454"/>
                      </a:lnTo>
                      <a:lnTo>
                        <a:pt x="436783" y="383180"/>
                      </a:lnTo>
                      <a:lnTo>
                        <a:pt x="437483" y="382848"/>
                      </a:lnTo>
                      <a:lnTo>
                        <a:pt x="443873" y="378680"/>
                      </a:lnTo>
                      <a:lnTo>
                        <a:pt x="450230" y="374536"/>
                      </a:lnTo>
                      <a:lnTo>
                        <a:pt x="457255" y="370979"/>
                      </a:lnTo>
                      <a:lnTo>
                        <a:pt x="463282" y="367909"/>
                      </a:lnTo>
                      <a:lnTo>
                        <a:pt x="466697" y="366656"/>
                      </a:lnTo>
                      <a:lnTo>
                        <a:pt x="470266" y="366126"/>
                      </a:lnTo>
                      <a:lnTo>
                        <a:pt x="471425" y="366155"/>
                      </a:lnTo>
                      <a:lnTo>
                        <a:pt x="473000" y="366451"/>
                      </a:lnTo>
                      <a:lnTo>
                        <a:pt x="473637" y="367090"/>
                      </a:lnTo>
                      <a:lnTo>
                        <a:pt x="473956" y="367752"/>
                      </a:lnTo>
                      <a:lnTo>
                        <a:pt x="474179" y="368393"/>
                      </a:lnTo>
                      <a:lnTo>
                        <a:pt x="474352" y="369962"/>
                      </a:lnTo>
                      <a:lnTo>
                        <a:pt x="474538" y="370839"/>
                      </a:lnTo>
                      <a:lnTo>
                        <a:pt x="474903" y="371660"/>
                      </a:lnTo>
                      <a:lnTo>
                        <a:pt x="475445" y="372365"/>
                      </a:lnTo>
                      <a:lnTo>
                        <a:pt x="476113" y="372903"/>
                      </a:lnTo>
                      <a:lnTo>
                        <a:pt x="476814" y="373213"/>
                      </a:lnTo>
                      <a:lnTo>
                        <a:pt x="477681" y="373308"/>
                      </a:lnTo>
                      <a:lnTo>
                        <a:pt x="478444" y="373229"/>
                      </a:lnTo>
                      <a:lnTo>
                        <a:pt x="479242" y="372970"/>
                      </a:lnTo>
                      <a:lnTo>
                        <a:pt x="480125" y="372321"/>
                      </a:lnTo>
                      <a:lnTo>
                        <a:pt x="484213" y="368326"/>
                      </a:lnTo>
                      <a:lnTo>
                        <a:pt x="501538" y="357741"/>
                      </a:lnTo>
                      <a:lnTo>
                        <a:pt x="502120" y="356927"/>
                      </a:lnTo>
                      <a:lnTo>
                        <a:pt x="502518" y="355888"/>
                      </a:lnTo>
                      <a:lnTo>
                        <a:pt x="502300" y="353992"/>
                      </a:lnTo>
                      <a:lnTo>
                        <a:pt x="501565" y="353236"/>
                      </a:lnTo>
                      <a:lnTo>
                        <a:pt x="499652" y="352253"/>
                      </a:lnTo>
                      <a:lnTo>
                        <a:pt x="498981" y="351720"/>
                      </a:lnTo>
                      <a:lnTo>
                        <a:pt x="498507" y="351017"/>
                      </a:lnTo>
                      <a:lnTo>
                        <a:pt x="498242" y="350197"/>
                      </a:lnTo>
                      <a:lnTo>
                        <a:pt x="498114" y="349342"/>
                      </a:lnTo>
                      <a:lnTo>
                        <a:pt x="498335" y="348199"/>
                      </a:lnTo>
                      <a:lnTo>
                        <a:pt x="498871" y="346966"/>
                      </a:lnTo>
                      <a:lnTo>
                        <a:pt x="500221" y="345356"/>
                      </a:lnTo>
                      <a:lnTo>
                        <a:pt x="501257" y="344482"/>
                      </a:lnTo>
                      <a:lnTo>
                        <a:pt x="502182" y="343857"/>
                      </a:lnTo>
                      <a:lnTo>
                        <a:pt x="504557" y="342620"/>
                      </a:lnTo>
                      <a:lnTo>
                        <a:pt x="507465" y="340611"/>
                      </a:lnTo>
                      <a:lnTo>
                        <a:pt x="508725" y="339356"/>
                      </a:lnTo>
                      <a:lnTo>
                        <a:pt x="509139" y="338481"/>
                      </a:lnTo>
                      <a:lnTo>
                        <a:pt x="509332" y="337386"/>
                      </a:lnTo>
                      <a:lnTo>
                        <a:pt x="508958" y="335789"/>
                      </a:lnTo>
                      <a:lnTo>
                        <a:pt x="508370" y="334888"/>
                      </a:lnTo>
                      <a:lnTo>
                        <a:pt x="507588" y="334247"/>
                      </a:lnTo>
                      <a:lnTo>
                        <a:pt x="502868" y="332400"/>
                      </a:lnTo>
                      <a:lnTo>
                        <a:pt x="501042" y="331415"/>
                      </a:lnTo>
                      <a:lnTo>
                        <a:pt x="498879" y="329824"/>
                      </a:lnTo>
                      <a:lnTo>
                        <a:pt x="498516" y="329454"/>
                      </a:lnTo>
                      <a:lnTo>
                        <a:pt x="498324" y="329060"/>
                      </a:lnTo>
                      <a:lnTo>
                        <a:pt x="498104" y="328419"/>
                      </a:lnTo>
                      <a:lnTo>
                        <a:pt x="498539" y="326597"/>
                      </a:lnTo>
                      <a:lnTo>
                        <a:pt x="502737" y="316747"/>
                      </a:lnTo>
                      <a:lnTo>
                        <a:pt x="505998" y="309104"/>
                      </a:lnTo>
                      <a:lnTo>
                        <a:pt x="506369" y="307832"/>
                      </a:lnTo>
                      <a:lnTo>
                        <a:pt x="507015" y="303700"/>
                      </a:lnTo>
                      <a:lnTo>
                        <a:pt x="507173" y="303124"/>
                      </a:lnTo>
                      <a:lnTo>
                        <a:pt x="512701" y="296023"/>
                      </a:lnTo>
                      <a:lnTo>
                        <a:pt x="517248" y="290184"/>
                      </a:lnTo>
                      <a:lnTo>
                        <a:pt x="522756" y="283091"/>
                      </a:lnTo>
                      <a:lnTo>
                        <a:pt x="529858" y="273951"/>
                      </a:lnTo>
                      <a:lnTo>
                        <a:pt x="533980" y="268634"/>
                      </a:lnTo>
                      <a:lnTo>
                        <a:pt x="537698" y="259392"/>
                      </a:lnTo>
                      <a:lnTo>
                        <a:pt x="540330" y="252854"/>
                      </a:lnTo>
                      <a:lnTo>
                        <a:pt x="542274" y="242784"/>
                      </a:lnTo>
                      <a:lnTo>
                        <a:pt x="542305" y="241633"/>
                      </a:lnTo>
                      <a:lnTo>
                        <a:pt x="541640" y="239870"/>
                      </a:lnTo>
                      <a:lnTo>
                        <a:pt x="541456" y="238486"/>
                      </a:lnTo>
                      <a:lnTo>
                        <a:pt x="541644" y="237554"/>
                      </a:lnTo>
                      <a:lnTo>
                        <a:pt x="542044" y="236701"/>
                      </a:lnTo>
                      <a:lnTo>
                        <a:pt x="548238" y="230349"/>
                      </a:lnTo>
                      <a:lnTo>
                        <a:pt x="551002" y="226333"/>
                      </a:lnTo>
                      <a:lnTo>
                        <a:pt x="552310" y="225045"/>
                      </a:lnTo>
                      <a:lnTo>
                        <a:pt x="555395" y="222810"/>
                      </a:lnTo>
                      <a:lnTo>
                        <a:pt x="557595" y="220215"/>
                      </a:lnTo>
                      <a:lnTo>
                        <a:pt x="558123" y="219057"/>
                      </a:lnTo>
                      <a:lnTo>
                        <a:pt x="558335" y="217923"/>
                      </a:lnTo>
                      <a:lnTo>
                        <a:pt x="558114" y="217032"/>
                      </a:lnTo>
                      <a:lnTo>
                        <a:pt x="557788" y="216254"/>
                      </a:lnTo>
                      <a:lnTo>
                        <a:pt x="556891" y="214556"/>
                      </a:lnTo>
                      <a:lnTo>
                        <a:pt x="556533" y="213519"/>
                      </a:lnTo>
                      <a:lnTo>
                        <a:pt x="556586" y="211842"/>
                      </a:lnTo>
                      <a:lnTo>
                        <a:pt x="557191" y="210572"/>
                      </a:lnTo>
                      <a:lnTo>
                        <a:pt x="558427" y="208676"/>
                      </a:lnTo>
                      <a:lnTo>
                        <a:pt x="559043" y="207166"/>
                      </a:lnTo>
                      <a:lnTo>
                        <a:pt x="559412" y="205521"/>
                      </a:lnTo>
                      <a:lnTo>
                        <a:pt x="559784" y="204548"/>
                      </a:lnTo>
                      <a:lnTo>
                        <a:pt x="560294" y="203908"/>
                      </a:lnTo>
                      <a:lnTo>
                        <a:pt x="563119" y="202742"/>
                      </a:lnTo>
                      <a:lnTo>
                        <a:pt x="564531" y="201752"/>
                      </a:lnTo>
                      <a:lnTo>
                        <a:pt x="565065" y="200763"/>
                      </a:lnTo>
                      <a:lnTo>
                        <a:pt x="565782" y="195444"/>
                      </a:lnTo>
                      <a:lnTo>
                        <a:pt x="566403" y="193852"/>
                      </a:lnTo>
                      <a:lnTo>
                        <a:pt x="568414" y="190741"/>
                      </a:lnTo>
                      <a:lnTo>
                        <a:pt x="568928" y="189623"/>
                      </a:lnTo>
                      <a:lnTo>
                        <a:pt x="569114" y="188616"/>
                      </a:lnTo>
                      <a:lnTo>
                        <a:pt x="568173" y="181227"/>
                      </a:lnTo>
                      <a:lnTo>
                        <a:pt x="568202" y="178677"/>
                      </a:lnTo>
                      <a:lnTo>
                        <a:pt x="568270" y="178240"/>
                      </a:lnTo>
                      <a:lnTo>
                        <a:pt x="570530" y="174423"/>
                      </a:lnTo>
                      <a:lnTo>
                        <a:pt x="570978" y="173108"/>
                      </a:lnTo>
                      <a:lnTo>
                        <a:pt x="571163" y="172080"/>
                      </a:lnTo>
                      <a:lnTo>
                        <a:pt x="571029" y="171099"/>
                      </a:lnTo>
                      <a:lnTo>
                        <a:pt x="570815" y="170190"/>
                      </a:lnTo>
                      <a:lnTo>
                        <a:pt x="570693" y="168766"/>
                      </a:lnTo>
                      <a:lnTo>
                        <a:pt x="570736" y="167047"/>
                      </a:lnTo>
                      <a:lnTo>
                        <a:pt x="571235" y="163974"/>
                      </a:lnTo>
                      <a:lnTo>
                        <a:pt x="571857" y="162564"/>
                      </a:lnTo>
                      <a:lnTo>
                        <a:pt x="572716" y="161775"/>
                      </a:lnTo>
                      <a:lnTo>
                        <a:pt x="573660" y="161753"/>
                      </a:lnTo>
                      <a:lnTo>
                        <a:pt x="586996" y="165423"/>
                      </a:lnTo>
                      <a:lnTo>
                        <a:pt x="587402" y="165615"/>
                      </a:lnTo>
                      <a:lnTo>
                        <a:pt x="587931" y="166000"/>
                      </a:lnTo>
                      <a:lnTo>
                        <a:pt x="588502" y="166582"/>
                      </a:lnTo>
                      <a:lnTo>
                        <a:pt x="595912" y="176069"/>
                      </a:lnTo>
                      <a:lnTo>
                        <a:pt x="596389" y="176816"/>
                      </a:lnTo>
                      <a:lnTo>
                        <a:pt x="596507" y="177140"/>
                      </a:lnTo>
                      <a:lnTo>
                        <a:pt x="596581" y="177691"/>
                      </a:lnTo>
                      <a:lnTo>
                        <a:pt x="596515" y="178332"/>
                      </a:lnTo>
                      <a:lnTo>
                        <a:pt x="596092" y="179728"/>
                      </a:lnTo>
                      <a:lnTo>
                        <a:pt x="596019" y="180392"/>
                      </a:lnTo>
                      <a:lnTo>
                        <a:pt x="596239" y="180537"/>
                      </a:lnTo>
                      <a:lnTo>
                        <a:pt x="596700" y="180717"/>
                      </a:lnTo>
                      <a:lnTo>
                        <a:pt x="604115" y="182502"/>
                      </a:lnTo>
                      <a:lnTo>
                        <a:pt x="611308" y="184229"/>
                      </a:lnTo>
                      <a:lnTo>
                        <a:pt x="619667" y="186234"/>
                      </a:lnTo>
                      <a:lnTo>
                        <a:pt x="629575" y="188609"/>
                      </a:lnTo>
                      <a:lnTo>
                        <a:pt x="630708" y="188641"/>
                      </a:lnTo>
                      <a:lnTo>
                        <a:pt x="631475" y="188149"/>
                      </a:lnTo>
                      <a:lnTo>
                        <a:pt x="632047" y="187512"/>
                      </a:lnTo>
                      <a:lnTo>
                        <a:pt x="636363" y="180394"/>
                      </a:lnTo>
                      <a:lnTo>
                        <a:pt x="639302" y="175537"/>
                      </a:lnTo>
                      <a:lnTo>
                        <a:pt x="641477" y="171948"/>
                      </a:lnTo>
                      <a:lnTo>
                        <a:pt x="642210" y="170309"/>
                      </a:lnTo>
                      <a:lnTo>
                        <a:pt x="642815" y="168508"/>
                      </a:lnTo>
                      <a:lnTo>
                        <a:pt x="644075" y="162328"/>
                      </a:lnTo>
                      <a:lnTo>
                        <a:pt x="644125" y="161822"/>
                      </a:lnTo>
                      <a:lnTo>
                        <a:pt x="644237" y="161166"/>
                      </a:lnTo>
                      <a:lnTo>
                        <a:pt x="644248" y="160853"/>
                      </a:lnTo>
                      <a:lnTo>
                        <a:pt x="644398" y="160342"/>
                      </a:lnTo>
                      <a:lnTo>
                        <a:pt x="644891" y="154455"/>
                      </a:lnTo>
                      <a:lnTo>
                        <a:pt x="645171" y="153347"/>
                      </a:lnTo>
                      <a:lnTo>
                        <a:pt x="645619" y="152017"/>
                      </a:lnTo>
                      <a:lnTo>
                        <a:pt x="646644" y="149968"/>
                      </a:lnTo>
                      <a:lnTo>
                        <a:pt x="647963" y="148446"/>
                      </a:lnTo>
                      <a:lnTo>
                        <a:pt x="649380" y="147248"/>
                      </a:lnTo>
                      <a:lnTo>
                        <a:pt x="651459" y="145855"/>
                      </a:lnTo>
                      <a:lnTo>
                        <a:pt x="652451" y="144922"/>
                      </a:lnTo>
                      <a:lnTo>
                        <a:pt x="653019" y="144111"/>
                      </a:lnTo>
                      <a:lnTo>
                        <a:pt x="653158" y="143423"/>
                      </a:lnTo>
                      <a:lnTo>
                        <a:pt x="653162" y="133402"/>
                      </a:lnTo>
                      <a:lnTo>
                        <a:pt x="653334" y="132262"/>
                      </a:lnTo>
                      <a:lnTo>
                        <a:pt x="653811" y="130840"/>
                      </a:lnTo>
                      <a:lnTo>
                        <a:pt x="655906" y="127276"/>
                      </a:lnTo>
                      <a:lnTo>
                        <a:pt x="656416" y="126022"/>
                      </a:lnTo>
                      <a:lnTo>
                        <a:pt x="656675" y="124967"/>
                      </a:lnTo>
                      <a:lnTo>
                        <a:pt x="656745" y="124036"/>
                      </a:lnTo>
                      <a:lnTo>
                        <a:pt x="657192" y="122572"/>
                      </a:lnTo>
                      <a:lnTo>
                        <a:pt x="657992" y="120907"/>
                      </a:lnTo>
                      <a:lnTo>
                        <a:pt x="663124" y="112669"/>
                      </a:lnTo>
                      <a:lnTo>
                        <a:pt x="663778" y="111996"/>
                      </a:lnTo>
                      <a:lnTo>
                        <a:pt x="664619" y="111999"/>
                      </a:lnTo>
                      <a:lnTo>
                        <a:pt x="669509" y="114596"/>
                      </a:lnTo>
                      <a:lnTo>
                        <a:pt x="676625" y="118371"/>
                      </a:lnTo>
                      <a:lnTo>
                        <a:pt x="682516" y="121500"/>
                      </a:lnTo>
                      <a:lnTo>
                        <a:pt x="683637" y="121718"/>
                      </a:lnTo>
                      <a:lnTo>
                        <a:pt x="684440" y="121137"/>
                      </a:lnTo>
                      <a:lnTo>
                        <a:pt x="685128" y="120219"/>
                      </a:lnTo>
                      <a:lnTo>
                        <a:pt x="688563" y="114087"/>
                      </a:lnTo>
                      <a:lnTo>
                        <a:pt x="692863" y="106416"/>
                      </a:lnTo>
                      <a:lnTo>
                        <a:pt x="696496" y="99925"/>
                      </a:lnTo>
                      <a:lnTo>
                        <a:pt x="699163" y="95140"/>
                      </a:lnTo>
                      <a:lnTo>
                        <a:pt x="699916" y="94613"/>
                      </a:lnTo>
                      <a:lnTo>
                        <a:pt x="700677" y="94589"/>
                      </a:lnTo>
                      <a:lnTo>
                        <a:pt x="701241" y="94991"/>
                      </a:lnTo>
                      <a:lnTo>
                        <a:pt x="701807" y="95595"/>
                      </a:lnTo>
                      <a:lnTo>
                        <a:pt x="702327" y="96274"/>
                      </a:lnTo>
                      <a:lnTo>
                        <a:pt x="702903" y="96841"/>
                      </a:lnTo>
                      <a:lnTo>
                        <a:pt x="703609" y="97275"/>
                      </a:lnTo>
                      <a:lnTo>
                        <a:pt x="704379" y="97424"/>
                      </a:lnTo>
                      <a:lnTo>
                        <a:pt x="705328" y="97321"/>
                      </a:lnTo>
                      <a:lnTo>
                        <a:pt x="706496" y="96993"/>
                      </a:lnTo>
                      <a:lnTo>
                        <a:pt x="709709" y="95364"/>
                      </a:lnTo>
                      <a:lnTo>
                        <a:pt x="710742" y="94536"/>
                      </a:lnTo>
                      <a:lnTo>
                        <a:pt x="711498" y="93718"/>
                      </a:lnTo>
                      <a:lnTo>
                        <a:pt x="712295" y="92178"/>
                      </a:lnTo>
                      <a:lnTo>
                        <a:pt x="713379" y="88979"/>
                      </a:lnTo>
                      <a:lnTo>
                        <a:pt x="714061" y="87488"/>
                      </a:lnTo>
                      <a:lnTo>
                        <a:pt x="714777" y="86768"/>
                      </a:lnTo>
                      <a:lnTo>
                        <a:pt x="715961" y="86226"/>
                      </a:lnTo>
                      <a:lnTo>
                        <a:pt x="717496" y="85859"/>
                      </a:lnTo>
                      <a:lnTo>
                        <a:pt x="719803" y="84935"/>
                      </a:lnTo>
                      <a:lnTo>
                        <a:pt x="720976" y="84155"/>
                      </a:lnTo>
                      <a:lnTo>
                        <a:pt x="721843" y="83335"/>
                      </a:lnTo>
                      <a:lnTo>
                        <a:pt x="724937" y="78529"/>
                      </a:lnTo>
                      <a:lnTo>
                        <a:pt x="725521" y="77056"/>
                      </a:lnTo>
                      <a:lnTo>
                        <a:pt x="725473" y="76368"/>
                      </a:lnTo>
                      <a:lnTo>
                        <a:pt x="725258" y="75699"/>
                      </a:lnTo>
                      <a:lnTo>
                        <a:pt x="724968" y="75048"/>
                      </a:lnTo>
                      <a:lnTo>
                        <a:pt x="724987" y="74400"/>
                      </a:lnTo>
                      <a:lnTo>
                        <a:pt x="725166" y="73696"/>
                      </a:lnTo>
                      <a:lnTo>
                        <a:pt x="727031" y="69816"/>
                      </a:lnTo>
                      <a:lnTo>
                        <a:pt x="731893" y="62967"/>
                      </a:lnTo>
                      <a:lnTo>
                        <a:pt x="737179" y="58301"/>
                      </a:lnTo>
                      <a:lnTo>
                        <a:pt x="741124" y="52525"/>
                      </a:lnTo>
                      <a:lnTo>
                        <a:pt x="741679" y="51527"/>
                      </a:lnTo>
                      <a:lnTo>
                        <a:pt x="741821" y="50813"/>
                      </a:lnTo>
                      <a:lnTo>
                        <a:pt x="741752" y="49962"/>
                      </a:lnTo>
                      <a:lnTo>
                        <a:pt x="741532" y="49133"/>
                      </a:lnTo>
                      <a:lnTo>
                        <a:pt x="740466" y="46625"/>
                      </a:lnTo>
                      <a:lnTo>
                        <a:pt x="740175" y="45735"/>
                      </a:lnTo>
                      <a:lnTo>
                        <a:pt x="739966" y="44776"/>
                      </a:lnTo>
                      <a:lnTo>
                        <a:pt x="739975" y="43708"/>
                      </a:lnTo>
                      <a:lnTo>
                        <a:pt x="740076" y="42639"/>
                      </a:lnTo>
                      <a:lnTo>
                        <a:pt x="740593" y="39792"/>
                      </a:lnTo>
                      <a:lnTo>
                        <a:pt x="740610" y="38772"/>
                      </a:lnTo>
                      <a:lnTo>
                        <a:pt x="740492" y="37747"/>
                      </a:lnTo>
                      <a:lnTo>
                        <a:pt x="740018" y="35905"/>
                      </a:lnTo>
                      <a:lnTo>
                        <a:pt x="739735" y="35157"/>
                      </a:lnTo>
                      <a:lnTo>
                        <a:pt x="739532" y="34379"/>
                      </a:lnTo>
                      <a:lnTo>
                        <a:pt x="739400" y="33610"/>
                      </a:lnTo>
                      <a:lnTo>
                        <a:pt x="739453" y="32744"/>
                      </a:lnTo>
                      <a:lnTo>
                        <a:pt x="739660" y="31914"/>
                      </a:lnTo>
                      <a:lnTo>
                        <a:pt x="740022" y="31121"/>
                      </a:lnTo>
                      <a:lnTo>
                        <a:pt x="743645" y="24831"/>
                      </a:lnTo>
                      <a:lnTo>
                        <a:pt x="745185" y="21332"/>
                      </a:lnTo>
                      <a:lnTo>
                        <a:pt x="745559" y="19486"/>
                      </a:lnTo>
                      <a:lnTo>
                        <a:pt x="745637" y="18419"/>
                      </a:lnTo>
                      <a:lnTo>
                        <a:pt x="745559" y="16347"/>
                      </a:lnTo>
                      <a:lnTo>
                        <a:pt x="745182" y="14543"/>
                      </a:lnTo>
                      <a:lnTo>
                        <a:pt x="743393" y="9316"/>
                      </a:lnTo>
                      <a:lnTo>
                        <a:pt x="743027" y="7546"/>
                      </a:lnTo>
                      <a:lnTo>
                        <a:pt x="743132" y="6097"/>
                      </a:lnTo>
                      <a:lnTo>
                        <a:pt x="743605" y="4319"/>
                      </a:lnTo>
                      <a:lnTo>
                        <a:pt x="745213" y="1146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0" name="Freeform 172">
                  <a:extLst>
                    <a:ext uri="{FF2B5EF4-FFF2-40B4-BE49-F238E27FC236}">
                      <a16:creationId xmlns:a16="http://schemas.microsoft.com/office/drawing/2014/main" id="{F386ACFF-EB1B-4BBA-9F4F-1723AFD2B66C}"/>
                    </a:ext>
                  </a:extLst>
                </p:cNvPr>
                <p:cNvSpPr/>
                <p:nvPr>
                  <p:custDataLst>
                    <p:tags r:id="rId41"/>
                  </p:custDataLst>
                </p:nvPr>
              </p:nvSpPr>
              <p:spPr>
                <a:xfrm>
                  <a:off x="3562701" y="3470640"/>
                  <a:ext cx="636426" cy="55626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41317" h="822754">
                      <a:moveTo>
                        <a:pt x="394123" y="1716"/>
                      </a:moveTo>
                      <a:lnTo>
                        <a:pt x="390825" y="9105"/>
                      </a:lnTo>
                      <a:lnTo>
                        <a:pt x="387522" y="16495"/>
                      </a:lnTo>
                      <a:lnTo>
                        <a:pt x="384216" y="23885"/>
                      </a:lnTo>
                      <a:lnTo>
                        <a:pt x="380901" y="31268"/>
                      </a:lnTo>
                      <a:lnTo>
                        <a:pt x="377584" y="38652"/>
                      </a:lnTo>
                      <a:lnTo>
                        <a:pt x="374258" y="46044"/>
                      </a:lnTo>
                      <a:lnTo>
                        <a:pt x="370928" y="53438"/>
                      </a:lnTo>
                      <a:lnTo>
                        <a:pt x="367594" y="60828"/>
                      </a:lnTo>
                      <a:lnTo>
                        <a:pt x="364252" y="68218"/>
                      </a:lnTo>
                      <a:lnTo>
                        <a:pt x="360901" y="75610"/>
                      </a:lnTo>
                      <a:lnTo>
                        <a:pt x="357552" y="83006"/>
                      </a:lnTo>
                      <a:lnTo>
                        <a:pt x="354197" y="90395"/>
                      </a:lnTo>
                      <a:lnTo>
                        <a:pt x="350833" y="97793"/>
                      </a:lnTo>
                      <a:lnTo>
                        <a:pt x="347467" y="105191"/>
                      </a:lnTo>
                      <a:lnTo>
                        <a:pt x="344089" y="112582"/>
                      </a:lnTo>
                      <a:lnTo>
                        <a:pt x="340712" y="119982"/>
                      </a:lnTo>
                      <a:lnTo>
                        <a:pt x="339531" y="122574"/>
                      </a:lnTo>
                      <a:lnTo>
                        <a:pt x="340457" y="125772"/>
                      </a:lnTo>
                      <a:lnTo>
                        <a:pt x="341149" y="127518"/>
                      </a:lnTo>
                      <a:lnTo>
                        <a:pt x="341773" y="128209"/>
                      </a:lnTo>
                      <a:lnTo>
                        <a:pt x="342741" y="128706"/>
                      </a:lnTo>
                      <a:lnTo>
                        <a:pt x="344316" y="128899"/>
                      </a:lnTo>
                      <a:lnTo>
                        <a:pt x="345483" y="128796"/>
                      </a:lnTo>
                      <a:lnTo>
                        <a:pt x="346494" y="128438"/>
                      </a:lnTo>
                      <a:lnTo>
                        <a:pt x="348852" y="127076"/>
                      </a:lnTo>
                      <a:lnTo>
                        <a:pt x="349769" y="126940"/>
                      </a:lnTo>
                      <a:lnTo>
                        <a:pt x="350777" y="127387"/>
                      </a:lnTo>
                      <a:lnTo>
                        <a:pt x="352324" y="129836"/>
                      </a:lnTo>
                      <a:lnTo>
                        <a:pt x="353154" y="130590"/>
                      </a:lnTo>
                      <a:lnTo>
                        <a:pt x="355890" y="130992"/>
                      </a:lnTo>
                      <a:lnTo>
                        <a:pt x="357205" y="131393"/>
                      </a:lnTo>
                      <a:lnTo>
                        <a:pt x="358579" y="132528"/>
                      </a:lnTo>
                      <a:lnTo>
                        <a:pt x="359779" y="133242"/>
                      </a:lnTo>
                      <a:lnTo>
                        <a:pt x="361454" y="133690"/>
                      </a:lnTo>
                      <a:lnTo>
                        <a:pt x="362792" y="133783"/>
                      </a:lnTo>
                      <a:lnTo>
                        <a:pt x="364244" y="134144"/>
                      </a:lnTo>
                      <a:lnTo>
                        <a:pt x="365643" y="134924"/>
                      </a:lnTo>
                      <a:lnTo>
                        <a:pt x="367572" y="136677"/>
                      </a:lnTo>
                      <a:lnTo>
                        <a:pt x="369405" y="138723"/>
                      </a:lnTo>
                      <a:lnTo>
                        <a:pt x="370986" y="141521"/>
                      </a:lnTo>
                      <a:lnTo>
                        <a:pt x="373698" y="146310"/>
                      </a:lnTo>
                      <a:lnTo>
                        <a:pt x="377848" y="153631"/>
                      </a:lnTo>
                      <a:lnTo>
                        <a:pt x="380470" y="158247"/>
                      </a:lnTo>
                      <a:lnTo>
                        <a:pt x="381788" y="161662"/>
                      </a:lnTo>
                      <a:lnTo>
                        <a:pt x="382283" y="162536"/>
                      </a:lnTo>
                      <a:lnTo>
                        <a:pt x="383105" y="163278"/>
                      </a:lnTo>
                      <a:lnTo>
                        <a:pt x="387070" y="164136"/>
                      </a:lnTo>
                      <a:lnTo>
                        <a:pt x="388560" y="164450"/>
                      </a:lnTo>
                      <a:lnTo>
                        <a:pt x="392760" y="165340"/>
                      </a:lnTo>
                      <a:lnTo>
                        <a:pt x="399278" y="166710"/>
                      </a:lnTo>
                      <a:lnTo>
                        <a:pt x="407743" y="168503"/>
                      </a:lnTo>
                      <a:lnTo>
                        <a:pt x="417750" y="170615"/>
                      </a:lnTo>
                      <a:lnTo>
                        <a:pt x="428939" y="172961"/>
                      </a:lnTo>
                      <a:lnTo>
                        <a:pt x="440898" y="175474"/>
                      </a:lnTo>
                      <a:lnTo>
                        <a:pt x="453254" y="178063"/>
                      </a:lnTo>
                      <a:lnTo>
                        <a:pt x="465615" y="180647"/>
                      </a:lnTo>
                      <a:lnTo>
                        <a:pt x="477592" y="183142"/>
                      </a:lnTo>
                      <a:lnTo>
                        <a:pt x="488797" y="185480"/>
                      </a:lnTo>
                      <a:lnTo>
                        <a:pt x="498835" y="187568"/>
                      </a:lnTo>
                      <a:lnTo>
                        <a:pt x="507331" y="189345"/>
                      </a:lnTo>
                      <a:lnTo>
                        <a:pt x="513875" y="190696"/>
                      </a:lnTo>
                      <a:lnTo>
                        <a:pt x="518091" y="191569"/>
                      </a:lnTo>
                      <a:lnTo>
                        <a:pt x="519580" y="191871"/>
                      </a:lnTo>
                      <a:lnTo>
                        <a:pt x="524633" y="192914"/>
                      </a:lnTo>
                      <a:lnTo>
                        <a:pt x="527627" y="194260"/>
                      </a:lnTo>
                      <a:lnTo>
                        <a:pt x="536220" y="198106"/>
                      </a:lnTo>
                      <a:lnTo>
                        <a:pt x="544811" y="201939"/>
                      </a:lnTo>
                      <a:lnTo>
                        <a:pt x="553413" y="205774"/>
                      </a:lnTo>
                      <a:lnTo>
                        <a:pt x="562017" y="209598"/>
                      </a:lnTo>
                      <a:lnTo>
                        <a:pt x="565507" y="211147"/>
                      </a:lnTo>
                      <a:lnTo>
                        <a:pt x="567336" y="211304"/>
                      </a:lnTo>
                      <a:lnTo>
                        <a:pt x="568409" y="211234"/>
                      </a:lnTo>
                      <a:lnTo>
                        <a:pt x="570446" y="210842"/>
                      </a:lnTo>
                      <a:lnTo>
                        <a:pt x="571390" y="210826"/>
                      </a:lnTo>
                      <a:lnTo>
                        <a:pt x="572429" y="211171"/>
                      </a:lnTo>
                      <a:lnTo>
                        <a:pt x="573504" y="211984"/>
                      </a:lnTo>
                      <a:lnTo>
                        <a:pt x="574942" y="212196"/>
                      </a:lnTo>
                      <a:lnTo>
                        <a:pt x="576080" y="212121"/>
                      </a:lnTo>
                      <a:lnTo>
                        <a:pt x="578911" y="211105"/>
                      </a:lnTo>
                      <a:lnTo>
                        <a:pt x="579969" y="210931"/>
                      </a:lnTo>
                      <a:lnTo>
                        <a:pt x="581285" y="211026"/>
                      </a:lnTo>
                      <a:lnTo>
                        <a:pt x="582768" y="211401"/>
                      </a:lnTo>
                      <a:lnTo>
                        <a:pt x="584962" y="212321"/>
                      </a:lnTo>
                      <a:lnTo>
                        <a:pt x="588203" y="213101"/>
                      </a:lnTo>
                      <a:lnTo>
                        <a:pt x="593141" y="215127"/>
                      </a:lnTo>
                      <a:lnTo>
                        <a:pt x="594772" y="215423"/>
                      </a:lnTo>
                      <a:lnTo>
                        <a:pt x="595970" y="215257"/>
                      </a:lnTo>
                      <a:lnTo>
                        <a:pt x="598822" y="213126"/>
                      </a:lnTo>
                      <a:lnTo>
                        <a:pt x="599717" y="212889"/>
                      </a:lnTo>
                      <a:lnTo>
                        <a:pt x="600783" y="212969"/>
                      </a:lnTo>
                      <a:lnTo>
                        <a:pt x="601811" y="213171"/>
                      </a:lnTo>
                      <a:lnTo>
                        <a:pt x="602940" y="213208"/>
                      </a:lnTo>
                      <a:lnTo>
                        <a:pt x="603862" y="212957"/>
                      </a:lnTo>
                      <a:lnTo>
                        <a:pt x="605520" y="212060"/>
                      </a:lnTo>
                      <a:lnTo>
                        <a:pt x="606429" y="211788"/>
                      </a:lnTo>
                      <a:lnTo>
                        <a:pt x="607498" y="211667"/>
                      </a:lnTo>
                      <a:lnTo>
                        <a:pt x="608648" y="211773"/>
                      </a:lnTo>
                      <a:lnTo>
                        <a:pt x="610100" y="212177"/>
                      </a:lnTo>
                      <a:lnTo>
                        <a:pt x="611643" y="212905"/>
                      </a:lnTo>
                      <a:lnTo>
                        <a:pt x="614089" y="214369"/>
                      </a:lnTo>
                      <a:lnTo>
                        <a:pt x="615497" y="214658"/>
                      </a:lnTo>
                      <a:lnTo>
                        <a:pt x="616676" y="214625"/>
                      </a:lnTo>
                      <a:lnTo>
                        <a:pt x="617519" y="214339"/>
                      </a:lnTo>
                      <a:lnTo>
                        <a:pt x="618541" y="214273"/>
                      </a:lnTo>
                      <a:lnTo>
                        <a:pt x="619652" y="214598"/>
                      </a:lnTo>
                      <a:lnTo>
                        <a:pt x="624621" y="216746"/>
                      </a:lnTo>
                      <a:lnTo>
                        <a:pt x="626003" y="216921"/>
                      </a:lnTo>
                      <a:lnTo>
                        <a:pt x="627182" y="216888"/>
                      </a:lnTo>
                      <a:lnTo>
                        <a:pt x="630012" y="216087"/>
                      </a:lnTo>
                      <a:lnTo>
                        <a:pt x="631246" y="216253"/>
                      </a:lnTo>
                      <a:lnTo>
                        <a:pt x="632565" y="216852"/>
                      </a:lnTo>
                      <a:lnTo>
                        <a:pt x="636338" y="219225"/>
                      </a:lnTo>
                      <a:lnTo>
                        <a:pt x="637186" y="219481"/>
                      </a:lnTo>
                      <a:lnTo>
                        <a:pt x="639592" y="219774"/>
                      </a:lnTo>
                      <a:lnTo>
                        <a:pt x="644480" y="219721"/>
                      </a:lnTo>
                      <a:lnTo>
                        <a:pt x="645632" y="219848"/>
                      </a:lnTo>
                      <a:lnTo>
                        <a:pt x="646790" y="220183"/>
                      </a:lnTo>
                      <a:lnTo>
                        <a:pt x="649360" y="221341"/>
                      </a:lnTo>
                      <a:lnTo>
                        <a:pt x="651774" y="222043"/>
                      </a:lnTo>
                      <a:lnTo>
                        <a:pt x="652973" y="222155"/>
                      </a:lnTo>
                      <a:lnTo>
                        <a:pt x="654094" y="222086"/>
                      </a:lnTo>
                      <a:lnTo>
                        <a:pt x="656195" y="221725"/>
                      </a:lnTo>
                      <a:lnTo>
                        <a:pt x="657298" y="221711"/>
                      </a:lnTo>
                      <a:lnTo>
                        <a:pt x="658380" y="222044"/>
                      </a:lnTo>
                      <a:lnTo>
                        <a:pt x="662208" y="224463"/>
                      </a:lnTo>
                      <a:lnTo>
                        <a:pt x="663156" y="224896"/>
                      </a:lnTo>
                      <a:lnTo>
                        <a:pt x="665408" y="225531"/>
                      </a:lnTo>
                      <a:lnTo>
                        <a:pt x="666742" y="226221"/>
                      </a:lnTo>
                      <a:lnTo>
                        <a:pt x="667964" y="227371"/>
                      </a:lnTo>
                      <a:lnTo>
                        <a:pt x="672212" y="234177"/>
                      </a:lnTo>
                      <a:lnTo>
                        <a:pt x="672850" y="235436"/>
                      </a:lnTo>
                      <a:lnTo>
                        <a:pt x="672863" y="236975"/>
                      </a:lnTo>
                      <a:lnTo>
                        <a:pt x="672462" y="237954"/>
                      </a:lnTo>
                      <a:lnTo>
                        <a:pt x="671978" y="238810"/>
                      </a:lnTo>
                      <a:lnTo>
                        <a:pt x="669241" y="242417"/>
                      </a:lnTo>
                      <a:lnTo>
                        <a:pt x="668798" y="243272"/>
                      </a:lnTo>
                      <a:lnTo>
                        <a:pt x="668510" y="244189"/>
                      </a:lnTo>
                      <a:lnTo>
                        <a:pt x="668563" y="245343"/>
                      </a:lnTo>
                      <a:lnTo>
                        <a:pt x="669066" y="246559"/>
                      </a:lnTo>
                      <a:lnTo>
                        <a:pt x="670570" y="248120"/>
                      </a:lnTo>
                      <a:lnTo>
                        <a:pt x="671723" y="248967"/>
                      </a:lnTo>
                      <a:lnTo>
                        <a:pt x="673894" y="249960"/>
                      </a:lnTo>
                      <a:lnTo>
                        <a:pt x="676054" y="250652"/>
                      </a:lnTo>
                      <a:lnTo>
                        <a:pt x="678436" y="251082"/>
                      </a:lnTo>
                      <a:lnTo>
                        <a:pt x="679628" y="251115"/>
                      </a:lnTo>
                      <a:lnTo>
                        <a:pt x="681804" y="250821"/>
                      </a:lnTo>
                      <a:lnTo>
                        <a:pt x="684623" y="249948"/>
                      </a:lnTo>
                      <a:lnTo>
                        <a:pt x="685435" y="249917"/>
                      </a:lnTo>
                      <a:lnTo>
                        <a:pt x="686059" y="250141"/>
                      </a:lnTo>
                      <a:lnTo>
                        <a:pt x="686476" y="250393"/>
                      </a:lnTo>
                      <a:lnTo>
                        <a:pt x="688329" y="252300"/>
                      </a:lnTo>
                      <a:lnTo>
                        <a:pt x="689002" y="252866"/>
                      </a:lnTo>
                      <a:lnTo>
                        <a:pt x="689809" y="253379"/>
                      </a:lnTo>
                      <a:lnTo>
                        <a:pt x="690759" y="253800"/>
                      </a:lnTo>
                      <a:lnTo>
                        <a:pt x="693138" y="254334"/>
                      </a:lnTo>
                      <a:lnTo>
                        <a:pt x="699278" y="254607"/>
                      </a:lnTo>
                      <a:lnTo>
                        <a:pt x="700404" y="254855"/>
                      </a:lnTo>
                      <a:lnTo>
                        <a:pt x="701350" y="255296"/>
                      </a:lnTo>
                      <a:lnTo>
                        <a:pt x="702157" y="255796"/>
                      </a:lnTo>
                      <a:lnTo>
                        <a:pt x="702831" y="256412"/>
                      </a:lnTo>
                      <a:lnTo>
                        <a:pt x="704665" y="258483"/>
                      </a:lnTo>
                      <a:lnTo>
                        <a:pt x="705411" y="259060"/>
                      </a:lnTo>
                      <a:lnTo>
                        <a:pt x="708954" y="261025"/>
                      </a:lnTo>
                      <a:lnTo>
                        <a:pt x="710454" y="262070"/>
                      </a:lnTo>
                      <a:lnTo>
                        <a:pt x="712396" y="264037"/>
                      </a:lnTo>
                      <a:lnTo>
                        <a:pt x="714492" y="265764"/>
                      </a:lnTo>
                      <a:lnTo>
                        <a:pt x="715437" y="266738"/>
                      </a:lnTo>
                      <a:lnTo>
                        <a:pt x="715698" y="267254"/>
                      </a:lnTo>
                      <a:lnTo>
                        <a:pt x="715725" y="267760"/>
                      </a:lnTo>
                      <a:lnTo>
                        <a:pt x="715446" y="268749"/>
                      </a:lnTo>
                      <a:lnTo>
                        <a:pt x="714872" y="269348"/>
                      </a:lnTo>
                      <a:lnTo>
                        <a:pt x="713490" y="270495"/>
                      </a:lnTo>
                      <a:lnTo>
                        <a:pt x="713227" y="271442"/>
                      </a:lnTo>
                      <a:lnTo>
                        <a:pt x="713455" y="272697"/>
                      </a:lnTo>
                      <a:lnTo>
                        <a:pt x="714588" y="274474"/>
                      </a:lnTo>
                      <a:lnTo>
                        <a:pt x="717320" y="277842"/>
                      </a:lnTo>
                      <a:lnTo>
                        <a:pt x="717878" y="278823"/>
                      </a:lnTo>
                      <a:lnTo>
                        <a:pt x="718284" y="280111"/>
                      </a:lnTo>
                      <a:lnTo>
                        <a:pt x="718471" y="282377"/>
                      </a:lnTo>
                      <a:lnTo>
                        <a:pt x="718251" y="283767"/>
                      </a:lnTo>
                      <a:lnTo>
                        <a:pt x="717802" y="284811"/>
                      </a:lnTo>
                      <a:lnTo>
                        <a:pt x="717166" y="285371"/>
                      </a:lnTo>
                      <a:lnTo>
                        <a:pt x="716335" y="285769"/>
                      </a:lnTo>
                      <a:lnTo>
                        <a:pt x="715396" y="286065"/>
                      </a:lnTo>
                      <a:lnTo>
                        <a:pt x="714807" y="286778"/>
                      </a:lnTo>
                      <a:lnTo>
                        <a:pt x="714823" y="288321"/>
                      </a:lnTo>
                      <a:lnTo>
                        <a:pt x="716429" y="291765"/>
                      </a:lnTo>
                      <a:lnTo>
                        <a:pt x="718097" y="297058"/>
                      </a:lnTo>
                      <a:lnTo>
                        <a:pt x="718237" y="298194"/>
                      </a:lnTo>
                      <a:lnTo>
                        <a:pt x="718213" y="298787"/>
                      </a:lnTo>
                      <a:lnTo>
                        <a:pt x="717978" y="299691"/>
                      </a:lnTo>
                      <a:lnTo>
                        <a:pt x="717357" y="301424"/>
                      </a:lnTo>
                      <a:lnTo>
                        <a:pt x="716437" y="303037"/>
                      </a:lnTo>
                      <a:lnTo>
                        <a:pt x="715906" y="303769"/>
                      </a:lnTo>
                      <a:lnTo>
                        <a:pt x="715300" y="304424"/>
                      </a:lnTo>
                      <a:lnTo>
                        <a:pt x="710959" y="307583"/>
                      </a:lnTo>
                      <a:lnTo>
                        <a:pt x="710397" y="308246"/>
                      </a:lnTo>
                      <a:lnTo>
                        <a:pt x="710121" y="309282"/>
                      </a:lnTo>
                      <a:lnTo>
                        <a:pt x="710143" y="310686"/>
                      </a:lnTo>
                      <a:lnTo>
                        <a:pt x="710695" y="312791"/>
                      </a:lnTo>
                      <a:lnTo>
                        <a:pt x="710750" y="314204"/>
                      </a:lnTo>
                      <a:lnTo>
                        <a:pt x="710572" y="315342"/>
                      </a:lnTo>
                      <a:lnTo>
                        <a:pt x="709243" y="319059"/>
                      </a:lnTo>
                      <a:lnTo>
                        <a:pt x="709173" y="320097"/>
                      </a:lnTo>
                      <a:lnTo>
                        <a:pt x="709659" y="321187"/>
                      </a:lnTo>
                      <a:lnTo>
                        <a:pt x="710622" y="322216"/>
                      </a:lnTo>
                      <a:lnTo>
                        <a:pt x="712854" y="323397"/>
                      </a:lnTo>
                      <a:lnTo>
                        <a:pt x="714243" y="323595"/>
                      </a:lnTo>
                      <a:lnTo>
                        <a:pt x="715334" y="323391"/>
                      </a:lnTo>
                      <a:lnTo>
                        <a:pt x="716906" y="322493"/>
                      </a:lnTo>
                      <a:lnTo>
                        <a:pt x="717828" y="322219"/>
                      </a:lnTo>
                      <a:lnTo>
                        <a:pt x="718902" y="322213"/>
                      </a:lnTo>
                      <a:lnTo>
                        <a:pt x="722207" y="322984"/>
                      </a:lnTo>
                      <a:lnTo>
                        <a:pt x="723411" y="323036"/>
                      </a:lnTo>
                      <a:lnTo>
                        <a:pt x="724479" y="322921"/>
                      </a:lnTo>
                      <a:lnTo>
                        <a:pt x="725463" y="322686"/>
                      </a:lnTo>
                      <a:lnTo>
                        <a:pt x="735346" y="317601"/>
                      </a:lnTo>
                      <a:lnTo>
                        <a:pt x="736223" y="317341"/>
                      </a:lnTo>
                      <a:lnTo>
                        <a:pt x="737216" y="317424"/>
                      </a:lnTo>
                      <a:lnTo>
                        <a:pt x="738106" y="317938"/>
                      </a:lnTo>
                      <a:lnTo>
                        <a:pt x="739067" y="318846"/>
                      </a:lnTo>
                      <a:lnTo>
                        <a:pt x="740386" y="320384"/>
                      </a:lnTo>
                      <a:lnTo>
                        <a:pt x="741435" y="321888"/>
                      </a:lnTo>
                      <a:lnTo>
                        <a:pt x="741711" y="322736"/>
                      </a:lnTo>
                      <a:lnTo>
                        <a:pt x="741744" y="323641"/>
                      </a:lnTo>
                      <a:lnTo>
                        <a:pt x="741179" y="324741"/>
                      </a:lnTo>
                      <a:lnTo>
                        <a:pt x="739234" y="326851"/>
                      </a:lnTo>
                      <a:lnTo>
                        <a:pt x="738193" y="328317"/>
                      </a:lnTo>
                      <a:lnTo>
                        <a:pt x="735335" y="335356"/>
                      </a:lnTo>
                      <a:lnTo>
                        <a:pt x="733205" y="342361"/>
                      </a:lnTo>
                      <a:lnTo>
                        <a:pt x="732892" y="344528"/>
                      </a:lnTo>
                      <a:lnTo>
                        <a:pt x="732771" y="350010"/>
                      </a:lnTo>
                      <a:lnTo>
                        <a:pt x="733051" y="351207"/>
                      </a:lnTo>
                      <a:lnTo>
                        <a:pt x="734179" y="352811"/>
                      </a:lnTo>
                      <a:lnTo>
                        <a:pt x="736529" y="355122"/>
                      </a:lnTo>
                      <a:lnTo>
                        <a:pt x="740110" y="357938"/>
                      </a:lnTo>
                      <a:lnTo>
                        <a:pt x="741692" y="359571"/>
                      </a:lnTo>
                      <a:lnTo>
                        <a:pt x="742574" y="360745"/>
                      </a:lnTo>
                      <a:lnTo>
                        <a:pt x="742957" y="361545"/>
                      </a:lnTo>
                      <a:lnTo>
                        <a:pt x="745493" y="363149"/>
                      </a:lnTo>
                      <a:lnTo>
                        <a:pt x="753759" y="365741"/>
                      </a:lnTo>
                      <a:lnTo>
                        <a:pt x="761652" y="368041"/>
                      </a:lnTo>
                      <a:lnTo>
                        <a:pt x="769421" y="368773"/>
                      </a:lnTo>
                      <a:lnTo>
                        <a:pt x="776898" y="369390"/>
                      </a:lnTo>
                      <a:lnTo>
                        <a:pt x="777855" y="360070"/>
                      </a:lnTo>
                      <a:lnTo>
                        <a:pt x="779431" y="347636"/>
                      </a:lnTo>
                      <a:lnTo>
                        <a:pt x="791721" y="340783"/>
                      </a:lnTo>
                      <a:lnTo>
                        <a:pt x="800433" y="332569"/>
                      </a:lnTo>
                      <a:lnTo>
                        <a:pt x="806266" y="326539"/>
                      </a:lnTo>
                      <a:lnTo>
                        <a:pt x="810312" y="320782"/>
                      </a:lnTo>
                      <a:lnTo>
                        <a:pt x="814386" y="313057"/>
                      </a:lnTo>
                      <a:lnTo>
                        <a:pt x="819142" y="305310"/>
                      </a:lnTo>
                      <a:lnTo>
                        <a:pt x="827677" y="305316"/>
                      </a:lnTo>
                      <a:lnTo>
                        <a:pt x="843080" y="304815"/>
                      </a:lnTo>
                      <a:lnTo>
                        <a:pt x="865346" y="303797"/>
                      </a:lnTo>
                      <a:lnTo>
                        <a:pt x="868441" y="304827"/>
                      </a:lnTo>
                      <a:lnTo>
                        <a:pt x="873169" y="307092"/>
                      </a:lnTo>
                      <a:lnTo>
                        <a:pt x="877904" y="309360"/>
                      </a:lnTo>
                      <a:lnTo>
                        <a:pt x="883550" y="311601"/>
                      </a:lnTo>
                      <a:lnTo>
                        <a:pt x="888393" y="313719"/>
                      </a:lnTo>
                      <a:lnTo>
                        <a:pt x="893195" y="315980"/>
                      </a:lnTo>
                      <a:lnTo>
                        <a:pt x="898099" y="318094"/>
                      </a:lnTo>
                      <a:lnTo>
                        <a:pt x="902773" y="320216"/>
                      </a:lnTo>
                      <a:lnTo>
                        <a:pt x="907447" y="322339"/>
                      </a:lnTo>
                      <a:lnTo>
                        <a:pt x="912357" y="324452"/>
                      </a:lnTo>
                      <a:lnTo>
                        <a:pt x="917034" y="326574"/>
                      </a:lnTo>
                      <a:lnTo>
                        <a:pt x="922180" y="328678"/>
                      </a:lnTo>
                      <a:lnTo>
                        <a:pt x="926993" y="330937"/>
                      </a:lnTo>
                      <a:lnTo>
                        <a:pt x="931293" y="332785"/>
                      </a:lnTo>
                      <a:lnTo>
                        <a:pt x="935976" y="334904"/>
                      </a:lnTo>
                      <a:lnTo>
                        <a:pt x="941316" y="336956"/>
                      </a:lnTo>
                      <a:lnTo>
                        <a:pt x="933130" y="344568"/>
                      </a:lnTo>
                      <a:lnTo>
                        <a:pt x="925441" y="350470"/>
                      </a:lnTo>
                      <a:lnTo>
                        <a:pt x="915676" y="358696"/>
                      </a:lnTo>
                      <a:lnTo>
                        <a:pt x="909472" y="365672"/>
                      </a:lnTo>
                      <a:lnTo>
                        <a:pt x="904722" y="371904"/>
                      </a:lnTo>
                      <a:lnTo>
                        <a:pt x="897273" y="380741"/>
                      </a:lnTo>
                      <a:lnTo>
                        <a:pt x="892086" y="388807"/>
                      </a:lnTo>
                      <a:lnTo>
                        <a:pt x="888414" y="397685"/>
                      </a:lnTo>
                      <a:lnTo>
                        <a:pt x="882964" y="406281"/>
                      </a:lnTo>
                      <a:lnTo>
                        <a:pt x="879752" y="419595"/>
                      </a:lnTo>
                      <a:lnTo>
                        <a:pt x="872551" y="440641"/>
                      </a:lnTo>
                      <a:lnTo>
                        <a:pt x="868458" y="455448"/>
                      </a:lnTo>
                      <a:lnTo>
                        <a:pt x="864547" y="472228"/>
                      </a:lnTo>
                      <a:lnTo>
                        <a:pt x="860908" y="489568"/>
                      </a:lnTo>
                      <a:lnTo>
                        <a:pt x="858958" y="504706"/>
                      </a:lnTo>
                      <a:lnTo>
                        <a:pt x="854156" y="524093"/>
                      </a:lnTo>
                      <a:lnTo>
                        <a:pt x="851680" y="540857"/>
                      </a:lnTo>
                      <a:lnTo>
                        <a:pt x="848699" y="558478"/>
                      </a:lnTo>
                      <a:lnTo>
                        <a:pt x="846620" y="575143"/>
                      </a:lnTo>
                      <a:lnTo>
                        <a:pt x="844499" y="593949"/>
                      </a:lnTo>
                      <a:lnTo>
                        <a:pt x="843673" y="611392"/>
                      </a:lnTo>
                      <a:lnTo>
                        <a:pt x="843246" y="627055"/>
                      </a:lnTo>
                      <a:lnTo>
                        <a:pt x="842916" y="643125"/>
                      </a:lnTo>
                      <a:lnTo>
                        <a:pt x="845014" y="655659"/>
                      </a:lnTo>
                      <a:lnTo>
                        <a:pt x="847221" y="668489"/>
                      </a:lnTo>
                      <a:lnTo>
                        <a:pt x="850708" y="685245"/>
                      </a:lnTo>
                      <a:lnTo>
                        <a:pt x="855506" y="705796"/>
                      </a:lnTo>
                      <a:lnTo>
                        <a:pt x="860414" y="727486"/>
                      </a:lnTo>
                      <a:lnTo>
                        <a:pt x="863865" y="743840"/>
                      </a:lnTo>
                      <a:lnTo>
                        <a:pt x="867265" y="759631"/>
                      </a:lnTo>
                      <a:lnTo>
                        <a:pt x="871554" y="777247"/>
                      </a:lnTo>
                      <a:lnTo>
                        <a:pt x="873974" y="790239"/>
                      </a:lnTo>
                      <a:lnTo>
                        <a:pt x="879210" y="812811"/>
                      </a:lnTo>
                      <a:lnTo>
                        <a:pt x="863495" y="813516"/>
                      </a:lnTo>
                      <a:lnTo>
                        <a:pt x="847297" y="814237"/>
                      </a:lnTo>
                      <a:lnTo>
                        <a:pt x="820622" y="815307"/>
                      </a:lnTo>
                      <a:lnTo>
                        <a:pt x="792766" y="816096"/>
                      </a:lnTo>
                      <a:lnTo>
                        <a:pt x="764903" y="816868"/>
                      </a:lnTo>
                      <a:lnTo>
                        <a:pt x="738955" y="817345"/>
                      </a:lnTo>
                      <a:lnTo>
                        <a:pt x="713004" y="817816"/>
                      </a:lnTo>
                      <a:lnTo>
                        <a:pt x="687058" y="818274"/>
                      </a:lnTo>
                      <a:lnTo>
                        <a:pt x="661101" y="818713"/>
                      </a:lnTo>
                      <a:lnTo>
                        <a:pt x="635139" y="819136"/>
                      </a:lnTo>
                      <a:lnTo>
                        <a:pt x="609176" y="819543"/>
                      </a:lnTo>
                      <a:lnTo>
                        <a:pt x="583215" y="819935"/>
                      </a:lnTo>
                      <a:lnTo>
                        <a:pt x="557247" y="820311"/>
                      </a:lnTo>
                      <a:lnTo>
                        <a:pt x="531277" y="820666"/>
                      </a:lnTo>
                      <a:lnTo>
                        <a:pt x="505304" y="821006"/>
                      </a:lnTo>
                      <a:lnTo>
                        <a:pt x="479325" y="821334"/>
                      </a:lnTo>
                      <a:lnTo>
                        <a:pt x="453348" y="821648"/>
                      </a:lnTo>
                      <a:lnTo>
                        <a:pt x="427369" y="821945"/>
                      </a:lnTo>
                      <a:lnTo>
                        <a:pt x="401391" y="822231"/>
                      </a:lnTo>
                      <a:lnTo>
                        <a:pt x="375410" y="822496"/>
                      </a:lnTo>
                      <a:lnTo>
                        <a:pt x="349425" y="822742"/>
                      </a:lnTo>
                      <a:lnTo>
                        <a:pt x="349385" y="822743"/>
                      </a:lnTo>
                      <a:lnTo>
                        <a:pt x="349339" y="822744"/>
                      </a:lnTo>
                      <a:lnTo>
                        <a:pt x="349303" y="822744"/>
                      </a:lnTo>
                      <a:lnTo>
                        <a:pt x="349260" y="822745"/>
                      </a:lnTo>
                      <a:lnTo>
                        <a:pt x="349221" y="822746"/>
                      </a:lnTo>
                      <a:lnTo>
                        <a:pt x="349182" y="822746"/>
                      </a:lnTo>
                      <a:lnTo>
                        <a:pt x="349142" y="822747"/>
                      </a:lnTo>
                      <a:lnTo>
                        <a:pt x="349102" y="822748"/>
                      </a:lnTo>
                      <a:lnTo>
                        <a:pt x="349060" y="822748"/>
                      </a:lnTo>
                      <a:lnTo>
                        <a:pt x="349021" y="822749"/>
                      </a:lnTo>
                      <a:lnTo>
                        <a:pt x="348985" y="822750"/>
                      </a:lnTo>
                      <a:lnTo>
                        <a:pt x="348942" y="822751"/>
                      </a:lnTo>
                      <a:lnTo>
                        <a:pt x="348899" y="822751"/>
                      </a:lnTo>
                      <a:lnTo>
                        <a:pt x="348863" y="822752"/>
                      </a:lnTo>
                      <a:lnTo>
                        <a:pt x="348828" y="822753"/>
                      </a:lnTo>
                      <a:lnTo>
                        <a:pt x="348784" y="822753"/>
                      </a:lnTo>
                      <a:lnTo>
                        <a:pt x="350426" y="819029"/>
                      </a:lnTo>
                      <a:lnTo>
                        <a:pt x="350670" y="817055"/>
                      </a:lnTo>
                      <a:lnTo>
                        <a:pt x="349312" y="814423"/>
                      </a:lnTo>
                      <a:lnTo>
                        <a:pt x="345352" y="809560"/>
                      </a:lnTo>
                      <a:lnTo>
                        <a:pt x="344050" y="807605"/>
                      </a:lnTo>
                      <a:lnTo>
                        <a:pt x="340815" y="800625"/>
                      </a:lnTo>
                      <a:lnTo>
                        <a:pt x="338380" y="798080"/>
                      </a:lnTo>
                      <a:lnTo>
                        <a:pt x="334882" y="797132"/>
                      </a:lnTo>
                      <a:lnTo>
                        <a:pt x="331417" y="796727"/>
                      </a:lnTo>
                      <a:lnTo>
                        <a:pt x="324614" y="794587"/>
                      </a:lnTo>
                      <a:lnTo>
                        <a:pt x="299404" y="790733"/>
                      </a:lnTo>
                      <a:lnTo>
                        <a:pt x="292850" y="788280"/>
                      </a:lnTo>
                      <a:lnTo>
                        <a:pt x="289448" y="786118"/>
                      </a:lnTo>
                      <a:lnTo>
                        <a:pt x="287507" y="783924"/>
                      </a:lnTo>
                      <a:lnTo>
                        <a:pt x="282093" y="775379"/>
                      </a:lnTo>
                      <a:lnTo>
                        <a:pt x="281398" y="772177"/>
                      </a:lnTo>
                      <a:lnTo>
                        <a:pt x="280579" y="764859"/>
                      </a:lnTo>
                      <a:lnTo>
                        <a:pt x="279543" y="761769"/>
                      </a:lnTo>
                      <a:lnTo>
                        <a:pt x="277988" y="759362"/>
                      </a:lnTo>
                      <a:lnTo>
                        <a:pt x="273590" y="754878"/>
                      </a:lnTo>
                      <a:lnTo>
                        <a:pt x="271854" y="751977"/>
                      </a:lnTo>
                      <a:lnTo>
                        <a:pt x="270942" y="748172"/>
                      </a:lnTo>
                      <a:lnTo>
                        <a:pt x="270356" y="740234"/>
                      </a:lnTo>
                      <a:lnTo>
                        <a:pt x="269582" y="738297"/>
                      </a:lnTo>
                      <a:lnTo>
                        <a:pt x="269206" y="736201"/>
                      </a:lnTo>
                      <a:lnTo>
                        <a:pt x="268814" y="729861"/>
                      </a:lnTo>
                      <a:lnTo>
                        <a:pt x="267391" y="724028"/>
                      </a:lnTo>
                      <a:lnTo>
                        <a:pt x="265995" y="711944"/>
                      </a:lnTo>
                      <a:lnTo>
                        <a:pt x="267330" y="705897"/>
                      </a:lnTo>
                      <a:lnTo>
                        <a:pt x="274559" y="696461"/>
                      </a:lnTo>
                      <a:lnTo>
                        <a:pt x="276996" y="691100"/>
                      </a:lnTo>
                      <a:lnTo>
                        <a:pt x="276416" y="684675"/>
                      </a:lnTo>
                      <a:lnTo>
                        <a:pt x="272655" y="680821"/>
                      </a:lnTo>
                      <a:lnTo>
                        <a:pt x="259944" y="676551"/>
                      </a:lnTo>
                      <a:lnTo>
                        <a:pt x="258188" y="675382"/>
                      </a:lnTo>
                      <a:lnTo>
                        <a:pt x="256978" y="673585"/>
                      </a:lnTo>
                      <a:lnTo>
                        <a:pt x="256096" y="668858"/>
                      </a:lnTo>
                      <a:lnTo>
                        <a:pt x="255536" y="667030"/>
                      </a:lnTo>
                      <a:lnTo>
                        <a:pt x="254728" y="665323"/>
                      </a:lnTo>
                      <a:lnTo>
                        <a:pt x="252557" y="661835"/>
                      </a:lnTo>
                      <a:lnTo>
                        <a:pt x="251738" y="659970"/>
                      </a:lnTo>
                      <a:lnTo>
                        <a:pt x="251199" y="657969"/>
                      </a:lnTo>
                      <a:lnTo>
                        <a:pt x="250956" y="655819"/>
                      </a:lnTo>
                      <a:lnTo>
                        <a:pt x="251055" y="653627"/>
                      </a:lnTo>
                      <a:lnTo>
                        <a:pt x="251090" y="653395"/>
                      </a:lnTo>
                      <a:lnTo>
                        <a:pt x="251721" y="649346"/>
                      </a:lnTo>
                      <a:lnTo>
                        <a:pt x="251838" y="647166"/>
                      </a:lnTo>
                      <a:lnTo>
                        <a:pt x="251539" y="644900"/>
                      </a:lnTo>
                      <a:lnTo>
                        <a:pt x="250457" y="640449"/>
                      </a:lnTo>
                      <a:lnTo>
                        <a:pt x="250236" y="638162"/>
                      </a:lnTo>
                      <a:lnTo>
                        <a:pt x="250560" y="632745"/>
                      </a:lnTo>
                      <a:lnTo>
                        <a:pt x="250412" y="630933"/>
                      </a:lnTo>
                      <a:lnTo>
                        <a:pt x="249096" y="626373"/>
                      </a:lnTo>
                      <a:lnTo>
                        <a:pt x="248984" y="624788"/>
                      </a:lnTo>
                      <a:lnTo>
                        <a:pt x="250253" y="615401"/>
                      </a:lnTo>
                      <a:lnTo>
                        <a:pt x="250071" y="612145"/>
                      </a:lnTo>
                      <a:lnTo>
                        <a:pt x="249473" y="608775"/>
                      </a:lnTo>
                      <a:lnTo>
                        <a:pt x="248897" y="607211"/>
                      </a:lnTo>
                      <a:lnTo>
                        <a:pt x="247926" y="605914"/>
                      </a:lnTo>
                      <a:lnTo>
                        <a:pt x="245850" y="603872"/>
                      </a:lnTo>
                      <a:lnTo>
                        <a:pt x="245012" y="602677"/>
                      </a:lnTo>
                      <a:lnTo>
                        <a:pt x="244364" y="601224"/>
                      </a:lnTo>
                      <a:lnTo>
                        <a:pt x="244002" y="599769"/>
                      </a:lnTo>
                      <a:lnTo>
                        <a:pt x="243828" y="598278"/>
                      </a:lnTo>
                      <a:lnTo>
                        <a:pt x="243933" y="593219"/>
                      </a:lnTo>
                      <a:lnTo>
                        <a:pt x="243621" y="589261"/>
                      </a:lnTo>
                      <a:lnTo>
                        <a:pt x="242729" y="585106"/>
                      </a:lnTo>
                      <a:lnTo>
                        <a:pt x="242030" y="583165"/>
                      </a:lnTo>
                      <a:lnTo>
                        <a:pt x="240996" y="581483"/>
                      </a:lnTo>
                      <a:lnTo>
                        <a:pt x="239490" y="580143"/>
                      </a:lnTo>
                      <a:lnTo>
                        <a:pt x="237525" y="579119"/>
                      </a:lnTo>
                      <a:lnTo>
                        <a:pt x="231279" y="577182"/>
                      </a:lnTo>
                      <a:lnTo>
                        <a:pt x="230039" y="574934"/>
                      </a:lnTo>
                      <a:lnTo>
                        <a:pt x="226530" y="571276"/>
                      </a:lnTo>
                      <a:lnTo>
                        <a:pt x="225387" y="568893"/>
                      </a:lnTo>
                      <a:lnTo>
                        <a:pt x="225059" y="567582"/>
                      </a:lnTo>
                      <a:lnTo>
                        <a:pt x="224635" y="566453"/>
                      </a:lnTo>
                      <a:lnTo>
                        <a:pt x="224003" y="565487"/>
                      </a:lnTo>
                      <a:lnTo>
                        <a:pt x="223033" y="564678"/>
                      </a:lnTo>
                      <a:lnTo>
                        <a:pt x="221273" y="563957"/>
                      </a:lnTo>
                      <a:lnTo>
                        <a:pt x="215994" y="563678"/>
                      </a:lnTo>
                      <a:lnTo>
                        <a:pt x="214756" y="563351"/>
                      </a:lnTo>
                      <a:lnTo>
                        <a:pt x="213658" y="562851"/>
                      </a:lnTo>
                      <a:lnTo>
                        <a:pt x="205227" y="557089"/>
                      </a:lnTo>
                      <a:lnTo>
                        <a:pt x="204385" y="556796"/>
                      </a:lnTo>
                      <a:lnTo>
                        <a:pt x="190492" y="556982"/>
                      </a:lnTo>
                      <a:lnTo>
                        <a:pt x="188679" y="556555"/>
                      </a:lnTo>
                      <a:lnTo>
                        <a:pt x="186847" y="555738"/>
                      </a:lnTo>
                      <a:lnTo>
                        <a:pt x="169620" y="542845"/>
                      </a:lnTo>
                      <a:lnTo>
                        <a:pt x="163961" y="540678"/>
                      </a:lnTo>
                      <a:lnTo>
                        <a:pt x="160976" y="537422"/>
                      </a:lnTo>
                      <a:lnTo>
                        <a:pt x="149367" y="519153"/>
                      </a:lnTo>
                      <a:lnTo>
                        <a:pt x="143581" y="511192"/>
                      </a:lnTo>
                      <a:lnTo>
                        <a:pt x="121018" y="494096"/>
                      </a:lnTo>
                      <a:lnTo>
                        <a:pt x="113269" y="491696"/>
                      </a:lnTo>
                      <a:lnTo>
                        <a:pt x="96502" y="489444"/>
                      </a:lnTo>
                      <a:lnTo>
                        <a:pt x="94553" y="488638"/>
                      </a:lnTo>
                      <a:lnTo>
                        <a:pt x="92960" y="487219"/>
                      </a:lnTo>
                      <a:lnTo>
                        <a:pt x="91688" y="485334"/>
                      </a:lnTo>
                      <a:lnTo>
                        <a:pt x="87705" y="477982"/>
                      </a:lnTo>
                      <a:lnTo>
                        <a:pt x="83419" y="473455"/>
                      </a:lnTo>
                      <a:lnTo>
                        <a:pt x="78431" y="470118"/>
                      </a:lnTo>
                      <a:lnTo>
                        <a:pt x="73335" y="468511"/>
                      </a:lnTo>
                      <a:lnTo>
                        <a:pt x="51003" y="465572"/>
                      </a:lnTo>
                      <a:lnTo>
                        <a:pt x="44698" y="462285"/>
                      </a:lnTo>
                      <a:lnTo>
                        <a:pt x="44033" y="461228"/>
                      </a:lnTo>
                      <a:lnTo>
                        <a:pt x="43296" y="459621"/>
                      </a:lnTo>
                      <a:lnTo>
                        <a:pt x="42365" y="458161"/>
                      </a:lnTo>
                      <a:lnTo>
                        <a:pt x="39781" y="456710"/>
                      </a:lnTo>
                      <a:lnTo>
                        <a:pt x="29450" y="448022"/>
                      </a:lnTo>
                      <a:lnTo>
                        <a:pt x="20494" y="443140"/>
                      </a:lnTo>
                      <a:lnTo>
                        <a:pt x="16574" y="440219"/>
                      </a:lnTo>
                      <a:lnTo>
                        <a:pt x="22080" y="429452"/>
                      </a:lnTo>
                      <a:lnTo>
                        <a:pt x="22851" y="424806"/>
                      </a:lnTo>
                      <a:lnTo>
                        <a:pt x="22705" y="422725"/>
                      </a:lnTo>
                      <a:lnTo>
                        <a:pt x="21614" y="417203"/>
                      </a:lnTo>
                      <a:lnTo>
                        <a:pt x="22008" y="415347"/>
                      </a:lnTo>
                      <a:lnTo>
                        <a:pt x="23901" y="412415"/>
                      </a:lnTo>
                      <a:lnTo>
                        <a:pt x="24321" y="411321"/>
                      </a:lnTo>
                      <a:lnTo>
                        <a:pt x="23437" y="403980"/>
                      </a:lnTo>
                      <a:lnTo>
                        <a:pt x="21873" y="396702"/>
                      </a:lnTo>
                      <a:lnTo>
                        <a:pt x="18211" y="389063"/>
                      </a:lnTo>
                      <a:lnTo>
                        <a:pt x="17155" y="385286"/>
                      </a:lnTo>
                      <a:lnTo>
                        <a:pt x="19040" y="383642"/>
                      </a:lnTo>
                      <a:lnTo>
                        <a:pt x="21907" y="382706"/>
                      </a:lnTo>
                      <a:lnTo>
                        <a:pt x="23654" y="380301"/>
                      </a:lnTo>
                      <a:lnTo>
                        <a:pt x="24344" y="376915"/>
                      </a:lnTo>
                      <a:lnTo>
                        <a:pt x="24035" y="373055"/>
                      </a:lnTo>
                      <a:lnTo>
                        <a:pt x="21375" y="367339"/>
                      </a:lnTo>
                      <a:lnTo>
                        <a:pt x="20698" y="366468"/>
                      </a:lnTo>
                      <a:lnTo>
                        <a:pt x="20893" y="364444"/>
                      </a:lnTo>
                      <a:lnTo>
                        <a:pt x="21672" y="360841"/>
                      </a:lnTo>
                      <a:lnTo>
                        <a:pt x="21573" y="353227"/>
                      </a:lnTo>
                      <a:lnTo>
                        <a:pt x="22027" y="350035"/>
                      </a:lnTo>
                      <a:lnTo>
                        <a:pt x="23122" y="347216"/>
                      </a:lnTo>
                      <a:lnTo>
                        <a:pt x="24991" y="345104"/>
                      </a:lnTo>
                      <a:lnTo>
                        <a:pt x="27152" y="343473"/>
                      </a:lnTo>
                      <a:lnTo>
                        <a:pt x="28914" y="341491"/>
                      </a:lnTo>
                      <a:lnTo>
                        <a:pt x="29564" y="338368"/>
                      </a:lnTo>
                      <a:lnTo>
                        <a:pt x="30375" y="334394"/>
                      </a:lnTo>
                      <a:lnTo>
                        <a:pt x="34247" y="328483"/>
                      </a:lnTo>
                      <a:lnTo>
                        <a:pt x="34754" y="325396"/>
                      </a:lnTo>
                      <a:lnTo>
                        <a:pt x="33967" y="322131"/>
                      </a:lnTo>
                      <a:lnTo>
                        <a:pt x="31858" y="319459"/>
                      </a:lnTo>
                      <a:lnTo>
                        <a:pt x="29219" y="317172"/>
                      </a:lnTo>
                      <a:lnTo>
                        <a:pt x="26686" y="314426"/>
                      </a:lnTo>
                      <a:lnTo>
                        <a:pt x="25526" y="311931"/>
                      </a:lnTo>
                      <a:lnTo>
                        <a:pt x="23233" y="305386"/>
                      </a:lnTo>
                      <a:lnTo>
                        <a:pt x="21545" y="302797"/>
                      </a:lnTo>
                      <a:lnTo>
                        <a:pt x="16041" y="301046"/>
                      </a:lnTo>
                      <a:lnTo>
                        <a:pt x="8986" y="301281"/>
                      </a:lnTo>
                      <a:lnTo>
                        <a:pt x="2814" y="300103"/>
                      </a:lnTo>
                      <a:lnTo>
                        <a:pt x="0" y="294108"/>
                      </a:lnTo>
                      <a:lnTo>
                        <a:pt x="521" y="281149"/>
                      </a:lnTo>
                      <a:lnTo>
                        <a:pt x="942" y="278283"/>
                      </a:lnTo>
                      <a:lnTo>
                        <a:pt x="2168" y="276189"/>
                      </a:lnTo>
                      <a:lnTo>
                        <a:pt x="13984" y="265896"/>
                      </a:lnTo>
                      <a:lnTo>
                        <a:pt x="17684" y="260773"/>
                      </a:lnTo>
                      <a:lnTo>
                        <a:pt x="16904" y="255805"/>
                      </a:lnTo>
                      <a:lnTo>
                        <a:pt x="22199" y="246495"/>
                      </a:lnTo>
                      <a:lnTo>
                        <a:pt x="25936" y="242207"/>
                      </a:lnTo>
                      <a:lnTo>
                        <a:pt x="30272" y="240379"/>
                      </a:lnTo>
                      <a:lnTo>
                        <a:pt x="32799" y="239766"/>
                      </a:lnTo>
                      <a:lnTo>
                        <a:pt x="40183" y="235588"/>
                      </a:lnTo>
                      <a:lnTo>
                        <a:pt x="43784" y="235027"/>
                      </a:lnTo>
                      <a:lnTo>
                        <a:pt x="44923" y="234471"/>
                      </a:lnTo>
                      <a:lnTo>
                        <a:pt x="45571" y="233733"/>
                      </a:lnTo>
                      <a:lnTo>
                        <a:pt x="47124" y="231348"/>
                      </a:lnTo>
                      <a:lnTo>
                        <a:pt x="47263" y="230837"/>
                      </a:lnTo>
                      <a:lnTo>
                        <a:pt x="47784" y="230464"/>
                      </a:lnTo>
                      <a:lnTo>
                        <a:pt x="48567" y="229653"/>
                      </a:lnTo>
                      <a:lnTo>
                        <a:pt x="49620" y="228839"/>
                      </a:lnTo>
                      <a:lnTo>
                        <a:pt x="50949" y="228456"/>
                      </a:lnTo>
                      <a:lnTo>
                        <a:pt x="56726" y="228385"/>
                      </a:lnTo>
                      <a:lnTo>
                        <a:pt x="58773" y="227412"/>
                      </a:lnTo>
                      <a:lnTo>
                        <a:pt x="61709" y="222861"/>
                      </a:lnTo>
                      <a:lnTo>
                        <a:pt x="63701" y="221301"/>
                      </a:lnTo>
                      <a:lnTo>
                        <a:pt x="66195" y="221407"/>
                      </a:lnTo>
                      <a:lnTo>
                        <a:pt x="69739" y="222021"/>
                      </a:lnTo>
                      <a:lnTo>
                        <a:pt x="72886" y="222115"/>
                      </a:lnTo>
                      <a:lnTo>
                        <a:pt x="74183" y="220638"/>
                      </a:lnTo>
                      <a:lnTo>
                        <a:pt x="74723" y="218298"/>
                      </a:lnTo>
                      <a:lnTo>
                        <a:pt x="76182" y="215976"/>
                      </a:lnTo>
                      <a:lnTo>
                        <a:pt x="78012" y="214063"/>
                      </a:lnTo>
                      <a:lnTo>
                        <a:pt x="79685" y="212927"/>
                      </a:lnTo>
                      <a:lnTo>
                        <a:pt x="82389" y="212417"/>
                      </a:lnTo>
                      <a:lnTo>
                        <a:pt x="82155" y="206788"/>
                      </a:lnTo>
                      <a:lnTo>
                        <a:pt x="82058" y="204291"/>
                      </a:lnTo>
                      <a:lnTo>
                        <a:pt x="81624" y="193474"/>
                      </a:lnTo>
                      <a:lnTo>
                        <a:pt x="81184" y="182664"/>
                      </a:lnTo>
                      <a:lnTo>
                        <a:pt x="80749" y="171853"/>
                      </a:lnTo>
                      <a:lnTo>
                        <a:pt x="80313" y="161044"/>
                      </a:lnTo>
                      <a:lnTo>
                        <a:pt x="79877" y="150237"/>
                      </a:lnTo>
                      <a:lnTo>
                        <a:pt x="79437" y="139433"/>
                      </a:lnTo>
                      <a:lnTo>
                        <a:pt x="78996" y="128632"/>
                      </a:lnTo>
                      <a:lnTo>
                        <a:pt x="78558" y="117841"/>
                      </a:lnTo>
                      <a:lnTo>
                        <a:pt x="78406" y="114092"/>
                      </a:lnTo>
                      <a:lnTo>
                        <a:pt x="78710" y="113522"/>
                      </a:lnTo>
                      <a:lnTo>
                        <a:pt x="79336" y="113601"/>
                      </a:lnTo>
                      <a:lnTo>
                        <a:pt x="81367" y="114211"/>
                      </a:lnTo>
                      <a:lnTo>
                        <a:pt x="83874" y="114361"/>
                      </a:lnTo>
                      <a:lnTo>
                        <a:pt x="86220" y="114188"/>
                      </a:lnTo>
                      <a:lnTo>
                        <a:pt x="88220" y="113694"/>
                      </a:lnTo>
                      <a:lnTo>
                        <a:pt x="88926" y="113260"/>
                      </a:lnTo>
                      <a:lnTo>
                        <a:pt x="89411" y="112729"/>
                      </a:lnTo>
                      <a:lnTo>
                        <a:pt x="89672" y="112276"/>
                      </a:lnTo>
                      <a:lnTo>
                        <a:pt x="89985" y="111522"/>
                      </a:lnTo>
                      <a:lnTo>
                        <a:pt x="90460" y="107170"/>
                      </a:lnTo>
                      <a:lnTo>
                        <a:pt x="90654" y="106119"/>
                      </a:lnTo>
                      <a:lnTo>
                        <a:pt x="91117" y="105230"/>
                      </a:lnTo>
                      <a:lnTo>
                        <a:pt x="91657" y="104524"/>
                      </a:lnTo>
                      <a:lnTo>
                        <a:pt x="92339" y="103965"/>
                      </a:lnTo>
                      <a:lnTo>
                        <a:pt x="93120" y="103637"/>
                      </a:lnTo>
                      <a:lnTo>
                        <a:pt x="95356" y="103087"/>
                      </a:lnTo>
                      <a:lnTo>
                        <a:pt x="96060" y="102636"/>
                      </a:lnTo>
                      <a:lnTo>
                        <a:pt x="96517" y="101968"/>
                      </a:lnTo>
                      <a:lnTo>
                        <a:pt x="97567" y="99074"/>
                      </a:lnTo>
                      <a:lnTo>
                        <a:pt x="98603" y="97519"/>
                      </a:lnTo>
                      <a:lnTo>
                        <a:pt x="100753" y="96049"/>
                      </a:lnTo>
                      <a:lnTo>
                        <a:pt x="102752" y="95181"/>
                      </a:lnTo>
                      <a:lnTo>
                        <a:pt x="107577" y="96719"/>
                      </a:lnTo>
                      <a:lnTo>
                        <a:pt x="114266" y="98863"/>
                      </a:lnTo>
                      <a:lnTo>
                        <a:pt x="123141" y="101694"/>
                      </a:lnTo>
                      <a:lnTo>
                        <a:pt x="128914" y="98751"/>
                      </a:lnTo>
                      <a:lnTo>
                        <a:pt x="136586" y="94833"/>
                      </a:lnTo>
                      <a:lnTo>
                        <a:pt x="144249" y="90910"/>
                      </a:lnTo>
                      <a:lnTo>
                        <a:pt x="151906" y="86994"/>
                      </a:lnTo>
                      <a:lnTo>
                        <a:pt x="159564" y="83072"/>
                      </a:lnTo>
                      <a:lnTo>
                        <a:pt x="167217" y="79144"/>
                      </a:lnTo>
                      <a:lnTo>
                        <a:pt x="174855" y="75220"/>
                      </a:lnTo>
                      <a:lnTo>
                        <a:pt x="182492" y="71294"/>
                      </a:lnTo>
                      <a:lnTo>
                        <a:pt x="190128" y="67365"/>
                      </a:lnTo>
                      <a:lnTo>
                        <a:pt x="203734" y="58951"/>
                      </a:lnTo>
                      <a:lnTo>
                        <a:pt x="217319" y="50546"/>
                      </a:lnTo>
                      <a:lnTo>
                        <a:pt x="230885" y="42132"/>
                      </a:lnTo>
                      <a:lnTo>
                        <a:pt x="244430" y="33710"/>
                      </a:lnTo>
                      <a:lnTo>
                        <a:pt x="257950" y="25288"/>
                      </a:lnTo>
                      <a:lnTo>
                        <a:pt x="271453" y="16865"/>
                      </a:lnTo>
                      <a:lnTo>
                        <a:pt x="284925" y="8426"/>
                      </a:lnTo>
                      <a:lnTo>
                        <a:pt x="298384" y="0"/>
                      </a:lnTo>
                      <a:lnTo>
                        <a:pt x="310346" y="227"/>
                      </a:lnTo>
                      <a:lnTo>
                        <a:pt x="322315" y="445"/>
                      </a:lnTo>
                      <a:lnTo>
                        <a:pt x="334285" y="668"/>
                      </a:lnTo>
                      <a:lnTo>
                        <a:pt x="346251" y="883"/>
                      </a:lnTo>
                      <a:lnTo>
                        <a:pt x="358222" y="1107"/>
                      </a:lnTo>
                      <a:lnTo>
                        <a:pt x="370188" y="1314"/>
                      </a:lnTo>
                      <a:lnTo>
                        <a:pt x="382159" y="1517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1" name="Freeform 173">
                  <a:extLst>
                    <a:ext uri="{FF2B5EF4-FFF2-40B4-BE49-F238E27FC236}">
                      <a16:creationId xmlns:a16="http://schemas.microsoft.com/office/drawing/2014/main" id="{CC975BC4-84D6-45C5-9BA2-54CE3625F829}"/>
                    </a:ext>
                  </a:extLst>
                </p:cNvPr>
                <p:cNvSpPr/>
                <p:nvPr>
                  <p:custDataLst>
                    <p:tags r:id="rId42"/>
                  </p:custDataLst>
                </p:nvPr>
              </p:nvSpPr>
              <p:spPr>
                <a:xfrm>
                  <a:off x="4656574" y="4211565"/>
                  <a:ext cx="481247" cy="41419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1796" h="612616">
                      <a:moveTo>
                        <a:pt x="283374" y="162043"/>
                      </a:moveTo>
                      <a:lnTo>
                        <a:pt x="302893" y="161071"/>
                      </a:lnTo>
                      <a:lnTo>
                        <a:pt x="322403" y="160094"/>
                      </a:lnTo>
                      <a:lnTo>
                        <a:pt x="341907" y="159101"/>
                      </a:lnTo>
                      <a:lnTo>
                        <a:pt x="361413" y="158099"/>
                      </a:lnTo>
                      <a:lnTo>
                        <a:pt x="380909" y="157094"/>
                      </a:lnTo>
                      <a:lnTo>
                        <a:pt x="400400" y="156079"/>
                      </a:lnTo>
                      <a:lnTo>
                        <a:pt x="419897" y="155052"/>
                      </a:lnTo>
                      <a:lnTo>
                        <a:pt x="439380" y="154017"/>
                      </a:lnTo>
                      <a:lnTo>
                        <a:pt x="452128" y="244033"/>
                      </a:lnTo>
                      <a:lnTo>
                        <a:pt x="452532" y="244534"/>
                      </a:lnTo>
                      <a:lnTo>
                        <a:pt x="453121" y="244534"/>
                      </a:lnTo>
                      <a:lnTo>
                        <a:pt x="454504" y="243791"/>
                      </a:lnTo>
                      <a:lnTo>
                        <a:pt x="456234" y="242527"/>
                      </a:lnTo>
                      <a:lnTo>
                        <a:pt x="470855" y="227901"/>
                      </a:lnTo>
                      <a:lnTo>
                        <a:pt x="471999" y="227486"/>
                      </a:lnTo>
                      <a:lnTo>
                        <a:pt x="478064" y="226200"/>
                      </a:lnTo>
                      <a:lnTo>
                        <a:pt x="479153" y="225652"/>
                      </a:lnTo>
                      <a:lnTo>
                        <a:pt x="479642" y="224917"/>
                      </a:lnTo>
                      <a:lnTo>
                        <a:pt x="480811" y="221094"/>
                      </a:lnTo>
                      <a:lnTo>
                        <a:pt x="481642" y="219522"/>
                      </a:lnTo>
                      <a:lnTo>
                        <a:pt x="483296" y="217547"/>
                      </a:lnTo>
                      <a:lnTo>
                        <a:pt x="487072" y="214368"/>
                      </a:lnTo>
                      <a:lnTo>
                        <a:pt x="493514" y="210561"/>
                      </a:lnTo>
                      <a:lnTo>
                        <a:pt x="494176" y="210015"/>
                      </a:lnTo>
                      <a:lnTo>
                        <a:pt x="494737" y="209323"/>
                      </a:lnTo>
                      <a:lnTo>
                        <a:pt x="496063" y="207062"/>
                      </a:lnTo>
                      <a:lnTo>
                        <a:pt x="498592" y="204866"/>
                      </a:lnTo>
                      <a:lnTo>
                        <a:pt x="499075" y="204333"/>
                      </a:lnTo>
                      <a:lnTo>
                        <a:pt x="499543" y="203668"/>
                      </a:lnTo>
                      <a:lnTo>
                        <a:pt x="499870" y="203041"/>
                      </a:lnTo>
                      <a:lnTo>
                        <a:pt x="500133" y="202411"/>
                      </a:lnTo>
                      <a:lnTo>
                        <a:pt x="501312" y="197869"/>
                      </a:lnTo>
                      <a:lnTo>
                        <a:pt x="501649" y="197084"/>
                      </a:lnTo>
                      <a:lnTo>
                        <a:pt x="502123" y="196302"/>
                      </a:lnTo>
                      <a:lnTo>
                        <a:pt x="502729" y="195719"/>
                      </a:lnTo>
                      <a:lnTo>
                        <a:pt x="508000" y="192765"/>
                      </a:lnTo>
                      <a:lnTo>
                        <a:pt x="509106" y="192527"/>
                      </a:lnTo>
                      <a:lnTo>
                        <a:pt x="510510" y="192578"/>
                      </a:lnTo>
                      <a:lnTo>
                        <a:pt x="513215" y="193340"/>
                      </a:lnTo>
                      <a:lnTo>
                        <a:pt x="515866" y="194534"/>
                      </a:lnTo>
                      <a:lnTo>
                        <a:pt x="519097" y="196857"/>
                      </a:lnTo>
                      <a:lnTo>
                        <a:pt x="520831" y="197616"/>
                      </a:lnTo>
                      <a:lnTo>
                        <a:pt x="522000" y="197760"/>
                      </a:lnTo>
                      <a:lnTo>
                        <a:pt x="523263" y="197623"/>
                      </a:lnTo>
                      <a:lnTo>
                        <a:pt x="524835" y="196849"/>
                      </a:lnTo>
                      <a:lnTo>
                        <a:pt x="525588" y="196180"/>
                      </a:lnTo>
                      <a:lnTo>
                        <a:pt x="526165" y="195443"/>
                      </a:lnTo>
                      <a:lnTo>
                        <a:pt x="527297" y="193183"/>
                      </a:lnTo>
                      <a:lnTo>
                        <a:pt x="534889" y="184326"/>
                      </a:lnTo>
                      <a:lnTo>
                        <a:pt x="536305" y="181942"/>
                      </a:lnTo>
                      <a:lnTo>
                        <a:pt x="537427" y="179494"/>
                      </a:lnTo>
                      <a:lnTo>
                        <a:pt x="537809" y="178889"/>
                      </a:lnTo>
                      <a:lnTo>
                        <a:pt x="538333" y="178259"/>
                      </a:lnTo>
                      <a:lnTo>
                        <a:pt x="538821" y="177782"/>
                      </a:lnTo>
                      <a:lnTo>
                        <a:pt x="539477" y="177353"/>
                      </a:lnTo>
                      <a:lnTo>
                        <a:pt x="540208" y="177048"/>
                      </a:lnTo>
                      <a:lnTo>
                        <a:pt x="542739" y="176385"/>
                      </a:lnTo>
                      <a:lnTo>
                        <a:pt x="543556" y="176015"/>
                      </a:lnTo>
                      <a:lnTo>
                        <a:pt x="543947" y="175539"/>
                      </a:lnTo>
                      <a:lnTo>
                        <a:pt x="543713" y="175058"/>
                      </a:lnTo>
                      <a:lnTo>
                        <a:pt x="542918" y="174085"/>
                      </a:lnTo>
                      <a:lnTo>
                        <a:pt x="542632" y="173348"/>
                      </a:lnTo>
                      <a:lnTo>
                        <a:pt x="542579" y="172433"/>
                      </a:lnTo>
                      <a:lnTo>
                        <a:pt x="542791" y="171490"/>
                      </a:lnTo>
                      <a:lnTo>
                        <a:pt x="543117" y="170659"/>
                      </a:lnTo>
                      <a:lnTo>
                        <a:pt x="544803" y="167506"/>
                      </a:lnTo>
                      <a:lnTo>
                        <a:pt x="545367" y="165994"/>
                      </a:lnTo>
                      <a:lnTo>
                        <a:pt x="545745" y="164549"/>
                      </a:lnTo>
                      <a:lnTo>
                        <a:pt x="546027" y="163880"/>
                      </a:lnTo>
                      <a:lnTo>
                        <a:pt x="546352" y="163287"/>
                      </a:lnTo>
                      <a:lnTo>
                        <a:pt x="546898" y="163071"/>
                      </a:lnTo>
                      <a:lnTo>
                        <a:pt x="547629" y="163168"/>
                      </a:lnTo>
                      <a:lnTo>
                        <a:pt x="548830" y="164003"/>
                      </a:lnTo>
                      <a:lnTo>
                        <a:pt x="549401" y="164689"/>
                      </a:lnTo>
                      <a:lnTo>
                        <a:pt x="550988" y="165996"/>
                      </a:lnTo>
                      <a:lnTo>
                        <a:pt x="552835" y="166932"/>
                      </a:lnTo>
                      <a:lnTo>
                        <a:pt x="553229" y="167543"/>
                      </a:lnTo>
                      <a:lnTo>
                        <a:pt x="553132" y="167959"/>
                      </a:lnTo>
                      <a:lnTo>
                        <a:pt x="552422" y="168254"/>
                      </a:lnTo>
                      <a:lnTo>
                        <a:pt x="551313" y="168986"/>
                      </a:lnTo>
                      <a:lnTo>
                        <a:pt x="551029" y="169404"/>
                      </a:lnTo>
                      <a:lnTo>
                        <a:pt x="550872" y="169876"/>
                      </a:lnTo>
                      <a:lnTo>
                        <a:pt x="550759" y="170545"/>
                      </a:lnTo>
                      <a:lnTo>
                        <a:pt x="550837" y="171255"/>
                      </a:lnTo>
                      <a:lnTo>
                        <a:pt x="550926" y="171726"/>
                      </a:lnTo>
                      <a:lnTo>
                        <a:pt x="551054" y="172022"/>
                      </a:lnTo>
                      <a:lnTo>
                        <a:pt x="551198" y="172227"/>
                      </a:lnTo>
                      <a:lnTo>
                        <a:pt x="552218" y="173253"/>
                      </a:lnTo>
                      <a:lnTo>
                        <a:pt x="552588" y="173505"/>
                      </a:lnTo>
                      <a:lnTo>
                        <a:pt x="553148" y="173794"/>
                      </a:lnTo>
                      <a:lnTo>
                        <a:pt x="559001" y="175939"/>
                      </a:lnTo>
                      <a:lnTo>
                        <a:pt x="561729" y="177364"/>
                      </a:lnTo>
                      <a:lnTo>
                        <a:pt x="562461" y="177908"/>
                      </a:lnTo>
                      <a:lnTo>
                        <a:pt x="563277" y="178413"/>
                      </a:lnTo>
                      <a:lnTo>
                        <a:pt x="567127" y="179317"/>
                      </a:lnTo>
                      <a:lnTo>
                        <a:pt x="579642" y="180540"/>
                      </a:lnTo>
                      <a:lnTo>
                        <a:pt x="579889" y="179845"/>
                      </a:lnTo>
                      <a:lnTo>
                        <a:pt x="584748" y="178080"/>
                      </a:lnTo>
                      <a:lnTo>
                        <a:pt x="595721" y="178844"/>
                      </a:lnTo>
                      <a:lnTo>
                        <a:pt x="599841" y="175420"/>
                      </a:lnTo>
                      <a:lnTo>
                        <a:pt x="600240" y="173599"/>
                      </a:lnTo>
                      <a:lnTo>
                        <a:pt x="599354" y="172730"/>
                      </a:lnTo>
                      <a:lnTo>
                        <a:pt x="596217" y="171972"/>
                      </a:lnTo>
                      <a:lnTo>
                        <a:pt x="596282" y="169460"/>
                      </a:lnTo>
                      <a:lnTo>
                        <a:pt x="598603" y="168676"/>
                      </a:lnTo>
                      <a:lnTo>
                        <a:pt x="601511" y="168477"/>
                      </a:lnTo>
                      <a:lnTo>
                        <a:pt x="603298" y="167678"/>
                      </a:lnTo>
                      <a:lnTo>
                        <a:pt x="598274" y="162625"/>
                      </a:lnTo>
                      <a:lnTo>
                        <a:pt x="599636" y="161643"/>
                      </a:lnTo>
                      <a:lnTo>
                        <a:pt x="600927" y="161457"/>
                      </a:lnTo>
                      <a:lnTo>
                        <a:pt x="603929" y="161756"/>
                      </a:lnTo>
                      <a:lnTo>
                        <a:pt x="605277" y="161524"/>
                      </a:lnTo>
                      <a:lnTo>
                        <a:pt x="608859" y="159545"/>
                      </a:lnTo>
                      <a:lnTo>
                        <a:pt x="611723" y="158737"/>
                      </a:lnTo>
                      <a:lnTo>
                        <a:pt x="617956" y="159596"/>
                      </a:lnTo>
                      <a:lnTo>
                        <a:pt x="620922" y="159363"/>
                      </a:lnTo>
                      <a:lnTo>
                        <a:pt x="621866" y="158447"/>
                      </a:lnTo>
                      <a:lnTo>
                        <a:pt x="623996" y="155141"/>
                      </a:lnTo>
                      <a:lnTo>
                        <a:pt x="625516" y="153764"/>
                      </a:lnTo>
                      <a:lnTo>
                        <a:pt x="629108" y="148615"/>
                      </a:lnTo>
                      <a:lnTo>
                        <a:pt x="630181" y="147731"/>
                      </a:lnTo>
                      <a:lnTo>
                        <a:pt x="631471" y="147037"/>
                      </a:lnTo>
                      <a:lnTo>
                        <a:pt x="633109" y="146441"/>
                      </a:lnTo>
                      <a:lnTo>
                        <a:pt x="640878" y="146510"/>
                      </a:lnTo>
                      <a:lnTo>
                        <a:pt x="648458" y="150173"/>
                      </a:lnTo>
                      <a:lnTo>
                        <a:pt x="661678" y="160116"/>
                      </a:lnTo>
                      <a:lnTo>
                        <a:pt x="664816" y="161707"/>
                      </a:lnTo>
                      <a:lnTo>
                        <a:pt x="668398" y="162635"/>
                      </a:lnTo>
                      <a:lnTo>
                        <a:pt x="671621" y="162579"/>
                      </a:lnTo>
                      <a:lnTo>
                        <a:pt x="673706" y="161183"/>
                      </a:lnTo>
                      <a:lnTo>
                        <a:pt x="675253" y="160616"/>
                      </a:lnTo>
                      <a:lnTo>
                        <a:pt x="679602" y="161452"/>
                      </a:lnTo>
                      <a:lnTo>
                        <a:pt x="680335" y="160798"/>
                      </a:lnTo>
                      <a:lnTo>
                        <a:pt x="680885" y="159421"/>
                      </a:lnTo>
                      <a:lnTo>
                        <a:pt x="682644" y="159037"/>
                      </a:lnTo>
                      <a:lnTo>
                        <a:pt x="684758" y="159283"/>
                      </a:lnTo>
                      <a:lnTo>
                        <a:pt x="686341" y="159784"/>
                      </a:lnTo>
                      <a:lnTo>
                        <a:pt x="688997" y="162340"/>
                      </a:lnTo>
                      <a:lnTo>
                        <a:pt x="688699" y="165089"/>
                      </a:lnTo>
                      <a:lnTo>
                        <a:pt x="686346" y="167378"/>
                      </a:lnTo>
                      <a:lnTo>
                        <a:pt x="682806" y="168481"/>
                      </a:lnTo>
                      <a:lnTo>
                        <a:pt x="684045" y="170356"/>
                      </a:lnTo>
                      <a:lnTo>
                        <a:pt x="687363" y="176817"/>
                      </a:lnTo>
                      <a:lnTo>
                        <a:pt x="688290" y="176763"/>
                      </a:lnTo>
                      <a:lnTo>
                        <a:pt x="688353" y="175058"/>
                      </a:lnTo>
                      <a:lnTo>
                        <a:pt x="688801" y="173093"/>
                      </a:lnTo>
                      <a:lnTo>
                        <a:pt x="689719" y="171857"/>
                      </a:lnTo>
                      <a:lnTo>
                        <a:pt x="691160" y="172302"/>
                      </a:lnTo>
                      <a:lnTo>
                        <a:pt x="692492" y="174236"/>
                      </a:lnTo>
                      <a:lnTo>
                        <a:pt x="692193" y="175577"/>
                      </a:lnTo>
                      <a:lnTo>
                        <a:pt x="691484" y="176646"/>
                      </a:lnTo>
                      <a:lnTo>
                        <a:pt x="691564" y="177787"/>
                      </a:lnTo>
                      <a:lnTo>
                        <a:pt x="693810" y="179747"/>
                      </a:lnTo>
                      <a:lnTo>
                        <a:pt x="696016" y="179645"/>
                      </a:lnTo>
                      <a:lnTo>
                        <a:pt x="698403" y="178776"/>
                      </a:lnTo>
                      <a:lnTo>
                        <a:pt x="701143" y="178438"/>
                      </a:lnTo>
                      <a:lnTo>
                        <a:pt x="701354" y="179640"/>
                      </a:lnTo>
                      <a:lnTo>
                        <a:pt x="699381" y="180303"/>
                      </a:lnTo>
                      <a:lnTo>
                        <a:pt x="698646" y="181729"/>
                      </a:lnTo>
                      <a:lnTo>
                        <a:pt x="698998" y="183648"/>
                      </a:lnTo>
                      <a:lnTo>
                        <a:pt x="700279" y="185774"/>
                      </a:lnTo>
                      <a:lnTo>
                        <a:pt x="697469" y="188202"/>
                      </a:lnTo>
                      <a:lnTo>
                        <a:pt x="699680" y="189800"/>
                      </a:lnTo>
                      <a:lnTo>
                        <a:pt x="707018" y="192106"/>
                      </a:lnTo>
                      <a:lnTo>
                        <a:pt x="708838" y="195007"/>
                      </a:lnTo>
                      <a:lnTo>
                        <a:pt x="708677" y="198289"/>
                      </a:lnTo>
                      <a:lnTo>
                        <a:pt x="708108" y="201646"/>
                      </a:lnTo>
                      <a:lnTo>
                        <a:pt x="708689" y="204811"/>
                      </a:lnTo>
                      <a:lnTo>
                        <a:pt x="711575" y="208107"/>
                      </a:lnTo>
                      <a:lnTo>
                        <a:pt x="711795" y="208181"/>
                      </a:lnTo>
                      <a:lnTo>
                        <a:pt x="711621" y="208855"/>
                      </a:lnTo>
                      <a:lnTo>
                        <a:pt x="711010" y="211061"/>
                      </a:lnTo>
                      <a:lnTo>
                        <a:pt x="708974" y="218364"/>
                      </a:lnTo>
                      <a:lnTo>
                        <a:pt x="707407" y="223930"/>
                      </a:lnTo>
                      <a:lnTo>
                        <a:pt x="705094" y="232183"/>
                      </a:lnTo>
                      <a:lnTo>
                        <a:pt x="703582" y="237510"/>
                      </a:lnTo>
                      <a:lnTo>
                        <a:pt x="702950" y="239767"/>
                      </a:lnTo>
                      <a:lnTo>
                        <a:pt x="702382" y="241961"/>
                      </a:lnTo>
                      <a:lnTo>
                        <a:pt x="700914" y="240991"/>
                      </a:lnTo>
                      <a:lnTo>
                        <a:pt x="699134" y="239921"/>
                      </a:lnTo>
                      <a:lnTo>
                        <a:pt x="689581" y="234149"/>
                      </a:lnTo>
                      <a:lnTo>
                        <a:pt x="680035" y="228381"/>
                      </a:lnTo>
                      <a:lnTo>
                        <a:pt x="670488" y="222614"/>
                      </a:lnTo>
                      <a:lnTo>
                        <a:pt x="660948" y="216842"/>
                      </a:lnTo>
                      <a:lnTo>
                        <a:pt x="651412" y="211078"/>
                      </a:lnTo>
                      <a:lnTo>
                        <a:pt x="641884" y="205301"/>
                      </a:lnTo>
                      <a:lnTo>
                        <a:pt x="632361" y="199527"/>
                      </a:lnTo>
                      <a:lnTo>
                        <a:pt x="622841" y="193763"/>
                      </a:lnTo>
                      <a:lnTo>
                        <a:pt x="620169" y="192159"/>
                      </a:lnTo>
                      <a:lnTo>
                        <a:pt x="618270" y="193305"/>
                      </a:lnTo>
                      <a:lnTo>
                        <a:pt x="616662" y="196478"/>
                      </a:lnTo>
                      <a:lnTo>
                        <a:pt x="616189" y="198256"/>
                      </a:lnTo>
                      <a:lnTo>
                        <a:pt x="616084" y="199705"/>
                      </a:lnTo>
                      <a:lnTo>
                        <a:pt x="616450" y="201475"/>
                      </a:lnTo>
                      <a:lnTo>
                        <a:pt x="618239" y="206702"/>
                      </a:lnTo>
                      <a:lnTo>
                        <a:pt x="618616" y="208506"/>
                      </a:lnTo>
                      <a:lnTo>
                        <a:pt x="618694" y="210578"/>
                      </a:lnTo>
                      <a:lnTo>
                        <a:pt x="618616" y="211645"/>
                      </a:lnTo>
                      <a:lnTo>
                        <a:pt x="618242" y="213491"/>
                      </a:lnTo>
                      <a:lnTo>
                        <a:pt x="616702" y="216990"/>
                      </a:lnTo>
                      <a:lnTo>
                        <a:pt x="613079" y="223280"/>
                      </a:lnTo>
                      <a:lnTo>
                        <a:pt x="612717" y="224073"/>
                      </a:lnTo>
                      <a:lnTo>
                        <a:pt x="612510" y="224903"/>
                      </a:lnTo>
                      <a:lnTo>
                        <a:pt x="612457" y="225769"/>
                      </a:lnTo>
                      <a:lnTo>
                        <a:pt x="612589" y="226538"/>
                      </a:lnTo>
                      <a:lnTo>
                        <a:pt x="612792" y="227316"/>
                      </a:lnTo>
                      <a:lnTo>
                        <a:pt x="613075" y="228064"/>
                      </a:lnTo>
                      <a:lnTo>
                        <a:pt x="613549" y="229906"/>
                      </a:lnTo>
                      <a:lnTo>
                        <a:pt x="613667" y="230931"/>
                      </a:lnTo>
                      <a:lnTo>
                        <a:pt x="613650" y="231951"/>
                      </a:lnTo>
                      <a:lnTo>
                        <a:pt x="613133" y="234798"/>
                      </a:lnTo>
                      <a:lnTo>
                        <a:pt x="613032" y="235867"/>
                      </a:lnTo>
                      <a:lnTo>
                        <a:pt x="613023" y="236935"/>
                      </a:lnTo>
                      <a:lnTo>
                        <a:pt x="613232" y="237894"/>
                      </a:lnTo>
                      <a:lnTo>
                        <a:pt x="613523" y="238784"/>
                      </a:lnTo>
                      <a:lnTo>
                        <a:pt x="614589" y="241292"/>
                      </a:lnTo>
                      <a:lnTo>
                        <a:pt x="614809" y="242121"/>
                      </a:lnTo>
                      <a:lnTo>
                        <a:pt x="614878" y="242972"/>
                      </a:lnTo>
                      <a:lnTo>
                        <a:pt x="614736" y="243686"/>
                      </a:lnTo>
                      <a:lnTo>
                        <a:pt x="614181" y="244684"/>
                      </a:lnTo>
                      <a:lnTo>
                        <a:pt x="610236" y="250460"/>
                      </a:lnTo>
                      <a:lnTo>
                        <a:pt x="604950" y="255126"/>
                      </a:lnTo>
                      <a:lnTo>
                        <a:pt x="600088" y="261975"/>
                      </a:lnTo>
                      <a:lnTo>
                        <a:pt x="598223" y="265855"/>
                      </a:lnTo>
                      <a:lnTo>
                        <a:pt x="598044" y="266559"/>
                      </a:lnTo>
                      <a:lnTo>
                        <a:pt x="598025" y="267207"/>
                      </a:lnTo>
                      <a:lnTo>
                        <a:pt x="598315" y="267858"/>
                      </a:lnTo>
                      <a:lnTo>
                        <a:pt x="598530" y="268527"/>
                      </a:lnTo>
                      <a:lnTo>
                        <a:pt x="598578" y="269215"/>
                      </a:lnTo>
                      <a:lnTo>
                        <a:pt x="597994" y="270688"/>
                      </a:lnTo>
                      <a:lnTo>
                        <a:pt x="594900" y="275494"/>
                      </a:lnTo>
                      <a:lnTo>
                        <a:pt x="594033" y="276314"/>
                      </a:lnTo>
                      <a:lnTo>
                        <a:pt x="592860" y="277094"/>
                      </a:lnTo>
                      <a:lnTo>
                        <a:pt x="590553" y="278018"/>
                      </a:lnTo>
                      <a:lnTo>
                        <a:pt x="589018" y="278385"/>
                      </a:lnTo>
                      <a:lnTo>
                        <a:pt x="587834" y="278927"/>
                      </a:lnTo>
                      <a:lnTo>
                        <a:pt x="587118" y="279647"/>
                      </a:lnTo>
                      <a:lnTo>
                        <a:pt x="586436" y="281138"/>
                      </a:lnTo>
                      <a:lnTo>
                        <a:pt x="585352" y="284337"/>
                      </a:lnTo>
                      <a:lnTo>
                        <a:pt x="584555" y="285877"/>
                      </a:lnTo>
                      <a:lnTo>
                        <a:pt x="583799" y="286695"/>
                      </a:lnTo>
                      <a:lnTo>
                        <a:pt x="582766" y="287523"/>
                      </a:lnTo>
                      <a:lnTo>
                        <a:pt x="579553" y="289152"/>
                      </a:lnTo>
                      <a:lnTo>
                        <a:pt x="578385" y="289480"/>
                      </a:lnTo>
                      <a:lnTo>
                        <a:pt x="577436" y="289583"/>
                      </a:lnTo>
                      <a:lnTo>
                        <a:pt x="576666" y="289434"/>
                      </a:lnTo>
                      <a:lnTo>
                        <a:pt x="575960" y="289000"/>
                      </a:lnTo>
                      <a:lnTo>
                        <a:pt x="575384" y="288433"/>
                      </a:lnTo>
                      <a:lnTo>
                        <a:pt x="574864" y="287754"/>
                      </a:lnTo>
                      <a:lnTo>
                        <a:pt x="574298" y="287150"/>
                      </a:lnTo>
                      <a:lnTo>
                        <a:pt x="573734" y="286748"/>
                      </a:lnTo>
                      <a:lnTo>
                        <a:pt x="572973" y="286772"/>
                      </a:lnTo>
                      <a:lnTo>
                        <a:pt x="572220" y="287299"/>
                      </a:lnTo>
                      <a:lnTo>
                        <a:pt x="569553" y="292084"/>
                      </a:lnTo>
                      <a:lnTo>
                        <a:pt x="565920" y="298575"/>
                      </a:lnTo>
                      <a:lnTo>
                        <a:pt x="561620" y="306246"/>
                      </a:lnTo>
                      <a:lnTo>
                        <a:pt x="558185" y="312378"/>
                      </a:lnTo>
                      <a:lnTo>
                        <a:pt x="557497" y="313296"/>
                      </a:lnTo>
                      <a:lnTo>
                        <a:pt x="556694" y="313877"/>
                      </a:lnTo>
                      <a:lnTo>
                        <a:pt x="555573" y="313659"/>
                      </a:lnTo>
                      <a:lnTo>
                        <a:pt x="549682" y="310530"/>
                      </a:lnTo>
                      <a:lnTo>
                        <a:pt x="542566" y="306755"/>
                      </a:lnTo>
                      <a:lnTo>
                        <a:pt x="537676" y="304158"/>
                      </a:lnTo>
                      <a:lnTo>
                        <a:pt x="536835" y="304155"/>
                      </a:lnTo>
                      <a:lnTo>
                        <a:pt x="536181" y="304828"/>
                      </a:lnTo>
                      <a:lnTo>
                        <a:pt x="531049" y="313066"/>
                      </a:lnTo>
                      <a:lnTo>
                        <a:pt x="530249" y="314731"/>
                      </a:lnTo>
                      <a:lnTo>
                        <a:pt x="529802" y="316195"/>
                      </a:lnTo>
                      <a:lnTo>
                        <a:pt x="529732" y="317126"/>
                      </a:lnTo>
                      <a:lnTo>
                        <a:pt x="529473" y="318181"/>
                      </a:lnTo>
                      <a:lnTo>
                        <a:pt x="528963" y="319435"/>
                      </a:lnTo>
                      <a:lnTo>
                        <a:pt x="526868" y="322999"/>
                      </a:lnTo>
                      <a:lnTo>
                        <a:pt x="526391" y="324421"/>
                      </a:lnTo>
                      <a:lnTo>
                        <a:pt x="526219" y="325561"/>
                      </a:lnTo>
                      <a:lnTo>
                        <a:pt x="526215" y="335582"/>
                      </a:lnTo>
                      <a:lnTo>
                        <a:pt x="526076" y="336270"/>
                      </a:lnTo>
                      <a:lnTo>
                        <a:pt x="525508" y="337081"/>
                      </a:lnTo>
                      <a:lnTo>
                        <a:pt x="524516" y="338014"/>
                      </a:lnTo>
                      <a:lnTo>
                        <a:pt x="522437" y="339407"/>
                      </a:lnTo>
                      <a:lnTo>
                        <a:pt x="521020" y="340605"/>
                      </a:lnTo>
                      <a:lnTo>
                        <a:pt x="519701" y="342127"/>
                      </a:lnTo>
                      <a:lnTo>
                        <a:pt x="518676" y="344176"/>
                      </a:lnTo>
                      <a:lnTo>
                        <a:pt x="518228" y="345506"/>
                      </a:lnTo>
                      <a:lnTo>
                        <a:pt x="517948" y="346614"/>
                      </a:lnTo>
                      <a:lnTo>
                        <a:pt x="517455" y="352501"/>
                      </a:lnTo>
                      <a:lnTo>
                        <a:pt x="517305" y="353012"/>
                      </a:lnTo>
                      <a:lnTo>
                        <a:pt x="517294" y="353325"/>
                      </a:lnTo>
                      <a:lnTo>
                        <a:pt x="517182" y="353981"/>
                      </a:lnTo>
                      <a:lnTo>
                        <a:pt x="517132" y="354487"/>
                      </a:lnTo>
                      <a:lnTo>
                        <a:pt x="515872" y="360667"/>
                      </a:lnTo>
                      <a:lnTo>
                        <a:pt x="515267" y="362468"/>
                      </a:lnTo>
                      <a:lnTo>
                        <a:pt x="514534" y="364107"/>
                      </a:lnTo>
                      <a:lnTo>
                        <a:pt x="512359" y="367696"/>
                      </a:lnTo>
                      <a:lnTo>
                        <a:pt x="509420" y="372553"/>
                      </a:lnTo>
                      <a:lnTo>
                        <a:pt x="505104" y="379671"/>
                      </a:lnTo>
                      <a:lnTo>
                        <a:pt x="504532" y="380308"/>
                      </a:lnTo>
                      <a:lnTo>
                        <a:pt x="503765" y="380800"/>
                      </a:lnTo>
                      <a:lnTo>
                        <a:pt x="502632" y="380768"/>
                      </a:lnTo>
                      <a:lnTo>
                        <a:pt x="492724" y="378393"/>
                      </a:lnTo>
                      <a:lnTo>
                        <a:pt x="484365" y="376388"/>
                      </a:lnTo>
                      <a:lnTo>
                        <a:pt x="477172" y="374661"/>
                      </a:lnTo>
                      <a:lnTo>
                        <a:pt x="469757" y="372876"/>
                      </a:lnTo>
                      <a:lnTo>
                        <a:pt x="469296" y="372696"/>
                      </a:lnTo>
                      <a:lnTo>
                        <a:pt x="469076" y="372551"/>
                      </a:lnTo>
                      <a:lnTo>
                        <a:pt x="469149" y="371887"/>
                      </a:lnTo>
                      <a:lnTo>
                        <a:pt x="469572" y="370491"/>
                      </a:lnTo>
                      <a:lnTo>
                        <a:pt x="469638" y="369850"/>
                      </a:lnTo>
                      <a:lnTo>
                        <a:pt x="469564" y="369299"/>
                      </a:lnTo>
                      <a:lnTo>
                        <a:pt x="469446" y="368975"/>
                      </a:lnTo>
                      <a:lnTo>
                        <a:pt x="468969" y="368228"/>
                      </a:lnTo>
                      <a:lnTo>
                        <a:pt x="461559" y="358741"/>
                      </a:lnTo>
                      <a:lnTo>
                        <a:pt x="460988" y="358159"/>
                      </a:lnTo>
                      <a:lnTo>
                        <a:pt x="460459" y="357774"/>
                      </a:lnTo>
                      <a:lnTo>
                        <a:pt x="460053" y="357582"/>
                      </a:lnTo>
                      <a:lnTo>
                        <a:pt x="446717" y="353912"/>
                      </a:lnTo>
                      <a:lnTo>
                        <a:pt x="445773" y="353934"/>
                      </a:lnTo>
                      <a:lnTo>
                        <a:pt x="444914" y="354723"/>
                      </a:lnTo>
                      <a:lnTo>
                        <a:pt x="444292" y="356133"/>
                      </a:lnTo>
                      <a:lnTo>
                        <a:pt x="443793" y="359206"/>
                      </a:lnTo>
                      <a:lnTo>
                        <a:pt x="443750" y="360925"/>
                      </a:lnTo>
                      <a:lnTo>
                        <a:pt x="443872" y="362349"/>
                      </a:lnTo>
                      <a:lnTo>
                        <a:pt x="444086" y="363258"/>
                      </a:lnTo>
                      <a:lnTo>
                        <a:pt x="444220" y="364239"/>
                      </a:lnTo>
                      <a:lnTo>
                        <a:pt x="444035" y="365267"/>
                      </a:lnTo>
                      <a:lnTo>
                        <a:pt x="443587" y="366582"/>
                      </a:lnTo>
                      <a:lnTo>
                        <a:pt x="441327" y="370399"/>
                      </a:lnTo>
                      <a:lnTo>
                        <a:pt x="441259" y="370836"/>
                      </a:lnTo>
                      <a:lnTo>
                        <a:pt x="441230" y="373386"/>
                      </a:lnTo>
                      <a:lnTo>
                        <a:pt x="442171" y="380775"/>
                      </a:lnTo>
                      <a:lnTo>
                        <a:pt x="441985" y="381782"/>
                      </a:lnTo>
                      <a:lnTo>
                        <a:pt x="441471" y="382900"/>
                      </a:lnTo>
                      <a:lnTo>
                        <a:pt x="439460" y="386011"/>
                      </a:lnTo>
                      <a:lnTo>
                        <a:pt x="438839" y="387603"/>
                      </a:lnTo>
                      <a:lnTo>
                        <a:pt x="438122" y="392922"/>
                      </a:lnTo>
                      <a:lnTo>
                        <a:pt x="437588" y="393911"/>
                      </a:lnTo>
                      <a:lnTo>
                        <a:pt x="436176" y="394901"/>
                      </a:lnTo>
                      <a:lnTo>
                        <a:pt x="433351" y="396067"/>
                      </a:lnTo>
                      <a:lnTo>
                        <a:pt x="432841" y="396707"/>
                      </a:lnTo>
                      <a:lnTo>
                        <a:pt x="432469" y="397680"/>
                      </a:lnTo>
                      <a:lnTo>
                        <a:pt x="432100" y="399325"/>
                      </a:lnTo>
                      <a:lnTo>
                        <a:pt x="431484" y="400835"/>
                      </a:lnTo>
                      <a:lnTo>
                        <a:pt x="430248" y="402731"/>
                      </a:lnTo>
                      <a:lnTo>
                        <a:pt x="429643" y="404001"/>
                      </a:lnTo>
                      <a:lnTo>
                        <a:pt x="429590" y="405678"/>
                      </a:lnTo>
                      <a:lnTo>
                        <a:pt x="429948" y="406715"/>
                      </a:lnTo>
                      <a:lnTo>
                        <a:pt x="430845" y="408413"/>
                      </a:lnTo>
                      <a:lnTo>
                        <a:pt x="431171" y="409191"/>
                      </a:lnTo>
                      <a:lnTo>
                        <a:pt x="431392" y="410082"/>
                      </a:lnTo>
                      <a:lnTo>
                        <a:pt x="431180" y="411216"/>
                      </a:lnTo>
                      <a:lnTo>
                        <a:pt x="430652" y="412374"/>
                      </a:lnTo>
                      <a:lnTo>
                        <a:pt x="428452" y="414969"/>
                      </a:lnTo>
                      <a:lnTo>
                        <a:pt x="425367" y="417204"/>
                      </a:lnTo>
                      <a:lnTo>
                        <a:pt x="424059" y="418492"/>
                      </a:lnTo>
                      <a:lnTo>
                        <a:pt x="421295" y="422508"/>
                      </a:lnTo>
                      <a:lnTo>
                        <a:pt x="415101" y="428860"/>
                      </a:lnTo>
                      <a:lnTo>
                        <a:pt x="414701" y="429713"/>
                      </a:lnTo>
                      <a:lnTo>
                        <a:pt x="414513" y="430645"/>
                      </a:lnTo>
                      <a:lnTo>
                        <a:pt x="414697" y="432029"/>
                      </a:lnTo>
                      <a:lnTo>
                        <a:pt x="415362" y="433792"/>
                      </a:lnTo>
                      <a:lnTo>
                        <a:pt x="415331" y="434943"/>
                      </a:lnTo>
                      <a:lnTo>
                        <a:pt x="413387" y="445013"/>
                      </a:lnTo>
                      <a:lnTo>
                        <a:pt x="410755" y="451551"/>
                      </a:lnTo>
                      <a:lnTo>
                        <a:pt x="407037" y="460793"/>
                      </a:lnTo>
                      <a:lnTo>
                        <a:pt x="402915" y="466110"/>
                      </a:lnTo>
                      <a:lnTo>
                        <a:pt x="395813" y="475250"/>
                      </a:lnTo>
                      <a:lnTo>
                        <a:pt x="390305" y="482343"/>
                      </a:lnTo>
                      <a:lnTo>
                        <a:pt x="385758" y="488182"/>
                      </a:lnTo>
                      <a:lnTo>
                        <a:pt x="380230" y="495283"/>
                      </a:lnTo>
                      <a:lnTo>
                        <a:pt x="380072" y="495859"/>
                      </a:lnTo>
                      <a:lnTo>
                        <a:pt x="379426" y="499991"/>
                      </a:lnTo>
                      <a:lnTo>
                        <a:pt x="379055" y="501263"/>
                      </a:lnTo>
                      <a:lnTo>
                        <a:pt x="375794" y="508906"/>
                      </a:lnTo>
                      <a:lnTo>
                        <a:pt x="371596" y="518756"/>
                      </a:lnTo>
                      <a:lnTo>
                        <a:pt x="371161" y="520578"/>
                      </a:lnTo>
                      <a:lnTo>
                        <a:pt x="371381" y="521219"/>
                      </a:lnTo>
                      <a:lnTo>
                        <a:pt x="371573" y="521613"/>
                      </a:lnTo>
                      <a:lnTo>
                        <a:pt x="371936" y="521983"/>
                      </a:lnTo>
                      <a:lnTo>
                        <a:pt x="374099" y="523574"/>
                      </a:lnTo>
                      <a:lnTo>
                        <a:pt x="375925" y="524559"/>
                      </a:lnTo>
                      <a:lnTo>
                        <a:pt x="380645" y="526406"/>
                      </a:lnTo>
                      <a:lnTo>
                        <a:pt x="381427" y="527047"/>
                      </a:lnTo>
                      <a:lnTo>
                        <a:pt x="382015" y="527948"/>
                      </a:lnTo>
                      <a:lnTo>
                        <a:pt x="382389" y="529545"/>
                      </a:lnTo>
                      <a:lnTo>
                        <a:pt x="382196" y="530640"/>
                      </a:lnTo>
                      <a:lnTo>
                        <a:pt x="381782" y="531515"/>
                      </a:lnTo>
                      <a:lnTo>
                        <a:pt x="380522" y="532770"/>
                      </a:lnTo>
                      <a:lnTo>
                        <a:pt x="377614" y="534779"/>
                      </a:lnTo>
                      <a:lnTo>
                        <a:pt x="375239" y="536016"/>
                      </a:lnTo>
                      <a:lnTo>
                        <a:pt x="374314" y="536641"/>
                      </a:lnTo>
                      <a:lnTo>
                        <a:pt x="373278" y="537515"/>
                      </a:lnTo>
                      <a:lnTo>
                        <a:pt x="371928" y="539125"/>
                      </a:lnTo>
                      <a:lnTo>
                        <a:pt x="371392" y="540358"/>
                      </a:lnTo>
                      <a:lnTo>
                        <a:pt x="371171" y="541501"/>
                      </a:lnTo>
                      <a:lnTo>
                        <a:pt x="371299" y="542356"/>
                      </a:lnTo>
                      <a:lnTo>
                        <a:pt x="371564" y="543176"/>
                      </a:lnTo>
                      <a:lnTo>
                        <a:pt x="372038" y="543879"/>
                      </a:lnTo>
                      <a:lnTo>
                        <a:pt x="372709" y="544412"/>
                      </a:lnTo>
                      <a:lnTo>
                        <a:pt x="374622" y="545395"/>
                      </a:lnTo>
                      <a:lnTo>
                        <a:pt x="375357" y="546151"/>
                      </a:lnTo>
                      <a:lnTo>
                        <a:pt x="375575" y="548047"/>
                      </a:lnTo>
                      <a:lnTo>
                        <a:pt x="375177" y="549086"/>
                      </a:lnTo>
                      <a:lnTo>
                        <a:pt x="374595" y="549900"/>
                      </a:lnTo>
                      <a:lnTo>
                        <a:pt x="357270" y="560485"/>
                      </a:lnTo>
                      <a:lnTo>
                        <a:pt x="353182" y="564480"/>
                      </a:lnTo>
                      <a:lnTo>
                        <a:pt x="352299" y="565129"/>
                      </a:lnTo>
                      <a:lnTo>
                        <a:pt x="351501" y="565388"/>
                      </a:lnTo>
                      <a:lnTo>
                        <a:pt x="350738" y="565467"/>
                      </a:lnTo>
                      <a:lnTo>
                        <a:pt x="349871" y="565372"/>
                      </a:lnTo>
                      <a:lnTo>
                        <a:pt x="349170" y="565062"/>
                      </a:lnTo>
                      <a:lnTo>
                        <a:pt x="348502" y="564524"/>
                      </a:lnTo>
                      <a:lnTo>
                        <a:pt x="347960" y="563819"/>
                      </a:lnTo>
                      <a:lnTo>
                        <a:pt x="347595" y="562998"/>
                      </a:lnTo>
                      <a:lnTo>
                        <a:pt x="347409" y="562121"/>
                      </a:lnTo>
                      <a:lnTo>
                        <a:pt x="347236" y="560552"/>
                      </a:lnTo>
                      <a:lnTo>
                        <a:pt x="347013" y="559911"/>
                      </a:lnTo>
                      <a:lnTo>
                        <a:pt x="346694" y="559249"/>
                      </a:lnTo>
                      <a:lnTo>
                        <a:pt x="346057" y="558610"/>
                      </a:lnTo>
                      <a:lnTo>
                        <a:pt x="344482" y="558314"/>
                      </a:lnTo>
                      <a:lnTo>
                        <a:pt x="343323" y="558285"/>
                      </a:lnTo>
                      <a:lnTo>
                        <a:pt x="339754" y="558815"/>
                      </a:lnTo>
                      <a:lnTo>
                        <a:pt x="336339" y="560068"/>
                      </a:lnTo>
                      <a:lnTo>
                        <a:pt x="330312" y="563138"/>
                      </a:lnTo>
                      <a:lnTo>
                        <a:pt x="323287" y="566695"/>
                      </a:lnTo>
                      <a:lnTo>
                        <a:pt x="316930" y="570839"/>
                      </a:lnTo>
                      <a:lnTo>
                        <a:pt x="310540" y="575007"/>
                      </a:lnTo>
                      <a:lnTo>
                        <a:pt x="309840" y="575339"/>
                      </a:lnTo>
                      <a:lnTo>
                        <a:pt x="308685" y="575613"/>
                      </a:lnTo>
                      <a:lnTo>
                        <a:pt x="308100" y="575600"/>
                      </a:lnTo>
                      <a:lnTo>
                        <a:pt x="307604" y="575367"/>
                      </a:lnTo>
                      <a:lnTo>
                        <a:pt x="307110" y="574912"/>
                      </a:lnTo>
                      <a:lnTo>
                        <a:pt x="306709" y="574257"/>
                      </a:lnTo>
                      <a:lnTo>
                        <a:pt x="306242" y="573662"/>
                      </a:lnTo>
                      <a:lnTo>
                        <a:pt x="305567" y="573206"/>
                      </a:lnTo>
                      <a:lnTo>
                        <a:pt x="304736" y="572931"/>
                      </a:lnTo>
                      <a:lnTo>
                        <a:pt x="301962" y="572541"/>
                      </a:lnTo>
                      <a:lnTo>
                        <a:pt x="301233" y="572165"/>
                      </a:lnTo>
                      <a:lnTo>
                        <a:pt x="300846" y="571571"/>
                      </a:lnTo>
                      <a:lnTo>
                        <a:pt x="300609" y="570162"/>
                      </a:lnTo>
                      <a:lnTo>
                        <a:pt x="300280" y="569700"/>
                      </a:lnTo>
                      <a:lnTo>
                        <a:pt x="299709" y="569357"/>
                      </a:lnTo>
                      <a:lnTo>
                        <a:pt x="299186" y="569185"/>
                      </a:lnTo>
                      <a:lnTo>
                        <a:pt x="294815" y="568498"/>
                      </a:lnTo>
                      <a:lnTo>
                        <a:pt x="293417" y="568492"/>
                      </a:lnTo>
                      <a:lnTo>
                        <a:pt x="291927" y="568733"/>
                      </a:lnTo>
                      <a:lnTo>
                        <a:pt x="289916" y="569553"/>
                      </a:lnTo>
                      <a:lnTo>
                        <a:pt x="288831" y="570341"/>
                      </a:lnTo>
                      <a:lnTo>
                        <a:pt x="288092" y="571155"/>
                      </a:lnTo>
                      <a:lnTo>
                        <a:pt x="287666" y="572025"/>
                      </a:lnTo>
                      <a:lnTo>
                        <a:pt x="287400" y="572949"/>
                      </a:lnTo>
                      <a:lnTo>
                        <a:pt x="287229" y="573962"/>
                      </a:lnTo>
                      <a:lnTo>
                        <a:pt x="287274" y="574981"/>
                      </a:lnTo>
                      <a:lnTo>
                        <a:pt x="287487" y="575957"/>
                      </a:lnTo>
                      <a:lnTo>
                        <a:pt x="287882" y="576798"/>
                      </a:lnTo>
                      <a:lnTo>
                        <a:pt x="290677" y="580488"/>
                      </a:lnTo>
                      <a:lnTo>
                        <a:pt x="290924" y="581488"/>
                      </a:lnTo>
                      <a:lnTo>
                        <a:pt x="290896" y="582723"/>
                      </a:lnTo>
                      <a:lnTo>
                        <a:pt x="290158" y="584592"/>
                      </a:lnTo>
                      <a:lnTo>
                        <a:pt x="289423" y="585667"/>
                      </a:lnTo>
                      <a:lnTo>
                        <a:pt x="288708" y="586477"/>
                      </a:lnTo>
                      <a:lnTo>
                        <a:pt x="279308" y="592413"/>
                      </a:lnTo>
                      <a:lnTo>
                        <a:pt x="278278" y="592689"/>
                      </a:lnTo>
                      <a:lnTo>
                        <a:pt x="277382" y="592550"/>
                      </a:lnTo>
                      <a:lnTo>
                        <a:pt x="275005" y="590951"/>
                      </a:lnTo>
                      <a:lnTo>
                        <a:pt x="273782" y="590832"/>
                      </a:lnTo>
                      <a:lnTo>
                        <a:pt x="272306" y="591033"/>
                      </a:lnTo>
                      <a:lnTo>
                        <a:pt x="268354" y="593188"/>
                      </a:lnTo>
                      <a:lnTo>
                        <a:pt x="267051" y="593650"/>
                      </a:lnTo>
                      <a:lnTo>
                        <a:pt x="251337" y="596248"/>
                      </a:lnTo>
                      <a:lnTo>
                        <a:pt x="239666" y="602751"/>
                      </a:lnTo>
                      <a:lnTo>
                        <a:pt x="238001" y="603220"/>
                      </a:lnTo>
                      <a:lnTo>
                        <a:pt x="237567" y="603035"/>
                      </a:lnTo>
                      <a:lnTo>
                        <a:pt x="237161" y="602761"/>
                      </a:lnTo>
                      <a:lnTo>
                        <a:pt x="236723" y="602265"/>
                      </a:lnTo>
                      <a:lnTo>
                        <a:pt x="235981" y="601012"/>
                      </a:lnTo>
                      <a:lnTo>
                        <a:pt x="235481" y="600409"/>
                      </a:lnTo>
                      <a:lnTo>
                        <a:pt x="234799" y="599831"/>
                      </a:lnTo>
                      <a:lnTo>
                        <a:pt x="233436" y="598928"/>
                      </a:lnTo>
                      <a:lnTo>
                        <a:pt x="224739" y="594587"/>
                      </a:lnTo>
                      <a:lnTo>
                        <a:pt x="223955" y="594070"/>
                      </a:lnTo>
                      <a:lnTo>
                        <a:pt x="222946" y="593194"/>
                      </a:lnTo>
                      <a:lnTo>
                        <a:pt x="219365" y="589303"/>
                      </a:lnTo>
                      <a:lnTo>
                        <a:pt x="218651" y="588708"/>
                      </a:lnTo>
                      <a:lnTo>
                        <a:pt x="217637" y="588194"/>
                      </a:lnTo>
                      <a:lnTo>
                        <a:pt x="216325" y="587999"/>
                      </a:lnTo>
                      <a:lnTo>
                        <a:pt x="214401" y="588212"/>
                      </a:lnTo>
                      <a:lnTo>
                        <a:pt x="213201" y="588980"/>
                      </a:lnTo>
                      <a:lnTo>
                        <a:pt x="212549" y="589768"/>
                      </a:lnTo>
                      <a:lnTo>
                        <a:pt x="212206" y="590521"/>
                      </a:lnTo>
                      <a:lnTo>
                        <a:pt x="211503" y="593484"/>
                      </a:lnTo>
                      <a:lnTo>
                        <a:pt x="211029" y="594771"/>
                      </a:lnTo>
                      <a:lnTo>
                        <a:pt x="210298" y="596170"/>
                      </a:lnTo>
                      <a:lnTo>
                        <a:pt x="208724" y="598220"/>
                      </a:lnTo>
                      <a:lnTo>
                        <a:pt x="207586" y="599207"/>
                      </a:lnTo>
                      <a:lnTo>
                        <a:pt x="206535" y="599790"/>
                      </a:lnTo>
                      <a:lnTo>
                        <a:pt x="200480" y="600664"/>
                      </a:lnTo>
                      <a:lnTo>
                        <a:pt x="198227" y="601389"/>
                      </a:lnTo>
                      <a:lnTo>
                        <a:pt x="197032" y="602018"/>
                      </a:lnTo>
                      <a:lnTo>
                        <a:pt x="196104" y="602704"/>
                      </a:lnTo>
                      <a:lnTo>
                        <a:pt x="189142" y="610947"/>
                      </a:lnTo>
                      <a:lnTo>
                        <a:pt x="188041" y="611740"/>
                      </a:lnTo>
                      <a:lnTo>
                        <a:pt x="187054" y="612195"/>
                      </a:lnTo>
                      <a:lnTo>
                        <a:pt x="183415" y="612615"/>
                      </a:lnTo>
                      <a:lnTo>
                        <a:pt x="173947" y="612202"/>
                      </a:lnTo>
                      <a:lnTo>
                        <a:pt x="172018" y="611785"/>
                      </a:lnTo>
                      <a:lnTo>
                        <a:pt x="167850" y="609394"/>
                      </a:lnTo>
                      <a:lnTo>
                        <a:pt x="162016" y="607034"/>
                      </a:lnTo>
                      <a:lnTo>
                        <a:pt x="161196" y="606514"/>
                      </a:lnTo>
                      <a:lnTo>
                        <a:pt x="159740" y="605296"/>
                      </a:lnTo>
                      <a:lnTo>
                        <a:pt x="157319" y="602484"/>
                      </a:lnTo>
                      <a:lnTo>
                        <a:pt x="156671" y="601865"/>
                      </a:lnTo>
                      <a:lnTo>
                        <a:pt x="155908" y="601286"/>
                      </a:lnTo>
                      <a:lnTo>
                        <a:pt x="155034" y="600768"/>
                      </a:lnTo>
                      <a:lnTo>
                        <a:pt x="154094" y="600400"/>
                      </a:lnTo>
                      <a:lnTo>
                        <a:pt x="152679" y="600022"/>
                      </a:lnTo>
                      <a:lnTo>
                        <a:pt x="149266" y="599853"/>
                      </a:lnTo>
                      <a:lnTo>
                        <a:pt x="147123" y="599974"/>
                      </a:lnTo>
                      <a:lnTo>
                        <a:pt x="145150" y="599857"/>
                      </a:lnTo>
                      <a:lnTo>
                        <a:pt x="144550" y="599757"/>
                      </a:lnTo>
                      <a:lnTo>
                        <a:pt x="142653" y="598831"/>
                      </a:lnTo>
                      <a:lnTo>
                        <a:pt x="141112" y="597642"/>
                      </a:lnTo>
                      <a:lnTo>
                        <a:pt x="140494" y="596984"/>
                      </a:lnTo>
                      <a:lnTo>
                        <a:pt x="139964" y="596277"/>
                      </a:lnTo>
                      <a:lnTo>
                        <a:pt x="138159" y="593015"/>
                      </a:lnTo>
                      <a:lnTo>
                        <a:pt x="137617" y="592301"/>
                      </a:lnTo>
                      <a:lnTo>
                        <a:pt x="136980" y="591659"/>
                      </a:lnTo>
                      <a:lnTo>
                        <a:pt x="135375" y="590570"/>
                      </a:lnTo>
                      <a:lnTo>
                        <a:pt x="127410" y="586131"/>
                      </a:lnTo>
                      <a:lnTo>
                        <a:pt x="126674" y="585529"/>
                      </a:lnTo>
                      <a:lnTo>
                        <a:pt x="126081" y="584813"/>
                      </a:lnTo>
                      <a:lnTo>
                        <a:pt x="125654" y="583985"/>
                      </a:lnTo>
                      <a:lnTo>
                        <a:pt x="125426" y="583058"/>
                      </a:lnTo>
                      <a:lnTo>
                        <a:pt x="125347" y="582017"/>
                      </a:lnTo>
                      <a:lnTo>
                        <a:pt x="125372" y="577756"/>
                      </a:lnTo>
                      <a:lnTo>
                        <a:pt x="125290" y="576737"/>
                      </a:lnTo>
                      <a:lnTo>
                        <a:pt x="125086" y="575844"/>
                      </a:lnTo>
                      <a:lnTo>
                        <a:pt x="124800" y="574924"/>
                      </a:lnTo>
                      <a:lnTo>
                        <a:pt x="124409" y="574087"/>
                      </a:lnTo>
                      <a:lnTo>
                        <a:pt x="123923" y="573362"/>
                      </a:lnTo>
                      <a:lnTo>
                        <a:pt x="123352" y="572757"/>
                      </a:lnTo>
                      <a:lnTo>
                        <a:pt x="122725" y="572264"/>
                      </a:lnTo>
                      <a:lnTo>
                        <a:pt x="116827" y="569252"/>
                      </a:lnTo>
                      <a:lnTo>
                        <a:pt x="116134" y="568679"/>
                      </a:lnTo>
                      <a:lnTo>
                        <a:pt x="115730" y="567967"/>
                      </a:lnTo>
                      <a:lnTo>
                        <a:pt x="115583" y="567172"/>
                      </a:lnTo>
                      <a:lnTo>
                        <a:pt x="115870" y="566337"/>
                      </a:lnTo>
                      <a:lnTo>
                        <a:pt x="116304" y="565682"/>
                      </a:lnTo>
                      <a:lnTo>
                        <a:pt x="119666" y="562856"/>
                      </a:lnTo>
                      <a:lnTo>
                        <a:pt x="119746" y="562705"/>
                      </a:lnTo>
                      <a:lnTo>
                        <a:pt x="119892" y="562343"/>
                      </a:lnTo>
                      <a:lnTo>
                        <a:pt x="120026" y="561610"/>
                      </a:lnTo>
                      <a:lnTo>
                        <a:pt x="120084" y="560659"/>
                      </a:lnTo>
                      <a:lnTo>
                        <a:pt x="119949" y="559677"/>
                      </a:lnTo>
                      <a:lnTo>
                        <a:pt x="119615" y="558785"/>
                      </a:lnTo>
                      <a:lnTo>
                        <a:pt x="119077" y="557942"/>
                      </a:lnTo>
                      <a:lnTo>
                        <a:pt x="118571" y="557339"/>
                      </a:lnTo>
                      <a:lnTo>
                        <a:pt x="117075" y="556127"/>
                      </a:lnTo>
                      <a:lnTo>
                        <a:pt x="114021" y="554804"/>
                      </a:lnTo>
                      <a:lnTo>
                        <a:pt x="112305" y="554702"/>
                      </a:lnTo>
                      <a:lnTo>
                        <a:pt x="107846" y="555872"/>
                      </a:lnTo>
                      <a:lnTo>
                        <a:pt x="105953" y="555774"/>
                      </a:lnTo>
                      <a:lnTo>
                        <a:pt x="93333" y="552734"/>
                      </a:lnTo>
                      <a:lnTo>
                        <a:pt x="91129" y="551725"/>
                      </a:lnTo>
                      <a:lnTo>
                        <a:pt x="89939" y="550726"/>
                      </a:lnTo>
                      <a:lnTo>
                        <a:pt x="89934" y="549783"/>
                      </a:lnTo>
                      <a:lnTo>
                        <a:pt x="89828" y="548800"/>
                      </a:lnTo>
                      <a:lnTo>
                        <a:pt x="89543" y="547885"/>
                      </a:lnTo>
                      <a:lnTo>
                        <a:pt x="89078" y="547081"/>
                      </a:lnTo>
                      <a:lnTo>
                        <a:pt x="88480" y="546378"/>
                      </a:lnTo>
                      <a:lnTo>
                        <a:pt x="87100" y="545106"/>
                      </a:lnTo>
                      <a:lnTo>
                        <a:pt x="81825" y="541363"/>
                      </a:lnTo>
                      <a:lnTo>
                        <a:pt x="80611" y="541166"/>
                      </a:lnTo>
                      <a:lnTo>
                        <a:pt x="79834" y="541471"/>
                      </a:lnTo>
                      <a:lnTo>
                        <a:pt x="79249" y="541824"/>
                      </a:lnTo>
                      <a:lnTo>
                        <a:pt x="78776" y="541515"/>
                      </a:lnTo>
                      <a:lnTo>
                        <a:pt x="75471" y="537854"/>
                      </a:lnTo>
                      <a:lnTo>
                        <a:pt x="73830" y="536567"/>
                      </a:lnTo>
                      <a:lnTo>
                        <a:pt x="72584" y="535869"/>
                      </a:lnTo>
                      <a:lnTo>
                        <a:pt x="71298" y="535330"/>
                      </a:lnTo>
                      <a:lnTo>
                        <a:pt x="65082" y="533524"/>
                      </a:lnTo>
                      <a:lnTo>
                        <a:pt x="63654" y="532757"/>
                      </a:lnTo>
                      <a:lnTo>
                        <a:pt x="62803" y="531827"/>
                      </a:lnTo>
                      <a:lnTo>
                        <a:pt x="61793" y="529236"/>
                      </a:lnTo>
                      <a:lnTo>
                        <a:pt x="58845" y="523485"/>
                      </a:lnTo>
                      <a:lnTo>
                        <a:pt x="58536" y="522584"/>
                      </a:lnTo>
                      <a:lnTo>
                        <a:pt x="58380" y="521617"/>
                      </a:lnTo>
                      <a:lnTo>
                        <a:pt x="57077" y="519788"/>
                      </a:lnTo>
                      <a:lnTo>
                        <a:pt x="54842" y="517366"/>
                      </a:lnTo>
                      <a:lnTo>
                        <a:pt x="44051" y="508735"/>
                      </a:lnTo>
                      <a:lnTo>
                        <a:pt x="43549" y="508029"/>
                      </a:lnTo>
                      <a:lnTo>
                        <a:pt x="43112" y="507239"/>
                      </a:lnTo>
                      <a:lnTo>
                        <a:pt x="42395" y="505476"/>
                      </a:lnTo>
                      <a:lnTo>
                        <a:pt x="40954" y="499831"/>
                      </a:lnTo>
                      <a:lnTo>
                        <a:pt x="40534" y="498697"/>
                      </a:lnTo>
                      <a:lnTo>
                        <a:pt x="39845" y="497471"/>
                      </a:lnTo>
                      <a:lnTo>
                        <a:pt x="38482" y="495702"/>
                      </a:lnTo>
                      <a:lnTo>
                        <a:pt x="37463" y="494723"/>
                      </a:lnTo>
                      <a:lnTo>
                        <a:pt x="36512" y="493983"/>
                      </a:lnTo>
                      <a:lnTo>
                        <a:pt x="29799" y="490166"/>
                      </a:lnTo>
                      <a:lnTo>
                        <a:pt x="28875" y="489240"/>
                      </a:lnTo>
                      <a:lnTo>
                        <a:pt x="28630" y="488398"/>
                      </a:lnTo>
                      <a:lnTo>
                        <a:pt x="28844" y="487870"/>
                      </a:lnTo>
                      <a:lnTo>
                        <a:pt x="30422" y="485021"/>
                      </a:lnTo>
                      <a:lnTo>
                        <a:pt x="30719" y="484257"/>
                      </a:lnTo>
                      <a:lnTo>
                        <a:pt x="30722" y="483600"/>
                      </a:lnTo>
                      <a:lnTo>
                        <a:pt x="30429" y="482661"/>
                      </a:lnTo>
                      <a:lnTo>
                        <a:pt x="29716" y="481337"/>
                      </a:lnTo>
                      <a:lnTo>
                        <a:pt x="28803" y="480323"/>
                      </a:lnTo>
                      <a:lnTo>
                        <a:pt x="28146" y="479728"/>
                      </a:lnTo>
                      <a:lnTo>
                        <a:pt x="18923" y="473308"/>
                      </a:lnTo>
                      <a:lnTo>
                        <a:pt x="17703" y="472113"/>
                      </a:lnTo>
                      <a:lnTo>
                        <a:pt x="16802" y="470516"/>
                      </a:lnTo>
                      <a:lnTo>
                        <a:pt x="15678" y="468003"/>
                      </a:lnTo>
                      <a:lnTo>
                        <a:pt x="14648" y="466514"/>
                      </a:lnTo>
                      <a:lnTo>
                        <a:pt x="1286" y="452067"/>
                      </a:lnTo>
                      <a:lnTo>
                        <a:pt x="234" y="450568"/>
                      </a:lnTo>
                      <a:lnTo>
                        <a:pt x="43" y="449698"/>
                      </a:lnTo>
                      <a:lnTo>
                        <a:pt x="0" y="448862"/>
                      </a:lnTo>
                      <a:lnTo>
                        <a:pt x="128" y="448265"/>
                      </a:lnTo>
                      <a:lnTo>
                        <a:pt x="354" y="447841"/>
                      </a:lnTo>
                      <a:lnTo>
                        <a:pt x="782" y="447383"/>
                      </a:lnTo>
                      <a:lnTo>
                        <a:pt x="3323" y="445448"/>
                      </a:lnTo>
                      <a:lnTo>
                        <a:pt x="4307" y="444281"/>
                      </a:lnTo>
                      <a:lnTo>
                        <a:pt x="4690" y="443527"/>
                      </a:lnTo>
                      <a:lnTo>
                        <a:pt x="4845" y="442777"/>
                      </a:lnTo>
                      <a:lnTo>
                        <a:pt x="4859" y="441891"/>
                      </a:lnTo>
                      <a:lnTo>
                        <a:pt x="4309" y="439037"/>
                      </a:lnTo>
                      <a:lnTo>
                        <a:pt x="4282" y="438074"/>
                      </a:lnTo>
                      <a:lnTo>
                        <a:pt x="4423" y="437274"/>
                      </a:lnTo>
                      <a:lnTo>
                        <a:pt x="4836" y="436760"/>
                      </a:lnTo>
                      <a:lnTo>
                        <a:pt x="5573" y="436510"/>
                      </a:lnTo>
                      <a:lnTo>
                        <a:pt x="7390" y="436100"/>
                      </a:lnTo>
                      <a:lnTo>
                        <a:pt x="7985" y="435665"/>
                      </a:lnTo>
                      <a:lnTo>
                        <a:pt x="8293" y="435013"/>
                      </a:lnTo>
                      <a:lnTo>
                        <a:pt x="8251" y="434129"/>
                      </a:lnTo>
                      <a:lnTo>
                        <a:pt x="8102" y="433146"/>
                      </a:lnTo>
                      <a:lnTo>
                        <a:pt x="7873" y="432214"/>
                      </a:lnTo>
                      <a:lnTo>
                        <a:pt x="7587" y="430338"/>
                      </a:lnTo>
                      <a:lnTo>
                        <a:pt x="7449" y="426357"/>
                      </a:lnTo>
                      <a:lnTo>
                        <a:pt x="7563" y="424146"/>
                      </a:lnTo>
                      <a:lnTo>
                        <a:pt x="7187" y="422459"/>
                      </a:lnTo>
                      <a:lnTo>
                        <a:pt x="6446" y="420425"/>
                      </a:lnTo>
                      <a:lnTo>
                        <a:pt x="2986" y="414979"/>
                      </a:lnTo>
                      <a:lnTo>
                        <a:pt x="2290" y="413665"/>
                      </a:lnTo>
                      <a:lnTo>
                        <a:pt x="2174" y="413186"/>
                      </a:lnTo>
                      <a:lnTo>
                        <a:pt x="2111" y="412532"/>
                      </a:lnTo>
                      <a:lnTo>
                        <a:pt x="2118" y="407917"/>
                      </a:lnTo>
                      <a:lnTo>
                        <a:pt x="1924" y="405947"/>
                      </a:lnTo>
                      <a:lnTo>
                        <a:pt x="1828" y="404911"/>
                      </a:lnTo>
                      <a:lnTo>
                        <a:pt x="1912" y="405006"/>
                      </a:lnTo>
                      <a:lnTo>
                        <a:pt x="7745" y="407107"/>
                      </a:lnTo>
                      <a:lnTo>
                        <a:pt x="14325" y="406198"/>
                      </a:lnTo>
                      <a:lnTo>
                        <a:pt x="26680" y="401456"/>
                      </a:lnTo>
                      <a:lnTo>
                        <a:pt x="38003" y="400121"/>
                      </a:lnTo>
                      <a:lnTo>
                        <a:pt x="40598" y="399011"/>
                      </a:lnTo>
                      <a:lnTo>
                        <a:pt x="42447" y="395864"/>
                      </a:lnTo>
                      <a:lnTo>
                        <a:pt x="43187" y="392697"/>
                      </a:lnTo>
                      <a:lnTo>
                        <a:pt x="44450" y="377092"/>
                      </a:lnTo>
                      <a:lnTo>
                        <a:pt x="45647" y="373213"/>
                      </a:lnTo>
                      <a:lnTo>
                        <a:pt x="47569" y="371496"/>
                      </a:lnTo>
                      <a:lnTo>
                        <a:pt x="55000" y="372162"/>
                      </a:lnTo>
                      <a:lnTo>
                        <a:pt x="58327" y="371433"/>
                      </a:lnTo>
                      <a:lnTo>
                        <a:pt x="60276" y="368436"/>
                      </a:lnTo>
                      <a:lnTo>
                        <a:pt x="60162" y="366658"/>
                      </a:lnTo>
                      <a:lnTo>
                        <a:pt x="59490" y="364296"/>
                      </a:lnTo>
                      <a:lnTo>
                        <a:pt x="58574" y="362085"/>
                      </a:lnTo>
                      <a:lnTo>
                        <a:pt x="56767" y="359093"/>
                      </a:lnTo>
                      <a:lnTo>
                        <a:pt x="56805" y="357278"/>
                      </a:lnTo>
                      <a:lnTo>
                        <a:pt x="57450" y="354726"/>
                      </a:lnTo>
                      <a:lnTo>
                        <a:pt x="56377" y="350300"/>
                      </a:lnTo>
                      <a:lnTo>
                        <a:pt x="54831" y="347470"/>
                      </a:lnTo>
                      <a:lnTo>
                        <a:pt x="53139" y="345121"/>
                      </a:lnTo>
                      <a:lnTo>
                        <a:pt x="51642" y="342134"/>
                      </a:lnTo>
                      <a:lnTo>
                        <a:pt x="51546" y="338012"/>
                      </a:lnTo>
                      <a:lnTo>
                        <a:pt x="53845" y="335800"/>
                      </a:lnTo>
                      <a:lnTo>
                        <a:pt x="56491" y="333862"/>
                      </a:lnTo>
                      <a:lnTo>
                        <a:pt x="57716" y="329720"/>
                      </a:lnTo>
                      <a:lnTo>
                        <a:pt x="59279" y="326546"/>
                      </a:lnTo>
                      <a:lnTo>
                        <a:pt x="59812" y="324893"/>
                      </a:lnTo>
                      <a:lnTo>
                        <a:pt x="59905" y="317654"/>
                      </a:lnTo>
                      <a:lnTo>
                        <a:pt x="61588" y="312137"/>
                      </a:lnTo>
                      <a:lnTo>
                        <a:pt x="65012" y="305170"/>
                      </a:lnTo>
                      <a:lnTo>
                        <a:pt x="69334" y="298862"/>
                      </a:lnTo>
                      <a:lnTo>
                        <a:pt x="73701" y="295343"/>
                      </a:lnTo>
                      <a:lnTo>
                        <a:pt x="77290" y="295252"/>
                      </a:lnTo>
                      <a:lnTo>
                        <a:pt x="80340" y="296822"/>
                      </a:lnTo>
                      <a:lnTo>
                        <a:pt x="82940" y="298693"/>
                      </a:lnTo>
                      <a:lnTo>
                        <a:pt x="87942" y="300287"/>
                      </a:lnTo>
                      <a:lnTo>
                        <a:pt x="90258" y="302313"/>
                      </a:lnTo>
                      <a:lnTo>
                        <a:pt x="92026" y="305010"/>
                      </a:lnTo>
                      <a:lnTo>
                        <a:pt x="93135" y="307766"/>
                      </a:lnTo>
                      <a:lnTo>
                        <a:pt x="93781" y="308677"/>
                      </a:lnTo>
                      <a:lnTo>
                        <a:pt x="94257" y="309598"/>
                      </a:lnTo>
                      <a:lnTo>
                        <a:pt x="94578" y="310770"/>
                      </a:lnTo>
                      <a:lnTo>
                        <a:pt x="94381" y="311801"/>
                      </a:lnTo>
                      <a:lnTo>
                        <a:pt x="93692" y="312306"/>
                      </a:lnTo>
                      <a:lnTo>
                        <a:pt x="92985" y="312639"/>
                      </a:lnTo>
                      <a:lnTo>
                        <a:pt x="92716" y="313160"/>
                      </a:lnTo>
                      <a:lnTo>
                        <a:pt x="92576" y="315518"/>
                      </a:lnTo>
                      <a:lnTo>
                        <a:pt x="91897" y="316540"/>
                      </a:lnTo>
                      <a:lnTo>
                        <a:pt x="91723" y="317411"/>
                      </a:lnTo>
                      <a:lnTo>
                        <a:pt x="93060" y="319285"/>
                      </a:lnTo>
                      <a:lnTo>
                        <a:pt x="96091" y="320491"/>
                      </a:lnTo>
                      <a:lnTo>
                        <a:pt x="99170" y="318781"/>
                      </a:lnTo>
                      <a:lnTo>
                        <a:pt x="101737" y="315820"/>
                      </a:lnTo>
                      <a:lnTo>
                        <a:pt x="103235" y="313251"/>
                      </a:lnTo>
                      <a:lnTo>
                        <a:pt x="103829" y="308966"/>
                      </a:lnTo>
                      <a:lnTo>
                        <a:pt x="104463" y="306845"/>
                      </a:lnTo>
                      <a:lnTo>
                        <a:pt x="105933" y="305887"/>
                      </a:lnTo>
                      <a:lnTo>
                        <a:pt x="107857" y="306407"/>
                      </a:lnTo>
                      <a:lnTo>
                        <a:pt x="110878" y="308902"/>
                      </a:lnTo>
                      <a:lnTo>
                        <a:pt x="112605" y="309430"/>
                      </a:lnTo>
                      <a:lnTo>
                        <a:pt x="115475" y="308505"/>
                      </a:lnTo>
                      <a:lnTo>
                        <a:pt x="115123" y="306470"/>
                      </a:lnTo>
                      <a:lnTo>
                        <a:pt x="113351" y="303786"/>
                      </a:lnTo>
                      <a:lnTo>
                        <a:pt x="111980" y="300905"/>
                      </a:lnTo>
                      <a:lnTo>
                        <a:pt x="111873" y="294531"/>
                      </a:lnTo>
                      <a:lnTo>
                        <a:pt x="111170" y="291422"/>
                      </a:lnTo>
                      <a:lnTo>
                        <a:pt x="109013" y="290171"/>
                      </a:lnTo>
                      <a:lnTo>
                        <a:pt x="108015" y="289823"/>
                      </a:lnTo>
                      <a:lnTo>
                        <a:pt x="106763" y="288920"/>
                      </a:lnTo>
                      <a:lnTo>
                        <a:pt x="105591" y="287786"/>
                      </a:lnTo>
                      <a:lnTo>
                        <a:pt x="104867" y="286739"/>
                      </a:lnTo>
                      <a:lnTo>
                        <a:pt x="103863" y="284459"/>
                      </a:lnTo>
                      <a:lnTo>
                        <a:pt x="103845" y="283829"/>
                      </a:lnTo>
                      <a:lnTo>
                        <a:pt x="104731" y="283734"/>
                      </a:lnTo>
                      <a:lnTo>
                        <a:pt x="111931" y="280586"/>
                      </a:lnTo>
                      <a:lnTo>
                        <a:pt x="112904" y="278920"/>
                      </a:lnTo>
                      <a:lnTo>
                        <a:pt x="112701" y="274879"/>
                      </a:lnTo>
                      <a:lnTo>
                        <a:pt x="111392" y="268389"/>
                      </a:lnTo>
                      <a:lnTo>
                        <a:pt x="111306" y="266203"/>
                      </a:lnTo>
                      <a:lnTo>
                        <a:pt x="112082" y="263395"/>
                      </a:lnTo>
                      <a:lnTo>
                        <a:pt x="118285" y="255394"/>
                      </a:lnTo>
                      <a:lnTo>
                        <a:pt x="119828" y="249335"/>
                      </a:lnTo>
                      <a:lnTo>
                        <a:pt x="122765" y="248392"/>
                      </a:lnTo>
                      <a:lnTo>
                        <a:pt x="126483" y="248126"/>
                      </a:lnTo>
                      <a:lnTo>
                        <a:pt x="129609" y="246816"/>
                      </a:lnTo>
                      <a:lnTo>
                        <a:pt x="130824" y="248077"/>
                      </a:lnTo>
                      <a:lnTo>
                        <a:pt x="131903" y="247087"/>
                      </a:lnTo>
                      <a:lnTo>
                        <a:pt x="132763" y="246738"/>
                      </a:lnTo>
                      <a:lnTo>
                        <a:pt x="133708" y="247002"/>
                      </a:lnTo>
                      <a:lnTo>
                        <a:pt x="135034" y="247886"/>
                      </a:lnTo>
                      <a:lnTo>
                        <a:pt x="136489" y="245638"/>
                      </a:lnTo>
                      <a:lnTo>
                        <a:pt x="136615" y="238789"/>
                      </a:lnTo>
                      <a:lnTo>
                        <a:pt x="137389" y="235609"/>
                      </a:lnTo>
                      <a:lnTo>
                        <a:pt x="147370" y="225199"/>
                      </a:lnTo>
                      <a:lnTo>
                        <a:pt x="149596" y="224045"/>
                      </a:lnTo>
                      <a:lnTo>
                        <a:pt x="156023" y="223798"/>
                      </a:lnTo>
                      <a:lnTo>
                        <a:pt x="157623" y="225104"/>
                      </a:lnTo>
                      <a:lnTo>
                        <a:pt x="159505" y="228123"/>
                      </a:lnTo>
                      <a:lnTo>
                        <a:pt x="161942" y="231318"/>
                      </a:lnTo>
                      <a:lnTo>
                        <a:pt x="165193" y="233136"/>
                      </a:lnTo>
                      <a:lnTo>
                        <a:pt x="168705" y="232538"/>
                      </a:lnTo>
                      <a:lnTo>
                        <a:pt x="173318" y="227839"/>
                      </a:lnTo>
                      <a:lnTo>
                        <a:pt x="176224" y="226591"/>
                      </a:lnTo>
                      <a:lnTo>
                        <a:pt x="179325" y="226137"/>
                      </a:lnTo>
                      <a:lnTo>
                        <a:pt x="182512" y="225140"/>
                      </a:lnTo>
                      <a:lnTo>
                        <a:pt x="185370" y="223821"/>
                      </a:lnTo>
                      <a:lnTo>
                        <a:pt x="187480" y="222342"/>
                      </a:lnTo>
                      <a:lnTo>
                        <a:pt x="191135" y="217871"/>
                      </a:lnTo>
                      <a:lnTo>
                        <a:pt x="193510" y="215698"/>
                      </a:lnTo>
                      <a:lnTo>
                        <a:pt x="199216" y="213415"/>
                      </a:lnTo>
                      <a:lnTo>
                        <a:pt x="201106" y="210631"/>
                      </a:lnTo>
                      <a:lnTo>
                        <a:pt x="203757" y="204687"/>
                      </a:lnTo>
                      <a:lnTo>
                        <a:pt x="207882" y="199519"/>
                      </a:lnTo>
                      <a:lnTo>
                        <a:pt x="222856" y="186788"/>
                      </a:lnTo>
                      <a:lnTo>
                        <a:pt x="232418" y="180904"/>
                      </a:lnTo>
                      <a:lnTo>
                        <a:pt x="232437" y="179100"/>
                      </a:lnTo>
                      <a:lnTo>
                        <a:pt x="233499" y="174214"/>
                      </a:lnTo>
                      <a:lnTo>
                        <a:pt x="233434" y="173368"/>
                      </a:lnTo>
                      <a:lnTo>
                        <a:pt x="232932" y="171409"/>
                      </a:lnTo>
                      <a:lnTo>
                        <a:pt x="232973" y="170626"/>
                      </a:lnTo>
                      <a:lnTo>
                        <a:pt x="233539" y="169866"/>
                      </a:lnTo>
                      <a:lnTo>
                        <a:pt x="235675" y="167969"/>
                      </a:lnTo>
                      <a:lnTo>
                        <a:pt x="235995" y="164555"/>
                      </a:lnTo>
                      <a:lnTo>
                        <a:pt x="235157" y="162241"/>
                      </a:lnTo>
                      <a:lnTo>
                        <a:pt x="233285" y="160288"/>
                      </a:lnTo>
                      <a:lnTo>
                        <a:pt x="230547" y="157967"/>
                      </a:lnTo>
                      <a:lnTo>
                        <a:pt x="229382" y="155893"/>
                      </a:lnTo>
                      <a:lnTo>
                        <a:pt x="230386" y="154374"/>
                      </a:lnTo>
                      <a:lnTo>
                        <a:pt x="233367" y="152299"/>
                      </a:lnTo>
                      <a:lnTo>
                        <a:pt x="233912" y="150454"/>
                      </a:lnTo>
                      <a:lnTo>
                        <a:pt x="234019" y="146957"/>
                      </a:lnTo>
                      <a:lnTo>
                        <a:pt x="234271" y="145125"/>
                      </a:lnTo>
                      <a:lnTo>
                        <a:pt x="234922" y="143059"/>
                      </a:lnTo>
                      <a:lnTo>
                        <a:pt x="235649" y="141529"/>
                      </a:lnTo>
                      <a:lnTo>
                        <a:pt x="237982" y="138268"/>
                      </a:lnTo>
                      <a:lnTo>
                        <a:pt x="238133" y="136809"/>
                      </a:lnTo>
                      <a:lnTo>
                        <a:pt x="237284" y="134927"/>
                      </a:lnTo>
                      <a:lnTo>
                        <a:pt x="236165" y="132943"/>
                      </a:lnTo>
                      <a:lnTo>
                        <a:pt x="235477" y="131157"/>
                      </a:lnTo>
                      <a:lnTo>
                        <a:pt x="235724" y="128435"/>
                      </a:lnTo>
                      <a:lnTo>
                        <a:pt x="237339" y="128538"/>
                      </a:lnTo>
                      <a:lnTo>
                        <a:pt x="239495" y="129436"/>
                      </a:lnTo>
                      <a:lnTo>
                        <a:pt x="241351" y="129117"/>
                      </a:lnTo>
                      <a:lnTo>
                        <a:pt x="242095" y="127349"/>
                      </a:lnTo>
                      <a:lnTo>
                        <a:pt x="241662" y="125711"/>
                      </a:lnTo>
                      <a:lnTo>
                        <a:pt x="240854" y="124280"/>
                      </a:lnTo>
                      <a:lnTo>
                        <a:pt x="240459" y="123132"/>
                      </a:lnTo>
                      <a:lnTo>
                        <a:pt x="241125" y="120079"/>
                      </a:lnTo>
                      <a:lnTo>
                        <a:pt x="242161" y="117903"/>
                      </a:lnTo>
                      <a:lnTo>
                        <a:pt x="242932" y="115413"/>
                      </a:lnTo>
                      <a:lnTo>
                        <a:pt x="242814" y="111407"/>
                      </a:lnTo>
                      <a:lnTo>
                        <a:pt x="241585" y="104178"/>
                      </a:lnTo>
                      <a:lnTo>
                        <a:pt x="241640" y="100788"/>
                      </a:lnTo>
                      <a:lnTo>
                        <a:pt x="242623" y="96411"/>
                      </a:lnTo>
                      <a:lnTo>
                        <a:pt x="244914" y="90138"/>
                      </a:lnTo>
                      <a:lnTo>
                        <a:pt x="245716" y="86907"/>
                      </a:lnTo>
                      <a:lnTo>
                        <a:pt x="245865" y="80623"/>
                      </a:lnTo>
                      <a:lnTo>
                        <a:pt x="246633" y="76524"/>
                      </a:lnTo>
                      <a:lnTo>
                        <a:pt x="248734" y="69499"/>
                      </a:lnTo>
                      <a:lnTo>
                        <a:pt x="249935" y="68044"/>
                      </a:lnTo>
                      <a:lnTo>
                        <a:pt x="253517" y="64851"/>
                      </a:lnTo>
                      <a:lnTo>
                        <a:pt x="254192" y="63750"/>
                      </a:lnTo>
                      <a:lnTo>
                        <a:pt x="254798" y="58247"/>
                      </a:lnTo>
                      <a:lnTo>
                        <a:pt x="255295" y="57184"/>
                      </a:lnTo>
                      <a:lnTo>
                        <a:pt x="254744" y="54864"/>
                      </a:lnTo>
                      <a:lnTo>
                        <a:pt x="253181" y="50995"/>
                      </a:lnTo>
                      <a:lnTo>
                        <a:pt x="252971" y="50140"/>
                      </a:lnTo>
                      <a:lnTo>
                        <a:pt x="252879" y="48246"/>
                      </a:lnTo>
                      <a:lnTo>
                        <a:pt x="252635" y="47410"/>
                      </a:lnTo>
                      <a:lnTo>
                        <a:pt x="251900" y="46814"/>
                      </a:lnTo>
                      <a:lnTo>
                        <a:pt x="250806" y="46455"/>
                      </a:lnTo>
                      <a:lnTo>
                        <a:pt x="249811" y="46316"/>
                      </a:lnTo>
                      <a:lnTo>
                        <a:pt x="249401" y="46362"/>
                      </a:lnTo>
                      <a:lnTo>
                        <a:pt x="249046" y="42269"/>
                      </a:lnTo>
                      <a:lnTo>
                        <a:pt x="251036" y="35256"/>
                      </a:lnTo>
                      <a:lnTo>
                        <a:pt x="251200" y="31284"/>
                      </a:lnTo>
                      <a:lnTo>
                        <a:pt x="250274" y="28764"/>
                      </a:lnTo>
                      <a:lnTo>
                        <a:pt x="248468" y="25731"/>
                      </a:lnTo>
                      <a:lnTo>
                        <a:pt x="244274" y="20037"/>
                      </a:lnTo>
                      <a:lnTo>
                        <a:pt x="238426" y="14268"/>
                      </a:lnTo>
                      <a:lnTo>
                        <a:pt x="236875" y="11308"/>
                      </a:lnTo>
                      <a:lnTo>
                        <a:pt x="237894" y="7720"/>
                      </a:lnTo>
                      <a:lnTo>
                        <a:pt x="240295" y="5746"/>
                      </a:lnTo>
                      <a:lnTo>
                        <a:pt x="243938" y="4398"/>
                      </a:lnTo>
                      <a:lnTo>
                        <a:pt x="247664" y="4098"/>
                      </a:lnTo>
                      <a:lnTo>
                        <a:pt x="250365" y="5287"/>
                      </a:lnTo>
                      <a:lnTo>
                        <a:pt x="256339" y="688"/>
                      </a:lnTo>
                      <a:lnTo>
                        <a:pt x="258546" y="0"/>
                      </a:lnTo>
                      <a:lnTo>
                        <a:pt x="258562" y="103"/>
                      </a:lnTo>
                      <a:lnTo>
                        <a:pt x="258577" y="201"/>
                      </a:lnTo>
                      <a:lnTo>
                        <a:pt x="258592" y="298"/>
                      </a:lnTo>
                      <a:lnTo>
                        <a:pt x="258608" y="401"/>
                      </a:lnTo>
                      <a:lnTo>
                        <a:pt x="258624" y="503"/>
                      </a:lnTo>
                      <a:lnTo>
                        <a:pt x="258640" y="606"/>
                      </a:lnTo>
                      <a:lnTo>
                        <a:pt x="258655" y="709"/>
                      </a:lnTo>
                      <a:lnTo>
                        <a:pt x="258671" y="807"/>
                      </a:lnTo>
                      <a:lnTo>
                        <a:pt x="260844" y="14849"/>
                      </a:lnTo>
                      <a:lnTo>
                        <a:pt x="263021" y="28886"/>
                      </a:lnTo>
                      <a:lnTo>
                        <a:pt x="265189" y="42927"/>
                      </a:lnTo>
                      <a:lnTo>
                        <a:pt x="267352" y="56977"/>
                      </a:lnTo>
                      <a:lnTo>
                        <a:pt x="269511" y="71026"/>
                      </a:lnTo>
                      <a:lnTo>
                        <a:pt x="271667" y="85083"/>
                      </a:lnTo>
                      <a:lnTo>
                        <a:pt x="273818" y="99136"/>
                      </a:lnTo>
                      <a:lnTo>
                        <a:pt x="275953" y="113197"/>
                      </a:lnTo>
                      <a:lnTo>
                        <a:pt x="277814" y="125404"/>
                      </a:lnTo>
                      <a:lnTo>
                        <a:pt x="279672" y="137618"/>
                      </a:lnTo>
                      <a:lnTo>
                        <a:pt x="281524" y="14983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2" name="Freeform 174">
                  <a:extLst>
                    <a:ext uri="{FF2B5EF4-FFF2-40B4-BE49-F238E27FC236}">
                      <a16:creationId xmlns:a16="http://schemas.microsoft.com/office/drawing/2014/main" id="{40B6B340-CEF7-4F06-8DB4-C3E690885DE1}"/>
                    </a:ext>
                  </a:extLst>
                </p:cNvPr>
                <p:cNvSpPr/>
                <p:nvPr>
                  <p:custDataLst>
                    <p:tags r:id="rId43"/>
                  </p:custDataLst>
                </p:nvPr>
              </p:nvSpPr>
              <p:spPr>
                <a:xfrm>
                  <a:off x="5325430" y="4278111"/>
                  <a:ext cx="104934" cy="16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55205" h="244634">
                      <a:moveTo>
                        <a:pt x="51056" y="4455"/>
                      </a:moveTo>
                      <a:lnTo>
                        <a:pt x="50697" y="5050"/>
                      </a:lnTo>
                      <a:lnTo>
                        <a:pt x="46123" y="8712"/>
                      </a:lnTo>
                      <a:lnTo>
                        <a:pt x="44523" y="11048"/>
                      </a:lnTo>
                      <a:lnTo>
                        <a:pt x="44320" y="18279"/>
                      </a:lnTo>
                      <a:lnTo>
                        <a:pt x="42992" y="21474"/>
                      </a:lnTo>
                      <a:lnTo>
                        <a:pt x="37846" y="29674"/>
                      </a:lnTo>
                      <a:lnTo>
                        <a:pt x="37187" y="30429"/>
                      </a:lnTo>
                      <a:lnTo>
                        <a:pt x="32246" y="32594"/>
                      </a:lnTo>
                      <a:lnTo>
                        <a:pt x="31688" y="33829"/>
                      </a:lnTo>
                      <a:lnTo>
                        <a:pt x="31609" y="35751"/>
                      </a:lnTo>
                      <a:lnTo>
                        <a:pt x="31118" y="37788"/>
                      </a:lnTo>
                      <a:lnTo>
                        <a:pt x="30881" y="39691"/>
                      </a:lnTo>
                      <a:lnTo>
                        <a:pt x="31561" y="41215"/>
                      </a:lnTo>
                      <a:lnTo>
                        <a:pt x="36597" y="44860"/>
                      </a:lnTo>
                      <a:lnTo>
                        <a:pt x="38172" y="46317"/>
                      </a:lnTo>
                      <a:lnTo>
                        <a:pt x="40224" y="49318"/>
                      </a:lnTo>
                      <a:lnTo>
                        <a:pt x="41036" y="52497"/>
                      </a:lnTo>
                      <a:lnTo>
                        <a:pt x="40686" y="55760"/>
                      </a:lnTo>
                      <a:lnTo>
                        <a:pt x="39242" y="59037"/>
                      </a:lnTo>
                      <a:lnTo>
                        <a:pt x="38735" y="62970"/>
                      </a:lnTo>
                      <a:lnTo>
                        <a:pt x="38798" y="66639"/>
                      </a:lnTo>
                      <a:lnTo>
                        <a:pt x="42416" y="70403"/>
                      </a:lnTo>
                      <a:lnTo>
                        <a:pt x="45320" y="72811"/>
                      </a:lnTo>
                      <a:lnTo>
                        <a:pt x="49801" y="76515"/>
                      </a:lnTo>
                      <a:lnTo>
                        <a:pt x="57065" y="84952"/>
                      </a:lnTo>
                      <a:lnTo>
                        <a:pt x="57617" y="86013"/>
                      </a:lnTo>
                      <a:lnTo>
                        <a:pt x="58619" y="86419"/>
                      </a:lnTo>
                      <a:lnTo>
                        <a:pt x="62654" y="89078"/>
                      </a:lnTo>
                      <a:lnTo>
                        <a:pt x="66812" y="91200"/>
                      </a:lnTo>
                      <a:lnTo>
                        <a:pt x="68516" y="95300"/>
                      </a:lnTo>
                      <a:lnTo>
                        <a:pt x="72348" y="98806"/>
                      </a:lnTo>
                      <a:lnTo>
                        <a:pt x="74522" y="102399"/>
                      </a:lnTo>
                      <a:lnTo>
                        <a:pt x="75959" y="106726"/>
                      </a:lnTo>
                      <a:lnTo>
                        <a:pt x="76197" y="116069"/>
                      </a:lnTo>
                      <a:lnTo>
                        <a:pt x="76697" y="119653"/>
                      </a:lnTo>
                      <a:lnTo>
                        <a:pt x="77668" y="123406"/>
                      </a:lnTo>
                      <a:lnTo>
                        <a:pt x="78577" y="125755"/>
                      </a:lnTo>
                      <a:lnTo>
                        <a:pt x="79704" y="128278"/>
                      </a:lnTo>
                      <a:lnTo>
                        <a:pt x="79957" y="132615"/>
                      </a:lnTo>
                      <a:lnTo>
                        <a:pt x="81882" y="136553"/>
                      </a:lnTo>
                      <a:lnTo>
                        <a:pt x="86090" y="139011"/>
                      </a:lnTo>
                      <a:lnTo>
                        <a:pt x="90766" y="142287"/>
                      </a:lnTo>
                      <a:lnTo>
                        <a:pt x="96169" y="148392"/>
                      </a:lnTo>
                      <a:lnTo>
                        <a:pt x="97285" y="151203"/>
                      </a:lnTo>
                      <a:lnTo>
                        <a:pt x="97935" y="154467"/>
                      </a:lnTo>
                      <a:lnTo>
                        <a:pt x="98798" y="158282"/>
                      </a:lnTo>
                      <a:lnTo>
                        <a:pt x="101360" y="160752"/>
                      </a:lnTo>
                      <a:lnTo>
                        <a:pt x="111037" y="169645"/>
                      </a:lnTo>
                      <a:lnTo>
                        <a:pt x="119899" y="176989"/>
                      </a:lnTo>
                      <a:lnTo>
                        <a:pt x="125003" y="180429"/>
                      </a:lnTo>
                      <a:lnTo>
                        <a:pt x="130790" y="182124"/>
                      </a:lnTo>
                      <a:lnTo>
                        <a:pt x="135176" y="180888"/>
                      </a:lnTo>
                      <a:lnTo>
                        <a:pt x="135454" y="179168"/>
                      </a:lnTo>
                      <a:lnTo>
                        <a:pt x="134669" y="177800"/>
                      </a:lnTo>
                      <a:lnTo>
                        <a:pt x="135611" y="177360"/>
                      </a:lnTo>
                      <a:lnTo>
                        <a:pt x="137236" y="179333"/>
                      </a:lnTo>
                      <a:lnTo>
                        <a:pt x="144082" y="200000"/>
                      </a:lnTo>
                      <a:lnTo>
                        <a:pt x="145862" y="208017"/>
                      </a:lnTo>
                      <a:lnTo>
                        <a:pt x="144606" y="207075"/>
                      </a:lnTo>
                      <a:lnTo>
                        <a:pt x="142063" y="198621"/>
                      </a:lnTo>
                      <a:lnTo>
                        <a:pt x="140505" y="197494"/>
                      </a:lnTo>
                      <a:lnTo>
                        <a:pt x="135658" y="199519"/>
                      </a:lnTo>
                      <a:lnTo>
                        <a:pt x="132769" y="198954"/>
                      </a:lnTo>
                      <a:lnTo>
                        <a:pt x="136695" y="203918"/>
                      </a:lnTo>
                      <a:lnTo>
                        <a:pt x="134518" y="203793"/>
                      </a:lnTo>
                      <a:lnTo>
                        <a:pt x="133641" y="203552"/>
                      </a:lnTo>
                      <a:lnTo>
                        <a:pt x="132688" y="203710"/>
                      </a:lnTo>
                      <a:lnTo>
                        <a:pt x="132537" y="203982"/>
                      </a:lnTo>
                      <a:lnTo>
                        <a:pt x="132131" y="204053"/>
                      </a:lnTo>
                      <a:lnTo>
                        <a:pt x="131662" y="204251"/>
                      </a:lnTo>
                      <a:lnTo>
                        <a:pt x="133565" y="205619"/>
                      </a:lnTo>
                      <a:lnTo>
                        <a:pt x="135645" y="206824"/>
                      </a:lnTo>
                      <a:lnTo>
                        <a:pt x="137956" y="207501"/>
                      </a:lnTo>
                      <a:lnTo>
                        <a:pt x="140572" y="207329"/>
                      </a:lnTo>
                      <a:lnTo>
                        <a:pt x="137756" y="210576"/>
                      </a:lnTo>
                      <a:lnTo>
                        <a:pt x="127952" y="213847"/>
                      </a:lnTo>
                      <a:lnTo>
                        <a:pt x="125844" y="216966"/>
                      </a:lnTo>
                      <a:lnTo>
                        <a:pt x="128925" y="216763"/>
                      </a:lnTo>
                      <a:lnTo>
                        <a:pt x="128560" y="218099"/>
                      </a:lnTo>
                      <a:lnTo>
                        <a:pt x="128023" y="219184"/>
                      </a:lnTo>
                      <a:lnTo>
                        <a:pt x="127344" y="220015"/>
                      </a:lnTo>
                      <a:lnTo>
                        <a:pt x="126552" y="220592"/>
                      </a:lnTo>
                      <a:lnTo>
                        <a:pt x="129068" y="220886"/>
                      </a:lnTo>
                      <a:lnTo>
                        <a:pt x="134268" y="216695"/>
                      </a:lnTo>
                      <a:lnTo>
                        <a:pt x="138144" y="216155"/>
                      </a:lnTo>
                      <a:lnTo>
                        <a:pt x="139308" y="217106"/>
                      </a:lnTo>
                      <a:lnTo>
                        <a:pt x="140852" y="218819"/>
                      </a:lnTo>
                      <a:lnTo>
                        <a:pt x="142404" y="220197"/>
                      </a:lnTo>
                      <a:lnTo>
                        <a:pt x="143542" y="220034"/>
                      </a:lnTo>
                      <a:lnTo>
                        <a:pt x="145906" y="216276"/>
                      </a:lnTo>
                      <a:lnTo>
                        <a:pt x="146506" y="214975"/>
                      </a:lnTo>
                      <a:lnTo>
                        <a:pt x="146047" y="212359"/>
                      </a:lnTo>
                      <a:lnTo>
                        <a:pt x="146397" y="211148"/>
                      </a:lnTo>
                      <a:lnTo>
                        <a:pt x="147269" y="211519"/>
                      </a:lnTo>
                      <a:lnTo>
                        <a:pt x="147728" y="212813"/>
                      </a:lnTo>
                      <a:lnTo>
                        <a:pt x="148673" y="216062"/>
                      </a:lnTo>
                      <a:lnTo>
                        <a:pt x="149703" y="222076"/>
                      </a:lnTo>
                      <a:lnTo>
                        <a:pt x="151318" y="226519"/>
                      </a:lnTo>
                      <a:lnTo>
                        <a:pt x="152728" y="231505"/>
                      </a:lnTo>
                      <a:lnTo>
                        <a:pt x="153940" y="235593"/>
                      </a:lnTo>
                      <a:lnTo>
                        <a:pt x="155204" y="239439"/>
                      </a:lnTo>
                      <a:lnTo>
                        <a:pt x="153148" y="239641"/>
                      </a:lnTo>
                      <a:lnTo>
                        <a:pt x="153083" y="239594"/>
                      </a:lnTo>
                      <a:lnTo>
                        <a:pt x="152259" y="238999"/>
                      </a:lnTo>
                      <a:lnTo>
                        <a:pt x="151290" y="238603"/>
                      </a:lnTo>
                      <a:lnTo>
                        <a:pt x="150168" y="238481"/>
                      </a:lnTo>
                      <a:lnTo>
                        <a:pt x="148784" y="238594"/>
                      </a:lnTo>
                      <a:lnTo>
                        <a:pt x="149207" y="239872"/>
                      </a:lnTo>
                      <a:lnTo>
                        <a:pt x="145464" y="240133"/>
                      </a:lnTo>
                      <a:lnTo>
                        <a:pt x="137318" y="240712"/>
                      </a:lnTo>
                      <a:lnTo>
                        <a:pt x="125587" y="241463"/>
                      </a:lnTo>
                      <a:lnTo>
                        <a:pt x="113862" y="242206"/>
                      </a:lnTo>
                      <a:lnTo>
                        <a:pt x="102128" y="242947"/>
                      </a:lnTo>
                      <a:lnTo>
                        <a:pt x="90390" y="243689"/>
                      </a:lnTo>
                      <a:lnTo>
                        <a:pt x="78165" y="244133"/>
                      </a:lnTo>
                      <a:lnTo>
                        <a:pt x="66831" y="244559"/>
                      </a:lnTo>
                      <a:lnTo>
                        <a:pt x="57178" y="244633"/>
                      </a:lnTo>
                      <a:lnTo>
                        <a:pt x="55110" y="237387"/>
                      </a:lnTo>
                      <a:lnTo>
                        <a:pt x="52911" y="228060"/>
                      </a:lnTo>
                      <a:lnTo>
                        <a:pt x="49822" y="216300"/>
                      </a:lnTo>
                      <a:lnTo>
                        <a:pt x="46401" y="202821"/>
                      </a:lnTo>
                      <a:lnTo>
                        <a:pt x="43050" y="189974"/>
                      </a:lnTo>
                      <a:lnTo>
                        <a:pt x="39779" y="177573"/>
                      </a:lnTo>
                      <a:lnTo>
                        <a:pt x="36439" y="164829"/>
                      </a:lnTo>
                      <a:lnTo>
                        <a:pt x="33144" y="151560"/>
                      </a:lnTo>
                      <a:lnTo>
                        <a:pt x="29717" y="138875"/>
                      </a:lnTo>
                      <a:lnTo>
                        <a:pt x="26302" y="125919"/>
                      </a:lnTo>
                      <a:lnTo>
                        <a:pt x="22724" y="112438"/>
                      </a:lnTo>
                      <a:lnTo>
                        <a:pt x="19454" y="100254"/>
                      </a:lnTo>
                      <a:lnTo>
                        <a:pt x="16289" y="87376"/>
                      </a:lnTo>
                      <a:lnTo>
                        <a:pt x="12910" y="75261"/>
                      </a:lnTo>
                      <a:lnTo>
                        <a:pt x="9330" y="61915"/>
                      </a:lnTo>
                      <a:lnTo>
                        <a:pt x="6143" y="48934"/>
                      </a:lnTo>
                      <a:lnTo>
                        <a:pt x="2569" y="36075"/>
                      </a:lnTo>
                      <a:lnTo>
                        <a:pt x="0" y="23065"/>
                      </a:lnTo>
                      <a:lnTo>
                        <a:pt x="587" y="23026"/>
                      </a:lnTo>
                      <a:lnTo>
                        <a:pt x="1739" y="22998"/>
                      </a:lnTo>
                      <a:lnTo>
                        <a:pt x="1940" y="22710"/>
                      </a:lnTo>
                      <a:lnTo>
                        <a:pt x="3417" y="17402"/>
                      </a:lnTo>
                      <a:lnTo>
                        <a:pt x="6425" y="11767"/>
                      </a:lnTo>
                      <a:lnTo>
                        <a:pt x="10036" y="8054"/>
                      </a:lnTo>
                      <a:lnTo>
                        <a:pt x="13170" y="5460"/>
                      </a:lnTo>
                      <a:lnTo>
                        <a:pt x="16646" y="3414"/>
                      </a:lnTo>
                      <a:lnTo>
                        <a:pt x="19702" y="2236"/>
                      </a:lnTo>
                      <a:lnTo>
                        <a:pt x="23749" y="712"/>
                      </a:lnTo>
                      <a:lnTo>
                        <a:pt x="27894" y="297"/>
                      </a:lnTo>
                      <a:lnTo>
                        <a:pt x="34414" y="0"/>
                      </a:lnTo>
                      <a:lnTo>
                        <a:pt x="39681" y="483"/>
                      </a:lnTo>
                      <a:lnTo>
                        <a:pt x="43665" y="1610"/>
                      </a:lnTo>
                      <a:lnTo>
                        <a:pt x="47447" y="2894"/>
                      </a:lnTo>
                      <a:lnTo>
                        <a:pt x="49863" y="3755"/>
                      </a:lnTo>
                      <a:lnTo>
                        <a:pt x="50928" y="438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3" name="Freeform 175">
                  <a:extLst>
                    <a:ext uri="{FF2B5EF4-FFF2-40B4-BE49-F238E27FC236}">
                      <a16:creationId xmlns:a16="http://schemas.microsoft.com/office/drawing/2014/main" id="{DE74757B-958E-43BA-91D9-C4ACCA154365}"/>
                    </a:ext>
                  </a:extLst>
                </p:cNvPr>
                <p:cNvSpPr/>
                <p:nvPr>
                  <p:custDataLst>
                    <p:tags r:id="rId44"/>
                  </p:custDataLst>
                </p:nvPr>
              </p:nvSpPr>
              <p:spPr>
                <a:xfrm>
                  <a:off x="5208579" y="4388046"/>
                  <a:ext cx="22267" cy="2294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2935" h="33932">
                      <a:moveTo>
                        <a:pt x="18716" y="33931"/>
                      </a:moveTo>
                      <a:lnTo>
                        <a:pt x="17503" y="30947"/>
                      </a:lnTo>
                      <a:lnTo>
                        <a:pt x="17856" y="27928"/>
                      </a:lnTo>
                      <a:lnTo>
                        <a:pt x="18139" y="26404"/>
                      </a:lnTo>
                      <a:lnTo>
                        <a:pt x="18138" y="24781"/>
                      </a:lnTo>
                      <a:lnTo>
                        <a:pt x="17367" y="23580"/>
                      </a:lnTo>
                      <a:lnTo>
                        <a:pt x="16053" y="21641"/>
                      </a:lnTo>
                      <a:lnTo>
                        <a:pt x="14299" y="20458"/>
                      </a:lnTo>
                      <a:lnTo>
                        <a:pt x="11992" y="19082"/>
                      </a:lnTo>
                      <a:lnTo>
                        <a:pt x="10080" y="17280"/>
                      </a:lnTo>
                      <a:lnTo>
                        <a:pt x="8748" y="16848"/>
                      </a:lnTo>
                      <a:lnTo>
                        <a:pt x="6302" y="16734"/>
                      </a:lnTo>
                      <a:lnTo>
                        <a:pt x="4207" y="16002"/>
                      </a:lnTo>
                      <a:lnTo>
                        <a:pt x="0" y="11645"/>
                      </a:lnTo>
                      <a:lnTo>
                        <a:pt x="5087" y="5557"/>
                      </a:lnTo>
                      <a:lnTo>
                        <a:pt x="9725" y="0"/>
                      </a:lnTo>
                      <a:lnTo>
                        <a:pt x="20469" y="7868"/>
                      </a:lnTo>
                      <a:lnTo>
                        <a:pt x="32934" y="16991"/>
                      </a:lnTo>
                      <a:lnTo>
                        <a:pt x="25561" y="25783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4" name="Freeform 176">
                  <a:extLst>
                    <a:ext uri="{FF2B5EF4-FFF2-40B4-BE49-F238E27FC236}">
                      <a16:creationId xmlns:a16="http://schemas.microsoft.com/office/drawing/2014/main" id="{AB1779E8-253E-4B70-BFD5-2B1642D3B26D}"/>
                    </a:ext>
                  </a:extLst>
                </p:cNvPr>
                <p:cNvSpPr/>
                <p:nvPr>
                  <p:custDataLst>
                    <p:tags r:id="rId45"/>
                  </p:custDataLst>
                </p:nvPr>
              </p:nvSpPr>
              <p:spPr>
                <a:xfrm>
                  <a:off x="4953639" y="4293704"/>
                  <a:ext cx="477542" cy="2173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6316" h="321500">
                      <a:moveTo>
                        <a:pt x="572165" y="299250"/>
                      </a:moveTo>
                      <a:lnTo>
                        <a:pt x="573303" y="299698"/>
                      </a:lnTo>
                      <a:lnTo>
                        <a:pt x="574379" y="301294"/>
                      </a:lnTo>
                      <a:lnTo>
                        <a:pt x="577382" y="302490"/>
                      </a:lnTo>
                      <a:lnTo>
                        <a:pt x="579126" y="307031"/>
                      </a:lnTo>
                      <a:lnTo>
                        <a:pt x="578485" y="310596"/>
                      </a:lnTo>
                      <a:lnTo>
                        <a:pt x="578508" y="315610"/>
                      </a:lnTo>
                      <a:lnTo>
                        <a:pt x="576909" y="314756"/>
                      </a:lnTo>
                      <a:lnTo>
                        <a:pt x="575801" y="312986"/>
                      </a:lnTo>
                      <a:lnTo>
                        <a:pt x="574089" y="313019"/>
                      </a:lnTo>
                      <a:lnTo>
                        <a:pt x="575120" y="314882"/>
                      </a:lnTo>
                      <a:lnTo>
                        <a:pt x="574964" y="316038"/>
                      </a:lnTo>
                      <a:lnTo>
                        <a:pt x="575089" y="317173"/>
                      </a:lnTo>
                      <a:lnTo>
                        <a:pt x="575770" y="318709"/>
                      </a:lnTo>
                      <a:lnTo>
                        <a:pt x="574939" y="318856"/>
                      </a:lnTo>
                      <a:lnTo>
                        <a:pt x="574881" y="321500"/>
                      </a:lnTo>
                      <a:lnTo>
                        <a:pt x="574359" y="321273"/>
                      </a:lnTo>
                      <a:lnTo>
                        <a:pt x="573570" y="318688"/>
                      </a:lnTo>
                      <a:lnTo>
                        <a:pt x="573431" y="316499"/>
                      </a:lnTo>
                      <a:lnTo>
                        <a:pt x="573503" y="314909"/>
                      </a:lnTo>
                      <a:lnTo>
                        <a:pt x="572520" y="314275"/>
                      </a:lnTo>
                      <a:lnTo>
                        <a:pt x="572090" y="315009"/>
                      </a:lnTo>
                      <a:lnTo>
                        <a:pt x="571106" y="315343"/>
                      </a:lnTo>
                      <a:lnTo>
                        <a:pt x="570358" y="312492"/>
                      </a:lnTo>
                      <a:lnTo>
                        <a:pt x="569850" y="309888"/>
                      </a:lnTo>
                      <a:lnTo>
                        <a:pt x="568460" y="307467"/>
                      </a:lnTo>
                      <a:lnTo>
                        <a:pt x="569087" y="306474"/>
                      </a:lnTo>
                      <a:lnTo>
                        <a:pt x="571433" y="306255"/>
                      </a:lnTo>
                      <a:lnTo>
                        <a:pt x="574264" y="307551"/>
                      </a:lnTo>
                      <a:lnTo>
                        <a:pt x="575565" y="305796"/>
                      </a:lnTo>
                      <a:lnTo>
                        <a:pt x="573664" y="304209"/>
                      </a:lnTo>
                      <a:lnTo>
                        <a:pt x="569391" y="302565"/>
                      </a:lnTo>
                      <a:lnTo>
                        <a:pt x="569003" y="301147"/>
                      </a:lnTo>
                      <a:lnTo>
                        <a:pt x="570545" y="300246"/>
                      </a:lnTo>
                      <a:close/>
                      <a:moveTo>
                        <a:pt x="562146" y="270922"/>
                      </a:moveTo>
                      <a:lnTo>
                        <a:pt x="564363" y="272664"/>
                      </a:lnTo>
                      <a:lnTo>
                        <a:pt x="566613" y="274573"/>
                      </a:lnTo>
                      <a:lnTo>
                        <a:pt x="566123" y="276851"/>
                      </a:lnTo>
                      <a:lnTo>
                        <a:pt x="567112" y="279024"/>
                      </a:lnTo>
                      <a:lnTo>
                        <a:pt x="566169" y="279954"/>
                      </a:lnTo>
                      <a:lnTo>
                        <a:pt x="561365" y="278400"/>
                      </a:lnTo>
                      <a:lnTo>
                        <a:pt x="558152" y="278283"/>
                      </a:lnTo>
                      <a:lnTo>
                        <a:pt x="558124" y="274316"/>
                      </a:lnTo>
                      <a:lnTo>
                        <a:pt x="559942" y="272115"/>
                      </a:lnTo>
                      <a:close/>
                      <a:moveTo>
                        <a:pt x="703034" y="243609"/>
                      </a:moveTo>
                      <a:lnTo>
                        <a:pt x="702505" y="248933"/>
                      </a:lnTo>
                      <a:lnTo>
                        <a:pt x="698946" y="258906"/>
                      </a:lnTo>
                      <a:lnTo>
                        <a:pt x="696451" y="271716"/>
                      </a:lnTo>
                      <a:lnTo>
                        <a:pt x="695654" y="282261"/>
                      </a:lnTo>
                      <a:lnTo>
                        <a:pt x="691172" y="290133"/>
                      </a:lnTo>
                      <a:lnTo>
                        <a:pt x="690689" y="291762"/>
                      </a:lnTo>
                      <a:lnTo>
                        <a:pt x="689761" y="294318"/>
                      </a:lnTo>
                      <a:lnTo>
                        <a:pt x="686852" y="294874"/>
                      </a:lnTo>
                      <a:lnTo>
                        <a:pt x="687867" y="293324"/>
                      </a:lnTo>
                      <a:lnTo>
                        <a:pt x="688242" y="292227"/>
                      </a:lnTo>
                      <a:lnTo>
                        <a:pt x="690295" y="286176"/>
                      </a:lnTo>
                      <a:lnTo>
                        <a:pt x="693646" y="279872"/>
                      </a:lnTo>
                      <a:lnTo>
                        <a:pt x="694045" y="278029"/>
                      </a:lnTo>
                      <a:lnTo>
                        <a:pt x="693751" y="272889"/>
                      </a:lnTo>
                      <a:lnTo>
                        <a:pt x="694545" y="268270"/>
                      </a:lnTo>
                      <a:lnTo>
                        <a:pt x="697141" y="261140"/>
                      </a:lnTo>
                      <a:lnTo>
                        <a:pt x="700500" y="247795"/>
                      </a:lnTo>
                      <a:lnTo>
                        <a:pt x="702091" y="243671"/>
                      </a:lnTo>
                      <a:close/>
                      <a:moveTo>
                        <a:pt x="705106" y="216374"/>
                      </a:moveTo>
                      <a:lnTo>
                        <a:pt x="705106" y="216440"/>
                      </a:lnTo>
                      <a:lnTo>
                        <a:pt x="705988" y="221473"/>
                      </a:lnTo>
                      <a:lnTo>
                        <a:pt x="706316" y="228132"/>
                      </a:lnTo>
                      <a:lnTo>
                        <a:pt x="705110" y="234350"/>
                      </a:lnTo>
                      <a:lnTo>
                        <a:pt x="703919" y="237437"/>
                      </a:lnTo>
                      <a:lnTo>
                        <a:pt x="703346" y="232179"/>
                      </a:lnTo>
                      <a:lnTo>
                        <a:pt x="703885" y="222012"/>
                      </a:lnTo>
                      <a:lnTo>
                        <a:pt x="703050" y="216576"/>
                      </a:lnTo>
                      <a:close/>
                      <a:moveTo>
                        <a:pt x="549902" y="0"/>
                      </a:moveTo>
                      <a:lnTo>
                        <a:pt x="552471" y="13010"/>
                      </a:lnTo>
                      <a:lnTo>
                        <a:pt x="556045" y="25869"/>
                      </a:lnTo>
                      <a:lnTo>
                        <a:pt x="559232" y="38850"/>
                      </a:lnTo>
                      <a:lnTo>
                        <a:pt x="562812" y="52196"/>
                      </a:lnTo>
                      <a:lnTo>
                        <a:pt x="566191" y="64311"/>
                      </a:lnTo>
                      <a:lnTo>
                        <a:pt x="569356" y="77189"/>
                      </a:lnTo>
                      <a:lnTo>
                        <a:pt x="572626" y="89373"/>
                      </a:lnTo>
                      <a:lnTo>
                        <a:pt x="576204" y="102854"/>
                      </a:lnTo>
                      <a:lnTo>
                        <a:pt x="579619" y="115810"/>
                      </a:lnTo>
                      <a:lnTo>
                        <a:pt x="583046" y="128495"/>
                      </a:lnTo>
                      <a:lnTo>
                        <a:pt x="586341" y="141764"/>
                      </a:lnTo>
                      <a:lnTo>
                        <a:pt x="589681" y="154508"/>
                      </a:lnTo>
                      <a:lnTo>
                        <a:pt x="592952" y="166909"/>
                      </a:lnTo>
                      <a:lnTo>
                        <a:pt x="596303" y="179756"/>
                      </a:lnTo>
                      <a:lnTo>
                        <a:pt x="599724" y="193235"/>
                      </a:lnTo>
                      <a:lnTo>
                        <a:pt x="602813" y="204995"/>
                      </a:lnTo>
                      <a:lnTo>
                        <a:pt x="605012" y="214322"/>
                      </a:lnTo>
                      <a:lnTo>
                        <a:pt x="607080" y="221568"/>
                      </a:lnTo>
                      <a:lnTo>
                        <a:pt x="616733" y="221494"/>
                      </a:lnTo>
                      <a:lnTo>
                        <a:pt x="628067" y="221068"/>
                      </a:lnTo>
                      <a:lnTo>
                        <a:pt x="640292" y="220624"/>
                      </a:lnTo>
                      <a:lnTo>
                        <a:pt x="652030" y="219882"/>
                      </a:lnTo>
                      <a:lnTo>
                        <a:pt x="663764" y="219141"/>
                      </a:lnTo>
                      <a:lnTo>
                        <a:pt x="675489" y="218398"/>
                      </a:lnTo>
                      <a:lnTo>
                        <a:pt x="687220" y="217647"/>
                      </a:lnTo>
                      <a:lnTo>
                        <a:pt x="695366" y="217068"/>
                      </a:lnTo>
                      <a:lnTo>
                        <a:pt x="699109" y="216807"/>
                      </a:lnTo>
                      <a:lnTo>
                        <a:pt x="699469" y="217884"/>
                      </a:lnTo>
                      <a:lnTo>
                        <a:pt x="698948" y="220652"/>
                      </a:lnTo>
                      <a:lnTo>
                        <a:pt x="696904" y="219652"/>
                      </a:lnTo>
                      <a:lnTo>
                        <a:pt x="694505" y="219999"/>
                      </a:lnTo>
                      <a:lnTo>
                        <a:pt x="698569" y="225030"/>
                      </a:lnTo>
                      <a:lnTo>
                        <a:pt x="698094" y="227333"/>
                      </a:lnTo>
                      <a:lnTo>
                        <a:pt x="696730" y="226665"/>
                      </a:lnTo>
                      <a:lnTo>
                        <a:pt x="694177" y="225698"/>
                      </a:lnTo>
                      <a:lnTo>
                        <a:pt x="690863" y="224497"/>
                      </a:lnTo>
                      <a:lnTo>
                        <a:pt x="688116" y="224112"/>
                      </a:lnTo>
                      <a:lnTo>
                        <a:pt x="686277" y="225746"/>
                      </a:lnTo>
                      <a:lnTo>
                        <a:pt x="692571" y="226939"/>
                      </a:lnTo>
                      <a:lnTo>
                        <a:pt x="693870" y="227800"/>
                      </a:lnTo>
                      <a:lnTo>
                        <a:pt x="694019" y="229408"/>
                      </a:lnTo>
                      <a:lnTo>
                        <a:pt x="694277" y="230733"/>
                      </a:lnTo>
                      <a:lnTo>
                        <a:pt x="695387" y="230660"/>
                      </a:lnTo>
                      <a:lnTo>
                        <a:pt x="695598" y="231747"/>
                      </a:lnTo>
                      <a:lnTo>
                        <a:pt x="694988" y="232189"/>
                      </a:lnTo>
                      <a:lnTo>
                        <a:pt x="694384" y="232812"/>
                      </a:lnTo>
                      <a:lnTo>
                        <a:pt x="693807" y="233200"/>
                      </a:lnTo>
                      <a:lnTo>
                        <a:pt x="696069" y="233723"/>
                      </a:lnTo>
                      <a:lnTo>
                        <a:pt x="698005" y="233209"/>
                      </a:lnTo>
                      <a:lnTo>
                        <a:pt x="699734" y="233160"/>
                      </a:lnTo>
                      <a:lnTo>
                        <a:pt x="701367" y="235045"/>
                      </a:lnTo>
                      <a:lnTo>
                        <a:pt x="701637" y="237836"/>
                      </a:lnTo>
                      <a:lnTo>
                        <a:pt x="700764" y="241321"/>
                      </a:lnTo>
                      <a:lnTo>
                        <a:pt x="699338" y="244653"/>
                      </a:lnTo>
                      <a:lnTo>
                        <a:pt x="697999" y="247003"/>
                      </a:lnTo>
                      <a:lnTo>
                        <a:pt x="695832" y="255148"/>
                      </a:lnTo>
                      <a:lnTo>
                        <a:pt x="694631" y="256517"/>
                      </a:lnTo>
                      <a:lnTo>
                        <a:pt x="689599" y="257049"/>
                      </a:lnTo>
                      <a:lnTo>
                        <a:pt x="688856" y="255712"/>
                      </a:lnTo>
                      <a:lnTo>
                        <a:pt x="690126" y="251799"/>
                      </a:lnTo>
                      <a:lnTo>
                        <a:pt x="685685" y="254605"/>
                      </a:lnTo>
                      <a:lnTo>
                        <a:pt x="684017" y="256268"/>
                      </a:lnTo>
                      <a:lnTo>
                        <a:pt x="682977" y="258487"/>
                      </a:lnTo>
                      <a:lnTo>
                        <a:pt x="682797" y="269040"/>
                      </a:lnTo>
                      <a:lnTo>
                        <a:pt x="681625" y="270714"/>
                      </a:lnTo>
                      <a:lnTo>
                        <a:pt x="681135" y="271986"/>
                      </a:lnTo>
                      <a:lnTo>
                        <a:pt x="680471" y="277727"/>
                      </a:lnTo>
                      <a:lnTo>
                        <a:pt x="679719" y="279519"/>
                      </a:lnTo>
                      <a:lnTo>
                        <a:pt x="678674" y="279593"/>
                      </a:lnTo>
                      <a:lnTo>
                        <a:pt x="675664" y="278694"/>
                      </a:lnTo>
                      <a:lnTo>
                        <a:pt x="674246" y="278762"/>
                      </a:lnTo>
                      <a:lnTo>
                        <a:pt x="673128" y="279813"/>
                      </a:lnTo>
                      <a:lnTo>
                        <a:pt x="671260" y="283070"/>
                      </a:lnTo>
                      <a:lnTo>
                        <a:pt x="670501" y="283790"/>
                      </a:lnTo>
                      <a:lnTo>
                        <a:pt x="671511" y="285198"/>
                      </a:lnTo>
                      <a:lnTo>
                        <a:pt x="669900" y="294291"/>
                      </a:lnTo>
                      <a:lnTo>
                        <a:pt x="669855" y="295753"/>
                      </a:lnTo>
                      <a:lnTo>
                        <a:pt x="669810" y="297304"/>
                      </a:lnTo>
                      <a:lnTo>
                        <a:pt x="669734" y="297314"/>
                      </a:lnTo>
                      <a:lnTo>
                        <a:pt x="667436" y="297723"/>
                      </a:lnTo>
                      <a:lnTo>
                        <a:pt x="663250" y="298338"/>
                      </a:lnTo>
                      <a:lnTo>
                        <a:pt x="657480" y="299228"/>
                      </a:lnTo>
                      <a:lnTo>
                        <a:pt x="650806" y="300436"/>
                      </a:lnTo>
                      <a:lnTo>
                        <a:pt x="644465" y="301447"/>
                      </a:lnTo>
                      <a:lnTo>
                        <a:pt x="638065" y="302549"/>
                      </a:lnTo>
                      <a:lnTo>
                        <a:pt x="634297" y="303047"/>
                      </a:lnTo>
                      <a:lnTo>
                        <a:pt x="633253" y="303382"/>
                      </a:lnTo>
                      <a:lnTo>
                        <a:pt x="632374" y="305338"/>
                      </a:lnTo>
                      <a:lnTo>
                        <a:pt x="631180" y="307008"/>
                      </a:lnTo>
                      <a:lnTo>
                        <a:pt x="630526" y="308673"/>
                      </a:lnTo>
                      <a:lnTo>
                        <a:pt x="629570" y="308331"/>
                      </a:lnTo>
                      <a:lnTo>
                        <a:pt x="626571" y="307798"/>
                      </a:lnTo>
                      <a:lnTo>
                        <a:pt x="612648" y="307558"/>
                      </a:lnTo>
                      <a:lnTo>
                        <a:pt x="609224" y="308188"/>
                      </a:lnTo>
                      <a:lnTo>
                        <a:pt x="606319" y="310601"/>
                      </a:lnTo>
                      <a:lnTo>
                        <a:pt x="602511" y="314820"/>
                      </a:lnTo>
                      <a:lnTo>
                        <a:pt x="599827" y="316795"/>
                      </a:lnTo>
                      <a:lnTo>
                        <a:pt x="598290" y="316002"/>
                      </a:lnTo>
                      <a:lnTo>
                        <a:pt x="597769" y="314744"/>
                      </a:lnTo>
                      <a:lnTo>
                        <a:pt x="597118" y="314129"/>
                      </a:lnTo>
                      <a:lnTo>
                        <a:pt x="596600" y="313417"/>
                      </a:lnTo>
                      <a:lnTo>
                        <a:pt x="596555" y="311823"/>
                      </a:lnTo>
                      <a:lnTo>
                        <a:pt x="597206" y="310492"/>
                      </a:lnTo>
                      <a:lnTo>
                        <a:pt x="598328" y="309351"/>
                      </a:lnTo>
                      <a:lnTo>
                        <a:pt x="599338" y="307874"/>
                      </a:lnTo>
                      <a:lnTo>
                        <a:pt x="599675" y="305527"/>
                      </a:lnTo>
                      <a:lnTo>
                        <a:pt x="598263" y="305747"/>
                      </a:lnTo>
                      <a:lnTo>
                        <a:pt x="597159" y="306275"/>
                      </a:lnTo>
                      <a:lnTo>
                        <a:pt x="596362" y="307090"/>
                      </a:lnTo>
                      <a:lnTo>
                        <a:pt x="595883" y="308206"/>
                      </a:lnTo>
                      <a:lnTo>
                        <a:pt x="594860" y="308270"/>
                      </a:lnTo>
                      <a:lnTo>
                        <a:pt x="594786" y="307400"/>
                      </a:lnTo>
                      <a:lnTo>
                        <a:pt x="594521" y="307182"/>
                      </a:lnTo>
                      <a:lnTo>
                        <a:pt x="594116" y="307186"/>
                      </a:lnTo>
                      <a:lnTo>
                        <a:pt x="593670" y="307003"/>
                      </a:lnTo>
                      <a:lnTo>
                        <a:pt x="594618" y="305755"/>
                      </a:lnTo>
                      <a:lnTo>
                        <a:pt x="596986" y="300848"/>
                      </a:lnTo>
                      <a:lnTo>
                        <a:pt x="597295" y="298890"/>
                      </a:lnTo>
                      <a:lnTo>
                        <a:pt x="598015" y="297475"/>
                      </a:lnTo>
                      <a:lnTo>
                        <a:pt x="602176" y="296660"/>
                      </a:lnTo>
                      <a:lnTo>
                        <a:pt x="603035" y="296023"/>
                      </a:lnTo>
                      <a:lnTo>
                        <a:pt x="604121" y="293790"/>
                      </a:lnTo>
                      <a:lnTo>
                        <a:pt x="609859" y="287241"/>
                      </a:lnTo>
                      <a:lnTo>
                        <a:pt x="611311" y="283885"/>
                      </a:lnTo>
                      <a:lnTo>
                        <a:pt x="609008" y="283592"/>
                      </a:lnTo>
                      <a:lnTo>
                        <a:pt x="607607" y="285051"/>
                      </a:lnTo>
                      <a:lnTo>
                        <a:pt x="606295" y="286962"/>
                      </a:lnTo>
                      <a:lnTo>
                        <a:pt x="604199" y="288006"/>
                      </a:lnTo>
                      <a:lnTo>
                        <a:pt x="600458" y="288117"/>
                      </a:lnTo>
                      <a:lnTo>
                        <a:pt x="598364" y="288576"/>
                      </a:lnTo>
                      <a:lnTo>
                        <a:pt x="596729" y="289699"/>
                      </a:lnTo>
                      <a:lnTo>
                        <a:pt x="596301" y="289208"/>
                      </a:lnTo>
                      <a:lnTo>
                        <a:pt x="596234" y="289015"/>
                      </a:lnTo>
                      <a:lnTo>
                        <a:pt x="596076" y="288872"/>
                      </a:lnTo>
                      <a:lnTo>
                        <a:pt x="595371" y="288560"/>
                      </a:lnTo>
                      <a:lnTo>
                        <a:pt x="595125" y="287234"/>
                      </a:lnTo>
                      <a:lnTo>
                        <a:pt x="596560" y="286518"/>
                      </a:lnTo>
                      <a:lnTo>
                        <a:pt x="597897" y="285311"/>
                      </a:lnTo>
                      <a:lnTo>
                        <a:pt x="598921" y="283818"/>
                      </a:lnTo>
                      <a:lnTo>
                        <a:pt x="599413" y="282191"/>
                      </a:lnTo>
                      <a:lnTo>
                        <a:pt x="598252" y="281040"/>
                      </a:lnTo>
                      <a:lnTo>
                        <a:pt x="599698" y="280250"/>
                      </a:lnTo>
                      <a:lnTo>
                        <a:pt x="604097" y="279207"/>
                      </a:lnTo>
                      <a:lnTo>
                        <a:pt x="605115" y="278160"/>
                      </a:lnTo>
                      <a:lnTo>
                        <a:pt x="604288" y="276375"/>
                      </a:lnTo>
                      <a:lnTo>
                        <a:pt x="602002" y="275863"/>
                      </a:lnTo>
                      <a:lnTo>
                        <a:pt x="599390" y="276312"/>
                      </a:lnTo>
                      <a:lnTo>
                        <a:pt x="597327" y="276093"/>
                      </a:lnTo>
                      <a:lnTo>
                        <a:pt x="594042" y="277566"/>
                      </a:lnTo>
                      <a:lnTo>
                        <a:pt x="587060" y="277304"/>
                      </a:lnTo>
                      <a:lnTo>
                        <a:pt x="584050" y="278257"/>
                      </a:lnTo>
                      <a:lnTo>
                        <a:pt x="583486" y="279539"/>
                      </a:lnTo>
                      <a:lnTo>
                        <a:pt x="583619" y="281163"/>
                      </a:lnTo>
                      <a:lnTo>
                        <a:pt x="583558" y="282572"/>
                      </a:lnTo>
                      <a:lnTo>
                        <a:pt x="582378" y="283258"/>
                      </a:lnTo>
                      <a:lnTo>
                        <a:pt x="581350" y="282754"/>
                      </a:lnTo>
                      <a:lnTo>
                        <a:pt x="580627" y="281408"/>
                      </a:lnTo>
                      <a:lnTo>
                        <a:pt x="579807" y="277867"/>
                      </a:lnTo>
                      <a:lnTo>
                        <a:pt x="580533" y="271003"/>
                      </a:lnTo>
                      <a:lnTo>
                        <a:pt x="584828" y="267668"/>
                      </a:lnTo>
                      <a:lnTo>
                        <a:pt x="590616" y="265688"/>
                      </a:lnTo>
                      <a:lnTo>
                        <a:pt x="595795" y="262855"/>
                      </a:lnTo>
                      <a:lnTo>
                        <a:pt x="593176" y="261862"/>
                      </a:lnTo>
                      <a:lnTo>
                        <a:pt x="586420" y="261806"/>
                      </a:lnTo>
                      <a:lnTo>
                        <a:pt x="583355" y="260520"/>
                      </a:lnTo>
                      <a:lnTo>
                        <a:pt x="581274" y="257096"/>
                      </a:lnTo>
                      <a:lnTo>
                        <a:pt x="581159" y="253025"/>
                      </a:lnTo>
                      <a:lnTo>
                        <a:pt x="582140" y="249140"/>
                      </a:lnTo>
                      <a:lnTo>
                        <a:pt x="585703" y="241138"/>
                      </a:lnTo>
                      <a:lnTo>
                        <a:pt x="586541" y="238332"/>
                      </a:lnTo>
                      <a:lnTo>
                        <a:pt x="586692" y="234478"/>
                      </a:lnTo>
                      <a:lnTo>
                        <a:pt x="586913" y="233502"/>
                      </a:lnTo>
                      <a:lnTo>
                        <a:pt x="586414" y="232901"/>
                      </a:lnTo>
                      <a:lnTo>
                        <a:pt x="584408" y="232795"/>
                      </a:lnTo>
                      <a:lnTo>
                        <a:pt x="583501" y="233551"/>
                      </a:lnTo>
                      <a:lnTo>
                        <a:pt x="583314" y="235238"/>
                      </a:lnTo>
                      <a:lnTo>
                        <a:pt x="583304" y="237263"/>
                      </a:lnTo>
                      <a:lnTo>
                        <a:pt x="582966" y="238995"/>
                      </a:lnTo>
                      <a:lnTo>
                        <a:pt x="576762" y="247730"/>
                      </a:lnTo>
                      <a:lnTo>
                        <a:pt x="576033" y="249211"/>
                      </a:lnTo>
                      <a:lnTo>
                        <a:pt x="574303" y="259893"/>
                      </a:lnTo>
                      <a:lnTo>
                        <a:pt x="573563" y="261694"/>
                      </a:lnTo>
                      <a:lnTo>
                        <a:pt x="572527" y="260674"/>
                      </a:lnTo>
                      <a:lnTo>
                        <a:pt x="572270" y="259161"/>
                      </a:lnTo>
                      <a:lnTo>
                        <a:pt x="572173" y="257434"/>
                      </a:lnTo>
                      <a:lnTo>
                        <a:pt x="571601" y="255707"/>
                      </a:lnTo>
                      <a:lnTo>
                        <a:pt x="570518" y="254697"/>
                      </a:lnTo>
                      <a:lnTo>
                        <a:pt x="568839" y="253492"/>
                      </a:lnTo>
                      <a:lnTo>
                        <a:pt x="567246" y="252084"/>
                      </a:lnTo>
                      <a:lnTo>
                        <a:pt x="566357" y="250480"/>
                      </a:lnTo>
                      <a:lnTo>
                        <a:pt x="566856" y="248155"/>
                      </a:lnTo>
                      <a:lnTo>
                        <a:pt x="570714" y="246151"/>
                      </a:lnTo>
                      <a:lnTo>
                        <a:pt x="571280" y="243400"/>
                      </a:lnTo>
                      <a:lnTo>
                        <a:pt x="569101" y="239518"/>
                      </a:lnTo>
                      <a:lnTo>
                        <a:pt x="565612" y="241782"/>
                      </a:lnTo>
                      <a:lnTo>
                        <a:pt x="562217" y="246872"/>
                      </a:lnTo>
                      <a:lnTo>
                        <a:pt x="560293" y="251521"/>
                      </a:lnTo>
                      <a:lnTo>
                        <a:pt x="562045" y="252358"/>
                      </a:lnTo>
                      <a:lnTo>
                        <a:pt x="563491" y="254016"/>
                      </a:lnTo>
                      <a:lnTo>
                        <a:pt x="564201" y="256228"/>
                      </a:lnTo>
                      <a:lnTo>
                        <a:pt x="564661" y="258704"/>
                      </a:lnTo>
                      <a:lnTo>
                        <a:pt x="563802" y="263417"/>
                      </a:lnTo>
                      <a:lnTo>
                        <a:pt x="562711" y="265146"/>
                      </a:lnTo>
                      <a:lnTo>
                        <a:pt x="560838" y="264039"/>
                      </a:lnTo>
                      <a:lnTo>
                        <a:pt x="554477" y="256426"/>
                      </a:lnTo>
                      <a:lnTo>
                        <a:pt x="552698" y="255044"/>
                      </a:lnTo>
                      <a:lnTo>
                        <a:pt x="548530" y="254255"/>
                      </a:lnTo>
                      <a:lnTo>
                        <a:pt x="547276" y="253161"/>
                      </a:lnTo>
                      <a:lnTo>
                        <a:pt x="545315" y="250021"/>
                      </a:lnTo>
                      <a:lnTo>
                        <a:pt x="534377" y="240024"/>
                      </a:lnTo>
                      <a:lnTo>
                        <a:pt x="531543" y="238541"/>
                      </a:lnTo>
                      <a:lnTo>
                        <a:pt x="530136" y="240134"/>
                      </a:lnTo>
                      <a:lnTo>
                        <a:pt x="533768" y="247964"/>
                      </a:lnTo>
                      <a:lnTo>
                        <a:pt x="533996" y="251829"/>
                      </a:lnTo>
                      <a:lnTo>
                        <a:pt x="533056" y="251888"/>
                      </a:lnTo>
                      <a:lnTo>
                        <a:pt x="531394" y="247158"/>
                      </a:lnTo>
                      <a:lnTo>
                        <a:pt x="527769" y="243031"/>
                      </a:lnTo>
                      <a:lnTo>
                        <a:pt x="522017" y="236693"/>
                      </a:lnTo>
                      <a:lnTo>
                        <a:pt x="521033" y="235698"/>
                      </a:lnTo>
                      <a:lnTo>
                        <a:pt x="519612" y="233953"/>
                      </a:lnTo>
                      <a:lnTo>
                        <a:pt x="518242" y="231942"/>
                      </a:lnTo>
                      <a:lnTo>
                        <a:pt x="516533" y="228120"/>
                      </a:lnTo>
                      <a:lnTo>
                        <a:pt x="514991" y="226827"/>
                      </a:lnTo>
                      <a:lnTo>
                        <a:pt x="513415" y="225956"/>
                      </a:lnTo>
                      <a:lnTo>
                        <a:pt x="512391" y="225082"/>
                      </a:lnTo>
                      <a:lnTo>
                        <a:pt x="511575" y="221364"/>
                      </a:lnTo>
                      <a:lnTo>
                        <a:pt x="513609" y="219879"/>
                      </a:lnTo>
                      <a:lnTo>
                        <a:pt x="516451" y="220147"/>
                      </a:lnTo>
                      <a:lnTo>
                        <a:pt x="518101" y="221689"/>
                      </a:lnTo>
                      <a:lnTo>
                        <a:pt x="519518" y="225798"/>
                      </a:lnTo>
                      <a:lnTo>
                        <a:pt x="520993" y="226055"/>
                      </a:lnTo>
                      <a:lnTo>
                        <a:pt x="521950" y="223443"/>
                      </a:lnTo>
                      <a:lnTo>
                        <a:pt x="521766" y="218959"/>
                      </a:lnTo>
                      <a:lnTo>
                        <a:pt x="522400" y="216018"/>
                      </a:lnTo>
                      <a:lnTo>
                        <a:pt x="524896" y="214357"/>
                      </a:lnTo>
                      <a:lnTo>
                        <a:pt x="528101" y="213176"/>
                      </a:lnTo>
                      <a:lnTo>
                        <a:pt x="530815" y="211632"/>
                      </a:lnTo>
                      <a:lnTo>
                        <a:pt x="529648" y="209829"/>
                      </a:lnTo>
                      <a:lnTo>
                        <a:pt x="531521" y="207399"/>
                      </a:lnTo>
                      <a:lnTo>
                        <a:pt x="530721" y="205529"/>
                      </a:lnTo>
                      <a:lnTo>
                        <a:pt x="529956" y="204944"/>
                      </a:lnTo>
                      <a:lnTo>
                        <a:pt x="529102" y="204626"/>
                      </a:lnTo>
                      <a:lnTo>
                        <a:pt x="528091" y="204515"/>
                      </a:lnTo>
                      <a:lnTo>
                        <a:pt x="526899" y="204545"/>
                      </a:lnTo>
                      <a:lnTo>
                        <a:pt x="525177" y="204849"/>
                      </a:lnTo>
                      <a:lnTo>
                        <a:pt x="524853" y="205444"/>
                      </a:lnTo>
                      <a:lnTo>
                        <a:pt x="524910" y="206415"/>
                      </a:lnTo>
                      <a:lnTo>
                        <a:pt x="524382" y="207815"/>
                      </a:lnTo>
                      <a:lnTo>
                        <a:pt x="522971" y="209132"/>
                      </a:lnTo>
                      <a:lnTo>
                        <a:pt x="521187" y="209744"/>
                      </a:lnTo>
                      <a:lnTo>
                        <a:pt x="516525" y="210077"/>
                      </a:lnTo>
                      <a:lnTo>
                        <a:pt x="514454" y="209071"/>
                      </a:lnTo>
                      <a:lnTo>
                        <a:pt x="515135" y="206520"/>
                      </a:lnTo>
                      <a:lnTo>
                        <a:pt x="517808" y="202683"/>
                      </a:lnTo>
                      <a:lnTo>
                        <a:pt x="517584" y="201475"/>
                      </a:lnTo>
                      <a:lnTo>
                        <a:pt x="516511" y="200902"/>
                      </a:lnTo>
                      <a:lnTo>
                        <a:pt x="515669" y="200242"/>
                      </a:lnTo>
                      <a:lnTo>
                        <a:pt x="513727" y="198051"/>
                      </a:lnTo>
                      <a:lnTo>
                        <a:pt x="520708" y="198808"/>
                      </a:lnTo>
                      <a:lnTo>
                        <a:pt x="523206" y="198683"/>
                      </a:lnTo>
                      <a:lnTo>
                        <a:pt x="525320" y="198056"/>
                      </a:lnTo>
                      <a:lnTo>
                        <a:pt x="528934" y="196303"/>
                      </a:lnTo>
                      <a:lnTo>
                        <a:pt x="531000" y="195854"/>
                      </a:lnTo>
                      <a:lnTo>
                        <a:pt x="529105" y="197819"/>
                      </a:lnTo>
                      <a:lnTo>
                        <a:pt x="528345" y="198362"/>
                      </a:lnTo>
                      <a:lnTo>
                        <a:pt x="530091" y="199620"/>
                      </a:lnTo>
                      <a:lnTo>
                        <a:pt x="531882" y="200584"/>
                      </a:lnTo>
                      <a:lnTo>
                        <a:pt x="534581" y="199833"/>
                      </a:lnTo>
                      <a:lnTo>
                        <a:pt x="539390" y="203021"/>
                      </a:lnTo>
                      <a:lnTo>
                        <a:pt x="542608" y="201807"/>
                      </a:lnTo>
                      <a:lnTo>
                        <a:pt x="549291" y="205963"/>
                      </a:lnTo>
                      <a:lnTo>
                        <a:pt x="555682" y="205988"/>
                      </a:lnTo>
                      <a:lnTo>
                        <a:pt x="557699" y="202637"/>
                      </a:lnTo>
                      <a:lnTo>
                        <a:pt x="559258" y="201403"/>
                      </a:lnTo>
                      <a:lnTo>
                        <a:pt x="560562" y="198360"/>
                      </a:lnTo>
                      <a:lnTo>
                        <a:pt x="560272" y="192871"/>
                      </a:lnTo>
                      <a:lnTo>
                        <a:pt x="561269" y="190080"/>
                      </a:lnTo>
                      <a:lnTo>
                        <a:pt x="560556" y="189580"/>
                      </a:lnTo>
                      <a:lnTo>
                        <a:pt x="559949" y="189051"/>
                      </a:lnTo>
                      <a:lnTo>
                        <a:pt x="559117" y="189103"/>
                      </a:lnTo>
                      <a:lnTo>
                        <a:pt x="557010" y="195478"/>
                      </a:lnTo>
                      <a:lnTo>
                        <a:pt x="556224" y="199349"/>
                      </a:lnTo>
                      <a:lnTo>
                        <a:pt x="552887" y="201302"/>
                      </a:lnTo>
                      <a:lnTo>
                        <a:pt x="547161" y="199275"/>
                      </a:lnTo>
                      <a:lnTo>
                        <a:pt x="544202" y="197780"/>
                      </a:lnTo>
                      <a:lnTo>
                        <a:pt x="539668" y="196401"/>
                      </a:lnTo>
                      <a:lnTo>
                        <a:pt x="540444" y="190280"/>
                      </a:lnTo>
                      <a:lnTo>
                        <a:pt x="538336" y="191285"/>
                      </a:lnTo>
                      <a:lnTo>
                        <a:pt x="536577" y="192479"/>
                      </a:lnTo>
                      <a:lnTo>
                        <a:pt x="534462" y="192968"/>
                      </a:lnTo>
                      <a:lnTo>
                        <a:pt x="531315" y="191965"/>
                      </a:lnTo>
                      <a:lnTo>
                        <a:pt x="531110" y="190865"/>
                      </a:lnTo>
                      <a:lnTo>
                        <a:pt x="532272" y="189695"/>
                      </a:lnTo>
                      <a:lnTo>
                        <a:pt x="535796" y="187583"/>
                      </a:lnTo>
                      <a:lnTo>
                        <a:pt x="537709" y="186787"/>
                      </a:lnTo>
                      <a:lnTo>
                        <a:pt x="537482" y="185579"/>
                      </a:lnTo>
                      <a:lnTo>
                        <a:pt x="534401" y="186013"/>
                      </a:lnTo>
                      <a:lnTo>
                        <a:pt x="531277" y="186921"/>
                      </a:lnTo>
                      <a:lnTo>
                        <a:pt x="528608" y="186987"/>
                      </a:lnTo>
                      <a:lnTo>
                        <a:pt x="526877" y="184914"/>
                      </a:lnTo>
                      <a:lnTo>
                        <a:pt x="527669" y="183752"/>
                      </a:lnTo>
                      <a:lnTo>
                        <a:pt x="527965" y="182258"/>
                      </a:lnTo>
                      <a:lnTo>
                        <a:pt x="527686" y="180566"/>
                      </a:lnTo>
                      <a:lnTo>
                        <a:pt x="526781" y="178834"/>
                      </a:lnTo>
                      <a:lnTo>
                        <a:pt x="525830" y="180966"/>
                      </a:lnTo>
                      <a:lnTo>
                        <a:pt x="525611" y="183437"/>
                      </a:lnTo>
                      <a:lnTo>
                        <a:pt x="525164" y="185487"/>
                      </a:lnTo>
                      <a:lnTo>
                        <a:pt x="523927" y="188424"/>
                      </a:lnTo>
                      <a:lnTo>
                        <a:pt x="521976" y="186461"/>
                      </a:lnTo>
                      <a:lnTo>
                        <a:pt x="518884" y="184110"/>
                      </a:lnTo>
                      <a:lnTo>
                        <a:pt x="516920" y="181699"/>
                      </a:lnTo>
                      <a:lnTo>
                        <a:pt x="517543" y="177984"/>
                      </a:lnTo>
                      <a:lnTo>
                        <a:pt x="521561" y="178343"/>
                      </a:lnTo>
                      <a:lnTo>
                        <a:pt x="517935" y="175243"/>
                      </a:lnTo>
                      <a:lnTo>
                        <a:pt x="515920" y="174205"/>
                      </a:lnTo>
                      <a:lnTo>
                        <a:pt x="513101" y="175848"/>
                      </a:lnTo>
                      <a:lnTo>
                        <a:pt x="511347" y="182157"/>
                      </a:lnTo>
                      <a:lnTo>
                        <a:pt x="508375" y="181130"/>
                      </a:lnTo>
                      <a:lnTo>
                        <a:pt x="506595" y="175950"/>
                      </a:lnTo>
                      <a:lnTo>
                        <a:pt x="507410" y="173084"/>
                      </a:lnTo>
                      <a:lnTo>
                        <a:pt x="507180" y="171521"/>
                      </a:lnTo>
                      <a:lnTo>
                        <a:pt x="506283" y="171876"/>
                      </a:lnTo>
                      <a:lnTo>
                        <a:pt x="504375" y="174248"/>
                      </a:lnTo>
                      <a:lnTo>
                        <a:pt x="505112" y="178829"/>
                      </a:lnTo>
                      <a:lnTo>
                        <a:pt x="503276" y="181996"/>
                      </a:lnTo>
                      <a:lnTo>
                        <a:pt x="503880" y="185440"/>
                      </a:lnTo>
                      <a:lnTo>
                        <a:pt x="504898" y="187042"/>
                      </a:lnTo>
                      <a:lnTo>
                        <a:pt x="504713" y="189178"/>
                      </a:lnTo>
                      <a:lnTo>
                        <a:pt x="502528" y="190093"/>
                      </a:lnTo>
                      <a:lnTo>
                        <a:pt x="501233" y="187180"/>
                      </a:lnTo>
                      <a:lnTo>
                        <a:pt x="500836" y="182873"/>
                      </a:lnTo>
                      <a:lnTo>
                        <a:pt x="500866" y="180328"/>
                      </a:lnTo>
                      <a:lnTo>
                        <a:pt x="501664" y="177153"/>
                      </a:lnTo>
                      <a:lnTo>
                        <a:pt x="502690" y="166669"/>
                      </a:lnTo>
                      <a:lnTo>
                        <a:pt x="503123" y="164840"/>
                      </a:lnTo>
                      <a:lnTo>
                        <a:pt x="503129" y="163343"/>
                      </a:lnTo>
                      <a:lnTo>
                        <a:pt x="506650" y="159882"/>
                      </a:lnTo>
                      <a:lnTo>
                        <a:pt x="508624" y="156695"/>
                      </a:lnTo>
                      <a:lnTo>
                        <a:pt x="509802" y="157164"/>
                      </a:lnTo>
                      <a:lnTo>
                        <a:pt x="509362" y="160011"/>
                      </a:lnTo>
                      <a:lnTo>
                        <a:pt x="512968" y="162846"/>
                      </a:lnTo>
                      <a:lnTo>
                        <a:pt x="515943" y="163874"/>
                      </a:lnTo>
                      <a:lnTo>
                        <a:pt x="517484" y="165142"/>
                      </a:lnTo>
                      <a:lnTo>
                        <a:pt x="518172" y="168563"/>
                      </a:lnTo>
                      <a:lnTo>
                        <a:pt x="520623" y="170560"/>
                      </a:lnTo>
                      <a:lnTo>
                        <a:pt x="523245" y="172508"/>
                      </a:lnTo>
                      <a:lnTo>
                        <a:pt x="525076" y="173781"/>
                      </a:lnTo>
                      <a:lnTo>
                        <a:pt x="529083" y="171471"/>
                      </a:lnTo>
                      <a:lnTo>
                        <a:pt x="530796" y="170513"/>
                      </a:lnTo>
                      <a:lnTo>
                        <a:pt x="532483" y="168233"/>
                      </a:lnTo>
                      <a:lnTo>
                        <a:pt x="533242" y="165386"/>
                      </a:lnTo>
                      <a:lnTo>
                        <a:pt x="532135" y="162629"/>
                      </a:lnTo>
                      <a:lnTo>
                        <a:pt x="530644" y="165550"/>
                      </a:lnTo>
                      <a:lnTo>
                        <a:pt x="527907" y="167575"/>
                      </a:lnTo>
                      <a:lnTo>
                        <a:pt x="523541" y="168708"/>
                      </a:lnTo>
                      <a:lnTo>
                        <a:pt x="519988" y="163864"/>
                      </a:lnTo>
                      <a:lnTo>
                        <a:pt x="519836" y="158020"/>
                      </a:lnTo>
                      <a:lnTo>
                        <a:pt x="524069" y="155355"/>
                      </a:lnTo>
                      <a:lnTo>
                        <a:pt x="528366" y="154027"/>
                      </a:lnTo>
                      <a:lnTo>
                        <a:pt x="531119" y="151717"/>
                      </a:lnTo>
                      <a:lnTo>
                        <a:pt x="524399" y="149721"/>
                      </a:lnTo>
                      <a:lnTo>
                        <a:pt x="523283" y="149115"/>
                      </a:lnTo>
                      <a:lnTo>
                        <a:pt x="523668" y="145414"/>
                      </a:lnTo>
                      <a:lnTo>
                        <a:pt x="523215" y="143830"/>
                      </a:lnTo>
                      <a:lnTo>
                        <a:pt x="521226" y="143694"/>
                      </a:lnTo>
                      <a:lnTo>
                        <a:pt x="520949" y="144750"/>
                      </a:lnTo>
                      <a:lnTo>
                        <a:pt x="520630" y="148999"/>
                      </a:lnTo>
                      <a:lnTo>
                        <a:pt x="519815" y="149988"/>
                      </a:lnTo>
                      <a:lnTo>
                        <a:pt x="517325" y="152504"/>
                      </a:lnTo>
                      <a:lnTo>
                        <a:pt x="516632" y="146526"/>
                      </a:lnTo>
                      <a:lnTo>
                        <a:pt x="516439" y="143660"/>
                      </a:lnTo>
                      <a:lnTo>
                        <a:pt x="515577" y="142401"/>
                      </a:lnTo>
                      <a:lnTo>
                        <a:pt x="513641" y="141024"/>
                      </a:lnTo>
                      <a:lnTo>
                        <a:pt x="510072" y="139767"/>
                      </a:lnTo>
                      <a:lnTo>
                        <a:pt x="508125" y="140195"/>
                      </a:lnTo>
                      <a:lnTo>
                        <a:pt x="507521" y="140139"/>
                      </a:lnTo>
                      <a:lnTo>
                        <a:pt x="506526" y="141509"/>
                      </a:lnTo>
                      <a:lnTo>
                        <a:pt x="505707" y="143071"/>
                      </a:lnTo>
                      <a:lnTo>
                        <a:pt x="505652" y="143568"/>
                      </a:lnTo>
                      <a:lnTo>
                        <a:pt x="504306" y="144496"/>
                      </a:lnTo>
                      <a:lnTo>
                        <a:pt x="503333" y="144775"/>
                      </a:lnTo>
                      <a:lnTo>
                        <a:pt x="498784" y="145422"/>
                      </a:lnTo>
                      <a:lnTo>
                        <a:pt x="497640" y="145842"/>
                      </a:lnTo>
                      <a:lnTo>
                        <a:pt x="496414" y="147023"/>
                      </a:lnTo>
                      <a:lnTo>
                        <a:pt x="496270" y="148732"/>
                      </a:lnTo>
                      <a:lnTo>
                        <a:pt x="496635" y="150760"/>
                      </a:lnTo>
                      <a:lnTo>
                        <a:pt x="497852" y="153277"/>
                      </a:lnTo>
                      <a:lnTo>
                        <a:pt x="498177" y="156077"/>
                      </a:lnTo>
                      <a:lnTo>
                        <a:pt x="495674" y="157788"/>
                      </a:lnTo>
                      <a:lnTo>
                        <a:pt x="494149" y="159641"/>
                      </a:lnTo>
                      <a:lnTo>
                        <a:pt x="491985" y="160674"/>
                      </a:lnTo>
                      <a:lnTo>
                        <a:pt x="491454" y="150933"/>
                      </a:lnTo>
                      <a:lnTo>
                        <a:pt x="491239" y="141608"/>
                      </a:lnTo>
                      <a:lnTo>
                        <a:pt x="492900" y="136334"/>
                      </a:lnTo>
                      <a:lnTo>
                        <a:pt x="493120" y="134998"/>
                      </a:lnTo>
                      <a:lnTo>
                        <a:pt x="494463" y="131094"/>
                      </a:lnTo>
                      <a:lnTo>
                        <a:pt x="494723" y="126982"/>
                      </a:lnTo>
                      <a:lnTo>
                        <a:pt x="495994" y="126554"/>
                      </a:lnTo>
                      <a:lnTo>
                        <a:pt x="497817" y="127093"/>
                      </a:lnTo>
                      <a:lnTo>
                        <a:pt x="498707" y="130408"/>
                      </a:lnTo>
                      <a:lnTo>
                        <a:pt x="500564" y="133743"/>
                      </a:lnTo>
                      <a:lnTo>
                        <a:pt x="507023" y="135217"/>
                      </a:lnTo>
                      <a:lnTo>
                        <a:pt x="511398" y="135760"/>
                      </a:lnTo>
                      <a:lnTo>
                        <a:pt x="514028" y="134698"/>
                      </a:lnTo>
                      <a:lnTo>
                        <a:pt x="517913" y="131421"/>
                      </a:lnTo>
                      <a:lnTo>
                        <a:pt x="520018" y="129007"/>
                      </a:lnTo>
                      <a:lnTo>
                        <a:pt x="519931" y="125372"/>
                      </a:lnTo>
                      <a:lnTo>
                        <a:pt x="518615" y="124708"/>
                      </a:lnTo>
                      <a:lnTo>
                        <a:pt x="517516" y="123694"/>
                      </a:lnTo>
                      <a:lnTo>
                        <a:pt x="516612" y="122365"/>
                      </a:lnTo>
                      <a:lnTo>
                        <a:pt x="515867" y="120770"/>
                      </a:lnTo>
                      <a:lnTo>
                        <a:pt x="519275" y="119944"/>
                      </a:lnTo>
                      <a:lnTo>
                        <a:pt x="520856" y="119343"/>
                      </a:lnTo>
                      <a:lnTo>
                        <a:pt x="519513" y="118207"/>
                      </a:lnTo>
                      <a:lnTo>
                        <a:pt x="521631" y="114020"/>
                      </a:lnTo>
                      <a:lnTo>
                        <a:pt x="527078" y="107268"/>
                      </a:lnTo>
                      <a:lnTo>
                        <a:pt x="528295" y="104016"/>
                      </a:lnTo>
                      <a:lnTo>
                        <a:pt x="525151" y="105553"/>
                      </a:lnTo>
                      <a:lnTo>
                        <a:pt x="522404" y="108001"/>
                      </a:lnTo>
                      <a:lnTo>
                        <a:pt x="519455" y="109634"/>
                      </a:lnTo>
                      <a:lnTo>
                        <a:pt x="515654" y="108698"/>
                      </a:lnTo>
                      <a:lnTo>
                        <a:pt x="517440" y="107264"/>
                      </a:lnTo>
                      <a:lnTo>
                        <a:pt x="517212" y="106058"/>
                      </a:lnTo>
                      <a:lnTo>
                        <a:pt x="512572" y="108952"/>
                      </a:lnTo>
                      <a:lnTo>
                        <a:pt x="512072" y="114324"/>
                      </a:lnTo>
                      <a:lnTo>
                        <a:pt x="509723" y="116959"/>
                      </a:lnTo>
                      <a:lnTo>
                        <a:pt x="509388" y="122057"/>
                      </a:lnTo>
                      <a:lnTo>
                        <a:pt x="510844" y="125889"/>
                      </a:lnTo>
                      <a:lnTo>
                        <a:pt x="511863" y="128552"/>
                      </a:lnTo>
                      <a:lnTo>
                        <a:pt x="509962" y="128925"/>
                      </a:lnTo>
                      <a:lnTo>
                        <a:pt x="506928" y="127038"/>
                      </a:lnTo>
                      <a:lnTo>
                        <a:pt x="505486" y="125611"/>
                      </a:lnTo>
                      <a:lnTo>
                        <a:pt x="506380" y="121089"/>
                      </a:lnTo>
                      <a:lnTo>
                        <a:pt x="504363" y="114090"/>
                      </a:lnTo>
                      <a:lnTo>
                        <a:pt x="502682" y="111065"/>
                      </a:lnTo>
                      <a:lnTo>
                        <a:pt x="502382" y="109115"/>
                      </a:lnTo>
                      <a:lnTo>
                        <a:pt x="500865" y="108173"/>
                      </a:lnTo>
                      <a:lnTo>
                        <a:pt x="497056" y="105032"/>
                      </a:lnTo>
                      <a:lnTo>
                        <a:pt x="496518" y="102133"/>
                      </a:lnTo>
                      <a:lnTo>
                        <a:pt x="498343" y="98352"/>
                      </a:lnTo>
                      <a:lnTo>
                        <a:pt x="500201" y="90758"/>
                      </a:lnTo>
                      <a:lnTo>
                        <a:pt x="502330" y="85000"/>
                      </a:lnTo>
                      <a:lnTo>
                        <a:pt x="506273" y="80093"/>
                      </a:lnTo>
                      <a:lnTo>
                        <a:pt x="505901" y="76589"/>
                      </a:lnTo>
                      <a:lnTo>
                        <a:pt x="506167" y="75076"/>
                      </a:lnTo>
                      <a:lnTo>
                        <a:pt x="507437" y="73732"/>
                      </a:lnTo>
                      <a:lnTo>
                        <a:pt x="510599" y="72937"/>
                      </a:lnTo>
                      <a:lnTo>
                        <a:pt x="511892" y="72171"/>
                      </a:lnTo>
                      <a:lnTo>
                        <a:pt x="512459" y="70698"/>
                      </a:lnTo>
                      <a:lnTo>
                        <a:pt x="512896" y="66808"/>
                      </a:lnTo>
                      <a:lnTo>
                        <a:pt x="513250" y="65988"/>
                      </a:lnTo>
                      <a:lnTo>
                        <a:pt x="514679" y="64577"/>
                      </a:lnTo>
                      <a:lnTo>
                        <a:pt x="521587" y="64565"/>
                      </a:lnTo>
                      <a:lnTo>
                        <a:pt x="526568" y="65527"/>
                      </a:lnTo>
                      <a:lnTo>
                        <a:pt x="530785" y="65296"/>
                      </a:lnTo>
                      <a:lnTo>
                        <a:pt x="540857" y="64153"/>
                      </a:lnTo>
                      <a:lnTo>
                        <a:pt x="547776" y="64143"/>
                      </a:lnTo>
                      <a:lnTo>
                        <a:pt x="551617" y="64027"/>
                      </a:lnTo>
                      <a:lnTo>
                        <a:pt x="554405" y="62114"/>
                      </a:lnTo>
                      <a:lnTo>
                        <a:pt x="550425" y="60926"/>
                      </a:lnTo>
                      <a:lnTo>
                        <a:pt x="544537" y="62256"/>
                      </a:lnTo>
                      <a:lnTo>
                        <a:pt x="529126" y="62133"/>
                      </a:lnTo>
                      <a:lnTo>
                        <a:pt x="524582" y="60226"/>
                      </a:lnTo>
                      <a:lnTo>
                        <a:pt x="526829" y="55926"/>
                      </a:lnTo>
                      <a:lnTo>
                        <a:pt x="531609" y="49434"/>
                      </a:lnTo>
                      <a:lnTo>
                        <a:pt x="534373" y="46584"/>
                      </a:lnTo>
                      <a:lnTo>
                        <a:pt x="536647" y="44883"/>
                      </a:lnTo>
                      <a:lnTo>
                        <a:pt x="539899" y="44338"/>
                      </a:lnTo>
                      <a:lnTo>
                        <a:pt x="547217" y="46019"/>
                      </a:lnTo>
                      <a:lnTo>
                        <a:pt x="551351" y="46382"/>
                      </a:lnTo>
                      <a:lnTo>
                        <a:pt x="551137" y="45285"/>
                      </a:lnTo>
                      <a:lnTo>
                        <a:pt x="546262" y="43163"/>
                      </a:lnTo>
                      <a:lnTo>
                        <a:pt x="543593" y="41268"/>
                      </a:lnTo>
                      <a:lnTo>
                        <a:pt x="541579" y="38481"/>
                      </a:lnTo>
                      <a:lnTo>
                        <a:pt x="544879" y="36327"/>
                      </a:lnTo>
                      <a:lnTo>
                        <a:pt x="546883" y="32822"/>
                      </a:lnTo>
                      <a:lnTo>
                        <a:pt x="547885" y="28641"/>
                      </a:lnTo>
                      <a:lnTo>
                        <a:pt x="548224" y="24533"/>
                      </a:lnTo>
                      <a:lnTo>
                        <a:pt x="544845" y="26002"/>
                      </a:lnTo>
                      <a:lnTo>
                        <a:pt x="542755" y="28722"/>
                      </a:lnTo>
                      <a:lnTo>
                        <a:pt x="541009" y="31942"/>
                      </a:lnTo>
                      <a:lnTo>
                        <a:pt x="539479" y="36313"/>
                      </a:lnTo>
                      <a:lnTo>
                        <a:pt x="531734" y="43914"/>
                      </a:lnTo>
                      <a:lnTo>
                        <a:pt x="527554" y="49347"/>
                      </a:lnTo>
                      <a:lnTo>
                        <a:pt x="526598" y="43574"/>
                      </a:lnTo>
                      <a:lnTo>
                        <a:pt x="527299" y="40147"/>
                      </a:lnTo>
                      <a:lnTo>
                        <a:pt x="530076" y="34902"/>
                      </a:lnTo>
                      <a:lnTo>
                        <a:pt x="531169" y="32117"/>
                      </a:lnTo>
                      <a:lnTo>
                        <a:pt x="531741" y="28995"/>
                      </a:lnTo>
                      <a:lnTo>
                        <a:pt x="532218" y="22042"/>
                      </a:lnTo>
                      <a:lnTo>
                        <a:pt x="529898" y="22758"/>
                      </a:lnTo>
                      <a:lnTo>
                        <a:pt x="528536" y="24676"/>
                      </a:lnTo>
                      <a:lnTo>
                        <a:pt x="526867" y="28971"/>
                      </a:lnTo>
                      <a:lnTo>
                        <a:pt x="523155" y="32528"/>
                      </a:lnTo>
                      <a:lnTo>
                        <a:pt x="518439" y="31418"/>
                      </a:lnTo>
                      <a:lnTo>
                        <a:pt x="514515" y="31847"/>
                      </a:lnTo>
                      <a:lnTo>
                        <a:pt x="511730" y="31640"/>
                      </a:lnTo>
                      <a:lnTo>
                        <a:pt x="510589" y="33070"/>
                      </a:lnTo>
                      <a:lnTo>
                        <a:pt x="508295" y="43069"/>
                      </a:lnTo>
                      <a:lnTo>
                        <a:pt x="510214" y="44717"/>
                      </a:lnTo>
                      <a:lnTo>
                        <a:pt x="516014" y="46115"/>
                      </a:lnTo>
                      <a:lnTo>
                        <a:pt x="517348" y="46797"/>
                      </a:lnTo>
                      <a:lnTo>
                        <a:pt x="517422" y="49100"/>
                      </a:lnTo>
                      <a:lnTo>
                        <a:pt x="516745" y="50754"/>
                      </a:lnTo>
                      <a:lnTo>
                        <a:pt x="510818" y="57869"/>
                      </a:lnTo>
                      <a:lnTo>
                        <a:pt x="502620" y="63393"/>
                      </a:lnTo>
                      <a:lnTo>
                        <a:pt x="499355" y="66874"/>
                      </a:lnTo>
                      <a:lnTo>
                        <a:pt x="496497" y="64705"/>
                      </a:lnTo>
                      <a:lnTo>
                        <a:pt x="495283" y="61270"/>
                      </a:lnTo>
                      <a:lnTo>
                        <a:pt x="494867" y="53664"/>
                      </a:lnTo>
                      <a:lnTo>
                        <a:pt x="495218" y="50247"/>
                      </a:lnTo>
                      <a:lnTo>
                        <a:pt x="494989" y="48796"/>
                      </a:lnTo>
                      <a:lnTo>
                        <a:pt x="493719" y="47644"/>
                      </a:lnTo>
                      <a:lnTo>
                        <a:pt x="492270" y="47736"/>
                      </a:lnTo>
                      <a:lnTo>
                        <a:pt x="491381" y="49128"/>
                      </a:lnTo>
                      <a:lnTo>
                        <a:pt x="490681" y="50739"/>
                      </a:lnTo>
                      <a:lnTo>
                        <a:pt x="489876" y="51545"/>
                      </a:lnTo>
                      <a:lnTo>
                        <a:pt x="490353" y="64914"/>
                      </a:lnTo>
                      <a:lnTo>
                        <a:pt x="493046" y="67834"/>
                      </a:lnTo>
                      <a:lnTo>
                        <a:pt x="494558" y="69871"/>
                      </a:lnTo>
                      <a:lnTo>
                        <a:pt x="494527" y="70838"/>
                      </a:lnTo>
                      <a:lnTo>
                        <a:pt x="493563" y="71626"/>
                      </a:lnTo>
                      <a:lnTo>
                        <a:pt x="490043" y="77102"/>
                      </a:lnTo>
                      <a:lnTo>
                        <a:pt x="487374" y="68977"/>
                      </a:lnTo>
                      <a:lnTo>
                        <a:pt x="482886" y="61122"/>
                      </a:lnTo>
                      <a:lnTo>
                        <a:pt x="480683" y="60391"/>
                      </a:lnTo>
                      <a:lnTo>
                        <a:pt x="469800" y="63777"/>
                      </a:lnTo>
                      <a:lnTo>
                        <a:pt x="472516" y="65433"/>
                      </a:lnTo>
                      <a:lnTo>
                        <a:pt x="476794" y="66084"/>
                      </a:lnTo>
                      <a:lnTo>
                        <a:pt x="480252" y="67273"/>
                      </a:lnTo>
                      <a:lnTo>
                        <a:pt x="480531" y="70506"/>
                      </a:lnTo>
                      <a:lnTo>
                        <a:pt x="481460" y="70447"/>
                      </a:lnTo>
                      <a:lnTo>
                        <a:pt x="480461" y="72382"/>
                      </a:lnTo>
                      <a:lnTo>
                        <a:pt x="479049" y="72877"/>
                      </a:lnTo>
                      <a:lnTo>
                        <a:pt x="477477" y="73151"/>
                      </a:lnTo>
                      <a:lnTo>
                        <a:pt x="476023" y="74447"/>
                      </a:lnTo>
                      <a:lnTo>
                        <a:pt x="477518" y="76695"/>
                      </a:lnTo>
                      <a:lnTo>
                        <a:pt x="477266" y="77452"/>
                      </a:lnTo>
                      <a:lnTo>
                        <a:pt x="468651" y="76122"/>
                      </a:lnTo>
                      <a:lnTo>
                        <a:pt x="467887" y="77164"/>
                      </a:lnTo>
                      <a:lnTo>
                        <a:pt x="469399" y="79289"/>
                      </a:lnTo>
                      <a:lnTo>
                        <a:pt x="475454" y="84988"/>
                      </a:lnTo>
                      <a:lnTo>
                        <a:pt x="475573" y="86171"/>
                      </a:lnTo>
                      <a:lnTo>
                        <a:pt x="474327" y="87831"/>
                      </a:lnTo>
                      <a:lnTo>
                        <a:pt x="471758" y="86570"/>
                      </a:lnTo>
                      <a:lnTo>
                        <a:pt x="470084" y="84933"/>
                      </a:lnTo>
                      <a:lnTo>
                        <a:pt x="466842" y="81001"/>
                      </a:lnTo>
                      <a:lnTo>
                        <a:pt x="465450" y="80175"/>
                      </a:lnTo>
                      <a:lnTo>
                        <a:pt x="460267" y="78976"/>
                      </a:lnTo>
                      <a:lnTo>
                        <a:pt x="463528" y="83712"/>
                      </a:lnTo>
                      <a:lnTo>
                        <a:pt x="467385" y="88135"/>
                      </a:lnTo>
                      <a:lnTo>
                        <a:pt x="471912" y="91131"/>
                      </a:lnTo>
                      <a:lnTo>
                        <a:pt x="475613" y="90965"/>
                      </a:lnTo>
                      <a:lnTo>
                        <a:pt x="475067" y="92811"/>
                      </a:lnTo>
                      <a:lnTo>
                        <a:pt x="471422" y="96942"/>
                      </a:lnTo>
                      <a:lnTo>
                        <a:pt x="469209" y="99038"/>
                      </a:lnTo>
                      <a:lnTo>
                        <a:pt x="468857" y="96657"/>
                      </a:lnTo>
                      <a:lnTo>
                        <a:pt x="469042" y="94957"/>
                      </a:lnTo>
                      <a:lnTo>
                        <a:pt x="467460" y="94653"/>
                      </a:lnTo>
                      <a:lnTo>
                        <a:pt x="466519" y="95843"/>
                      </a:lnTo>
                      <a:lnTo>
                        <a:pt x="465759" y="97010"/>
                      </a:lnTo>
                      <a:lnTo>
                        <a:pt x="463813" y="97158"/>
                      </a:lnTo>
                      <a:lnTo>
                        <a:pt x="461559" y="97091"/>
                      </a:lnTo>
                      <a:lnTo>
                        <a:pt x="461661" y="93713"/>
                      </a:lnTo>
                      <a:lnTo>
                        <a:pt x="459012" y="92352"/>
                      </a:lnTo>
                      <a:lnTo>
                        <a:pt x="455146" y="90844"/>
                      </a:lnTo>
                      <a:lnTo>
                        <a:pt x="449644" y="87777"/>
                      </a:lnTo>
                      <a:lnTo>
                        <a:pt x="448427" y="86306"/>
                      </a:lnTo>
                      <a:lnTo>
                        <a:pt x="447086" y="87516"/>
                      </a:lnTo>
                      <a:lnTo>
                        <a:pt x="445733" y="88282"/>
                      </a:lnTo>
                      <a:lnTo>
                        <a:pt x="441960" y="88749"/>
                      </a:lnTo>
                      <a:lnTo>
                        <a:pt x="441050" y="89247"/>
                      </a:lnTo>
                      <a:lnTo>
                        <a:pt x="443125" y="90053"/>
                      </a:lnTo>
                      <a:lnTo>
                        <a:pt x="444504" y="91062"/>
                      </a:lnTo>
                      <a:lnTo>
                        <a:pt x="447003" y="90872"/>
                      </a:lnTo>
                      <a:lnTo>
                        <a:pt x="449458" y="91402"/>
                      </a:lnTo>
                      <a:lnTo>
                        <a:pt x="450850" y="93702"/>
                      </a:lnTo>
                      <a:lnTo>
                        <a:pt x="451405" y="96428"/>
                      </a:lnTo>
                      <a:lnTo>
                        <a:pt x="455598" y="96947"/>
                      </a:lnTo>
                      <a:lnTo>
                        <a:pt x="456797" y="98299"/>
                      </a:lnTo>
                      <a:lnTo>
                        <a:pt x="457490" y="100413"/>
                      </a:lnTo>
                      <a:lnTo>
                        <a:pt x="458251" y="101558"/>
                      </a:lnTo>
                      <a:lnTo>
                        <a:pt x="459577" y="102902"/>
                      </a:lnTo>
                      <a:lnTo>
                        <a:pt x="462595" y="104818"/>
                      </a:lnTo>
                      <a:lnTo>
                        <a:pt x="463635" y="105358"/>
                      </a:lnTo>
                      <a:lnTo>
                        <a:pt x="465516" y="104251"/>
                      </a:lnTo>
                      <a:lnTo>
                        <a:pt x="467507" y="106265"/>
                      </a:lnTo>
                      <a:lnTo>
                        <a:pt x="472399" y="109504"/>
                      </a:lnTo>
                      <a:lnTo>
                        <a:pt x="473689" y="110126"/>
                      </a:lnTo>
                      <a:lnTo>
                        <a:pt x="474965" y="114485"/>
                      </a:lnTo>
                      <a:lnTo>
                        <a:pt x="477122" y="117332"/>
                      </a:lnTo>
                      <a:lnTo>
                        <a:pt x="476765" y="120131"/>
                      </a:lnTo>
                      <a:lnTo>
                        <a:pt x="475839" y="121408"/>
                      </a:lnTo>
                      <a:lnTo>
                        <a:pt x="473948" y="119866"/>
                      </a:lnTo>
                      <a:lnTo>
                        <a:pt x="473593" y="117718"/>
                      </a:lnTo>
                      <a:lnTo>
                        <a:pt x="471631" y="117477"/>
                      </a:lnTo>
                      <a:lnTo>
                        <a:pt x="469889" y="118885"/>
                      </a:lnTo>
                      <a:lnTo>
                        <a:pt x="468591" y="119432"/>
                      </a:lnTo>
                      <a:lnTo>
                        <a:pt x="465809" y="120008"/>
                      </a:lnTo>
                      <a:lnTo>
                        <a:pt x="463188" y="118763"/>
                      </a:lnTo>
                      <a:lnTo>
                        <a:pt x="462302" y="118952"/>
                      </a:lnTo>
                      <a:lnTo>
                        <a:pt x="463052" y="120703"/>
                      </a:lnTo>
                      <a:lnTo>
                        <a:pt x="465781" y="121819"/>
                      </a:lnTo>
                      <a:lnTo>
                        <a:pt x="469451" y="122380"/>
                      </a:lnTo>
                      <a:lnTo>
                        <a:pt x="477125" y="125166"/>
                      </a:lnTo>
                      <a:lnTo>
                        <a:pt x="480263" y="126373"/>
                      </a:lnTo>
                      <a:lnTo>
                        <a:pt x="483056" y="128569"/>
                      </a:lnTo>
                      <a:lnTo>
                        <a:pt x="482738" y="130404"/>
                      </a:lnTo>
                      <a:lnTo>
                        <a:pt x="480389" y="131342"/>
                      </a:lnTo>
                      <a:lnTo>
                        <a:pt x="476895" y="131733"/>
                      </a:lnTo>
                      <a:lnTo>
                        <a:pt x="475933" y="132468"/>
                      </a:lnTo>
                      <a:lnTo>
                        <a:pt x="475031" y="135461"/>
                      </a:lnTo>
                      <a:lnTo>
                        <a:pt x="472258" y="134493"/>
                      </a:lnTo>
                      <a:lnTo>
                        <a:pt x="465489" y="130125"/>
                      </a:lnTo>
                      <a:lnTo>
                        <a:pt x="462822" y="126112"/>
                      </a:lnTo>
                      <a:lnTo>
                        <a:pt x="459968" y="122957"/>
                      </a:lnTo>
                      <a:lnTo>
                        <a:pt x="457728" y="120751"/>
                      </a:lnTo>
                      <a:lnTo>
                        <a:pt x="456043" y="121378"/>
                      </a:lnTo>
                      <a:lnTo>
                        <a:pt x="455459" y="122822"/>
                      </a:lnTo>
                      <a:lnTo>
                        <a:pt x="455893" y="124631"/>
                      </a:lnTo>
                      <a:lnTo>
                        <a:pt x="456061" y="127734"/>
                      </a:lnTo>
                      <a:lnTo>
                        <a:pt x="457585" y="128099"/>
                      </a:lnTo>
                      <a:lnTo>
                        <a:pt x="460473" y="128720"/>
                      </a:lnTo>
                      <a:lnTo>
                        <a:pt x="462649" y="130360"/>
                      </a:lnTo>
                      <a:lnTo>
                        <a:pt x="465936" y="132994"/>
                      </a:lnTo>
                      <a:lnTo>
                        <a:pt x="470514" y="136136"/>
                      </a:lnTo>
                      <a:lnTo>
                        <a:pt x="472349" y="138043"/>
                      </a:lnTo>
                      <a:lnTo>
                        <a:pt x="474023" y="141769"/>
                      </a:lnTo>
                      <a:lnTo>
                        <a:pt x="476972" y="143349"/>
                      </a:lnTo>
                      <a:lnTo>
                        <a:pt x="475413" y="145395"/>
                      </a:lnTo>
                      <a:lnTo>
                        <a:pt x="476932" y="149013"/>
                      </a:lnTo>
                      <a:lnTo>
                        <a:pt x="470163" y="146758"/>
                      </a:lnTo>
                      <a:lnTo>
                        <a:pt x="465802" y="142756"/>
                      </a:lnTo>
                      <a:lnTo>
                        <a:pt x="460722" y="141700"/>
                      </a:lnTo>
                      <a:lnTo>
                        <a:pt x="459253" y="142896"/>
                      </a:lnTo>
                      <a:lnTo>
                        <a:pt x="464797" y="145211"/>
                      </a:lnTo>
                      <a:lnTo>
                        <a:pt x="466739" y="147095"/>
                      </a:lnTo>
                      <a:lnTo>
                        <a:pt x="468984" y="149377"/>
                      </a:lnTo>
                      <a:lnTo>
                        <a:pt x="472334" y="151651"/>
                      </a:lnTo>
                      <a:lnTo>
                        <a:pt x="472486" y="155012"/>
                      </a:lnTo>
                      <a:lnTo>
                        <a:pt x="470826" y="155258"/>
                      </a:lnTo>
                      <a:lnTo>
                        <a:pt x="468468" y="153993"/>
                      </a:lnTo>
                      <a:lnTo>
                        <a:pt x="465910" y="153347"/>
                      </a:lnTo>
                      <a:lnTo>
                        <a:pt x="466190" y="154091"/>
                      </a:lnTo>
                      <a:lnTo>
                        <a:pt x="466469" y="154597"/>
                      </a:lnTo>
                      <a:lnTo>
                        <a:pt x="467381" y="155695"/>
                      </a:lnTo>
                      <a:lnTo>
                        <a:pt x="468676" y="156989"/>
                      </a:lnTo>
                      <a:lnTo>
                        <a:pt x="468469" y="158572"/>
                      </a:lnTo>
                      <a:lnTo>
                        <a:pt x="466820" y="159542"/>
                      </a:lnTo>
                      <a:lnTo>
                        <a:pt x="468479" y="162547"/>
                      </a:lnTo>
                      <a:lnTo>
                        <a:pt x="469785" y="161844"/>
                      </a:lnTo>
                      <a:lnTo>
                        <a:pt x="472198" y="161419"/>
                      </a:lnTo>
                      <a:lnTo>
                        <a:pt x="474141" y="161271"/>
                      </a:lnTo>
                      <a:lnTo>
                        <a:pt x="474550" y="164615"/>
                      </a:lnTo>
                      <a:lnTo>
                        <a:pt x="473709" y="167877"/>
                      </a:lnTo>
                      <a:lnTo>
                        <a:pt x="470456" y="172405"/>
                      </a:lnTo>
                      <a:lnTo>
                        <a:pt x="467548" y="173965"/>
                      </a:lnTo>
                      <a:lnTo>
                        <a:pt x="468418" y="177566"/>
                      </a:lnTo>
                      <a:lnTo>
                        <a:pt x="470698" y="180534"/>
                      </a:lnTo>
                      <a:lnTo>
                        <a:pt x="473724" y="182634"/>
                      </a:lnTo>
                      <a:lnTo>
                        <a:pt x="473611" y="186613"/>
                      </a:lnTo>
                      <a:lnTo>
                        <a:pt x="474112" y="191383"/>
                      </a:lnTo>
                      <a:lnTo>
                        <a:pt x="476140" y="195828"/>
                      </a:lnTo>
                      <a:lnTo>
                        <a:pt x="478722" y="199604"/>
                      </a:lnTo>
                      <a:lnTo>
                        <a:pt x="480096" y="209640"/>
                      </a:lnTo>
                      <a:lnTo>
                        <a:pt x="481542" y="217365"/>
                      </a:lnTo>
                      <a:lnTo>
                        <a:pt x="485051" y="222817"/>
                      </a:lnTo>
                      <a:lnTo>
                        <a:pt x="495969" y="232475"/>
                      </a:lnTo>
                      <a:lnTo>
                        <a:pt x="500054" y="236851"/>
                      </a:lnTo>
                      <a:lnTo>
                        <a:pt x="503440" y="240409"/>
                      </a:lnTo>
                      <a:lnTo>
                        <a:pt x="505794" y="241462"/>
                      </a:lnTo>
                      <a:lnTo>
                        <a:pt x="505157" y="247044"/>
                      </a:lnTo>
                      <a:lnTo>
                        <a:pt x="502168" y="252923"/>
                      </a:lnTo>
                      <a:lnTo>
                        <a:pt x="496925" y="252823"/>
                      </a:lnTo>
                      <a:lnTo>
                        <a:pt x="493875" y="250962"/>
                      </a:lnTo>
                      <a:lnTo>
                        <a:pt x="493281" y="245890"/>
                      </a:lnTo>
                      <a:lnTo>
                        <a:pt x="492260" y="244310"/>
                      </a:lnTo>
                      <a:lnTo>
                        <a:pt x="491903" y="243204"/>
                      </a:lnTo>
                      <a:lnTo>
                        <a:pt x="491460" y="242235"/>
                      </a:lnTo>
                      <a:lnTo>
                        <a:pt x="490219" y="241081"/>
                      </a:lnTo>
                      <a:lnTo>
                        <a:pt x="487445" y="239811"/>
                      </a:lnTo>
                      <a:lnTo>
                        <a:pt x="485624" y="239223"/>
                      </a:lnTo>
                      <a:lnTo>
                        <a:pt x="480688" y="238521"/>
                      </a:lnTo>
                      <a:lnTo>
                        <a:pt x="477381" y="236114"/>
                      </a:lnTo>
                      <a:lnTo>
                        <a:pt x="470574" y="232932"/>
                      </a:lnTo>
                      <a:lnTo>
                        <a:pt x="464485" y="227973"/>
                      </a:lnTo>
                      <a:lnTo>
                        <a:pt x="461782" y="222507"/>
                      </a:lnTo>
                      <a:lnTo>
                        <a:pt x="453380" y="196455"/>
                      </a:lnTo>
                      <a:lnTo>
                        <a:pt x="451121" y="192139"/>
                      </a:lnTo>
                      <a:lnTo>
                        <a:pt x="450947" y="193370"/>
                      </a:lnTo>
                      <a:lnTo>
                        <a:pt x="451382" y="194739"/>
                      </a:lnTo>
                      <a:lnTo>
                        <a:pt x="451543" y="196777"/>
                      </a:lnTo>
                      <a:lnTo>
                        <a:pt x="454694" y="209596"/>
                      </a:lnTo>
                      <a:lnTo>
                        <a:pt x="456024" y="213439"/>
                      </a:lnTo>
                      <a:lnTo>
                        <a:pt x="456683" y="217519"/>
                      </a:lnTo>
                      <a:lnTo>
                        <a:pt x="457404" y="222103"/>
                      </a:lnTo>
                      <a:lnTo>
                        <a:pt x="458495" y="226212"/>
                      </a:lnTo>
                      <a:lnTo>
                        <a:pt x="462136" y="232344"/>
                      </a:lnTo>
                      <a:lnTo>
                        <a:pt x="468638" y="236803"/>
                      </a:lnTo>
                      <a:lnTo>
                        <a:pt x="474539" y="240814"/>
                      </a:lnTo>
                      <a:lnTo>
                        <a:pt x="485077" y="244580"/>
                      </a:lnTo>
                      <a:lnTo>
                        <a:pt x="486879" y="245611"/>
                      </a:lnTo>
                      <a:lnTo>
                        <a:pt x="488167" y="248798"/>
                      </a:lnTo>
                      <a:lnTo>
                        <a:pt x="490658" y="252175"/>
                      </a:lnTo>
                      <a:lnTo>
                        <a:pt x="493835" y="255007"/>
                      </a:lnTo>
                      <a:lnTo>
                        <a:pt x="498363" y="258262"/>
                      </a:lnTo>
                      <a:lnTo>
                        <a:pt x="501104" y="257934"/>
                      </a:lnTo>
                      <a:lnTo>
                        <a:pt x="502025" y="256513"/>
                      </a:lnTo>
                      <a:lnTo>
                        <a:pt x="504564" y="255174"/>
                      </a:lnTo>
                      <a:lnTo>
                        <a:pt x="507739" y="255336"/>
                      </a:lnTo>
                      <a:lnTo>
                        <a:pt x="509852" y="256531"/>
                      </a:lnTo>
                      <a:lnTo>
                        <a:pt x="508290" y="259475"/>
                      </a:lnTo>
                      <a:lnTo>
                        <a:pt x="507392" y="262371"/>
                      </a:lnTo>
                      <a:lnTo>
                        <a:pt x="508548" y="266069"/>
                      </a:lnTo>
                      <a:lnTo>
                        <a:pt x="510072" y="269382"/>
                      </a:lnTo>
                      <a:lnTo>
                        <a:pt x="511344" y="270657"/>
                      </a:lnTo>
                      <a:lnTo>
                        <a:pt x="515224" y="274834"/>
                      </a:lnTo>
                      <a:lnTo>
                        <a:pt x="520166" y="280136"/>
                      </a:lnTo>
                      <a:lnTo>
                        <a:pt x="523018" y="284363"/>
                      </a:lnTo>
                      <a:lnTo>
                        <a:pt x="521768" y="286178"/>
                      </a:lnTo>
                      <a:lnTo>
                        <a:pt x="520603" y="287739"/>
                      </a:lnTo>
                      <a:lnTo>
                        <a:pt x="522743" y="293050"/>
                      </a:lnTo>
                      <a:lnTo>
                        <a:pt x="523894" y="295514"/>
                      </a:lnTo>
                      <a:lnTo>
                        <a:pt x="524595" y="297684"/>
                      </a:lnTo>
                      <a:lnTo>
                        <a:pt x="525562" y="301193"/>
                      </a:lnTo>
                      <a:lnTo>
                        <a:pt x="523370" y="299621"/>
                      </a:lnTo>
                      <a:lnTo>
                        <a:pt x="520979" y="299054"/>
                      </a:lnTo>
                      <a:lnTo>
                        <a:pt x="512752" y="291390"/>
                      </a:lnTo>
                      <a:lnTo>
                        <a:pt x="509652" y="290630"/>
                      </a:lnTo>
                      <a:lnTo>
                        <a:pt x="506035" y="286585"/>
                      </a:lnTo>
                      <a:lnTo>
                        <a:pt x="506285" y="281766"/>
                      </a:lnTo>
                      <a:lnTo>
                        <a:pt x="504245" y="276286"/>
                      </a:lnTo>
                      <a:lnTo>
                        <a:pt x="500299" y="273542"/>
                      </a:lnTo>
                      <a:lnTo>
                        <a:pt x="500726" y="275146"/>
                      </a:lnTo>
                      <a:lnTo>
                        <a:pt x="502011" y="277768"/>
                      </a:lnTo>
                      <a:lnTo>
                        <a:pt x="502415" y="278966"/>
                      </a:lnTo>
                      <a:lnTo>
                        <a:pt x="502395" y="280713"/>
                      </a:lnTo>
                      <a:lnTo>
                        <a:pt x="501911" y="282162"/>
                      </a:lnTo>
                      <a:lnTo>
                        <a:pt x="501344" y="283259"/>
                      </a:lnTo>
                      <a:lnTo>
                        <a:pt x="500547" y="285672"/>
                      </a:lnTo>
                      <a:lnTo>
                        <a:pt x="498307" y="284549"/>
                      </a:lnTo>
                      <a:lnTo>
                        <a:pt x="494383" y="281236"/>
                      </a:lnTo>
                      <a:lnTo>
                        <a:pt x="494269" y="285878"/>
                      </a:lnTo>
                      <a:lnTo>
                        <a:pt x="493468" y="287410"/>
                      </a:lnTo>
                      <a:lnTo>
                        <a:pt x="491205" y="286303"/>
                      </a:lnTo>
                      <a:lnTo>
                        <a:pt x="490665" y="284786"/>
                      </a:lnTo>
                      <a:lnTo>
                        <a:pt x="489068" y="282670"/>
                      </a:lnTo>
                      <a:lnTo>
                        <a:pt x="487171" y="278507"/>
                      </a:lnTo>
                      <a:lnTo>
                        <a:pt x="484400" y="276009"/>
                      </a:lnTo>
                      <a:lnTo>
                        <a:pt x="480280" y="274106"/>
                      </a:lnTo>
                      <a:lnTo>
                        <a:pt x="475475" y="272133"/>
                      </a:lnTo>
                      <a:lnTo>
                        <a:pt x="471321" y="272078"/>
                      </a:lnTo>
                      <a:lnTo>
                        <a:pt x="465826" y="270653"/>
                      </a:lnTo>
                      <a:lnTo>
                        <a:pt x="462809" y="270268"/>
                      </a:lnTo>
                      <a:lnTo>
                        <a:pt x="454457" y="272627"/>
                      </a:lnTo>
                      <a:lnTo>
                        <a:pt x="450673" y="271075"/>
                      </a:lnTo>
                      <a:lnTo>
                        <a:pt x="446147" y="268474"/>
                      </a:lnTo>
                      <a:lnTo>
                        <a:pt x="445914" y="264434"/>
                      </a:lnTo>
                      <a:lnTo>
                        <a:pt x="444344" y="262129"/>
                      </a:lnTo>
                      <a:lnTo>
                        <a:pt x="443565" y="260482"/>
                      </a:lnTo>
                      <a:lnTo>
                        <a:pt x="441815" y="253959"/>
                      </a:lnTo>
                      <a:lnTo>
                        <a:pt x="439155" y="249378"/>
                      </a:lnTo>
                      <a:lnTo>
                        <a:pt x="435306" y="246098"/>
                      </a:lnTo>
                      <a:lnTo>
                        <a:pt x="430000" y="243494"/>
                      </a:lnTo>
                      <a:lnTo>
                        <a:pt x="435116" y="250987"/>
                      </a:lnTo>
                      <a:lnTo>
                        <a:pt x="437372" y="255197"/>
                      </a:lnTo>
                      <a:lnTo>
                        <a:pt x="439322" y="260126"/>
                      </a:lnTo>
                      <a:lnTo>
                        <a:pt x="440736" y="268155"/>
                      </a:lnTo>
                      <a:lnTo>
                        <a:pt x="436255" y="265799"/>
                      </a:lnTo>
                      <a:lnTo>
                        <a:pt x="431392" y="264211"/>
                      </a:lnTo>
                      <a:lnTo>
                        <a:pt x="427102" y="262825"/>
                      </a:lnTo>
                      <a:lnTo>
                        <a:pt x="426150" y="258723"/>
                      </a:lnTo>
                      <a:lnTo>
                        <a:pt x="421879" y="256108"/>
                      </a:lnTo>
                      <a:lnTo>
                        <a:pt x="417705" y="253976"/>
                      </a:lnTo>
                      <a:lnTo>
                        <a:pt x="414864" y="249421"/>
                      </a:lnTo>
                      <a:lnTo>
                        <a:pt x="408509" y="237139"/>
                      </a:lnTo>
                      <a:lnTo>
                        <a:pt x="406747" y="233716"/>
                      </a:lnTo>
                      <a:lnTo>
                        <a:pt x="404612" y="230273"/>
                      </a:lnTo>
                      <a:lnTo>
                        <a:pt x="404795" y="232005"/>
                      </a:lnTo>
                      <a:lnTo>
                        <a:pt x="404693" y="233602"/>
                      </a:lnTo>
                      <a:lnTo>
                        <a:pt x="404355" y="235119"/>
                      </a:lnTo>
                      <a:lnTo>
                        <a:pt x="403741" y="236534"/>
                      </a:lnTo>
                      <a:lnTo>
                        <a:pt x="401953" y="239865"/>
                      </a:lnTo>
                      <a:lnTo>
                        <a:pt x="400212" y="241340"/>
                      </a:lnTo>
                      <a:lnTo>
                        <a:pt x="397356" y="243672"/>
                      </a:lnTo>
                      <a:lnTo>
                        <a:pt x="395677" y="243315"/>
                      </a:lnTo>
                      <a:lnTo>
                        <a:pt x="395192" y="239196"/>
                      </a:lnTo>
                      <a:lnTo>
                        <a:pt x="394599" y="237278"/>
                      </a:lnTo>
                      <a:lnTo>
                        <a:pt x="395186" y="235820"/>
                      </a:lnTo>
                      <a:lnTo>
                        <a:pt x="394953" y="234505"/>
                      </a:lnTo>
                      <a:lnTo>
                        <a:pt x="394369" y="234147"/>
                      </a:lnTo>
                      <a:lnTo>
                        <a:pt x="394159" y="233985"/>
                      </a:lnTo>
                      <a:lnTo>
                        <a:pt x="394021" y="233797"/>
                      </a:lnTo>
                      <a:lnTo>
                        <a:pt x="393609" y="233364"/>
                      </a:lnTo>
                      <a:lnTo>
                        <a:pt x="391749" y="234585"/>
                      </a:lnTo>
                      <a:lnTo>
                        <a:pt x="390022" y="236125"/>
                      </a:lnTo>
                      <a:lnTo>
                        <a:pt x="391148" y="236668"/>
                      </a:lnTo>
                      <a:lnTo>
                        <a:pt x="391914" y="237342"/>
                      </a:lnTo>
                      <a:lnTo>
                        <a:pt x="393759" y="239565"/>
                      </a:lnTo>
                      <a:lnTo>
                        <a:pt x="391721" y="245763"/>
                      </a:lnTo>
                      <a:lnTo>
                        <a:pt x="390325" y="247653"/>
                      </a:lnTo>
                      <a:lnTo>
                        <a:pt x="387160" y="249233"/>
                      </a:lnTo>
                      <a:lnTo>
                        <a:pt x="385762" y="250448"/>
                      </a:lnTo>
                      <a:lnTo>
                        <a:pt x="382252" y="252489"/>
                      </a:lnTo>
                      <a:lnTo>
                        <a:pt x="377672" y="251013"/>
                      </a:lnTo>
                      <a:lnTo>
                        <a:pt x="373544" y="247783"/>
                      </a:lnTo>
                      <a:lnTo>
                        <a:pt x="371504" y="242299"/>
                      </a:lnTo>
                      <a:lnTo>
                        <a:pt x="371370" y="237644"/>
                      </a:lnTo>
                      <a:lnTo>
                        <a:pt x="369405" y="233873"/>
                      </a:lnTo>
                      <a:lnTo>
                        <a:pt x="368650" y="230128"/>
                      </a:lnTo>
                      <a:lnTo>
                        <a:pt x="369622" y="226981"/>
                      </a:lnTo>
                      <a:lnTo>
                        <a:pt x="370658" y="224808"/>
                      </a:lnTo>
                      <a:lnTo>
                        <a:pt x="371558" y="222183"/>
                      </a:lnTo>
                      <a:lnTo>
                        <a:pt x="372668" y="218693"/>
                      </a:lnTo>
                      <a:lnTo>
                        <a:pt x="375481" y="218733"/>
                      </a:lnTo>
                      <a:lnTo>
                        <a:pt x="378882" y="218337"/>
                      </a:lnTo>
                      <a:lnTo>
                        <a:pt x="381013" y="214615"/>
                      </a:lnTo>
                      <a:lnTo>
                        <a:pt x="379839" y="214456"/>
                      </a:lnTo>
                      <a:lnTo>
                        <a:pt x="378048" y="216195"/>
                      </a:lnTo>
                      <a:lnTo>
                        <a:pt x="375643" y="216879"/>
                      </a:lnTo>
                      <a:lnTo>
                        <a:pt x="375589" y="215287"/>
                      </a:lnTo>
                      <a:lnTo>
                        <a:pt x="376716" y="212251"/>
                      </a:lnTo>
                      <a:lnTo>
                        <a:pt x="377671" y="209819"/>
                      </a:lnTo>
                      <a:lnTo>
                        <a:pt x="378418" y="209304"/>
                      </a:lnTo>
                      <a:lnTo>
                        <a:pt x="379315" y="208909"/>
                      </a:lnTo>
                      <a:lnTo>
                        <a:pt x="380304" y="207908"/>
                      </a:lnTo>
                      <a:lnTo>
                        <a:pt x="381251" y="207547"/>
                      </a:lnTo>
                      <a:lnTo>
                        <a:pt x="384596" y="207523"/>
                      </a:lnTo>
                      <a:lnTo>
                        <a:pt x="386013" y="207018"/>
                      </a:lnTo>
                      <a:lnTo>
                        <a:pt x="386652" y="205936"/>
                      </a:lnTo>
                      <a:lnTo>
                        <a:pt x="387049" y="202864"/>
                      </a:lnTo>
                      <a:lnTo>
                        <a:pt x="387857" y="199912"/>
                      </a:lnTo>
                      <a:lnTo>
                        <a:pt x="387882" y="196921"/>
                      </a:lnTo>
                      <a:lnTo>
                        <a:pt x="388516" y="195294"/>
                      </a:lnTo>
                      <a:lnTo>
                        <a:pt x="389469" y="194098"/>
                      </a:lnTo>
                      <a:lnTo>
                        <a:pt x="390505" y="193172"/>
                      </a:lnTo>
                      <a:lnTo>
                        <a:pt x="393252" y="192411"/>
                      </a:lnTo>
                      <a:lnTo>
                        <a:pt x="395593" y="191683"/>
                      </a:lnTo>
                      <a:lnTo>
                        <a:pt x="396986" y="192404"/>
                      </a:lnTo>
                      <a:lnTo>
                        <a:pt x="399340" y="192386"/>
                      </a:lnTo>
                      <a:lnTo>
                        <a:pt x="400696" y="191973"/>
                      </a:lnTo>
                      <a:lnTo>
                        <a:pt x="400126" y="191424"/>
                      </a:lnTo>
                      <a:lnTo>
                        <a:pt x="398863" y="191648"/>
                      </a:lnTo>
                      <a:lnTo>
                        <a:pt x="397765" y="191083"/>
                      </a:lnTo>
                      <a:lnTo>
                        <a:pt x="397006" y="190249"/>
                      </a:lnTo>
                      <a:lnTo>
                        <a:pt x="397452" y="188896"/>
                      </a:lnTo>
                      <a:lnTo>
                        <a:pt x="397020" y="186114"/>
                      </a:lnTo>
                      <a:lnTo>
                        <a:pt x="397478" y="184419"/>
                      </a:lnTo>
                      <a:lnTo>
                        <a:pt x="398327" y="183802"/>
                      </a:lnTo>
                      <a:lnTo>
                        <a:pt x="399424" y="183761"/>
                      </a:lnTo>
                      <a:lnTo>
                        <a:pt x="399240" y="183176"/>
                      </a:lnTo>
                      <a:lnTo>
                        <a:pt x="397914" y="182444"/>
                      </a:lnTo>
                      <a:lnTo>
                        <a:pt x="397098" y="181969"/>
                      </a:lnTo>
                      <a:lnTo>
                        <a:pt x="396201" y="180122"/>
                      </a:lnTo>
                      <a:lnTo>
                        <a:pt x="396128" y="178150"/>
                      </a:lnTo>
                      <a:lnTo>
                        <a:pt x="396675" y="176968"/>
                      </a:lnTo>
                      <a:lnTo>
                        <a:pt x="396916" y="175570"/>
                      </a:lnTo>
                      <a:lnTo>
                        <a:pt x="396273" y="174663"/>
                      </a:lnTo>
                      <a:lnTo>
                        <a:pt x="395788" y="173467"/>
                      </a:lnTo>
                      <a:lnTo>
                        <a:pt x="402633" y="165319"/>
                      </a:lnTo>
                      <a:lnTo>
                        <a:pt x="410006" y="156527"/>
                      </a:lnTo>
                      <a:lnTo>
                        <a:pt x="397541" y="147404"/>
                      </a:lnTo>
                      <a:lnTo>
                        <a:pt x="386797" y="139536"/>
                      </a:lnTo>
                      <a:lnTo>
                        <a:pt x="382159" y="145093"/>
                      </a:lnTo>
                      <a:lnTo>
                        <a:pt x="377072" y="151181"/>
                      </a:lnTo>
                      <a:lnTo>
                        <a:pt x="374652" y="148379"/>
                      </a:lnTo>
                      <a:lnTo>
                        <a:pt x="372083" y="146015"/>
                      </a:lnTo>
                      <a:lnTo>
                        <a:pt x="368098" y="145387"/>
                      </a:lnTo>
                      <a:lnTo>
                        <a:pt x="362786" y="144034"/>
                      </a:lnTo>
                      <a:lnTo>
                        <a:pt x="360576" y="143783"/>
                      </a:lnTo>
                      <a:lnTo>
                        <a:pt x="358334" y="142932"/>
                      </a:lnTo>
                      <a:lnTo>
                        <a:pt x="356908" y="140673"/>
                      </a:lnTo>
                      <a:lnTo>
                        <a:pt x="355790" y="137895"/>
                      </a:lnTo>
                      <a:lnTo>
                        <a:pt x="354441" y="135527"/>
                      </a:lnTo>
                      <a:lnTo>
                        <a:pt x="350585" y="132504"/>
                      </a:lnTo>
                      <a:lnTo>
                        <a:pt x="345793" y="130553"/>
                      </a:lnTo>
                      <a:lnTo>
                        <a:pt x="340770" y="129565"/>
                      </a:lnTo>
                      <a:lnTo>
                        <a:pt x="327339" y="129163"/>
                      </a:lnTo>
                      <a:lnTo>
                        <a:pt x="323483" y="127547"/>
                      </a:lnTo>
                      <a:lnTo>
                        <a:pt x="317236" y="122847"/>
                      </a:lnTo>
                      <a:lnTo>
                        <a:pt x="314655" y="121065"/>
                      </a:lnTo>
                      <a:lnTo>
                        <a:pt x="312257" y="118842"/>
                      </a:lnTo>
                      <a:lnTo>
                        <a:pt x="310906" y="116184"/>
                      </a:lnTo>
                      <a:lnTo>
                        <a:pt x="311494" y="113143"/>
                      </a:lnTo>
                      <a:lnTo>
                        <a:pt x="315725" y="108810"/>
                      </a:lnTo>
                      <a:lnTo>
                        <a:pt x="317477" y="105990"/>
                      </a:lnTo>
                      <a:lnTo>
                        <a:pt x="317387" y="102356"/>
                      </a:lnTo>
                      <a:lnTo>
                        <a:pt x="315270" y="99704"/>
                      </a:lnTo>
                      <a:lnTo>
                        <a:pt x="312073" y="98682"/>
                      </a:lnTo>
                      <a:lnTo>
                        <a:pt x="308532" y="97996"/>
                      </a:lnTo>
                      <a:lnTo>
                        <a:pt x="305377" y="96378"/>
                      </a:lnTo>
                      <a:lnTo>
                        <a:pt x="301704" y="92082"/>
                      </a:lnTo>
                      <a:lnTo>
                        <a:pt x="299819" y="90786"/>
                      </a:lnTo>
                      <a:lnTo>
                        <a:pt x="292775" y="89667"/>
                      </a:lnTo>
                      <a:lnTo>
                        <a:pt x="286023" y="87693"/>
                      </a:lnTo>
                      <a:lnTo>
                        <a:pt x="283165" y="87361"/>
                      </a:lnTo>
                      <a:lnTo>
                        <a:pt x="275543" y="87780"/>
                      </a:lnTo>
                      <a:lnTo>
                        <a:pt x="272415" y="86691"/>
                      </a:lnTo>
                      <a:lnTo>
                        <a:pt x="272195" y="86617"/>
                      </a:lnTo>
                      <a:lnTo>
                        <a:pt x="269309" y="83321"/>
                      </a:lnTo>
                      <a:lnTo>
                        <a:pt x="268728" y="80156"/>
                      </a:lnTo>
                      <a:lnTo>
                        <a:pt x="269297" y="76799"/>
                      </a:lnTo>
                      <a:lnTo>
                        <a:pt x="269458" y="73517"/>
                      </a:lnTo>
                      <a:lnTo>
                        <a:pt x="267638" y="70616"/>
                      </a:lnTo>
                      <a:lnTo>
                        <a:pt x="260300" y="68310"/>
                      </a:lnTo>
                      <a:lnTo>
                        <a:pt x="258089" y="66712"/>
                      </a:lnTo>
                      <a:lnTo>
                        <a:pt x="260899" y="64284"/>
                      </a:lnTo>
                      <a:lnTo>
                        <a:pt x="259618" y="62158"/>
                      </a:lnTo>
                      <a:lnTo>
                        <a:pt x="259266" y="60239"/>
                      </a:lnTo>
                      <a:lnTo>
                        <a:pt x="260001" y="58813"/>
                      </a:lnTo>
                      <a:lnTo>
                        <a:pt x="261974" y="58150"/>
                      </a:lnTo>
                      <a:lnTo>
                        <a:pt x="261763" y="56948"/>
                      </a:lnTo>
                      <a:lnTo>
                        <a:pt x="259023" y="57286"/>
                      </a:lnTo>
                      <a:lnTo>
                        <a:pt x="256636" y="58155"/>
                      </a:lnTo>
                      <a:lnTo>
                        <a:pt x="254430" y="58257"/>
                      </a:lnTo>
                      <a:lnTo>
                        <a:pt x="252184" y="56297"/>
                      </a:lnTo>
                      <a:lnTo>
                        <a:pt x="252104" y="55156"/>
                      </a:lnTo>
                      <a:lnTo>
                        <a:pt x="252813" y="54087"/>
                      </a:lnTo>
                      <a:lnTo>
                        <a:pt x="253112" y="52746"/>
                      </a:lnTo>
                      <a:lnTo>
                        <a:pt x="251780" y="50812"/>
                      </a:lnTo>
                      <a:lnTo>
                        <a:pt x="250339" y="50367"/>
                      </a:lnTo>
                      <a:lnTo>
                        <a:pt x="249421" y="51603"/>
                      </a:lnTo>
                      <a:lnTo>
                        <a:pt x="248973" y="53568"/>
                      </a:lnTo>
                      <a:lnTo>
                        <a:pt x="248910" y="55273"/>
                      </a:lnTo>
                      <a:lnTo>
                        <a:pt x="247983" y="55327"/>
                      </a:lnTo>
                      <a:lnTo>
                        <a:pt x="244665" y="48866"/>
                      </a:lnTo>
                      <a:lnTo>
                        <a:pt x="243426" y="46991"/>
                      </a:lnTo>
                      <a:lnTo>
                        <a:pt x="246966" y="45888"/>
                      </a:lnTo>
                      <a:lnTo>
                        <a:pt x="249319" y="43599"/>
                      </a:lnTo>
                      <a:lnTo>
                        <a:pt x="249617" y="40850"/>
                      </a:lnTo>
                      <a:lnTo>
                        <a:pt x="246961" y="38294"/>
                      </a:lnTo>
                      <a:lnTo>
                        <a:pt x="245378" y="37793"/>
                      </a:lnTo>
                      <a:lnTo>
                        <a:pt x="243264" y="37547"/>
                      </a:lnTo>
                      <a:lnTo>
                        <a:pt x="241505" y="37931"/>
                      </a:lnTo>
                      <a:lnTo>
                        <a:pt x="240955" y="39308"/>
                      </a:lnTo>
                      <a:lnTo>
                        <a:pt x="240222" y="39962"/>
                      </a:lnTo>
                      <a:lnTo>
                        <a:pt x="235873" y="39126"/>
                      </a:lnTo>
                      <a:lnTo>
                        <a:pt x="234326" y="39693"/>
                      </a:lnTo>
                      <a:lnTo>
                        <a:pt x="232241" y="41089"/>
                      </a:lnTo>
                      <a:lnTo>
                        <a:pt x="229018" y="41145"/>
                      </a:lnTo>
                      <a:lnTo>
                        <a:pt x="225436" y="40217"/>
                      </a:lnTo>
                      <a:lnTo>
                        <a:pt x="222298" y="38626"/>
                      </a:lnTo>
                      <a:lnTo>
                        <a:pt x="209078" y="28683"/>
                      </a:lnTo>
                      <a:lnTo>
                        <a:pt x="201498" y="25020"/>
                      </a:lnTo>
                      <a:lnTo>
                        <a:pt x="193729" y="24951"/>
                      </a:lnTo>
                      <a:lnTo>
                        <a:pt x="192091" y="25547"/>
                      </a:lnTo>
                      <a:lnTo>
                        <a:pt x="190801" y="26241"/>
                      </a:lnTo>
                      <a:lnTo>
                        <a:pt x="189728" y="27125"/>
                      </a:lnTo>
                      <a:lnTo>
                        <a:pt x="186136" y="32274"/>
                      </a:lnTo>
                      <a:lnTo>
                        <a:pt x="184616" y="33651"/>
                      </a:lnTo>
                      <a:lnTo>
                        <a:pt x="182486" y="36957"/>
                      </a:lnTo>
                      <a:lnTo>
                        <a:pt x="181542" y="37873"/>
                      </a:lnTo>
                      <a:lnTo>
                        <a:pt x="178576" y="38106"/>
                      </a:lnTo>
                      <a:lnTo>
                        <a:pt x="172343" y="37247"/>
                      </a:lnTo>
                      <a:lnTo>
                        <a:pt x="169479" y="38055"/>
                      </a:lnTo>
                      <a:lnTo>
                        <a:pt x="165897" y="40034"/>
                      </a:lnTo>
                      <a:lnTo>
                        <a:pt x="164549" y="40266"/>
                      </a:lnTo>
                      <a:lnTo>
                        <a:pt x="161547" y="39967"/>
                      </a:lnTo>
                      <a:lnTo>
                        <a:pt x="160256" y="40153"/>
                      </a:lnTo>
                      <a:lnTo>
                        <a:pt x="158894" y="41135"/>
                      </a:lnTo>
                      <a:lnTo>
                        <a:pt x="163918" y="46188"/>
                      </a:lnTo>
                      <a:lnTo>
                        <a:pt x="162131" y="46987"/>
                      </a:lnTo>
                      <a:lnTo>
                        <a:pt x="159223" y="47186"/>
                      </a:lnTo>
                      <a:lnTo>
                        <a:pt x="156902" y="47970"/>
                      </a:lnTo>
                      <a:lnTo>
                        <a:pt x="156837" y="50482"/>
                      </a:lnTo>
                      <a:lnTo>
                        <a:pt x="159974" y="51240"/>
                      </a:lnTo>
                      <a:lnTo>
                        <a:pt x="160860" y="52109"/>
                      </a:lnTo>
                      <a:lnTo>
                        <a:pt x="160461" y="53930"/>
                      </a:lnTo>
                      <a:lnTo>
                        <a:pt x="156341" y="57354"/>
                      </a:lnTo>
                      <a:lnTo>
                        <a:pt x="145368" y="56590"/>
                      </a:lnTo>
                      <a:lnTo>
                        <a:pt x="140509" y="58355"/>
                      </a:lnTo>
                      <a:lnTo>
                        <a:pt x="140262" y="59050"/>
                      </a:lnTo>
                      <a:lnTo>
                        <a:pt x="127747" y="57827"/>
                      </a:lnTo>
                      <a:lnTo>
                        <a:pt x="123897" y="56923"/>
                      </a:lnTo>
                      <a:lnTo>
                        <a:pt x="123081" y="56418"/>
                      </a:lnTo>
                      <a:lnTo>
                        <a:pt x="122349" y="55874"/>
                      </a:lnTo>
                      <a:lnTo>
                        <a:pt x="119621" y="54449"/>
                      </a:lnTo>
                      <a:lnTo>
                        <a:pt x="113768" y="52304"/>
                      </a:lnTo>
                      <a:lnTo>
                        <a:pt x="113208" y="52015"/>
                      </a:lnTo>
                      <a:lnTo>
                        <a:pt x="112838" y="51763"/>
                      </a:lnTo>
                      <a:lnTo>
                        <a:pt x="111818" y="50737"/>
                      </a:lnTo>
                      <a:lnTo>
                        <a:pt x="111674" y="50532"/>
                      </a:lnTo>
                      <a:lnTo>
                        <a:pt x="111546" y="50236"/>
                      </a:lnTo>
                      <a:lnTo>
                        <a:pt x="111457" y="49765"/>
                      </a:lnTo>
                      <a:lnTo>
                        <a:pt x="111379" y="49055"/>
                      </a:lnTo>
                      <a:lnTo>
                        <a:pt x="111492" y="48386"/>
                      </a:lnTo>
                      <a:lnTo>
                        <a:pt x="111649" y="47914"/>
                      </a:lnTo>
                      <a:lnTo>
                        <a:pt x="111933" y="47496"/>
                      </a:lnTo>
                      <a:lnTo>
                        <a:pt x="113042" y="46764"/>
                      </a:lnTo>
                      <a:lnTo>
                        <a:pt x="113752" y="46469"/>
                      </a:lnTo>
                      <a:lnTo>
                        <a:pt x="113849" y="46053"/>
                      </a:lnTo>
                      <a:lnTo>
                        <a:pt x="113455" y="45442"/>
                      </a:lnTo>
                      <a:lnTo>
                        <a:pt x="111608" y="44506"/>
                      </a:lnTo>
                      <a:lnTo>
                        <a:pt x="110021" y="43199"/>
                      </a:lnTo>
                      <a:lnTo>
                        <a:pt x="109450" y="42513"/>
                      </a:lnTo>
                      <a:lnTo>
                        <a:pt x="108249" y="41678"/>
                      </a:lnTo>
                      <a:lnTo>
                        <a:pt x="107518" y="41581"/>
                      </a:lnTo>
                      <a:lnTo>
                        <a:pt x="106972" y="41797"/>
                      </a:lnTo>
                      <a:lnTo>
                        <a:pt x="106647" y="42390"/>
                      </a:lnTo>
                      <a:lnTo>
                        <a:pt x="106365" y="43059"/>
                      </a:lnTo>
                      <a:lnTo>
                        <a:pt x="105987" y="44504"/>
                      </a:lnTo>
                      <a:lnTo>
                        <a:pt x="105423" y="46016"/>
                      </a:lnTo>
                      <a:lnTo>
                        <a:pt x="103737" y="49169"/>
                      </a:lnTo>
                      <a:lnTo>
                        <a:pt x="103411" y="50000"/>
                      </a:lnTo>
                      <a:lnTo>
                        <a:pt x="103199" y="50943"/>
                      </a:lnTo>
                      <a:lnTo>
                        <a:pt x="103252" y="51858"/>
                      </a:lnTo>
                      <a:lnTo>
                        <a:pt x="103538" y="52595"/>
                      </a:lnTo>
                      <a:lnTo>
                        <a:pt x="104333" y="53568"/>
                      </a:lnTo>
                      <a:lnTo>
                        <a:pt x="104567" y="54049"/>
                      </a:lnTo>
                      <a:lnTo>
                        <a:pt x="104176" y="54525"/>
                      </a:lnTo>
                      <a:lnTo>
                        <a:pt x="103359" y="54895"/>
                      </a:lnTo>
                      <a:lnTo>
                        <a:pt x="100828" y="55558"/>
                      </a:lnTo>
                      <a:lnTo>
                        <a:pt x="100097" y="55863"/>
                      </a:lnTo>
                      <a:lnTo>
                        <a:pt x="99441" y="56292"/>
                      </a:lnTo>
                      <a:lnTo>
                        <a:pt x="98953" y="56769"/>
                      </a:lnTo>
                      <a:lnTo>
                        <a:pt x="98429" y="57399"/>
                      </a:lnTo>
                      <a:lnTo>
                        <a:pt x="98047" y="58004"/>
                      </a:lnTo>
                      <a:lnTo>
                        <a:pt x="96925" y="60452"/>
                      </a:lnTo>
                      <a:lnTo>
                        <a:pt x="95509" y="62836"/>
                      </a:lnTo>
                      <a:lnTo>
                        <a:pt x="87917" y="71693"/>
                      </a:lnTo>
                      <a:lnTo>
                        <a:pt x="86785" y="73953"/>
                      </a:lnTo>
                      <a:lnTo>
                        <a:pt x="86208" y="74690"/>
                      </a:lnTo>
                      <a:lnTo>
                        <a:pt x="85455" y="75359"/>
                      </a:lnTo>
                      <a:lnTo>
                        <a:pt x="83883" y="76133"/>
                      </a:lnTo>
                      <a:lnTo>
                        <a:pt x="82620" y="76270"/>
                      </a:lnTo>
                      <a:lnTo>
                        <a:pt x="81451" y="76126"/>
                      </a:lnTo>
                      <a:lnTo>
                        <a:pt x="79717" y="75367"/>
                      </a:lnTo>
                      <a:lnTo>
                        <a:pt x="76486" y="73044"/>
                      </a:lnTo>
                      <a:lnTo>
                        <a:pt x="73835" y="71850"/>
                      </a:lnTo>
                      <a:lnTo>
                        <a:pt x="71130" y="71088"/>
                      </a:lnTo>
                      <a:lnTo>
                        <a:pt x="69726" y="71037"/>
                      </a:lnTo>
                      <a:lnTo>
                        <a:pt x="68620" y="71275"/>
                      </a:lnTo>
                      <a:lnTo>
                        <a:pt x="63349" y="74229"/>
                      </a:lnTo>
                      <a:lnTo>
                        <a:pt x="62743" y="74812"/>
                      </a:lnTo>
                      <a:lnTo>
                        <a:pt x="62269" y="75594"/>
                      </a:lnTo>
                      <a:lnTo>
                        <a:pt x="61932" y="76379"/>
                      </a:lnTo>
                      <a:lnTo>
                        <a:pt x="60753" y="80921"/>
                      </a:lnTo>
                      <a:lnTo>
                        <a:pt x="60490" y="81551"/>
                      </a:lnTo>
                      <a:lnTo>
                        <a:pt x="60163" y="82178"/>
                      </a:lnTo>
                      <a:lnTo>
                        <a:pt x="59695" y="82843"/>
                      </a:lnTo>
                      <a:lnTo>
                        <a:pt x="59212" y="83376"/>
                      </a:lnTo>
                      <a:lnTo>
                        <a:pt x="56683" y="85572"/>
                      </a:lnTo>
                      <a:lnTo>
                        <a:pt x="55357" y="87833"/>
                      </a:lnTo>
                      <a:lnTo>
                        <a:pt x="54796" y="88525"/>
                      </a:lnTo>
                      <a:lnTo>
                        <a:pt x="54134" y="89071"/>
                      </a:lnTo>
                      <a:lnTo>
                        <a:pt x="47692" y="92878"/>
                      </a:lnTo>
                      <a:lnTo>
                        <a:pt x="43916" y="96057"/>
                      </a:lnTo>
                      <a:lnTo>
                        <a:pt x="42262" y="98032"/>
                      </a:lnTo>
                      <a:lnTo>
                        <a:pt x="41431" y="99604"/>
                      </a:lnTo>
                      <a:lnTo>
                        <a:pt x="40262" y="103427"/>
                      </a:lnTo>
                      <a:lnTo>
                        <a:pt x="39773" y="104162"/>
                      </a:lnTo>
                      <a:lnTo>
                        <a:pt x="38684" y="104710"/>
                      </a:lnTo>
                      <a:lnTo>
                        <a:pt x="32619" y="105996"/>
                      </a:lnTo>
                      <a:lnTo>
                        <a:pt x="31475" y="106411"/>
                      </a:lnTo>
                      <a:lnTo>
                        <a:pt x="16854" y="121037"/>
                      </a:lnTo>
                      <a:lnTo>
                        <a:pt x="15124" y="122301"/>
                      </a:lnTo>
                      <a:lnTo>
                        <a:pt x="13741" y="123044"/>
                      </a:lnTo>
                      <a:lnTo>
                        <a:pt x="13152" y="123044"/>
                      </a:lnTo>
                      <a:lnTo>
                        <a:pt x="12748" y="122543"/>
                      </a:lnTo>
                      <a:lnTo>
                        <a:pt x="0" y="32527"/>
                      </a:lnTo>
                      <a:lnTo>
                        <a:pt x="17258" y="31611"/>
                      </a:lnTo>
                      <a:lnTo>
                        <a:pt x="34514" y="30696"/>
                      </a:lnTo>
                      <a:lnTo>
                        <a:pt x="51769" y="29774"/>
                      </a:lnTo>
                      <a:lnTo>
                        <a:pt x="69022" y="28837"/>
                      </a:lnTo>
                      <a:lnTo>
                        <a:pt x="86270" y="27894"/>
                      </a:lnTo>
                      <a:lnTo>
                        <a:pt x="103517" y="26943"/>
                      </a:lnTo>
                      <a:lnTo>
                        <a:pt x="120747" y="25987"/>
                      </a:lnTo>
                      <a:lnTo>
                        <a:pt x="137991" y="25028"/>
                      </a:lnTo>
                      <a:lnTo>
                        <a:pt x="155226" y="24062"/>
                      </a:lnTo>
                      <a:lnTo>
                        <a:pt x="172448" y="23086"/>
                      </a:lnTo>
                      <a:lnTo>
                        <a:pt x="189673" y="22103"/>
                      </a:lnTo>
                      <a:lnTo>
                        <a:pt x="206896" y="21113"/>
                      </a:lnTo>
                      <a:lnTo>
                        <a:pt x="224114" y="20116"/>
                      </a:lnTo>
                      <a:lnTo>
                        <a:pt x="241334" y="19121"/>
                      </a:lnTo>
                      <a:lnTo>
                        <a:pt x="258541" y="18121"/>
                      </a:lnTo>
                      <a:lnTo>
                        <a:pt x="275744" y="17104"/>
                      </a:lnTo>
                      <a:lnTo>
                        <a:pt x="292951" y="16080"/>
                      </a:lnTo>
                      <a:lnTo>
                        <a:pt x="310142" y="15051"/>
                      </a:lnTo>
                      <a:lnTo>
                        <a:pt x="327336" y="14014"/>
                      </a:lnTo>
                      <a:lnTo>
                        <a:pt x="344531" y="12974"/>
                      </a:lnTo>
                      <a:lnTo>
                        <a:pt x="361719" y="11933"/>
                      </a:lnTo>
                      <a:lnTo>
                        <a:pt x="378901" y="10876"/>
                      </a:lnTo>
                      <a:lnTo>
                        <a:pt x="396073" y="9813"/>
                      </a:lnTo>
                      <a:lnTo>
                        <a:pt x="413248" y="8743"/>
                      </a:lnTo>
                      <a:lnTo>
                        <a:pt x="430421" y="7666"/>
                      </a:lnTo>
                      <a:lnTo>
                        <a:pt x="447586" y="6591"/>
                      </a:lnTo>
                      <a:lnTo>
                        <a:pt x="464750" y="5510"/>
                      </a:lnTo>
                      <a:lnTo>
                        <a:pt x="481907" y="4413"/>
                      </a:lnTo>
                      <a:lnTo>
                        <a:pt x="499058" y="3309"/>
                      </a:lnTo>
                      <a:lnTo>
                        <a:pt x="516210" y="2198"/>
                      </a:lnTo>
                      <a:lnTo>
                        <a:pt x="533344" y="108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5" name="Freeform 181">
                  <a:extLst>
                    <a:ext uri="{FF2B5EF4-FFF2-40B4-BE49-F238E27FC236}">
                      <a16:creationId xmlns:a16="http://schemas.microsoft.com/office/drawing/2014/main" id="{F0CD8772-DC38-4503-8A05-1B910AD0A40F}"/>
                    </a:ext>
                  </a:extLst>
                </p:cNvPr>
                <p:cNvSpPr/>
                <p:nvPr>
                  <p:custDataLst>
                    <p:tags r:id="rId46"/>
                  </p:custDataLst>
                </p:nvPr>
              </p:nvSpPr>
              <p:spPr>
                <a:xfrm>
                  <a:off x="5351001" y="4092097"/>
                  <a:ext cx="142973" cy="2909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466" h="430365">
                      <a:moveTo>
                        <a:pt x="184522" y="327917"/>
                      </a:moveTo>
                      <a:lnTo>
                        <a:pt x="192074" y="328360"/>
                      </a:lnTo>
                      <a:lnTo>
                        <a:pt x="191840" y="329266"/>
                      </a:lnTo>
                      <a:lnTo>
                        <a:pt x="190761" y="330172"/>
                      </a:lnTo>
                      <a:lnTo>
                        <a:pt x="190132" y="330421"/>
                      </a:lnTo>
                      <a:lnTo>
                        <a:pt x="189221" y="335483"/>
                      </a:lnTo>
                      <a:lnTo>
                        <a:pt x="185916" y="340108"/>
                      </a:lnTo>
                      <a:lnTo>
                        <a:pt x="181300" y="342655"/>
                      </a:lnTo>
                      <a:lnTo>
                        <a:pt x="176353" y="342178"/>
                      </a:lnTo>
                      <a:lnTo>
                        <a:pt x="172035" y="337804"/>
                      </a:lnTo>
                      <a:lnTo>
                        <a:pt x="174397" y="336655"/>
                      </a:lnTo>
                      <a:lnTo>
                        <a:pt x="176072" y="338046"/>
                      </a:lnTo>
                      <a:lnTo>
                        <a:pt x="177727" y="340108"/>
                      </a:lnTo>
                      <a:lnTo>
                        <a:pt x="179975" y="340919"/>
                      </a:lnTo>
                      <a:lnTo>
                        <a:pt x="181667" y="339526"/>
                      </a:lnTo>
                      <a:lnTo>
                        <a:pt x="182774" y="334057"/>
                      </a:lnTo>
                      <a:lnTo>
                        <a:pt x="184306" y="332055"/>
                      </a:lnTo>
                      <a:lnTo>
                        <a:pt x="182350" y="328994"/>
                      </a:lnTo>
                      <a:close/>
                      <a:moveTo>
                        <a:pt x="211466" y="274895"/>
                      </a:moveTo>
                      <a:lnTo>
                        <a:pt x="211332" y="279653"/>
                      </a:lnTo>
                      <a:lnTo>
                        <a:pt x="208839" y="284820"/>
                      </a:lnTo>
                      <a:lnTo>
                        <a:pt x="207466" y="291254"/>
                      </a:lnTo>
                      <a:lnTo>
                        <a:pt x="203953" y="300517"/>
                      </a:lnTo>
                      <a:lnTo>
                        <a:pt x="199265" y="312052"/>
                      </a:lnTo>
                      <a:lnTo>
                        <a:pt x="196731" y="317744"/>
                      </a:lnTo>
                      <a:lnTo>
                        <a:pt x="196549" y="316409"/>
                      </a:lnTo>
                      <a:lnTo>
                        <a:pt x="196561" y="315534"/>
                      </a:lnTo>
                      <a:lnTo>
                        <a:pt x="196063" y="313287"/>
                      </a:lnTo>
                      <a:lnTo>
                        <a:pt x="197183" y="308191"/>
                      </a:lnTo>
                      <a:lnTo>
                        <a:pt x="204946" y="287932"/>
                      </a:lnTo>
                      <a:lnTo>
                        <a:pt x="207865" y="282495"/>
                      </a:lnTo>
                      <a:lnTo>
                        <a:pt x="209152" y="278230"/>
                      </a:lnTo>
                      <a:lnTo>
                        <a:pt x="210041" y="276206"/>
                      </a:lnTo>
                      <a:close/>
                      <a:moveTo>
                        <a:pt x="62903" y="0"/>
                      </a:moveTo>
                      <a:lnTo>
                        <a:pt x="79021" y="6957"/>
                      </a:lnTo>
                      <a:lnTo>
                        <a:pt x="95159" y="13908"/>
                      </a:lnTo>
                      <a:lnTo>
                        <a:pt x="111304" y="20860"/>
                      </a:lnTo>
                      <a:lnTo>
                        <a:pt x="127458" y="27802"/>
                      </a:lnTo>
                      <a:lnTo>
                        <a:pt x="143619" y="34747"/>
                      </a:lnTo>
                      <a:lnTo>
                        <a:pt x="159800" y="41691"/>
                      </a:lnTo>
                      <a:lnTo>
                        <a:pt x="175987" y="48631"/>
                      </a:lnTo>
                      <a:lnTo>
                        <a:pt x="192164" y="55562"/>
                      </a:lnTo>
                      <a:lnTo>
                        <a:pt x="192165" y="55566"/>
                      </a:lnTo>
                      <a:lnTo>
                        <a:pt x="192821" y="58893"/>
                      </a:lnTo>
                      <a:lnTo>
                        <a:pt x="192887" y="66100"/>
                      </a:lnTo>
                      <a:lnTo>
                        <a:pt x="190382" y="79295"/>
                      </a:lnTo>
                      <a:lnTo>
                        <a:pt x="187291" y="90259"/>
                      </a:lnTo>
                      <a:lnTo>
                        <a:pt x="185888" y="93549"/>
                      </a:lnTo>
                      <a:lnTo>
                        <a:pt x="185283" y="96231"/>
                      </a:lnTo>
                      <a:lnTo>
                        <a:pt x="185200" y="98765"/>
                      </a:lnTo>
                      <a:lnTo>
                        <a:pt x="185237" y="100482"/>
                      </a:lnTo>
                      <a:lnTo>
                        <a:pt x="184748" y="103053"/>
                      </a:lnTo>
                      <a:lnTo>
                        <a:pt x="184706" y="105497"/>
                      </a:lnTo>
                      <a:lnTo>
                        <a:pt x="182867" y="108053"/>
                      </a:lnTo>
                      <a:lnTo>
                        <a:pt x="180029" y="110660"/>
                      </a:lnTo>
                      <a:lnTo>
                        <a:pt x="178041" y="114011"/>
                      </a:lnTo>
                      <a:lnTo>
                        <a:pt x="177624" y="116630"/>
                      </a:lnTo>
                      <a:lnTo>
                        <a:pt x="175651" y="117561"/>
                      </a:lnTo>
                      <a:lnTo>
                        <a:pt x="172870" y="118691"/>
                      </a:lnTo>
                      <a:lnTo>
                        <a:pt x="171208" y="118608"/>
                      </a:lnTo>
                      <a:lnTo>
                        <a:pt x="171218" y="116550"/>
                      </a:lnTo>
                      <a:lnTo>
                        <a:pt x="174287" y="107872"/>
                      </a:lnTo>
                      <a:lnTo>
                        <a:pt x="172794" y="105715"/>
                      </a:lnTo>
                      <a:lnTo>
                        <a:pt x="171375" y="108448"/>
                      </a:lnTo>
                      <a:lnTo>
                        <a:pt x="170766" y="110623"/>
                      </a:lnTo>
                      <a:lnTo>
                        <a:pt x="170049" y="113374"/>
                      </a:lnTo>
                      <a:lnTo>
                        <a:pt x="169361" y="115555"/>
                      </a:lnTo>
                      <a:lnTo>
                        <a:pt x="167856" y="115974"/>
                      </a:lnTo>
                      <a:lnTo>
                        <a:pt x="165520" y="117743"/>
                      </a:lnTo>
                      <a:lnTo>
                        <a:pt x="164031" y="118589"/>
                      </a:lnTo>
                      <a:lnTo>
                        <a:pt x="161782" y="121459"/>
                      </a:lnTo>
                      <a:lnTo>
                        <a:pt x="162583" y="129000"/>
                      </a:lnTo>
                      <a:lnTo>
                        <a:pt x="162393" y="132507"/>
                      </a:lnTo>
                      <a:lnTo>
                        <a:pt x="160943" y="133605"/>
                      </a:lnTo>
                      <a:lnTo>
                        <a:pt x="158730" y="134402"/>
                      </a:lnTo>
                      <a:lnTo>
                        <a:pt x="157478" y="136485"/>
                      </a:lnTo>
                      <a:lnTo>
                        <a:pt x="158142" y="139130"/>
                      </a:lnTo>
                      <a:lnTo>
                        <a:pt x="158439" y="143294"/>
                      </a:lnTo>
                      <a:lnTo>
                        <a:pt x="157918" y="144826"/>
                      </a:lnTo>
                      <a:lnTo>
                        <a:pt x="156295" y="146302"/>
                      </a:lnTo>
                      <a:lnTo>
                        <a:pt x="158763" y="148668"/>
                      </a:lnTo>
                      <a:lnTo>
                        <a:pt x="161575" y="152576"/>
                      </a:lnTo>
                      <a:lnTo>
                        <a:pt x="166934" y="153640"/>
                      </a:lnTo>
                      <a:lnTo>
                        <a:pt x="169620" y="155042"/>
                      </a:lnTo>
                      <a:lnTo>
                        <a:pt x="170988" y="155314"/>
                      </a:lnTo>
                      <a:lnTo>
                        <a:pt x="178244" y="153563"/>
                      </a:lnTo>
                      <a:lnTo>
                        <a:pt x="182145" y="153714"/>
                      </a:lnTo>
                      <a:lnTo>
                        <a:pt x="195898" y="156929"/>
                      </a:lnTo>
                      <a:lnTo>
                        <a:pt x="202407" y="159883"/>
                      </a:lnTo>
                      <a:lnTo>
                        <a:pt x="202930" y="158876"/>
                      </a:lnTo>
                      <a:lnTo>
                        <a:pt x="201321" y="156488"/>
                      </a:lnTo>
                      <a:lnTo>
                        <a:pt x="200158" y="153133"/>
                      </a:lnTo>
                      <a:lnTo>
                        <a:pt x="195709" y="146415"/>
                      </a:lnTo>
                      <a:lnTo>
                        <a:pt x="200382" y="148274"/>
                      </a:lnTo>
                      <a:lnTo>
                        <a:pt x="202636" y="151489"/>
                      </a:lnTo>
                      <a:lnTo>
                        <a:pt x="203912" y="154971"/>
                      </a:lnTo>
                      <a:lnTo>
                        <a:pt x="205937" y="160992"/>
                      </a:lnTo>
                      <a:lnTo>
                        <a:pt x="208296" y="172812"/>
                      </a:lnTo>
                      <a:lnTo>
                        <a:pt x="209015" y="181250"/>
                      </a:lnTo>
                      <a:lnTo>
                        <a:pt x="209264" y="190759"/>
                      </a:lnTo>
                      <a:lnTo>
                        <a:pt x="208777" y="201401"/>
                      </a:lnTo>
                      <a:lnTo>
                        <a:pt x="208693" y="206176"/>
                      </a:lnTo>
                      <a:lnTo>
                        <a:pt x="208743" y="211513"/>
                      </a:lnTo>
                      <a:lnTo>
                        <a:pt x="209217" y="217146"/>
                      </a:lnTo>
                      <a:lnTo>
                        <a:pt x="209477" y="222628"/>
                      </a:lnTo>
                      <a:lnTo>
                        <a:pt x="209712" y="226280"/>
                      </a:lnTo>
                      <a:lnTo>
                        <a:pt x="209970" y="231760"/>
                      </a:lnTo>
                      <a:lnTo>
                        <a:pt x="209782" y="239434"/>
                      </a:lnTo>
                      <a:lnTo>
                        <a:pt x="210049" y="243249"/>
                      </a:lnTo>
                      <a:lnTo>
                        <a:pt x="210448" y="248549"/>
                      </a:lnTo>
                      <a:lnTo>
                        <a:pt x="210775" y="253523"/>
                      </a:lnTo>
                      <a:lnTo>
                        <a:pt x="211449" y="271200"/>
                      </a:lnTo>
                      <a:lnTo>
                        <a:pt x="210091" y="270063"/>
                      </a:lnTo>
                      <a:lnTo>
                        <a:pt x="207743" y="245243"/>
                      </a:lnTo>
                      <a:lnTo>
                        <a:pt x="207114" y="236322"/>
                      </a:lnTo>
                      <a:lnTo>
                        <a:pt x="207279" y="232811"/>
                      </a:lnTo>
                      <a:lnTo>
                        <a:pt x="207802" y="229273"/>
                      </a:lnTo>
                      <a:lnTo>
                        <a:pt x="207826" y="225108"/>
                      </a:lnTo>
                      <a:lnTo>
                        <a:pt x="207236" y="221644"/>
                      </a:lnTo>
                      <a:lnTo>
                        <a:pt x="205430" y="220494"/>
                      </a:lnTo>
                      <a:lnTo>
                        <a:pt x="202927" y="222625"/>
                      </a:lnTo>
                      <a:lnTo>
                        <a:pt x="203566" y="223912"/>
                      </a:lnTo>
                      <a:lnTo>
                        <a:pt x="205250" y="224125"/>
                      </a:lnTo>
                      <a:lnTo>
                        <a:pt x="206208" y="226056"/>
                      </a:lnTo>
                      <a:lnTo>
                        <a:pt x="204623" y="227168"/>
                      </a:lnTo>
                      <a:lnTo>
                        <a:pt x="204070" y="229706"/>
                      </a:lnTo>
                      <a:lnTo>
                        <a:pt x="200917" y="229432"/>
                      </a:lnTo>
                      <a:lnTo>
                        <a:pt x="200483" y="231464"/>
                      </a:lnTo>
                      <a:lnTo>
                        <a:pt x="198839" y="232573"/>
                      </a:lnTo>
                      <a:lnTo>
                        <a:pt x="198837" y="235382"/>
                      </a:lnTo>
                      <a:lnTo>
                        <a:pt x="201676" y="234471"/>
                      </a:lnTo>
                      <a:lnTo>
                        <a:pt x="202750" y="237007"/>
                      </a:lnTo>
                      <a:lnTo>
                        <a:pt x="202064" y="240856"/>
                      </a:lnTo>
                      <a:lnTo>
                        <a:pt x="199637" y="243877"/>
                      </a:lnTo>
                      <a:lnTo>
                        <a:pt x="202583" y="244149"/>
                      </a:lnTo>
                      <a:lnTo>
                        <a:pt x="203468" y="245755"/>
                      </a:lnTo>
                      <a:lnTo>
                        <a:pt x="201548" y="248728"/>
                      </a:lnTo>
                      <a:lnTo>
                        <a:pt x="200669" y="251462"/>
                      </a:lnTo>
                      <a:lnTo>
                        <a:pt x="202083" y="254702"/>
                      </a:lnTo>
                      <a:lnTo>
                        <a:pt x="203611" y="257575"/>
                      </a:lnTo>
                      <a:lnTo>
                        <a:pt x="203676" y="258852"/>
                      </a:lnTo>
                      <a:lnTo>
                        <a:pt x="201587" y="262169"/>
                      </a:lnTo>
                      <a:lnTo>
                        <a:pt x="199545" y="266645"/>
                      </a:lnTo>
                      <a:lnTo>
                        <a:pt x="197782" y="272937"/>
                      </a:lnTo>
                      <a:lnTo>
                        <a:pt x="198283" y="277903"/>
                      </a:lnTo>
                      <a:lnTo>
                        <a:pt x="202594" y="279202"/>
                      </a:lnTo>
                      <a:lnTo>
                        <a:pt x="203452" y="281702"/>
                      </a:lnTo>
                      <a:lnTo>
                        <a:pt x="203358" y="284710"/>
                      </a:lnTo>
                      <a:lnTo>
                        <a:pt x="203307" y="285560"/>
                      </a:lnTo>
                      <a:lnTo>
                        <a:pt x="201477" y="287012"/>
                      </a:lnTo>
                      <a:lnTo>
                        <a:pt x="199554" y="289986"/>
                      </a:lnTo>
                      <a:lnTo>
                        <a:pt x="198694" y="294553"/>
                      </a:lnTo>
                      <a:lnTo>
                        <a:pt x="194126" y="296217"/>
                      </a:lnTo>
                      <a:lnTo>
                        <a:pt x="193319" y="298446"/>
                      </a:lnTo>
                      <a:lnTo>
                        <a:pt x="194365" y="300152"/>
                      </a:lnTo>
                      <a:lnTo>
                        <a:pt x="193414" y="301968"/>
                      </a:lnTo>
                      <a:lnTo>
                        <a:pt x="190627" y="302984"/>
                      </a:lnTo>
                      <a:lnTo>
                        <a:pt x="188542" y="303469"/>
                      </a:lnTo>
                      <a:lnTo>
                        <a:pt x="186588" y="305450"/>
                      </a:lnTo>
                      <a:lnTo>
                        <a:pt x="184045" y="308979"/>
                      </a:lnTo>
                      <a:lnTo>
                        <a:pt x="184381" y="311462"/>
                      </a:lnTo>
                      <a:lnTo>
                        <a:pt x="189022" y="314808"/>
                      </a:lnTo>
                      <a:lnTo>
                        <a:pt x="191686" y="317933"/>
                      </a:lnTo>
                      <a:lnTo>
                        <a:pt x="191161" y="320571"/>
                      </a:lnTo>
                      <a:lnTo>
                        <a:pt x="189222" y="321058"/>
                      </a:lnTo>
                      <a:lnTo>
                        <a:pt x="188134" y="319722"/>
                      </a:lnTo>
                      <a:lnTo>
                        <a:pt x="187478" y="317962"/>
                      </a:lnTo>
                      <a:lnTo>
                        <a:pt x="186831" y="317096"/>
                      </a:lnTo>
                      <a:lnTo>
                        <a:pt x="180510" y="313880"/>
                      </a:lnTo>
                      <a:lnTo>
                        <a:pt x="178556" y="315226"/>
                      </a:lnTo>
                      <a:lnTo>
                        <a:pt x="176571" y="315191"/>
                      </a:lnTo>
                      <a:lnTo>
                        <a:pt x="174698" y="314319"/>
                      </a:lnTo>
                      <a:lnTo>
                        <a:pt x="173076" y="313180"/>
                      </a:lnTo>
                      <a:lnTo>
                        <a:pt x="174544" y="319689"/>
                      </a:lnTo>
                      <a:lnTo>
                        <a:pt x="175967" y="322750"/>
                      </a:lnTo>
                      <a:lnTo>
                        <a:pt x="178024" y="323945"/>
                      </a:lnTo>
                      <a:lnTo>
                        <a:pt x="179656" y="325163"/>
                      </a:lnTo>
                      <a:lnTo>
                        <a:pt x="179728" y="328094"/>
                      </a:lnTo>
                      <a:lnTo>
                        <a:pt x="178728" y="332447"/>
                      </a:lnTo>
                      <a:lnTo>
                        <a:pt x="176406" y="332071"/>
                      </a:lnTo>
                      <a:lnTo>
                        <a:pt x="174610" y="331309"/>
                      </a:lnTo>
                      <a:lnTo>
                        <a:pt x="172958" y="331235"/>
                      </a:lnTo>
                      <a:lnTo>
                        <a:pt x="171035" y="332986"/>
                      </a:lnTo>
                      <a:lnTo>
                        <a:pt x="170330" y="334493"/>
                      </a:lnTo>
                      <a:lnTo>
                        <a:pt x="169728" y="336793"/>
                      </a:lnTo>
                      <a:lnTo>
                        <a:pt x="169441" y="339377"/>
                      </a:lnTo>
                      <a:lnTo>
                        <a:pt x="169737" y="341636"/>
                      </a:lnTo>
                      <a:lnTo>
                        <a:pt x="172205" y="340196"/>
                      </a:lnTo>
                      <a:lnTo>
                        <a:pt x="174989" y="342048"/>
                      </a:lnTo>
                      <a:lnTo>
                        <a:pt x="177588" y="345407"/>
                      </a:lnTo>
                      <a:lnTo>
                        <a:pt x="179490" y="348516"/>
                      </a:lnTo>
                      <a:lnTo>
                        <a:pt x="175253" y="350604"/>
                      </a:lnTo>
                      <a:lnTo>
                        <a:pt x="167617" y="356316"/>
                      </a:lnTo>
                      <a:lnTo>
                        <a:pt x="163830" y="357935"/>
                      </a:lnTo>
                      <a:lnTo>
                        <a:pt x="163625" y="356944"/>
                      </a:lnTo>
                      <a:lnTo>
                        <a:pt x="164455" y="354351"/>
                      </a:lnTo>
                      <a:lnTo>
                        <a:pt x="165801" y="351919"/>
                      </a:lnTo>
                      <a:lnTo>
                        <a:pt x="169058" y="347897"/>
                      </a:lnTo>
                      <a:lnTo>
                        <a:pt x="164396" y="345680"/>
                      </a:lnTo>
                      <a:lnTo>
                        <a:pt x="160679" y="351583"/>
                      </a:lnTo>
                      <a:lnTo>
                        <a:pt x="159416" y="354898"/>
                      </a:lnTo>
                      <a:lnTo>
                        <a:pt x="160574" y="357156"/>
                      </a:lnTo>
                      <a:lnTo>
                        <a:pt x="160778" y="358147"/>
                      </a:lnTo>
                      <a:lnTo>
                        <a:pt x="151213" y="358489"/>
                      </a:lnTo>
                      <a:lnTo>
                        <a:pt x="147313" y="359779"/>
                      </a:lnTo>
                      <a:lnTo>
                        <a:pt x="145198" y="363006"/>
                      </a:lnTo>
                      <a:lnTo>
                        <a:pt x="147880" y="362907"/>
                      </a:lnTo>
                      <a:lnTo>
                        <a:pt x="149993" y="363592"/>
                      </a:lnTo>
                      <a:lnTo>
                        <a:pt x="151886" y="364466"/>
                      </a:lnTo>
                      <a:lnTo>
                        <a:pt x="153941" y="364958"/>
                      </a:lnTo>
                      <a:lnTo>
                        <a:pt x="161545" y="361874"/>
                      </a:lnTo>
                      <a:lnTo>
                        <a:pt x="161794" y="363081"/>
                      </a:lnTo>
                      <a:lnTo>
                        <a:pt x="158118" y="366002"/>
                      </a:lnTo>
                      <a:lnTo>
                        <a:pt x="153493" y="374298"/>
                      </a:lnTo>
                      <a:lnTo>
                        <a:pt x="150523" y="376186"/>
                      </a:lnTo>
                      <a:lnTo>
                        <a:pt x="149287" y="378500"/>
                      </a:lnTo>
                      <a:lnTo>
                        <a:pt x="145029" y="392569"/>
                      </a:lnTo>
                      <a:lnTo>
                        <a:pt x="143250" y="391511"/>
                      </a:lnTo>
                      <a:lnTo>
                        <a:pt x="141582" y="391480"/>
                      </a:lnTo>
                      <a:lnTo>
                        <a:pt x="140179" y="392363"/>
                      </a:lnTo>
                      <a:lnTo>
                        <a:pt x="139146" y="394094"/>
                      </a:lnTo>
                      <a:lnTo>
                        <a:pt x="139889" y="394116"/>
                      </a:lnTo>
                      <a:lnTo>
                        <a:pt x="140046" y="394280"/>
                      </a:lnTo>
                      <a:lnTo>
                        <a:pt x="140084" y="394649"/>
                      </a:lnTo>
                      <a:lnTo>
                        <a:pt x="140408" y="395217"/>
                      </a:lnTo>
                      <a:lnTo>
                        <a:pt x="141787" y="394307"/>
                      </a:lnTo>
                      <a:lnTo>
                        <a:pt x="143147" y="394395"/>
                      </a:lnTo>
                      <a:lnTo>
                        <a:pt x="144290" y="395418"/>
                      </a:lnTo>
                      <a:lnTo>
                        <a:pt x="144967" y="397353"/>
                      </a:lnTo>
                      <a:lnTo>
                        <a:pt x="144395" y="398573"/>
                      </a:lnTo>
                      <a:lnTo>
                        <a:pt x="141644" y="402498"/>
                      </a:lnTo>
                      <a:lnTo>
                        <a:pt x="140931" y="405367"/>
                      </a:lnTo>
                      <a:lnTo>
                        <a:pt x="139927" y="406463"/>
                      </a:lnTo>
                      <a:lnTo>
                        <a:pt x="138558" y="407364"/>
                      </a:lnTo>
                      <a:lnTo>
                        <a:pt x="135158" y="408529"/>
                      </a:lnTo>
                      <a:lnTo>
                        <a:pt x="135244" y="409929"/>
                      </a:lnTo>
                      <a:lnTo>
                        <a:pt x="136183" y="411504"/>
                      </a:lnTo>
                      <a:lnTo>
                        <a:pt x="136717" y="412708"/>
                      </a:lnTo>
                      <a:lnTo>
                        <a:pt x="134717" y="417769"/>
                      </a:lnTo>
                      <a:lnTo>
                        <a:pt x="130674" y="422371"/>
                      </a:lnTo>
                      <a:lnTo>
                        <a:pt x="125510" y="426109"/>
                      </a:lnTo>
                      <a:lnTo>
                        <a:pt x="117481" y="429907"/>
                      </a:lnTo>
                      <a:lnTo>
                        <a:pt x="115882" y="430365"/>
                      </a:lnTo>
                      <a:lnTo>
                        <a:pt x="114246" y="430110"/>
                      </a:lnTo>
                      <a:lnTo>
                        <a:pt x="111980" y="428588"/>
                      </a:lnTo>
                      <a:lnTo>
                        <a:pt x="111366" y="426799"/>
                      </a:lnTo>
                      <a:lnTo>
                        <a:pt x="111604" y="424811"/>
                      </a:lnTo>
                      <a:lnTo>
                        <a:pt x="111671" y="422602"/>
                      </a:lnTo>
                      <a:lnTo>
                        <a:pt x="111759" y="419233"/>
                      </a:lnTo>
                      <a:lnTo>
                        <a:pt x="111700" y="415757"/>
                      </a:lnTo>
                      <a:lnTo>
                        <a:pt x="112324" y="412640"/>
                      </a:lnTo>
                      <a:lnTo>
                        <a:pt x="116836" y="397499"/>
                      </a:lnTo>
                      <a:lnTo>
                        <a:pt x="116511" y="390509"/>
                      </a:lnTo>
                      <a:lnTo>
                        <a:pt x="112502" y="384905"/>
                      </a:lnTo>
                      <a:lnTo>
                        <a:pt x="109811" y="383493"/>
                      </a:lnTo>
                      <a:lnTo>
                        <a:pt x="107229" y="382954"/>
                      </a:lnTo>
                      <a:lnTo>
                        <a:pt x="101194" y="383225"/>
                      </a:lnTo>
                      <a:lnTo>
                        <a:pt x="100100" y="383473"/>
                      </a:lnTo>
                      <a:lnTo>
                        <a:pt x="97673" y="384402"/>
                      </a:lnTo>
                      <a:lnTo>
                        <a:pt x="96316" y="384669"/>
                      </a:lnTo>
                      <a:lnTo>
                        <a:pt x="94873" y="384372"/>
                      </a:lnTo>
                      <a:lnTo>
                        <a:pt x="94492" y="383394"/>
                      </a:lnTo>
                      <a:lnTo>
                        <a:pt x="94309" y="382052"/>
                      </a:lnTo>
                      <a:lnTo>
                        <a:pt x="93448" y="380641"/>
                      </a:lnTo>
                      <a:lnTo>
                        <a:pt x="91284" y="380095"/>
                      </a:lnTo>
                      <a:lnTo>
                        <a:pt x="88207" y="380485"/>
                      </a:lnTo>
                      <a:lnTo>
                        <a:pt x="83749" y="381847"/>
                      </a:lnTo>
                      <a:lnTo>
                        <a:pt x="81900" y="383304"/>
                      </a:lnTo>
                      <a:lnTo>
                        <a:pt x="80580" y="384702"/>
                      </a:lnTo>
                      <a:lnTo>
                        <a:pt x="79012" y="385724"/>
                      </a:lnTo>
                      <a:lnTo>
                        <a:pt x="76410" y="386008"/>
                      </a:lnTo>
                      <a:lnTo>
                        <a:pt x="76474" y="385218"/>
                      </a:lnTo>
                      <a:lnTo>
                        <a:pt x="74086" y="384097"/>
                      </a:lnTo>
                      <a:lnTo>
                        <a:pt x="72629" y="382594"/>
                      </a:lnTo>
                      <a:lnTo>
                        <a:pt x="72059" y="381126"/>
                      </a:lnTo>
                      <a:lnTo>
                        <a:pt x="72099" y="378919"/>
                      </a:lnTo>
                      <a:lnTo>
                        <a:pt x="71690" y="377884"/>
                      </a:lnTo>
                      <a:lnTo>
                        <a:pt x="70107" y="376608"/>
                      </a:lnTo>
                      <a:lnTo>
                        <a:pt x="63969" y="373025"/>
                      </a:lnTo>
                      <a:lnTo>
                        <a:pt x="61677" y="372350"/>
                      </a:lnTo>
                      <a:lnTo>
                        <a:pt x="60292" y="371657"/>
                      </a:lnTo>
                      <a:lnTo>
                        <a:pt x="58439" y="368341"/>
                      </a:lnTo>
                      <a:lnTo>
                        <a:pt x="57183" y="367653"/>
                      </a:lnTo>
                      <a:lnTo>
                        <a:pt x="51530" y="368031"/>
                      </a:lnTo>
                      <a:lnTo>
                        <a:pt x="48893" y="367073"/>
                      </a:lnTo>
                      <a:lnTo>
                        <a:pt x="46952" y="364606"/>
                      </a:lnTo>
                      <a:lnTo>
                        <a:pt x="45251" y="361884"/>
                      </a:lnTo>
                      <a:lnTo>
                        <a:pt x="43320" y="360144"/>
                      </a:lnTo>
                      <a:lnTo>
                        <a:pt x="41925" y="360077"/>
                      </a:lnTo>
                      <a:lnTo>
                        <a:pt x="40891" y="360685"/>
                      </a:lnTo>
                      <a:lnTo>
                        <a:pt x="40077" y="361356"/>
                      </a:lnTo>
                      <a:lnTo>
                        <a:pt x="39374" y="361527"/>
                      </a:lnTo>
                      <a:lnTo>
                        <a:pt x="38044" y="360772"/>
                      </a:lnTo>
                      <a:lnTo>
                        <a:pt x="37155" y="359915"/>
                      </a:lnTo>
                      <a:lnTo>
                        <a:pt x="36441" y="359068"/>
                      </a:lnTo>
                      <a:lnTo>
                        <a:pt x="18158" y="344540"/>
                      </a:lnTo>
                      <a:lnTo>
                        <a:pt x="13041" y="341937"/>
                      </a:lnTo>
                      <a:lnTo>
                        <a:pt x="8834" y="338533"/>
                      </a:lnTo>
                      <a:lnTo>
                        <a:pt x="6312" y="333186"/>
                      </a:lnTo>
                      <a:lnTo>
                        <a:pt x="7103" y="334151"/>
                      </a:lnTo>
                      <a:lnTo>
                        <a:pt x="8115" y="334918"/>
                      </a:lnTo>
                      <a:lnTo>
                        <a:pt x="9400" y="335465"/>
                      </a:lnTo>
                      <a:lnTo>
                        <a:pt x="9072" y="332066"/>
                      </a:lnTo>
                      <a:lnTo>
                        <a:pt x="9142" y="323933"/>
                      </a:lnTo>
                      <a:lnTo>
                        <a:pt x="8163" y="321470"/>
                      </a:lnTo>
                      <a:lnTo>
                        <a:pt x="2185" y="317001"/>
                      </a:lnTo>
                      <a:lnTo>
                        <a:pt x="155" y="314921"/>
                      </a:lnTo>
                      <a:lnTo>
                        <a:pt x="0" y="313545"/>
                      </a:lnTo>
                      <a:lnTo>
                        <a:pt x="2660" y="310217"/>
                      </a:lnTo>
                      <a:lnTo>
                        <a:pt x="5155" y="308467"/>
                      </a:lnTo>
                      <a:lnTo>
                        <a:pt x="5915" y="307545"/>
                      </a:lnTo>
                      <a:lnTo>
                        <a:pt x="6037" y="305816"/>
                      </a:lnTo>
                      <a:lnTo>
                        <a:pt x="5877" y="303380"/>
                      </a:lnTo>
                      <a:lnTo>
                        <a:pt x="6020" y="301177"/>
                      </a:lnTo>
                      <a:lnTo>
                        <a:pt x="7738" y="299537"/>
                      </a:lnTo>
                      <a:lnTo>
                        <a:pt x="8133" y="298204"/>
                      </a:lnTo>
                      <a:lnTo>
                        <a:pt x="8841" y="296871"/>
                      </a:lnTo>
                      <a:lnTo>
                        <a:pt x="10428" y="296177"/>
                      </a:lnTo>
                      <a:lnTo>
                        <a:pt x="10535" y="295328"/>
                      </a:lnTo>
                      <a:lnTo>
                        <a:pt x="9750" y="290232"/>
                      </a:lnTo>
                      <a:lnTo>
                        <a:pt x="11948" y="284952"/>
                      </a:lnTo>
                      <a:lnTo>
                        <a:pt x="16083" y="280049"/>
                      </a:lnTo>
                      <a:lnTo>
                        <a:pt x="21099" y="275986"/>
                      </a:lnTo>
                      <a:lnTo>
                        <a:pt x="28767" y="272005"/>
                      </a:lnTo>
                      <a:lnTo>
                        <a:pt x="34808" y="270245"/>
                      </a:lnTo>
                      <a:lnTo>
                        <a:pt x="38059" y="269828"/>
                      </a:lnTo>
                      <a:lnTo>
                        <a:pt x="40483" y="269184"/>
                      </a:lnTo>
                      <a:lnTo>
                        <a:pt x="45372" y="266542"/>
                      </a:lnTo>
                      <a:lnTo>
                        <a:pt x="48752" y="265382"/>
                      </a:lnTo>
                      <a:lnTo>
                        <a:pt x="48910" y="265233"/>
                      </a:lnTo>
                      <a:lnTo>
                        <a:pt x="49113" y="265240"/>
                      </a:lnTo>
                      <a:lnTo>
                        <a:pt x="49740" y="264268"/>
                      </a:lnTo>
                      <a:lnTo>
                        <a:pt x="52329" y="264745"/>
                      </a:lnTo>
                      <a:lnTo>
                        <a:pt x="54194" y="263019"/>
                      </a:lnTo>
                      <a:lnTo>
                        <a:pt x="55873" y="260530"/>
                      </a:lnTo>
                      <a:lnTo>
                        <a:pt x="57924" y="258733"/>
                      </a:lnTo>
                      <a:lnTo>
                        <a:pt x="55147" y="256134"/>
                      </a:lnTo>
                      <a:lnTo>
                        <a:pt x="53506" y="252913"/>
                      </a:lnTo>
                      <a:lnTo>
                        <a:pt x="53713" y="250786"/>
                      </a:lnTo>
                      <a:lnTo>
                        <a:pt x="56449" y="251513"/>
                      </a:lnTo>
                      <a:lnTo>
                        <a:pt x="57980" y="248975"/>
                      </a:lnTo>
                      <a:lnTo>
                        <a:pt x="59176" y="250229"/>
                      </a:lnTo>
                      <a:lnTo>
                        <a:pt x="63222" y="241199"/>
                      </a:lnTo>
                      <a:lnTo>
                        <a:pt x="65068" y="238632"/>
                      </a:lnTo>
                      <a:lnTo>
                        <a:pt x="69769" y="236001"/>
                      </a:lnTo>
                      <a:lnTo>
                        <a:pt x="71511" y="234620"/>
                      </a:lnTo>
                      <a:lnTo>
                        <a:pt x="76080" y="228238"/>
                      </a:lnTo>
                      <a:lnTo>
                        <a:pt x="78067" y="226744"/>
                      </a:lnTo>
                      <a:lnTo>
                        <a:pt x="83277" y="224721"/>
                      </a:lnTo>
                      <a:lnTo>
                        <a:pt x="84646" y="223963"/>
                      </a:lnTo>
                      <a:lnTo>
                        <a:pt x="88911" y="219372"/>
                      </a:lnTo>
                      <a:lnTo>
                        <a:pt x="90168" y="218584"/>
                      </a:lnTo>
                      <a:lnTo>
                        <a:pt x="93773" y="217843"/>
                      </a:lnTo>
                      <a:lnTo>
                        <a:pt x="98366" y="216047"/>
                      </a:lnTo>
                      <a:lnTo>
                        <a:pt x="102122" y="213308"/>
                      </a:lnTo>
                      <a:lnTo>
                        <a:pt x="103228" y="209744"/>
                      </a:lnTo>
                      <a:lnTo>
                        <a:pt x="100848" y="206049"/>
                      </a:lnTo>
                      <a:lnTo>
                        <a:pt x="96325" y="202546"/>
                      </a:lnTo>
                      <a:lnTo>
                        <a:pt x="87167" y="196863"/>
                      </a:lnTo>
                      <a:lnTo>
                        <a:pt x="81487" y="191986"/>
                      </a:lnTo>
                      <a:lnTo>
                        <a:pt x="75155" y="185862"/>
                      </a:lnTo>
                      <a:lnTo>
                        <a:pt x="74462" y="184856"/>
                      </a:lnTo>
                      <a:lnTo>
                        <a:pt x="72763" y="183295"/>
                      </a:lnTo>
                      <a:lnTo>
                        <a:pt x="63770" y="177576"/>
                      </a:lnTo>
                      <a:lnTo>
                        <a:pt x="60335" y="170942"/>
                      </a:lnTo>
                      <a:lnTo>
                        <a:pt x="57795" y="168090"/>
                      </a:lnTo>
                      <a:lnTo>
                        <a:pt x="52450" y="170470"/>
                      </a:lnTo>
                      <a:lnTo>
                        <a:pt x="48757" y="168617"/>
                      </a:lnTo>
                      <a:lnTo>
                        <a:pt x="45305" y="165254"/>
                      </a:lnTo>
                      <a:lnTo>
                        <a:pt x="43139" y="162085"/>
                      </a:lnTo>
                      <a:lnTo>
                        <a:pt x="39231" y="148482"/>
                      </a:lnTo>
                      <a:lnTo>
                        <a:pt x="35746" y="144009"/>
                      </a:lnTo>
                      <a:lnTo>
                        <a:pt x="27844" y="142356"/>
                      </a:lnTo>
                      <a:lnTo>
                        <a:pt x="23600" y="143442"/>
                      </a:lnTo>
                      <a:lnTo>
                        <a:pt x="21593" y="142847"/>
                      </a:lnTo>
                      <a:lnTo>
                        <a:pt x="19477" y="138046"/>
                      </a:lnTo>
                      <a:lnTo>
                        <a:pt x="18485" y="136240"/>
                      </a:lnTo>
                      <a:lnTo>
                        <a:pt x="17828" y="134425"/>
                      </a:lnTo>
                      <a:lnTo>
                        <a:pt x="18155" y="132637"/>
                      </a:lnTo>
                      <a:lnTo>
                        <a:pt x="16453" y="127125"/>
                      </a:lnTo>
                      <a:lnTo>
                        <a:pt x="16217" y="125394"/>
                      </a:lnTo>
                      <a:lnTo>
                        <a:pt x="16399" y="124055"/>
                      </a:lnTo>
                      <a:lnTo>
                        <a:pt x="15455" y="122325"/>
                      </a:lnTo>
                      <a:lnTo>
                        <a:pt x="14503" y="120161"/>
                      </a:lnTo>
                      <a:lnTo>
                        <a:pt x="14599" y="117759"/>
                      </a:lnTo>
                      <a:lnTo>
                        <a:pt x="15556" y="112593"/>
                      </a:lnTo>
                      <a:lnTo>
                        <a:pt x="15089" y="112531"/>
                      </a:lnTo>
                      <a:lnTo>
                        <a:pt x="14256" y="111319"/>
                      </a:lnTo>
                      <a:lnTo>
                        <a:pt x="13765" y="109884"/>
                      </a:lnTo>
                      <a:lnTo>
                        <a:pt x="14329" y="109145"/>
                      </a:lnTo>
                      <a:lnTo>
                        <a:pt x="15289" y="108492"/>
                      </a:lnTo>
                      <a:lnTo>
                        <a:pt x="15998" y="107042"/>
                      </a:lnTo>
                      <a:lnTo>
                        <a:pt x="16709" y="104003"/>
                      </a:lnTo>
                      <a:lnTo>
                        <a:pt x="19631" y="104950"/>
                      </a:lnTo>
                      <a:lnTo>
                        <a:pt x="22556" y="104440"/>
                      </a:lnTo>
                      <a:lnTo>
                        <a:pt x="24603" y="102522"/>
                      </a:lnTo>
                      <a:lnTo>
                        <a:pt x="24928" y="99232"/>
                      </a:lnTo>
                      <a:lnTo>
                        <a:pt x="24798" y="94950"/>
                      </a:lnTo>
                      <a:lnTo>
                        <a:pt x="26207" y="93134"/>
                      </a:lnTo>
                      <a:lnTo>
                        <a:pt x="27934" y="91696"/>
                      </a:lnTo>
                      <a:lnTo>
                        <a:pt x="28775" y="88572"/>
                      </a:lnTo>
                      <a:lnTo>
                        <a:pt x="27537" y="85247"/>
                      </a:lnTo>
                      <a:lnTo>
                        <a:pt x="24794" y="82385"/>
                      </a:lnTo>
                      <a:lnTo>
                        <a:pt x="22008" y="80162"/>
                      </a:lnTo>
                      <a:lnTo>
                        <a:pt x="20628" y="78764"/>
                      </a:lnTo>
                      <a:lnTo>
                        <a:pt x="20170" y="77736"/>
                      </a:lnTo>
                      <a:lnTo>
                        <a:pt x="19429" y="77228"/>
                      </a:lnTo>
                      <a:lnTo>
                        <a:pt x="18544" y="77069"/>
                      </a:lnTo>
                      <a:lnTo>
                        <a:pt x="17654" y="77093"/>
                      </a:lnTo>
                      <a:lnTo>
                        <a:pt x="17056" y="76861"/>
                      </a:lnTo>
                      <a:lnTo>
                        <a:pt x="16936" y="76217"/>
                      </a:lnTo>
                      <a:lnTo>
                        <a:pt x="16926" y="75418"/>
                      </a:lnTo>
                      <a:lnTo>
                        <a:pt x="16650" y="74730"/>
                      </a:lnTo>
                      <a:lnTo>
                        <a:pt x="14498" y="72687"/>
                      </a:lnTo>
                      <a:lnTo>
                        <a:pt x="13330" y="71353"/>
                      </a:lnTo>
                      <a:lnTo>
                        <a:pt x="12744" y="70148"/>
                      </a:lnTo>
                      <a:lnTo>
                        <a:pt x="13724" y="67259"/>
                      </a:lnTo>
                      <a:lnTo>
                        <a:pt x="16414" y="64276"/>
                      </a:lnTo>
                      <a:lnTo>
                        <a:pt x="19435" y="61917"/>
                      </a:lnTo>
                      <a:lnTo>
                        <a:pt x="21424" y="60920"/>
                      </a:lnTo>
                      <a:lnTo>
                        <a:pt x="24482" y="59887"/>
                      </a:lnTo>
                      <a:lnTo>
                        <a:pt x="26785" y="57659"/>
                      </a:lnTo>
                      <a:lnTo>
                        <a:pt x="31277" y="50363"/>
                      </a:lnTo>
                      <a:lnTo>
                        <a:pt x="31788" y="50119"/>
                      </a:lnTo>
                      <a:lnTo>
                        <a:pt x="31745" y="49673"/>
                      </a:lnTo>
                      <a:lnTo>
                        <a:pt x="31222" y="47522"/>
                      </a:lnTo>
                      <a:lnTo>
                        <a:pt x="31648" y="46639"/>
                      </a:lnTo>
                      <a:lnTo>
                        <a:pt x="32836" y="45533"/>
                      </a:lnTo>
                      <a:lnTo>
                        <a:pt x="34192" y="44573"/>
                      </a:lnTo>
                      <a:lnTo>
                        <a:pt x="35142" y="44149"/>
                      </a:lnTo>
                      <a:lnTo>
                        <a:pt x="36721" y="42572"/>
                      </a:lnTo>
                      <a:lnTo>
                        <a:pt x="42289" y="32702"/>
                      </a:lnTo>
                      <a:lnTo>
                        <a:pt x="44092" y="24749"/>
                      </a:lnTo>
                      <a:lnTo>
                        <a:pt x="44449" y="19776"/>
                      </a:lnTo>
                      <a:lnTo>
                        <a:pt x="44298" y="18535"/>
                      </a:lnTo>
                      <a:lnTo>
                        <a:pt x="44878" y="16122"/>
                      </a:lnTo>
                      <a:lnTo>
                        <a:pt x="51287" y="8862"/>
                      </a:lnTo>
                      <a:lnTo>
                        <a:pt x="51486" y="8343"/>
                      </a:lnTo>
                      <a:lnTo>
                        <a:pt x="51896" y="6567"/>
                      </a:lnTo>
                      <a:lnTo>
                        <a:pt x="52187" y="5816"/>
                      </a:lnTo>
                      <a:lnTo>
                        <a:pt x="52818" y="5271"/>
                      </a:lnTo>
                      <a:lnTo>
                        <a:pt x="54337" y="4996"/>
                      </a:lnTo>
                      <a:lnTo>
                        <a:pt x="55950" y="3259"/>
                      </a:lnTo>
                      <a:lnTo>
                        <a:pt x="57329" y="2641"/>
                      </a:lnTo>
                      <a:lnTo>
                        <a:pt x="60522" y="2227"/>
                      </a:lnTo>
                      <a:lnTo>
                        <a:pt x="63032" y="299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6" name="Freeform 184">
                  <a:extLst>
                    <a:ext uri="{FF2B5EF4-FFF2-40B4-BE49-F238E27FC236}">
                      <a16:creationId xmlns:a16="http://schemas.microsoft.com/office/drawing/2014/main" id="{685A74C4-ADFD-4EC5-B79C-3933AD45FDB1}"/>
                    </a:ext>
                  </a:extLst>
                </p:cNvPr>
                <p:cNvSpPr/>
                <p:nvPr>
                  <p:custDataLst>
                    <p:tags r:id="rId47"/>
                  </p:custDataLst>
                </p:nvPr>
              </p:nvSpPr>
              <p:spPr>
                <a:xfrm>
                  <a:off x="4870075" y="3652671"/>
                  <a:ext cx="809792" cy="5378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7736" h="795445">
                      <a:moveTo>
                        <a:pt x="890972" y="767357"/>
                      </a:moveTo>
                      <a:lnTo>
                        <a:pt x="891999" y="767419"/>
                      </a:lnTo>
                      <a:lnTo>
                        <a:pt x="892703" y="768148"/>
                      </a:lnTo>
                      <a:lnTo>
                        <a:pt x="893182" y="769245"/>
                      </a:lnTo>
                      <a:lnTo>
                        <a:pt x="892872" y="769982"/>
                      </a:lnTo>
                      <a:lnTo>
                        <a:pt x="893675" y="771833"/>
                      </a:lnTo>
                      <a:lnTo>
                        <a:pt x="895545" y="773253"/>
                      </a:lnTo>
                      <a:lnTo>
                        <a:pt x="897157" y="775260"/>
                      </a:lnTo>
                      <a:lnTo>
                        <a:pt x="891899" y="784244"/>
                      </a:lnTo>
                      <a:lnTo>
                        <a:pt x="888076" y="788436"/>
                      </a:lnTo>
                      <a:lnTo>
                        <a:pt x="887158" y="788150"/>
                      </a:lnTo>
                      <a:lnTo>
                        <a:pt x="885933" y="788242"/>
                      </a:lnTo>
                      <a:lnTo>
                        <a:pt x="883991" y="789668"/>
                      </a:lnTo>
                      <a:lnTo>
                        <a:pt x="881833" y="791180"/>
                      </a:lnTo>
                      <a:lnTo>
                        <a:pt x="880320" y="792785"/>
                      </a:lnTo>
                      <a:lnTo>
                        <a:pt x="877948" y="793320"/>
                      </a:lnTo>
                      <a:lnTo>
                        <a:pt x="875393" y="794794"/>
                      </a:lnTo>
                      <a:lnTo>
                        <a:pt x="873358" y="795445"/>
                      </a:lnTo>
                      <a:lnTo>
                        <a:pt x="872132" y="795185"/>
                      </a:lnTo>
                      <a:lnTo>
                        <a:pt x="871596" y="794160"/>
                      </a:lnTo>
                      <a:lnTo>
                        <a:pt x="872070" y="793129"/>
                      </a:lnTo>
                      <a:lnTo>
                        <a:pt x="873218" y="792330"/>
                      </a:lnTo>
                      <a:lnTo>
                        <a:pt x="872894" y="790512"/>
                      </a:lnTo>
                      <a:lnTo>
                        <a:pt x="872049" y="788447"/>
                      </a:lnTo>
                      <a:lnTo>
                        <a:pt x="873011" y="786813"/>
                      </a:lnTo>
                      <a:lnTo>
                        <a:pt x="874878" y="785748"/>
                      </a:lnTo>
                      <a:lnTo>
                        <a:pt x="876284" y="784363"/>
                      </a:lnTo>
                      <a:lnTo>
                        <a:pt x="876757" y="782624"/>
                      </a:lnTo>
                      <a:lnTo>
                        <a:pt x="876707" y="779931"/>
                      </a:lnTo>
                      <a:lnTo>
                        <a:pt x="876162" y="775006"/>
                      </a:lnTo>
                      <a:lnTo>
                        <a:pt x="875943" y="772255"/>
                      </a:lnTo>
                      <a:lnTo>
                        <a:pt x="876966" y="770546"/>
                      </a:lnTo>
                      <a:lnTo>
                        <a:pt x="878419" y="769370"/>
                      </a:lnTo>
                      <a:lnTo>
                        <a:pt x="881177" y="770225"/>
                      </a:lnTo>
                      <a:lnTo>
                        <a:pt x="885360" y="770631"/>
                      </a:lnTo>
                      <a:lnTo>
                        <a:pt x="887514" y="769710"/>
                      </a:lnTo>
                      <a:lnTo>
                        <a:pt x="889186" y="768562"/>
                      </a:lnTo>
                      <a:close/>
                      <a:moveTo>
                        <a:pt x="1009961" y="758443"/>
                      </a:moveTo>
                      <a:lnTo>
                        <a:pt x="1013098" y="758484"/>
                      </a:lnTo>
                      <a:lnTo>
                        <a:pt x="1012313" y="760095"/>
                      </a:lnTo>
                      <a:lnTo>
                        <a:pt x="1003100" y="761516"/>
                      </a:lnTo>
                      <a:lnTo>
                        <a:pt x="993719" y="765505"/>
                      </a:lnTo>
                      <a:lnTo>
                        <a:pt x="968379" y="774881"/>
                      </a:lnTo>
                      <a:lnTo>
                        <a:pt x="968911" y="772117"/>
                      </a:lnTo>
                      <a:lnTo>
                        <a:pt x="985694" y="765728"/>
                      </a:lnTo>
                      <a:lnTo>
                        <a:pt x="991569" y="763365"/>
                      </a:lnTo>
                      <a:lnTo>
                        <a:pt x="994731" y="762235"/>
                      </a:lnTo>
                      <a:lnTo>
                        <a:pt x="997446" y="761005"/>
                      </a:lnTo>
                      <a:lnTo>
                        <a:pt x="999937" y="760052"/>
                      </a:lnTo>
                      <a:lnTo>
                        <a:pt x="1002931" y="759452"/>
                      </a:lnTo>
                      <a:close/>
                      <a:moveTo>
                        <a:pt x="1079837" y="731610"/>
                      </a:moveTo>
                      <a:lnTo>
                        <a:pt x="1080170" y="733145"/>
                      </a:lnTo>
                      <a:lnTo>
                        <a:pt x="1073604" y="735319"/>
                      </a:lnTo>
                      <a:lnTo>
                        <a:pt x="1070102" y="737240"/>
                      </a:lnTo>
                      <a:lnTo>
                        <a:pt x="1059332" y="743232"/>
                      </a:lnTo>
                      <a:lnTo>
                        <a:pt x="1048954" y="748468"/>
                      </a:lnTo>
                      <a:lnTo>
                        <a:pt x="1042365" y="751764"/>
                      </a:lnTo>
                      <a:lnTo>
                        <a:pt x="1027959" y="757949"/>
                      </a:lnTo>
                      <a:lnTo>
                        <a:pt x="1014435" y="762660"/>
                      </a:lnTo>
                      <a:lnTo>
                        <a:pt x="1006935" y="763447"/>
                      </a:lnTo>
                      <a:lnTo>
                        <a:pt x="1005536" y="762248"/>
                      </a:lnTo>
                      <a:lnTo>
                        <a:pt x="1012811" y="761735"/>
                      </a:lnTo>
                      <a:lnTo>
                        <a:pt x="1017737" y="759574"/>
                      </a:lnTo>
                      <a:lnTo>
                        <a:pt x="1023446" y="757101"/>
                      </a:lnTo>
                      <a:lnTo>
                        <a:pt x="1033296" y="753436"/>
                      </a:lnTo>
                      <a:lnTo>
                        <a:pt x="1042084" y="750110"/>
                      </a:lnTo>
                      <a:lnTo>
                        <a:pt x="1045598" y="748322"/>
                      </a:lnTo>
                      <a:lnTo>
                        <a:pt x="1054067" y="743199"/>
                      </a:lnTo>
                      <a:lnTo>
                        <a:pt x="1058744" y="741197"/>
                      </a:lnTo>
                      <a:lnTo>
                        <a:pt x="1063117" y="739086"/>
                      </a:lnTo>
                      <a:lnTo>
                        <a:pt x="1069733" y="736177"/>
                      </a:lnTo>
                      <a:lnTo>
                        <a:pt x="1076692" y="732209"/>
                      </a:lnTo>
                      <a:close/>
                      <a:moveTo>
                        <a:pt x="904860" y="725622"/>
                      </a:moveTo>
                      <a:lnTo>
                        <a:pt x="906426" y="725941"/>
                      </a:lnTo>
                      <a:lnTo>
                        <a:pt x="907072" y="727984"/>
                      </a:lnTo>
                      <a:lnTo>
                        <a:pt x="905933" y="731556"/>
                      </a:lnTo>
                      <a:lnTo>
                        <a:pt x="905212" y="734399"/>
                      </a:lnTo>
                      <a:lnTo>
                        <a:pt x="905578" y="736929"/>
                      </a:lnTo>
                      <a:lnTo>
                        <a:pt x="907207" y="739786"/>
                      </a:lnTo>
                      <a:lnTo>
                        <a:pt x="906078" y="743434"/>
                      </a:lnTo>
                      <a:lnTo>
                        <a:pt x="903727" y="750135"/>
                      </a:lnTo>
                      <a:lnTo>
                        <a:pt x="904239" y="752503"/>
                      </a:lnTo>
                      <a:lnTo>
                        <a:pt x="904236" y="754859"/>
                      </a:lnTo>
                      <a:lnTo>
                        <a:pt x="900760" y="756896"/>
                      </a:lnTo>
                      <a:lnTo>
                        <a:pt x="898797" y="757892"/>
                      </a:lnTo>
                      <a:lnTo>
                        <a:pt x="898330" y="752436"/>
                      </a:lnTo>
                      <a:lnTo>
                        <a:pt x="898619" y="747802"/>
                      </a:lnTo>
                      <a:lnTo>
                        <a:pt x="900100" y="743614"/>
                      </a:lnTo>
                      <a:lnTo>
                        <a:pt x="904145" y="729830"/>
                      </a:lnTo>
                      <a:lnTo>
                        <a:pt x="904503" y="727196"/>
                      </a:lnTo>
                      <a:close/>
                      <a:moveTo>
                        <a:pt x="1128214" y="667508"/>
                      </a:moveTo>
                      <a:lnTo>
                        <a:pt x="1129398" y="669290"/>
                      </a:lnTo>
                      <a:lnTo>
                        <a:pt x="1132364" y="670904"/>
                      </a:lnTo>
                      <a:lnTo>
                        <a:pt x="1133900" y="671205"/>
                      </a:lnTo>
                      <a:lnTo>
                        <a:pt x="1136176" y="671547"/>
                      </a:lnTo>
                      <a:lnTo>
                        <a:pt x="1136264" y="673321"/>
                      </a:lnTo>
                      <a:lnTo>
                        <a:pt x="1137328" y="675114"/>
                      </a:lnTo>
                      <a:lnTo>
                        <a:pt x="1137206" y="677019"/>
                      </a:lnTo>
                      <a:lnTo>
                        <a:pt x="1138543" y="678453"/>
                      </a:lnTo>
                      <a:lnTo>
                        <a:pt x="1138876" y="679759"/>
                      </a:lnTo>
                      <a:lnTo>
                        <a:pt x="1137221" y="679469"/>
                      </a:lnTo>
                      <a:lnTo>
                        <a:pt x="1135226" y="678320"/>
                      </a:lnTo>
                      <a:lnTo>
                        <a:pt x="1132044" y="677283"/>
                      </a:lnTo>
                      <a:lnTo>
                        <a:pt x="1128720" y="677597"/>
                      </a:lnTo>
                      <a:lnTo>
                        <a:pt x="1126218" y="678280"/>
                      </a:lnTo>
                      <a:lnTo>
                        <a:pt x="1124019" y="676816"/>
                      </a:lnTo>
                      <a:lnTo>
                        <a:pt x="1123291" y="674435"/>
                      </a:lnTo>
                      <a:lnTo>
                        <a:pt x="1124336" y="672331"/>
                      </a:lnTo>
                      <a:lnTo>
                        <a:pt x="1126833" y="670201"/>
                      </a:lnTo>
                      <a:lnTo>
                        <a:pt x="1126489" y="667894"/>
                      </a:lnTo>
                      <a:close/>
                      <a:moveTo>
                        <a:pt x="1156060" y="662471"/>
                      </a:moveTo>
                      <a:lnTo>
                        <a:pt x="1159815" y="664602"/>
                      </a:lnTo>
                      <a:lnTo>
                        <a:pt x="1162590" y="665263"/>
                      </a:lnTo>
                      <a:lnTo>
                        <a:pt x="1164542" y="665449"/>
                      </a:lnTo>
                      <a:lnTo>
                        <a:pt x="1164673" y="666356"/>
                      </a:lnTo>
                      <a:lnTo>
                        <a:pt x="1163929" y="666977"/>
                      </a:lnTo>
                      <a:lnTo>
                        <a:pt x="1164294" y="668413"/>
                      </a:lnTo>
                      <a:lnTo>
                        <a:pt x="1165171" y="669894"/>
                      </a:lnTo>
                      <a:lnTo>
                        <a:pt x="1164783" y="671125"/>
                      </a:lnTo>
                      <a:lnTo>
                        <a:pt x="1164098" y="672385"/>
                      </a:lnTo>
                      <a:lnTo>
                        <a:pt x="1163242" y="673751"/>
                      </a:lnTo>
                      <a:lnTo>
                        <a:pt x="1162649" y="671416"/>
                      </a:lnTo>
                      <a:lnTo>
                        <a:pt x="1161837" y="669009"/>
                      </a:lnTo>
                      <a:lnTo>
                        <a:pt x="1160643" y="667465"/>
                      </a:lnTo>
                      <a:lnTo>
                        <a:pt x="1158471" y="667208"/>
                      </a:lnTo>
                      <a:lnTo>
                        <a:pt x="1156509" y="667392"/>
                      </a:lnTo>
                      <a:lnTo>
                        <a:pt x="1155542" y="666747"/>
                      </a:lnTo>
                      <a:lnTo>
                        <a:pt x="1156295" y="665757"/>
                      </a:lnTo>
                      <a:lnTo>
                        <a:pt x="1156954" y="664410"/>
                      </a:lnTo>
                      <a:close/>
                      <a:moveTo>
                        <a:pt x="1133360" y="656778"/>
                      </a:moveTo>
                      <a:lnTo>
                        <a:pt x="1135685" y="656908"/>
                      </a:lnTo>
                      <a:lnTo>
                        <a:pt x="1137750" y="657658"/>
                      </a:lnTo>
                      <a:lnTo>
                        <a:pt x="1138928" y="659158"/>
                      </a:lnTo>
                      <a:lnTo>
                        <a:pt x="1138654" y="661214"/>
                      </a:lnTo>
                      <a:lnTo>
                        <a:pt x="1137161" y="663202"/>
                      </a:lnTo>
                      <a:lnTo>
                        <a:pt x="1135189" y="664792"/>
                      </a:lnTo>
                      <a:lnTo>
                        <a:pt x="1133424" y="665599"/>
                      </a:lnTo>
                      <a:lnTo>
                        <a:pt x="1130472" y="662509"/>
                      </a:lnTo>
                      <a:lnTo>
                        <a:pt x="1125545" y="666087"/>
                      </a:lnTo>
                      <a:lnTo>
                        <a:pt x="1117657" y="675559"/>
                      </a:lnTo>
                      <a:lnTo>
                        <a:pt x="1117665" y="677429"/>
                      </a:lnTo>
                      <a:lnTo>
                        <a:pt x="1120018" y="677795"/>
                      </a:lnTo>
                      <a:lnTo>
                        <a:pt x="1121230" y="678441"/>
                      </a:lnTo>
                      <a:lnTo>
                        <a:pt x="1122465" y="678829"/>
                      </a:lnTo>
                      <a:lnTo>
                        <a:pt x="1122217" y="681176"/>
                      </a:lnTo>
                      <a:lnTo>
                        <a:pt x="1118983" y="680961"/>
                      </a:lnTo>
                      <a:lnTo>
                        <a:pt x="1116378" y="681839"/>
                      </a:lnTo>
                      <a:lnTo>
                        <a:pt x="1115663" y="682739"/>
                      </a:lnTo>
                      <a:lnTo>
                        <a:pt x="1115862" y="684465"/>
                      </a:lnTo>
                      <a:lnTo>
                        <a:pt x="1116738" y="686201"/>
                      </a:lnTo>
                      <a:lnTo>
                        <a:pt x="1117591" y="688400"/>
                      </a:lnTo>
                      <a:lnTo>
                        <a:pt x="1117348" y="690037"/>
                      </a:lnTo>
                      <a:lnTo>
                        <a:pt x="1115749" y="688876"/>
                      </a:lnTo>
                      <a:lnTo>
                        <a:pt x="1114036" y="686806"/>
                      </a:lnTo>
                      <a:lnTo>
                        <a:pt x="1112363" y="686923"/>
                      </a:lnTo>
                      <a:lnTo>
                        <a:pt x="1112039" y="689355"/>
                      </a:lnTo>
                      <a:lnTo>
                        <a:pt x="1108813" y="689719"/>
                      </a:lnTo>
                      <a:lnTo>
                        <a:pt x="1108176" y="689923"/>
                      </a:lnTo>
                      <a:lnTo>
                        <a:pt x="1106753" y="690765"/>
                      </a:lnTo>
                      <a:lnTo>
                        <a:pt x="1105275" y="690834"/>
                      </a:lnTo>
                      <a:lnTo>
                        <a:pt x="1103780" y="692802"/>
                      </a:lnTo>
                      <a:lnTo>
                        <a:pt x="1102721" y="694362"/>
                      </a:lnTo>
                      <a:lnTo>
                        <a:pt x="1103209" y="696123"/>
                      </a:lnTo>
                      <a:lnTo>
                        <a:pt x="1100911" y="698523"/>
                      </a:lnTo>
                      <a:lnTo>
                        <a:pt x="1098823" y="700717"/>
                      </a:lnTo>
                      <a:lnTo>
                        <a:pt x="1096078" y="701324"/>
                      </a:lnTo>
                      <a:lnTo>
                        <a:pt x="1093824" y="702040"/>
                      </a:lnTo>
                      <a:lnTo>
                        <a:pt x="1093384" y="705639"/>
                      </a:lnTo>
                      <a:lnTo>
                        <a:pt x="1094967" y="705323"/>
                      </a:lnTo>
                      <a:lnTo>
                        <a:pt x="1096524" y="705286"/>
                      </a:lnTo>
                      <a:lnTo>
                        <a:pt x="1098060" y="705622"/>
                      </a:lnTo>
                      <a:lnTo>
                        <a:pt x="1099550" y="706473"/>
                      </a:lnTo>
                      <a:lnTo>
                        <a:pt x="1102063" y="704129"/>
                      </a:lnTo>
                      <a:lnTo>
                        <a:pt x="1105013" y="704301"/>
                      </a:lnTo>
                      <a:lnTo>
                        <a:pt x="1108227" y="705311"/>
                      </a:lnTo>
                      <a:lnTo>
                        <a:pt x="1111726" y="706041"/>
                      </a:lnTo>
                      <a:lnTo>
                        <a:pt x="1114682" y="705705"/>
                      </a:lnTo>
                      <a:lnTo>
                        <a:pt x="1117613" y="703261"/>
                      </a:lnTo>
                      <a:lnTo>
                        <a:pt x="1118270" y="701500"/>
                      </a:lnTo>
                      <a:lnTo>
                        <a:pt x="1118668" y="699327"/>
                      </a:lnTo>
                      <a:lnTo>
                        <a:pt x="1118589" y="697321"/>
                      </a:lnTo>
                      <a:lnTo>
                        <a:pt x="1120127" y="696487"/>
                      </a:lnTo>
                      <a:lnTo>
                        <a:pt x="1123038" y="695589"/>
                      </a:lnTo>
                      <a:lnTo>
                        <a:pt x="1125353" y="691611"/>
                      </a:lnTo>
                      <a:lnTo>
                        <a:pt x="1127148" y="687382"/>
                      </a:lnTo>
                      <a:lnTo>
                        <a:pt x="1130566" y="686169"/>
                      </a:lnTo>
                      <a:lnTo>
                        <a:pt x="1132850" y="686092"/>
                      </a:lnTo>
                      <a:lnTo>
                        <a:pt x="1133357" y="684853"/>
                      </a:lnTo>
                      <a:lnTo>
                        <a:pt x="1130724" y="680624"/>
                      </a:lnTo>
                      <a:lnTo>
                        <a:pt x="1132040" y="679598"/>
                      </a:lnTo>
                      <a:lnTo>
                        <a:pt x="1134204" y="679477"/>
                      </a:lnTo>
                      <a:lnTo>
                        <a:pt x="1135628" y="682081"/>
                      </a:lnTo>
                      <a:lnTo>
                        <a:pt x="1136638" y="684570"/>
                      </a:lnTo>
                      <a:lnTo>
                        <a:pt x="1140899" y="684864"/>
                      </a:lnTo>
                      <a:lnTo>
                        <a:pt x="1141317" y="682496"/>
                      </a:lnTo>
                      <a:lnTo>
                        <a:pt x="1143372" y="681938"/>
                      </a:lnTo>
                      <a:lnTo>
                        <a:pt x="1143772" y="679855"/>
                      </a:lnTo>
                      <a:lnTo>
                        <a:pt x="1143743" y="678295"/>
                      </a:lnTo>
                      <a:lnTo>
                        <a:pt x="1144420" y="677116"/>
                      </a:lnTo>
                      <a:lnTo>
                        <a:pt x="1147488" y="677630"/>
                      </a:lnTo>
                      <a:lnTo>
                        <a:pt x="1152699" y="682695"/>
                      </a:lnTo>
                      <a:lnTo>
                        <a:pt x="1152374" y="679378"/>
                      </a:lnTo>
                      <a:lnTo>
                        <a:pt x="1152070" y="675954"/>
                      </a:lnTo>
                      <a:lnTo>
                        <a:pt x="1153574" y="674113"/>
                      </a:lnTo>
                      <a:lnTo>
                        <a:pt x="1155306" y="674267"/>
                      </a:lnTo>
                      <a:lnTo>
                        <a:pt x="1161609" y="680489"/>
                      </a:lnTo>
                      <a:lnTo>
                        <a:pt x="1162739" y="682286"/>
                      </a:lnTo>
                      <a:lnTo>
                        <a:pt x="1164296" y="683136"/>
                      </a:lnTo>
                      <a:lnTo>
                        <a:pt x="1167189" y="682286"/>
                      </a:lnTo>
                      <a:lnTo>
                        <a:pt x="1172175" y="679572"/>
                      </a:lnTo>
                      <a:lnTo>
                        <a:pt x="1176664" y="674825"/>
                      </a:lnTo>
                      <a:lnTo>
                        <a:pt x="1179090" y="673274"/>
                      </a:lnTo>
                      <a:lnTo>
                        <a:pt x="1181823" y="674166"/>
                      </a:lnTo>
                      <a:lnTo>
                        <a:pt x="1184154" y="673456"/>
                      </a:lnTo>
                      <a:lnTo>
                        <a:pt x="1183254" y="669328"/>
                      </a:lnTo>
                      <a:lnTo>
                        <a:pt x="1184941" y="668515"/>
                      </a:lnTo>
                      <a:lnTo>
                        <a:pt x="1187026" y="669876"/>
                      </a:lnTo>
                      <a:lnTo>
                        <a:pt x="1189391" y="670803"/>
                      </a:lnTo>
                      <a:lnTo>
                        <a:pt x="1189124" y="669709"/>
                      </a:lnTo>
                      <a:lnTo>
                        <a:pt x="1186798" y="667409"/>
                      </a:lnTo>
                      <a:lnTo>
                        <a:pt x="1190542" y="666043"/>
                      </a:lnTo>
                      <a:lnTo>
                        <a:pt x="1195003" y="667280"/>
                      </a:lnTo>
                      <a:lnTo>
                        <a:pt x="1197736" y="667768"/>
                      </a:lnTo>
                      <a:lnTo>
                        <a:pt x="1197066" y="669554"/>
                      </a:lnTo>
                      <a:lnTo>
                        <a:pt x="1194875" y="672728"/>
                      </a:lnTo>
                      <a:lnTo>
                        <a:pt x="1188749" y="674589"/>
                      </a:lnTo>
                      <a:lnTo>
                        <a:pt x="1178552" y="680894"/>
                      </a:lnTo>
                      <a:lnTo>
                        <a:pt x="1168225" y="686039"/>
                      </a:lnTo>
                      <a:lnTo>
                        <a:pt x="1158879" y="691851"/>
                      </a:lnTo>
                      <a:lnTo>
                        <a:pt x="1151089" y="696403"/>
                      </a:lnTo>
                      <a:lnTo>
                        <a:pt x="1138550" y="704082"/>
                      </a:lnTo>
                      <a:lnTo>
                        <a:pt x="1131454" y="708315"/>
                      </a:lnTo>
                      <a:lnTo>
                        <a:pt x="1126954" y="711144"/>
                      </a:lnTo>
                      <a:lnTo>
                        <a:pt x="1122217" y="712791"/>
                      </a:lnTo>
                      <a:lnTo>
                        <a:pt x="1119485" y="713441"/>
                      </a:lnTo>
                      <a:lnTo>
                        <a:pt x="1120638" y="710549"/>
                      </a:lnTo>
                      <a:lnTo>
                        <a:pt x="1120323" y="708627"/>
                      </a:lnTo>
                      <a:lnTo>
                        <a:pt x="1118360" y="707663"/>
                      </a:lnTo>
                      <a:lnTo>
                        <a:pt x="1114563" y="707603"/>
                      </a:lnTo>
                      <a:lnTo>
                        <a:pt x="1112973" y="708321"/>
                      </a:lnTo>
                      <a:lnTo>
                        <a:pt x="1112722" y="709784"/>
                      </a:lnTo>
                      <a:lnTo>
                        <a:pt x="1113473" y="711561"/>
                      </a:lnTo>
                      <a:lnTo>
                        <a:pt x="1114872" y="713199"/>
                      </a:lnTo>
                      <a:lnTo>
                        <a:pt x="1115359" y="714800"/>
                      </a:lnTo>
                      <a:lnTo>
                        <a:pt x="1114008" y="716308"/>
                      </a:lnTo>
                      <a:lnTo>
                        <a:pt x="1109033" y="720030"/>
                      </a:lnTo>
                      <a:lnTo>
                        <a:pt x="1100594" y="724138"/>
                      </a:lnTo>
                      <a:lnTo>
                        <a:pt x="1087197" y="729707"/>
                      </a:lnTo>
                      <a:lnTo>
                        <a:pt x="1084593" y="730944"/>
                      </a:lnTo>
                      <a:lnTo>
                        <a:pt x="1083440" y="731117"/>
                      </a:lnTo>
                      <a:lnTo>
                        <a:pt x="1082423" y="730513"/>
                      </a:lnTo>
                      <a:lnTo>
                        <a:pt x="1083170" y="729762"/>
                      </a:lnTo>
                      <a:lnTo>
                        <a:pt x="1084058" y="729562"/>
                      </a:lnTo>
                      <a:lnTo>
                        <a:pt x="1090370" y="726801"/>
                      </a:lnTo>
                      <a:lnTo>
                        <a:pt x="1094172" y="725343"/>
                      </a:lnTo>
                      <a:lnTo>
                        <a:pt x="1092134" y="724910"/>
                      </a:lnTo>
                      <a:lnTo>
                        <a:pt x="1089836" y="725063"/>
                      </a:lnTo>
                      <a:lnTo>
                        <a:pt x="1086833" y="725546"/>
                      </a:lnTo>
                      <a:lnTo>
                        <a:pt x="1082623" y="724408"/>
                      </a:lnTo>
                      <a:lnTo>
                        <a:pt x="1080600" y="726529"/>
                      </a:lnTo>
                      <a:lnTo>
                        <a:pt x="1078072" y="729180"/>
                      </a:lnTo>
                      <a:lnTo>
                        <a:pt x="1072743" y="729679"/>
                      </a:lnTo>
                      <a:lnTo>
                        <a:pt x="1068655" y="728749"/>
                      </a:lnTo>
                      <a:lnTo>
                        <a:pt x="1071079" y="730009"/>
                      </a:lnTo>
                      <a:lnTo>
                        <a:pt x="1070990" y="732376"/>
                      </a:lnTo>
                      <a:lnTo>
                        <a:pt x="1069192" y="734092"/>
                      </a:lnTo>
                      <a:lnTo>
                        <a:pt x="1066689" y="736116"/>
                      </a:lnTo>
                      <a:lnTo>
                        <a:pt x="1063012" y="737074"/>
                      </a:lnTo>
                      <a:lnTo>
                        <a:pt x="1060716" y="733681"/>
                      </a:lnTo>
                      <a:lnTo>
                        <a:pt x="1057942" y="735217"/>
                      </a:lnTo>
                      <a:lnTo>
                        <a:pt x="1055701" y="735725"/>
                      </a:lnTo>
                      <a:lnTo>
                        <a:pt x="1053297" y="738514"/>
                      </a:lnTo>
                      <a:lnTo>
                        <a:pt x="1043457" y="737906"/>
                      </a:lnTo>
                      <a:lnTo>
                        <a:pt x="1042025" y="738374"/>
                      </a:lnTo>
                      <a:lnTo>
                        <a:pt x="1041097" y="741337"/>
                      </a:lnTo>
                      <a:lnTo>
                        <a:pt x="1038048" y="741972"/>
                      </a:lnTo>
                      <a:lnTo>
                        <a:pt x="1034096" y="743096"/>
                      </a:lnTo>
                      <a:lnTo>
                        <a:pt x="1031968" y="744023"/>
                      </a:lnTo>
                      <a:lnTo>
                        <a:pt x="1029379" y="742853"/>
                      </a:lnTo>
                      <a:lnTo>
                        <a:pt x="1027159" y="742652"/>
                      </a:lnTo>
                      <a:lnTo>
                        <a:pt x="1025704" y="743462"/>
                      </a:lnTo>
                      <a:lnTo>
                        <a:pt x="1025824" y="745261"/>
                      </a:lnTo>
                      <a:lnTo>
                        <a:pt x="1025826" y="747214"/>
                      </a:lnTo>
                      <a:lnTo>
                        <a:pt x="1024204" y="748319"/>
                      </a:lnTo>
                      <a:lnTo>
                        <a:pt x="1020871" y="747691"/>
                      </a:lnTo>
                      <a:lnTo>
                        <a:pt x="1016103" y="747889"/>
                      </a:lnTo>
                      <a:lnTo>
                        <a:pt x="1012628" y="746571"/>
                      </a:lnTo>
                      <a:lnTo>
                        <a:pt x="1010928" y="748038"/>
                      </a:lnTo>
                      <a:lnTo>
                        <a:pt x="1009226" y="750215"/>
                      </a:lnTo>
                      <a:lnTo>
                        <a:pt x="1007649" y="751887"/>
                      </a:lnTo>
                      <a:lnTo>
                        <a:pt x="1001582" y="752953"/>
                      </a:lnTo>
                      <a:lnTo>
                        <a:pt x="994437" y="757294"/>
                      </a:lnTo>
                      <a:lnTo>
                        <a:pt x="990248" y="758445"/>
                      </a:lnTo>
                      <a:lnTo>
                        <a:pt x="975842" y="762024"/>
                      </a:lnTo>
                      <a:lnTo>
                        <a:pt x="967803" y="763667"/>
                      </a:lnTo>
                      <a:lnTo>
                        <a:pt x="959078" y="768554"/>
                      </a:lnTo>
                      <a:lnTo>
                        <a:pt x="957073" y="770402"/>
                      </a:lnTo>
                      <a:lnTo>
                        <a:pt x="955833" y="771130"/>
                      </a:lnTo>
                      <a:lnTo>
                        <a:pt x="954057" y="770834"/>
                      </a:lnTo>
                      <a:lnTo>
                        <a:pt x="955082" y="769837"/>
                      </a:lnTo>
                      <a:lnTo>
                        <a:pt x="954806" y="768224"/>
                      </a:lnTo>
                      <a:lnTo>
                        <a:pt x="952661" y="766961"/>
                      </a:lnTo>
                      <a:lnTo>
                        <a:pt x="948766" y="768056"/>
                      </a:lnTo>
                      <a:lnTo>
                        <a:pt x="946997" y="770212"/>
                      </a:lnTo>
                      <a:lnTo>
                        <a:pt x="947656" y="772860"/>
                      </a:lnTo>
                      <a:lnTo>
                        <a:pt x="962921" y="771896"/>
                      </a:lnTo>
                      <a:lnTo>
                        <a:pt x="967468" y="771710"/>
                      </a:lnTo>
                      <a:lnTo>
                        <a:pt x="966886" y="773313"/>
                      </a:lnTo>
                      <a:lnTo>
                        <a:pt x="948591" y="774992"/>
                      </a:lnTo>
                      <a:lnTo>
                        <a:pt x="941896" y="774983"/>
                      </a:lnTo>
                      <a:lnTo>
                        <a:pt x="939443" y="774454"/>
                      </a:lnTo>
                      <a:lnTo>
                        <a:pt x="933157" y="775978"/>
                      </a:lnTo>
                      <a:lnTo>
                        <a:pt x="921912" y="782008"/>
                      </a:lnTo>
                      <a:lnTo>
                        <a:pt x="916203" y="784704"/>
                      </a:lnTo>
                      <a:lnTo>
                        <a:pt x="915679" y="782327"/>
                      </a:lnTo>
                      <a:lnTo>
                        <a:pt x="927713" y="776894"/>
                      </a:lnTo>
                      <a:lnTo>
                        <a:pt x="935848" y="772819"/>
                      </a:lnTo>
                      <a:lnTo>
                        <a:pt x="937442" y="770856"/>
                      </a:lnTo>
                      <a:lnTo>
                        <a:pt x="938207" y="769380"/>
                      </a:lnTo>
                      <a:lnTo>
                        <a:pt x="937638" y="768571"/>
                      </a:lnTo>
                      <a:lnTo>
                        <a:pt x="936042" y="767692"/>
                      </a:lnTo>
                      <a:lnTo>
                        <a:pt x="933159" y="766271"/>
                      </a:lnTo>
                      <a:lnTo>
                        <a:pt x="930336" y="765130"/>
                      </a:lnTo>
                      <a:lnTo>
                        <a:pt x="928144" y="764723"/>
                      </a:lnTo>
                      <a:lnTo>
                        <a:pt x="925127" y="765868"/>
                      </a:lnTo>
                      <a:lnTo>
                        <a:pt x="922737" y="766683"/>
                      </a:lnTo>
                      <a:lnTo>
                        <a:pt x="921666" y="767472"/>
                      </a:lnTo>
                      <a:lnTo>
                        <a:pt x="920993" y="768303"/>
                      </a:lnTo>
                      <a:lnTo>
                        <a:pt x="920087" y="769829"/>
                      </a:lnTo>
                      <a:lnTo>
                        <a:pt x="920216" y="771484"/>
                      </a:lnTo>
                      <a:lnTo>
                        <a:pt x="922133" y="773826"/>
                      </a:lnTo>
                      <a:lnTo>
                        <a:pt x="923684" y="776977"/>
                      </a:lnTo>
                      <a:lnTo>
                        <a:pt x="921815" y="778038"/>
                      </a:lnTo>
                      <a:lnTo>
                        <a:pt x="920727" y="776982"/>
                      </a:lnTo>
                      <a:lnTo>
                        <a:pt x="918644" y="777066"/>
                      </a:lnTo>
                      <a:lnTo>
                        <a:pt x="916501" y="777224"/>
                      </a:lnTo>
                      <a:lnTo>
                        <a:pt x="915889" y="778335"/>
                      </a:lnTo>
                      <a:lnTo>
                        <a:pt x="914634" y="778996"/>
                      </a:lnTo>
                      <a:lnTo>
                        <a:pt x="908020" y="780412"/>
                      </a:lnTo>
                      <a:lnTo>
                        <a:pt x="905678" y="780375"/>
                      </a:lnTo>
                      <a:lnTo>
                        <a:pt x="904191" y="778923"/>
                      </a:lnTo>
                      <a:lnTo>
                        <a:pt x="905645" y="778104"/>
                      </a:lnTo>
                      <a:lnTo>
                        <a:pt x="905782" y="776958"/>
                      </a:lnTo>
                      <a:lnTo>
                        <a:pt x="904494" y="775704"/>
                      </a:lnTo>
                      <a:lnTo>
                        <a:pt x="900496" y="774514"/>
                      </a:lnTo>
                      <a:lnTo>
                        <a:pt x="898487" y="772111"/>
                      </a:lnTo>
                      <a:lnTo>
                        <a:pt x="898360" y="768714"/>
                      </a:lnTo>
                      <a:lnTo>
                        <a:pt x="899721" y="766767"/>
                      </a:lnTo>
                      <a:lnTo>
                        <a:pt x="900728" y="763925"/>
                      </a:lnTo>
                      <a:lnTo>
                        <a:pt x="899836" y="761651"/>
                      </a:lnTo>
                      <a:lnTo>
                        <a:pt x="901348" y="759338"/>
                      </a:lnTo>
                      <a:lnTo>
                        <a:pt x="901730" y="758246"/>
                      </a:lnTo>
                      <a:lnTo>
                        <a:pt x="902626" y="757521"/>
                      </a:lnTo>
                      <a:lnTo>
                        <a:pt x="903937" y="756559"/>
                      </a:lnTo>
                      <a:lnTo>
                        <a:pt x="905385" y="755714"/>
                      </a:lnTo>
                      <a:lnTo>
                        <a:pt x="906225" y="752809"/>
                      </a:lnTo>
                      <a:lnTo>
                        <a:pt x="905885" y="749530"/>
                      </a:lnTo>
                      <a:lnTo>
                        <a:pt x="908601" y="743980"/>
                      </a:lnTo>
                      <a:lnTo>
                        <a:pt x="911156" y="741011"/>
                      </a:lnTo>
                      <a:lnTo>
                        <a:pt x="914635" y="742313"/>
                      </a:lnTo>
                      <a:lnTo>
                        <a:pt x="916994" y="741711"/>
                      </a:lnTo>
                      <a:lnTo>
                        <a:pt x="918605" y="742655"/>
                      </a:lnTo>
                      <a:lnTo>
                        <a:pt x="923303" y="738548"/>
                      </a:lnTo>
                      <a:lnTo>
                        <a:pt x="929937" y="738979"/>
                      </a:lnTo>
                      <a:lnTo>
                        <a:pt x="933895" y="742445"/>
                      </a:lnTo>
                      <a:lnTo>
                        <a:pt x="934180" y="738808"/>
                      </a:lnTo>
                      <a:lnTo>
                        <a:pt x="931387" y="735681"/>
                      </a:lnTo>
                      <a:lnTo>
                        <a:pt x="931769" y="731588"/>
                      </a:lnTo>
                      <a:lnTo>
                        <a:pt x="934000" y="731143"/>
                      </a:lnTo>
                      <a:lnTo>
                        <a:pt x="935927" y="732830"/>
                      </a:lnTo>
                      <a:lnTo>
                        <a:pt x="937535" y="735005"/>
                      </a:lnTo>
                      <a:lnTo>
                        <a:pt x="938838" y="736056"/>
                      </a:lnTo>
                      <a:lnTo>
                        <a:pt x="940320" y="734984"/>
                      </a:lnTo>
                      <a:lnTo>
                        <a:pt x="940749" y="732859"/>
                      </a:lnTo>
                      <a:lnTo>
                        <a:pt x="939772" y="730839"/>
                      </a:lnTo>
                      <a:lnTo>
                        <a:pt x="934617" y="729425"/>
                      </a:lnTo>
                      <a:lnTo>
                        <a:pt x="934457" y="727519"/>
                      </a:lnTo>
                      <a:lnTo>
                        <a:pt x="935605" y="725324"/>
                      </a:lnTo>
                      <a:lnTo>
                        <a:pt x="937758" y="725071"/>
                      </a:lnTo>
                      <a:lnTo>
                        <a:pt x="942664" y="726485"/>
                      </a:lnTo>
                      <a:lnTo>
                        <a:pt x="944674" y="729602"/>
                      </a:lnTo>
                      <a:lnTo>
                        <a:pt x="947025" y="732020"/>
                      </a:lnTo>
                      <a:lnTo>
                        <a:pt x="947800" y="730720"/>
                      </a:lnTo>
                      <a:lnTo>
                        <a:pt x="945289" y="724315"/>
                      </a:lnTo>
                      <a:lnTo>
                        <a:pt x="947051" y="718501"/>
                      </a:lnTo>
                      <a:lnTo>
                        <a:pt x="956275" y="715133"/>
                      </a:lnTo>
                      <a:lnTo>
                        <a:pt x="962679" y="714093"/>
                      </a:lnTo>
                      <a:lnTo>
                        <a:pt x="964307" y="716202"/>
                      </a:lnTo>
                      <a:lnTo>
                        <a:pt x="964114" y="717053"/>
                      </a:lnTo>
                      <a:lnTo>
                        <a:pt x="962521" y="718729"/>
                      </a:lnTo>
                      <a:lnTo>
                        <a:pt x="960619" y="718228"/>
                      </a:lnTo>
                      <a:lnTo>
                        <a:pt x="959565" y="719086"/>
                      </a:lnTo>
                      <a:lnTo>
                        <a:pt x="962111" y="721100"/>
                      </a:lnTo>
                      <a:lnTo>
                        <a:pt x="965605" y="721061"/>
                      </a:lnTo>
                      <a:lnTo>
                        <a:pt x="965510" y="719578"/>
                      </a:lnTo>
                      <a:lnTo>
                        <a:pt x="965508" y="718158"/>
                      </a:lnTo>
                      <a:lnTo>
                        <a:pt x="967638" y="718290"/>
                      </a:lnTo>
                      <a:lnTo>
                        <a:pt x="968116" y="720102"/>
                      </a:lnTo>
                      <a:lnTo>
                        <a:pt x="970201" y="720729"/>
                      </a:lnTo>
                      <a:lnTo>
                        <a:pt x="971073" y="719747"/>
                      </a:lnTo>
                      <a:lnTo>
                        <a:pt x="970290" y="718311"/>
                      </a:lnTo>
                      <a:lnTo>
                        <a:pt x="971253" y="717722"/>
                      </a:lnTo>
                      <a:lnTo>
                        <a:pt x="970799" y="716382"/>
                      </a:lnTo>
                      <a:lnTo>
                        <a:pt x="967780" y="713647"/>
                      </a:lnTo>
                      <a:lnTo>
                        <a:pt x="966142" y="712140"/>
                      </a:lnTo>
                      <a:lnTo>
                        <a:pt x="966627" y="708784"/>
                      </a:lnTo>
                      <a:lnTo>
                        <a:pt x="970431" y="710144"/>
                      </a:lnTo>
                      <a:lnTo>
                        <a:pt x="975034" y="710343"/>
                      </a:lnTo>
                      <a:lnTo>
                        <a:pt x="974391" y="713723"/>
                      </a:lnTo>
                      <a:lnTo>
                        <a:pt x="975926" y="714855"/>
                      </a:lnTo>
                      <a:lnTo>
                        <a:pt x="977945" y="715995"/>
                      </a:lnTo>
                      <a:lnTo>
                        <a:pt x="980031" y="715203"/>
                      </a:lnTo>
                      <a:lnTo>
                        <a:pt x="982333" y="714669"/>
                      </a:lnTo>
                      <a:lnTo>
                        <a:pt x="985151" y="715500"/>
                      </a:lnTo>
                      <a:lnTo>
                        <a:pt x="986980" y="715301"/>
                      </a:lnTo>
                      <a:lnTo>
                        <a:pt x="986946" y="712852"/>
                      </a:lnTo>
                      <a:lnTo>
                        <a:pt x="985648" y="710993"/>
                      </a:lnTo>
                      <a:lnTo>
                        <a:pt x="983005" y="711309"/>
                      </a:lnTo>
                      <a:lnTo>
                        <a:pt x="979968" y="711371"/>
                      </a:lnTo>
                      <a:lnTo>
                        <a:pt x="977868" y="708947"/>
                      </a:lnTo>
                      <a:lnTo>
                        <a:pt x="977907" y="707644"/>
                      </a:lnTo>
                      <a:lnTo>
                        <a:pt x="978465" y="706307"/>
                      </a:lnTo>
                      <a:lnTo>
                        <a:pt x="979451" y="706238"/>
                      </a:lnTo>
                      <a:lnTo>
                        <a:pt x="981984" y="707357"/>
                      </a:lnTo>
                      <a:lnTo>
                        <a:pt x="983254" y="709215"/>
                      </a:lnTo>
                      <a:lnTo>
                        <a:pt x="986825" y="709872"/>
                      </a:lnTo>
                      <a:lnTo>
                        <a:pt x="990537" y="709872"/>
                      </a:lnTo>
                      <a:lnTo>
                        <a:pt x="995480" y="710303"/>
                      </a:lnTo>
                      <a:lnTo>
                        <a:pt x="1000255" y="711915"/>
                      </a:lnTo>
                      <a:lnTo>
                        <a:pt x="1003258" y="712284"/>
                      </a:lnTo>
                      <a:lnTo>
                        <a:pt x="1004575" y="712619"/>
                      </a:lnTo>
                      <a:lnTo>
                        <a:pt x="1006120" y="712419"/>
                      </a:lnTo>
                      <a:lnTo>
                        <a:pt x="1012366" y="710013"/>
                      </a:lnTo>
                      <a:lnTo>
                        <a:pt x="1014707" y="707823"/>
                      </a:lnTo>
                      <a:lnTo>
                        <a:pt x="1015743" y="704992"/>
                      </a:lnTo>
                      <a:lnTo>
                        <a:pt x="1014376" y="702086"/>
                      </a:lnTo>
                      <a:lnTo>
                        <a:pt x="1016671" y="700838"/>
                      </a:lnTo>
                      <a:lnTo>
                        <a:pt x="1019699" y="699707"/>
                      </a:lnTo>
                      <a:lnTo>
                        <a:pt x="1021952" y="700237"/>
                      </a:lnTo>
                      <a:lnTo>
                        <a:pt x="1021970" y="703939"/>
                      </a:lnTo>
                      <a:lnTo>
                        <a:pt x="1023893" y="703870"/>
                      </a:lnTo>
                      <a:lnTo>
                        <a:pt x="1025092" y="703194"/>
                      </a:lnTo>
                      <a:lnTo>
                        <a:pt x="1025242" y="701937"/>
                      </a:lnTo>
                      <a:lnTo>
                        <a:pt x="1024019" y="700111"/>
                      </a:lnTo>
                      <a:lnTo>
                        <a:pt x="1025128" y="699554"/>
                      </a:lnTo>
                      <a:lnTo>
                        <a:pt x="1029529" y="700806"/>
                      </a:lnTo>
                      <a:lnTo>
                        <a:pt x="1035101" y="699645"/>
                      </a:lnTo>
                      <a:lnTo>
                        <a:pt x="1051038" y="699073"/>
                      </a:lnTo>
                      <a:lnTo>
                        <a:pt x="1061008" y="697227"/>
                      </a:lnTo>
                      <a:lnTo>
                        <a:pt x="1068289" y="697383"/>
                      </a:lnTo>
                      <a:lnTo>
                        <a:pt x="1079981" y="693601"/>
                      </a:lnTo>
                      <a:lnTo>
                        <a:pt x="1089713" y="692365"/>
                      </a:lnTo>
                      <a:lnTo>
                        <a:pt x="1092675" y="690991"/>
                      </a:lnTo>
                      <a:lnTo>
                        <a:pt x="1100667" y="684284"/>
                      </a:lnTo>
                      <a:lnTo>
                        <a:pt x="1109434" y="677823"/>
                      </a:lnTo>
                      <a:lnTo>
                        <a:pt x="1111240" y="674370"/>
                      </a:lnTo>
                      <a:lnTo>
                        <a:pt x="1112022" y="672261"/>
                      </a:lnTo>
                      <a:lnTo>
                        <a:pt x="1116529" y="671187"/>
                      </a:lnTo>
                      <a:lnTo>
                        <a:pt x="1120056" y="667480"/>
                      </a:lnTo>
                      <a:lnTo>
                        <a:pt x="1122648" y="663291"/>
                      </a:lnTo>
                      <a:lnTo>
                        <a:pt x="1124463" y="661438"/>
                      </a:lnTo>
                      <a:lnTo>
                        <a:pt x="1131408" y="657199"/>
                      </a:lnTo>
                      <a:close/>
                      <a:moveTo>
                        <a:pt x="1179152" y="629928"/>
                      </a:moveTo>
                      <a:lnTo>
                        <a:pt x="1178508" y="631670"/>
                      </a:lnTo>
                      <a:lnTo>
                        <a:pt x="1176058" y="632843"/>
                      </a:lnTo>
                      <a:lnTo>
                        <a:pt x="1172781" y="633644"/>
                      </a:lnTo>
                      <a:lnTo>
                        <a:pt x="1170737" y="636239"/>
                      </a:lnTo>
                      <a:lnTo>
                        <a:pt x="1169594" y="637842"/>
                      </a:lnTo>
                      <a:lnTo>
                        <a:pt x="1166039" y="637811"/>
                      </a:lnTo>
                      <a:lnTo>
                        <a:pt x="1163902" y="638712"/>
                      </a:lnTo>
                      <a:lnTo>
                        <a:pt x="1163736" y="636680"/>
                      </a:lnTo>
                      <a:lnTo>
                        <a:pt x="1164970" y="635495"/>
                      </a:lnTo>
                      <a:lnTo>
                        <a:pt x="1165136" y="633698"/>
                      </a:lnTo>
                      <a:lnTo>
                        <a:pt x="1166721" y="633684"/>
                      </a:lnTo>
                      <a:lnTo>
                        <a:pt x="1168268" y="635203"/>
                      </a:lnTo>
                      <a:lnTo>
                        <a:pt x="1168729" y="633898"/>
                      </a:lnTo>
                      <a:lnTo>
                        <a:pt x="1168931" y="632268"/>
                      </a:lnTo>
                      <a:lnTo>
                        <a:pt x="1171344" y="631776"/>
                      </a:lnTo>
                      <a:lnTo>
                        <a:pt x="1174567" y="631150"/>
                      </a:lnTo>
                      <a:lnTo>
                        <a:pt x="1176371" y="630016"/>
                      </a:lnTo>
                      <a:close/>
                      <a:moveTo>
                        <a:pt x="815110" y="0"/>
                      </a:moveTo>
                      <a:lnTo>
                        <a:pt x="816165" y="1965"/>
                      </a:lnTo>
                      <a:lnTo>
                        <a:pt x="817878" y="5893"/>
                      </a:lnTo>
                      <a:lnTo>
                        <a:pt x="819229" y="8360"/>
                      </a:lnTo>
                      <a:lnTo>
                        <a:pt x="819647" y="9510"/>
                      </a:lnTo>
                      <a:lnTo>
                        <a:pt x="819936" y="10883"/>
                      </a:lnTo>
                      <a:lnTo>
                        <a:pt x="820016" y="13205"/>
                      </a:lnTo>
                      <a:lnTo>
                        <a:pt x="819869" y="14675"/>
                      </a:lnTo>
                      <a:lnTo>
                        <a:pt x="819559" y="15862"/>
                      </a:lnTo>
                      <a:lnTo>
                        <a:pt x="818134" y="19468"/>
                      </a:lnTo>
                      <a:lnTo>
                        <a:pt x="817878" y="20525"/>
                      </a:lnTo>
                      <a:lnTo>
                        <a:pt x="817654" y="22756"/>
                      </a:lnTo>
                      <a:lnTo>
                        <a:pt x="817681" y="23811"/>
                      </a:lnTo>
                      <a:lnTo>
                        <a:pt x="817977" y="25839"/>
                      </a:lnTo>
                      <a:lnTo>
                        <a:pt x="818322" y="26896"/>
                      </a:lnTo>
                      <a:lnTo>
                        <a:pt x="818845" y="28030"/>
                      </a:lnTo>
                      <a:lnTo>
                        <a:pt x="819873" y="29469"/>
                      </a:lnTo>
                      <a:lnTo>
                        <a:pt x="820741" y="30400"/>
                      </a:lnTo>
                      <a:lnTo>
                        <a:pt x="821592" y="31156"/>
                      </a:lnTo>
                      <a:lnTo>
                        <a:pt x="824838" y="33520"/>
                      </a:lnTo>
                      <a:lnTo>
                        <a:pt x="825459" y="34265"/>
                      </a:lnTo>
                      <a:lnTo>
                        <a:pt x="825965" y="35020"/>
                      </a:lnTo>
                      <a:lnTo>
                        <a:pt x="826330" y="35870"/>
                      </a:lnTo>
                      <a:lnTo>
                        <a:pt x="826666" y="37044"/>
                      </a:lnTo>
                      <a:lnTo>
                        <a:pt x="826932" y="38518"/>
                      </a:lnTo>
                      <a:lnTo>
                        <a:pt x="827092" y="41029"/>
                      </a:lnTo>
                      <a:lnTo>
                        <a:pt x="827053" y="42655"/>
                      </a:lnTo>
                      <a:lnTo>
                        <a:pt x="826668" y="46295"/>
                      </a:lnTo>
                      <a:lnTo>
                        <a:pt x="826738" y="48429"/>
                      </a:lnTo>
                      <a:lnTo>
                        <a:pt x="827523" y="52341"/>
                      </a:lnTo>
                      <a:lnTo>
                        <a:pt x="827772" y="54387"/>
                      </a:lnTo>
                      <a:lnTo>
                        <a:pt x="827197" y="61194"/>
                      </a:lnTo>
                      <a:lnTo>
                        <a:pt x="827225" y="62258"/>
                      </a:lnTo>
                      <a:lnTo>
                        <a:pt x="827348" y="63266"/>
                      </a:lnTo>
                      <a:lnTo>
                        <a:pt x="828509" y="67057"/>
                      </a:lnTo>
                      <a:lnTo>
                        <a:pt x="831133" y="73228"/>
                      </a:lnTo>
                      <a:lnTo>
                        <a:pt x="831936" y="74671"/>
                      </a:lnTo>
                      <a:lnTo>
                        <a:pt x="834826" y="78308"/>
                      </a:lnTo>
                      <a:lnTo>
                        <a:pt x="843005" y="86787"/>
                      </a:lnTo>
                      <a:lnTo>
                        <a:pt x="845056" y="89421"/>
                      </a:lnTo>
                      <a:lnTo>
                        <a:pt x="846494" y="91886"/>
                      </a:lnTo>
                      <a:lnTo>
                        <a:pt x="846906" y="92901"/>
                      </a:lnTo>
                      <a:lnTo>
                        <a:pt x="847385" y="94523"/>
                      </a:lnTo>
                      <a:lnTo>
                        <a:pt x="847721" y="96154"/>
                      </a:lnTo>
                      <a:lnTo>
                        <a:pt x="847950" y="98730"/>
                      </a:lnTo>
                      <a:lnTo>
                        <a:pt x="847983" y="101665"/>
                      </a:lnTo>
                      <a:lnTo>
                        <a:pt x="847639" y="103811"/>
                      </a:lnTo>
                      <a:lnTo>
                        <a:pt x="846139" y="108590"/>
                      </a:lnTo>
                      <a:lnTo>
                        <a:pt x="845926" y="109606"/>
                      </a:lnTo>
                      <a:lnTo>
                        <a:pt x="845843" y="110667"/>
                      </a:lnTo>
                      <a:lnTo>
                        <a:pt x="846073" y="111910"/>
                      </a:lnTo>
                      <a:lnTo>
                        <a:pt x="846505" y="113299"/>
                      </a:lnTo>
                      <a:lnTo>
                        <a:pt x="850389" y="120904"/>
                      </a:lnTo>
                      <a:lnTo>
                        <a:pt x="851075" y="122640"/>
                      </a:lnTo>
                      <a:lnTo>
                        <a:pt x="851878" y="126043"/>
                      </a:lnTo>
                      <a:lnTo>
                        <a:pt x="852344" y="129793"/>
                      </a:lnTo>
                      <a:lnTo>
                        <a:pt x="852274" y="131701"/>
                      </a:lnTo>
                      <a:lnTo>
                        <a:pt x="851872" y="133005"/>
                      </a:lnTo>
                      <a:lnTo>
                        <a:pt x="850626" y="134134"/>
                      </a:lnTo>
                      <a:lnTo>
                        <a:pt x="849218" y="135138"/>
                      </a:lnTo>
                      <a:lnTo>
                        <a:pt x="847941" y="136313"/>
                      </a:lnTo>
                      <a:lnTo>
                        <a:pt x="846847" y="137688"/>
                      </a:lnTo>
                      <a:lnTo>
                        <a:pt x="846469" y="138537"/>
                      </a:lnTo>
                      <a:lnTo>
                        <a:pt x="846207" y="139436"/>
                      </a:lnTo>
                      <a:lnTo>
                        <a:pt x="846171" y="140437"/>
                      </a:lnTo>
                      <a:lnTo>
                        <a:pt x="846675" y="144146"/>
                      </a:lnTo>
                      <a:lnTo>
                        <a:pt x="846713" y="146525"/>
                      </a:lnTo>
                      <a:lnTo>
                        <a:pt x="845357" y="160885"/>
                      </a:lnTo>
                      <a:lnTo>
                        <a:pt x="844343" y="163554"/>
                      </a:lnTo>
                      <a:lnTo>
                        <a:pt x="844271" y="164641"/>
                      </a:lnTo>
                      <a:lnTo>
                        <a:pt x="844569" y="165840"/>
                      </a:lnTo>
                      <a:lnTo>
                        <a:pt x="845563" y="167322"/>
                      </a:lnTo>
                      <a:lnTo>
                        <a:pt x="846447" y="168239"/>
                      </a:lnTo>
                      <a:lnTo>
                        <a:pt x="848774" y="170259"/>
                      </a:lnTo>
                      <a:lnTo>
                        <a:pt x="849391" y="170977"/>
                      </a:lnTo>
                      <a:lnTo>
                        <a:pt x="850009" y="172093"/>
                      </a:lnTo>
                      <a:lnTo>
                        <a:pt x="850568" y="173585"/>
                      </a:lnTo>
                      <a:lnTo>
                        <a:pt x="851582" y="178331"/>
                      </a:lnTo>
                      <a:lnTo>
                        <a:pt x="852379" y="180964"/>
                      </a:lnTo>
                      <a:lnTo>
                        <a:pt x="855567" y="188419"/>
                      </a:lnTo>
                      <a:lnTo>
                        <a:pt x="856723" y="190554"/>
                      </a:lnTo>
                      <a:lnTo>
                        <a:pt x="857682" y="191972"/>
                      </a:lnTo>
                      <a:lnTo>
                        <a:pt x="859095" y="193342"/>
                      </a:lnTo>
                      <a:lnTo>
                        <a:pt x="859698" y="194037"/>
                      </a:lnTo>
                      <a:lnTo>
                        <a:pt x="860187" y="194848"/>
                      </a:lnTo>
                      <a:lnTo>
                        <a:pt x="860596" y="195935"/>
                      </a:lnTo>
                      <a:lnTo>
                        <a:pt x="860959" y="197284"/>
                      </a:lnTo>
                      <a:lnTo>
                        <a:pt x="861194" y="199588"/>
                      </a:lnTo>
                      <a:lnTo>
                        <a:pt x="861045" y="202369"/>
                      </a:lnTo>
                      <a:lnTo>
                        <a:pt x="861168" y="203432"/>
                      </a:lnTo>
                      <a:lnTo>
                        <a:pt x="861583" y="204462"/>
                      </a:lnTo>
                      <a:lnTo>
                        <a:pt x="865197" y="208455"/>
                      </a:lnTo>
                      <a:lnTo>
                        <a:pt x="865767" y="209229"/>
                      </a:lnTo>
                      <a:lnTo>
                        <a:pt x="866327" y="210602"/>
                      </a:lnTo>
                      <a:lnTo>
                        <a:pt x="866845" y="212403"/>
                      </a:lnTo>
                      <a:lnTo>
                        <a:pt x="867471" y="216068"/>
                      </a:lnTo>
                      <a:lnTo>
                        <a:pt x="867530" y="217989"/>
                      </a:lnTo>
                      <a:lnTo>
                        <a:pt x="864408" y="235829"/>
                      </a:lnTo>
                      <a:lnTo>
                        <a:pt x="864382" y="237389"/>
                      </a:lnTo>
                      <a:lnTo>
                        <a:pt x="864610" y="239357"/>
                      </a:lnTo>
                      <a:lnTo>
                        <a:pt x="865577" y="243109"/>
                      </a:lnTo>
                      <a:lnTo>
                        <a:pt x="866316" y="245225"/>
                      </a:lnTo>
                      <a:lnTo>
                        <a:pt x="867588" y="247156"/>
                      </a:lnTo>
                      <a:lnTo>
                        <a:pt x="869019" y="248817"/>
                      </a:lnTo>
                      <a:lnTo>
                        <a:pt x="869426" y="249191"/>
                      </a:lnTo>
                      <a:lnTo>
                        <a:pt x="869714" y="249249"/>
                      </a:lnTo>
                      <a:lnTo>
                        <a:pt x="870228" y="249072"/>
                      </a:lnTo>
                      <a:lnTo>
                        <a:pt x="871634" y="248308"/>
                      </a:lnTo>
                      <a:lnTo>
                        <a:pt x="872922" y="247149"/>
                      </a:lnTo>
                      <a:lnTo>
                        <a:pt x="873417" y="246412"/>
                      </a:lnTo>
                      <a:lnTo>
                        <a:pt x="873819" y="245582"/>
                      </a:lnTo>
                      <a:lnTo>
                        <a:pt x="873993" y="244593"/>
                      </a:lnTo>
                      <a:lnTo>
                        <a:pt x="873901" y="241513"/>
                      </a:lnTo>
                      <a:lnTo>
                        <a:pt x="874097" y="240579"/>
                      </a:lnTo>
                      <a:lnTo>
                        <a:pt x="874478" y="239734"/>
                      </a:lnTo>
                      <a:lnTo>
                        <a:pt x="875069" y="239096"/>
                      </a:lnTo>
                      <a:lnTo>
                        <a:pt x="875809" y="238645"/>
                      </a:lnTo>
                      <a:lnTo>
                        <a:pt x="876683" y="238344"/>
                      </a:lnTo>
                      <a:lnTo>
                        <a:pt x="877658" y="238181"/>
                      </a:lnTo>
                      <a:lnTo>
                        <a:pt x="878744" y="238126"/>
                      </a:lnTo>
                      <a:lnTo>
                        <a:pt x="881078" y="238391"/>
                      </a:lnTo>
                      <a:lnTo>
                        <a:pt x="882226" y="238734"/>
                      </a:lnTo>
                      <a:lnTo>
                        <a:pt x="883202" y="239423"/>
                      </a:lnTo>
                      <a:lnTo>
                        <a:pt x="884058" y="240340"/>
                      </a:lnTo>
                      <a:lnTo>
                        <a:pt x="887600" y="246431"/>
                      </a:lnTo>
                      <a:lnTo>
                        <a:pt x="889116" y="247846"/>
                      </a:lnTo>
                      <a:lnTo>
                        <a:pt x="889938" y="248233"/>
                      </a:lnTo>
                      <a:lnTo>
                        <a:pt x="891560" y="249272"/>
                      </a:lnTo>
                      <a:lnTo>
                        <a:pt x="892955" y="250582"/>
                      </a:lnTo>
                      <a:lnTo>
                        <a:pt x="893813" y="254397"/>
                      </a:lnTo>
                      <a:lnTo>
                        <a:pt x="894097" y="255690"/>
                      </a:lnTo>
                      <a:lnTo>
                        <a:pt x="894914" y="259313"/>
                      </a:lnTo>
                      <a:lnTo>
                        <a:pt x="896167" y="264942"/>
                      </a:lnTo>
                      <a:lnTo>
                        <a:pt x="897800" y="272252"/>
                      </a:lnTo>
                      <a:lnTo>
                        <a:pt x="899721" y="280899"/>
                      </a:lnTo>
                      <a:lnTo>
                        <a:pt x="901869" y="290548"/>
                      </a:lnTo>
                      <a:lnTo>
                        <a:pt x="904157" y="300872"/>
                      </a:lnTo>
                      <a:lnTo>
                        <a:pt x="906520" y="311538"/>
                      </a:lnTo>
                      <a:lnTo>
                        <a:pt x="908870" y="322205"/>
                      </a:lnTo>
                      <a:lnTo>
                        <a:pt x="911148" y="332528"/>
                      </a:lnTo>
                      <a:lnTo>
                        <a:pt x="913272" y="342197"/>
                      </a:lnTo>
                      <a:lnTo>
                        <a:pt x="915175" y="350862"/>
                      </a:lnTo>
                      <a:lnTo>
                        <a:pt x="916788" y="358177"/>
                      </a:lnTo>
                      <a:lnTo>
                        <a:pt x="918021" y="363822"/>
                      </a:lnTo>
                      <a:lnTo>
                        <a:pt x="918817" y="367455"/>
                      </a:lnTo>
                      <a:lnTo>
                        <a:pt x="919100" y="368742"/>
                      </a:lnTo>
                      <a:lnTo>
                        <a:pt x="919496" y="370641"/>
                      </a:lnTo>
                      <a:lnTo>
                        <a:pt x="919795" y="373512"/>
                      </a:lnTo>
                      <a:lnTo>
                        <a:pt x="919738" y="379802"/>
                      </a:lnTo>
                      <a:lnTo>
                        <a:pt x="919223" y="382454"/>
                      </a:lnTo>
                      <a:lnTo>
                        <a:pt x="923070" y="391269"/>
                      </a:lnTo>
                      <a:lnTo>
                        <a:pt x="924616" y="391234"/>
                      </a:lnTo>
                      <a:lnTo>
                        <a:pt x="924428" y="393098"/>
                      </a:lnTo>
                      <a:lnTo>
                        <a:pt x="924207" y="397305"/>
                      </a:lnTo>
                      <a:lnTo>
                        <a:pt x="923514" y="410202"/>
                      </a:lnTo>
                      <a:lnTo>
                        <a:pt x="922809" y="423111"/>
                      </a:lnTo>
                      <a:lnTo>
                        <a:pt x="922090" y="436022"/>
                      </a:lnTo>
                      <a:lnTo>
                        <a:pt x="921356" y="448927"/>
                      </a:lnTo>
                      <a:lnTo>
                        <a:pt x="920609" y="461836"/>
                      </a:lnTo>
                      <a:lnTo>
                        <a:pt x="919857" y="474754"/>
                      </a:lnTo>
                      <a:lnTo>
                        <a:pt x="919087" y="487671"/>
                      </a:lnTo>
                      <a:lnTo>
                        <a:pt x="918309" y="500587"/>
                      </a:lnTo>
                      <a:lnTo>
                        <a:pt x="917906" y="507174"/>
                      </a:lnTo>
                      <a:lnTo>
                        <a:pt x="917751" y="510417"/>
                      </a:lnTo>
                      <a:lnTo>
                        <a:pt x="922586" y="514388"/>
                      </a:lnTo>
                      <a:lnTo>
                        <a:pt x="923924" y="522531"/>
                      </a:lnTo>
                      <a:lnTo>
                        <a:pt x="925257" y="530664"/>
                      </a:lnTo>
                      <a:lnTo>
                        <a:pt x="926583" y="538816"/>
                      </a:lnTo>
                      <a:lnTo>
                        <a:pt x="927903" y="546956"/>
                      </a:lnTo>
                      <a:lnTo>
                        <a:pt x="929227" y="555105"/>
                      </a:lnTo>
                      <a:lnTo>
                        <a:pt x="930546" y="563252"/>
                      </a:lnTo>
                      <a:lnTo>
                        <a:pt x="931868" y="571404"/>
                      </a:lnTo>
                      <a:lnTo>
                        <a:pt x="933176" y="579546"/>
                      </a:lnTo>
                      <a:lnTo>
                        <a:pt x="934488" y="587700"/>
                      </a:lnTo>
                      <a:lnTo>
                        <a:pt x="935802" y="595847"/>
                      </a:lnTo>
                      <a:lnTo>
                        <a:pt x="937102" y="604011"/>
                      </a:lnTo>
                      <a:lnTo>
                        <a:pt x="938402" y="612157"/>
                      </a:lnTo>
                      <a:lnTo>
                        <a:pt x="939699" y="620318"/>
                      </a:lnTo>
                      <a:lnTo>
                        <a:pt x="940996" y="628475"/>
                      </a:lnTo>
                      <a:lnTo>
                        <a:pt x="942294" y="636638"/>
                      </a:lnTo>
                      <a:lnTo>
                        <a:pt x="943583" y="644791"/>
                      </a:lnTo>
                      <a:lnTo>
                        <a:pt x="944105" y="648140"/>
                      </a:lnTo>
                      <a:lnTo>
                        <a:pt x="947774" y="652254"/>
                      </a:lnTo>
                      <a:lnTo>
                        <a:pt x="950546" y="655352"/>
                      </a:lnTo>
                      <a:lnTo>
                        <a:pt x="953134" y="658243"/>
                      </a:lnTo>
                      <a:lnTo>
                        <a:pt x="955977" y="660970"/>
                      </a:lnTo>
                      <a:lnTo>
                        <a:pt x="954039" y="662741"/>
                      </a:lnTo>
                      <a:lnTo>
                        <a:pt x="947875" y="667299"/>
                      </a:lnTo>
                      <a:lnTo>
                        <a:pt x="940223" y="672980"/>
                      </a:lnTo>
                      <a:lnTo>
                        <a:pt x="933196" y="678171"/>
                      </a:lnTo>
                      <a:lnTo>
                        <a:pt x="927617" y="682296"/>
                      </a:lnTo>
                      <a:lnTo>
                        <a:pt x="925848" y="683703"/>
                      </a:lnTo>
                      <a:lnTo>
                        <a:pt x="926933" y="684897"/>
                      </a:lnTo>
                      <a:lnTo>
                        <a:pt x="931565" y="689701"/>
                      </a:lnTo>
                      <a:lnTo>
                        <a:pt x="936298" y="694597"/>
                      </a:lnTo>
                      <a:lnTo>
                        <a:pt x="936890" y="695071"/>
                      </a:lnTo>
                      <a:lnTo>
                        <a:pt x="937662" y="695452"/>
                      </a:lnTo>
                      <a:lnTo>
                        <a:pt x="938067" y="695714"/>
                      </a:lnTo>
                      <a:lnTo>
                        <a:pt x="938675" y="696247"/>
                      </a:lnTo>
                      <a:lnTo>
                        <a:pt x="939745" y="697704"/>
                      </a:lnTo>
                      <a:lnTo>
                        <a:pt x="940432" y="698871"/>
                      </a:lnTo>
                      <a:lnTo>
                        <a:pt x="941551" y="700794"/>
                      </a:lnTo>
                      <a:lnTo>
                        <a:pt x="940653" y="701667"/>
                      </a:lnTo>
                      <a:lnTo>
                        <a:pt x="941156" y="702427"/>
                      </a:lnTo>
                      <a:lnTo>
                        <a:pt x="940804" y="704234"/>
                      </a:lnTo>
                      <a:lnTo>
                        <a:pt x="938634" y="708563"/>
                      </a:lnTo>
                      <a:lnTo>
                        <a:pt x="938413" y="709299"/>
                      </a:lnTo>
                      <a:lnTo>
                        <a:pt x="935249" y="709538"/>
                      </a:lnTo>
                      <a:lnTo>
                        <a:pt x="933565" y="709979"/>
                      </a:lnTo>
                      <a:lnTo>
                        <a:pt x="932404" y="711142"/>
                      </a:lnTo>
                      <a:lnTo>
                        <a:pt x="927441" y="718107"/>
                      </a:lnTo>
                      <a:lnTo>
                        <a:pt x="926173" y="721058"/>
                      </a:lnTo>
                      <a:lnTo>
                        <a:pt x="926091" y="724291"/>
                      </a:lnTo>
                      <a:lnTo>
                        <a:pt x="925483" y="725099"/>
                      </a:lnTo>
                      <a:lnTo>
                        <a:pt x="923748" y="725142"/>
                      </a:lnTo>
                      <a:lnTo>
                        <a:pt x="922081" y="725486"/>
                      </a:lnTo>
                      <a:lnTo>
                        <a:pt x="921664" y="727130"/>
                      </a:lnTo>
                      <a:lnTo>
                        <a:pt x="922129" y="731180"/>
                      </a:lnTo>
                      <a:lnTo>
                        <a:pt x="924804" y="733298"/>
                      </a:lnTo>
                      <a:lnTo>
                        <a:pt x="926386" y="735492"/>
                      </a:lnTo>
                      <a:lnTo>
                        <a:pt x="921801" y="736246"/>
                      </a:lnTo>
                      <a:lnTo>
                        <a:pt x="916467" y="736479"/>
                      </a:lnTo>
                      <a:lnTo>
                        <a:pt x="912721" y="738185"/>
                      </a:lnTo>
                      <a:lnTo>
                        <a:pt x="907867" y="738379"/>
                      </a:lnTo>
                      <a:lnTo>
                        <a:pt x="906567" y="736158"/>
                      </a:lnTo>
                      <a:lnTo>
                        <a:pt x="906263" y="734786"/>
                      </a:lnTo>
                      <a:lnTo>
                        <a:pt x="906807" y="732885"/>
                      </a:lnTo>
                      <a:lnTo>
                        <a:pt x="907516" y="729114"/>
                      </a:lnTo>
                      <a:lnTo>
                        <a:pt x="908009" y="726985"/>
                      </a:lnTo>
                      <a:lnTo>
                        <a:pt x="906932" y="724741"/>
                      </a:lnTo>
                      <a:lnTo>
                        <a:pt x="905399" y="723926"/>
                      </a:lnTo>
                      <a:lnTo>
                        <a:pt x="907171" y="715992"/>
                      </a:lnTo>
                      <a:lnTo>
                        <a:pt x="906787" y="708584"/>
                      </a:lnTo>
                      <a:lnTo>
                        <a:pt x="907224" y="701203"/>
                      </a:lnTo>
                      <a:lnTo>
                        <a:pt x="906896" y="697603"/>
                      </a:lnTo>
                      <a:lnTo>
                        <a:pt x="903769" y="683224"/>
                      </a:lnTo>
                      <a:lnTo>
                        <a:pt x="901743" y="676647"/>
                      </a:lnTo>
                      <a:lnTo>
                        <a:pt x="898856" y="670746"/>
                      </a:lnTo>
                      <a:lnTo>
                        <a:pt x="896812" y="668114"/>
                      </a:lnTo>
                      <a:lnTo>
                        <a:pt x="894691" y="666461"/>
                      </a:lnTo>
                      <a:lnTo>
                        <a:pt x="889023" y="662853"/>
                      </a:lnTo>
                      <a:lnTo>
                        <a:pt x="885769" y="659217"/>
                      </a:lnTo>
                      <a:lnTo>
                        <a:pt x="885615" y="656204"/>
                      </a:lnTo>
                      <a:lnTo>
                        <a:pt x="886187" y="653259"/>
                      </a:lnTo>
                      <a:lnTo>
                        <a:pt x="885077" y="649758"/>
                      </a:lnTo>
                      <a:lnTo>
                        <a:pt x="882805" y="651889"/>
                      </a:lnTo>
                      <a:lnTo>
                        <a:pt x="881670" y="653389"/>
                      </a:lnTo>
                      <a:lnTo>
                        <a:pt x="881115" y="654932"/>
                      </a:lnTo>
                      <a:lnTo>
                        <a:pt x="881246" y="657447"/>
                      </a:lnTo>
                      <a:lnTo>
                        <a:pt x="881985" y="658900"/>
                      </a:lnTo>
                      <a:lnTo>
                        <a:pt x="882972" y="660298"/>
                      </a:lnTo>
                      <a:lnTo>
                        <a:pt x="885373" y="666147"/>
                      </a:lnTo>
                      <a:lnTo>
                        <a:pt x="886935" y="668412"/>
                      </a:lnTo>
                      <a:lnTo>
                        <a:pt x="889145" y="671172"/>
                      </a:lnTo>
                      <a:lnTo>
                        <a:pt x="892478" y="672887"/>
                      </a:lnTo>
                      <a:lnTo>
                        <a:pt x="895155" y="675315"/>
                      </a:lnTo>
                      <a:lnTo>
                        <a:pt x="896032" y="678429"/>
                      </a:lnTo>
                      <a:lnTo>
                        <a:pt x="897167" y="686146"/>
                      </a:lnTo>
                      <a:lnTo>
                        <a:pt x="902602" y="701027"/>
                      </a:lnTo>
                      <a:lnTo>
                        <a:pt x="903485" y="705502"/>
                      </a:lnTo>
                      <a:lnTo>
                        <a:pt x="887308" y="698571"/>
                      </a:lnTo>
                      <a:lnTo>
                        <a:pt x="871121" y="691631"/>
                      </a:lnTo>
                      <a:lnTo>
                        <a:pt x="854940" y="684687"/>
                      </a:lnTo>
                      <a:lnTo>
                        <a:pt x="838779" y="677742"/>
                      </a:lnTo>
                      <a:lnTo>
                        <a:pt x="822625" y="670800"/>
                      </a:lnTo>
                      <a:lnTo>
                        <a:pt x="806480" y="663848"/>
                      </a:lnTo>
                      <a:lnTo>
                        <a:pt x="790342" y="656897"/>
                      </a:lnTo>
                      <a:lnTo>
                        <a:pt x="774224" y="649940"/>
                      </a:lnTo>
                      <a:lnTo>
                        <a:pt x="772673" y="646516"/>
                      </a:lnTo>
                      <a:lnTo>
                        <a:pt x="769613" y="642908"/>
                      </a:lnTo>
                      <a:lnTo>
                        <a:pt x="767974" y="641294"/>
                      </a:lnTo>
                      <a:lnTo>
                        <a:pt x="766231" y="638542"/>
                      </a:lnTo>
                      <a:lnTo>
                        <a:pt x="765176" y="637229"/>
                      </a:lnTo>
                      <a:lnTo>
                        <a:pt x="763961" y="636736"/>
                      </a:lnTo>
                      <a:lnTo>
                        <a:pt x="762398" y="637261"/>
                      </a:lnTo>
                      <a:lnTo>
                        <a:pt x="761102" y="637990"/>
                      </a:lnTo>
                      <a:lnTo>
                        <a:pt x="759573" y="638075"/>
                      </a:lnTo>
                      <a:lnTo>
                        <a:pt x="757359" y="636664"/>
                      </a:lnTo>
                      <a:lnTo>
                        <a:pt x="754204" y="635273"/>
                      </a:lnTo>
                      <a:lnTo>
                        <a:pt x="747198" y="636207"/>
                      </a:lnTo>
                      <a:lnTo>
                        <a:pt x="743536" y="635785"/>
                      </a:lnTo>
                      <a:lnTo>
                        <a:pt x="741123" y="634241"/>
                      </a:lnTo>
                      <a:lnTo>
                        <a:pt x="739275" y="632378"/>
                      </a:lnTo>
                      <a:lnTo>
                        <a:pt x="737121" y="630866"/>
                      </a:lnTo>
                      <a:lnTo>
                        <a:pt x="730336" y="629880"/>
                      </a:lnTo>
                      <a:lnTo>
                        <a:pt x="727424" y="628068"/>
                      </a:lnTo>
                      <a:lnTo>
                        <a:pt x="724876" y="625487"/>
                      </a:lnTo>
                      <a:lnTo>
                        <a:pt x="714466" y="611647"/>
                      </a:lnTo>
                      <a:lnTo>
                        <a:pt x="712279" y="610130"/>
                      </a:lnTo>
                      <a:lnTo>
                        <a:pt x="711465" y="608354"/>
                      </a:lnTo>
                      <a:lnTo>
                        <a:pt x="710425" y="599265"/>
                      </a:lnTo>
                      <a:lnTo>
                        <a:pt x="709661" y="595652"/>
                      </a:lnTo>
                      <a:lnTo>
                        <a:pt x="706257" y="589172"/>
                      </a:lnTo>
                      <a:lnTo>
                        <a:pt x="706357" y="587504"/>
                      </a:lnTo>
                      <a:lnTo>
                        <a:pt x="708007" y="585877"/>
                      </a:lnTo>
                      <a:lnTo>
                        <a:pt x="708099" y="584192"/>
                      </a:lnTo>
                      <a:lnTo>
                        <a:pt x="706629" y="580427"/>
                      </a:lnTo>
                      <a:lnTo>
                        <a:pt x="704548" y="578960"/>
                      </a:lnTo>
                      <a:lnTo>
                        <a:pt x="701842" y="578320"/>
                      </a:lnTo>
                      <a:lnTo>
                        <a:pt x="698536" y="577054"/>
                      </a:lnTo>
                      <a:lnTo>
                        <a:pt x="701038" y="573037"/>
                      </a:lnTo>
                      <a:lnTo>
                        <a:pt x="701285" y="571372"/>
                      </a:lnTo>
                      <a:lnTo>
                        <a:pt x="699289" y="570832"/>
                      </a:lnTo>
                      <a:lnTo>
                        <a:pt x="697755" y="570184"/>
                      </a:lnTo>
                      <a:lnTo>
                        <a:pt x="694973" y="567056"/>
                      </a:lnTo>
                      <a:lnTo>
                        <a:pt x="690765" y="566034"/>
                      </a:lnTo>
                      <a:lnTo>
                        <a:pt x="687062" y="563792"/>
                      </a:lnTo>
                      <a:lnTo>
                        <a:pt x="685109" y="563374"/>
                      </a:lnTo>
                      <a:lnTo>
                        <a:pt x="677388" y="565138"/>
                      </a:lnTo>
                      <a:lnTo>
                        <a:pt x="674647" y="563649"/>
                      </a:lnTo>
                      <a:lnTo>
                        <a:pt x="672983" y="559836"/>
                      </a:lnTo>
                      <a:lnTo>
                        <a:pt x="671716" y="555479"/>
                      </a:lnTo>
                      <a:lnTo>
                        <a:pt x="670173" y="552332"/>
                      </a:lnTo>
                      <a:lnTo>
                        <a:pt x="666705" y="550614"/>
                      </a:lnTo>
                      <a:lnTo>
                        <a:pt x="661771" y="548998"/>
                      </a:lnTo>
                      <a:lnTo>
                        <a:pt x="657797" y="546836"/>
                      </a:lnTo>
                      <a:lnTo>
                        <a:pt x="657362" y="544491"/>
                      </a:lnTo>
                      <a:lnTo>
                        <a:pt x="655587" y="544618"/>
                      </a:lnTo>
                      <a:lnTo>
                        <a:pt x="652385" y="544834"/>
                      </a:lnTo>
                      <a:lnTo>
                        <a:pt x="632753" y="546227"/>
                      </a:lnTo>
                      <a:lnTo>
                        <a:pt x="613108" y="547599"/>
                      </a:lnTo>
                      <a:lnTo>
                        <a:pt x="593467" y="548969"/>
                      </a:lnTo>
                      <a:lnTo>
                        <a:pt x="573810" y="550316"/>
                      </a:lnTo>
                      <a:lnTo>
                        <a:pt x="554143" y="551667"/>
                      </a:lnTo>
                      <a:lnTo>
                        <a:pt x="534482" y="552999"/>
                      </a:lnTo>
                      <a:lnTo>
                        <a:pt x="514809" y="554331"/>
                      </a:lnTo>
                      <a:lnTo>
                        <a:pt x="495126" y="555645"/>
                      </a:lnTo>
                      <a:lnTo>
                        <a:pt x="475450" y="556956"/>
                      </a:lnTo>
                      <a:lnTo>
                        <a:pt x="455755" y="558246"/>
                      </a:lnTo>
                      <a:lnTo>
                        <a:pt x="436057" y="559539"/>
                      </a:lnTo>
                      <a:lnTo>
                        <a:pt x="416362" y="560813"/>
                      </a:lnTo>
                      <a:lnTo>
                        <a:pt x="396657" y="562087"/>
                      </a:lnTo>
                      <a:lnTo>
                        <a:pt x="376935" y="563343"/>
                      </a:lnTo>
                      <a:lnTo>
                        <a:pt x="357226" y="564597"/>
                      </a:lnTo>
                      <a:lnTo>
                        <a:pt x="337494" y="565830"/>
                      </a:lnTo>
                      <a:lnTo>
                        <a:pt x="317768" y="567060"/>
                      </a:lnTo>
                      <a:lnTo>
                        <a:pt x="298037" y="568281"/>
                      </a:lnTo>
                      <a:lnTo>
                        <a:pt x="278297" y="569493"/>
                      </a:lnTo>
                      <a:lnTo>
                        <a:pt x="258549" y="570696"/>
                      </a:lnTo>
                      <a:lnTo>
                        <a:pt x="238804" y="571883"/>
                      </a:lnTo>
                      <a:lnTo>
                        <a:pt x="219044" y="573067"/>
                      </a:lnTo>
                      <a:lnTo>
                        <a:pt x="199280" y="574241"/>
                      </a:lnTo>
                      <a:lnTo>
                        <a:pt x="179517" y="575405"/>
                      </a:lnTo>
                      <a:lnTo>
                        <a:pt x="159746" y="576559"/>
                      </a:lnTo>
                      <a:lnTo>
                        <a:pt x="139965" y="577704"/>
                      </a:lnTo>
                      <a:lnTo>
                        <a:pt x="120188" y="578835"/>
                      </a:lnTo>
                      <a:lnTo>
                        <a:pt x="100401" y="579961"/>
                      </a:lnTo>
                      <a:lnTo>
                        <a:pt x="80609" y="581077"/>
                      </a:lnTo>
                      <a:lnTo>
                        <a:pt x="60813" y="582184"/>
                      </a:lnTo>
                      <a:lnTo>
                        <a:pt x="41011" y="583282"/>
                      </a:lnTo>
                      <a:lnTo>
                        <a:pt x="21203" y="584378"/>
                      </a:lnTo>
                      <a:lnTo>
                        <a:pt x="15909" y="584671"/>
                      </a:lnTo>
                      <a:lnTo>
                        <a:pt x="14911" y="578771"/>
                      </a:lnTo>
                      <a:lnTo>
                        <a:pt x="14056" y="573706"/>
                      </a:lnTo>
                      <a:lnTo>
                        <a:pt x="13199" y="568633"/>
                      </a:lnTo>
                      <a:lnTo>
                        <a:pt x="12341" y="563559"/>
                      </a:lnTo>
                      <a:lnTo>
                        <a:pt x="11475" y="558491"/>
                      </a:lnTo>
                      <a:lnTo>
                        <a:pt x="10613" y="553423"/>
                      </a:lnTo>
                      <a:lnTo>
                        <a:pt x="9754" y="548356"/>
                      </a:lnTo>
                      <a:lnTo>
                        <a:pt x="8894" y="543294"/>
                      </a:lnTo>
                      <a:lnTo>
                        <a:pt x="8033" y="538223"/>
                      </a:lnTo>
                      <a:lnTo>
                        <a:pt x="7029" y="532317"/>
                      </a:lnTo>
                      <a:lnTo>
                        <a:pt x="6026" y="526420"/>
                      </a:lnTo>
                      <a:lnTo>
                        <a:pt x="5020" y="520515"/>
                      </a:lnTo>
                      <a:lnTo>
                        <a:pt x="4016" y="514619"/>
                      </a:lnTo>
                      <a:lnTo>
                        <a:pt x="3008" y="508716"/>
                      </a:lnTo>
                      <a:lnTo>
                        <a:pt x="1999" y="502813"/>
                      </a:lnTo>
                      <a:lnTo>
                        <a:pt x="991" y="496915"/>
                      </a:lnTo>
                      <a:lnTo>
                        <a:pt x="0" y="491124"/>
                      </a:lnTo>
                      <a:lnTo>
                        <a:pt x="17406" y="482015"/>
                      </a:lnTo>
                      <a:lnTo>
                        <a:pt x="37907" y="471257"/>
                      </a:lnTo>
                      <a:lnTo>
                        <a:pt x="58380" y="460496"/>
                      </a:lnTo>
                      <a:lnTo>
                        <a:pt x="78808" y="449713"/>
                      </a:lnTo>
                      <a:lnTo>
                        <a:pt x="99189" y="438920"/>
                      </a:lnTo>
                      <a:lnTo>
                        <a:pt x="106117" y="431937"/>
                      </a:lnTo>
                      <a:lnTo>
                        <a:pt x="110910" y="423031"/>
                      </a:lnTo>
                      <a:lnTo>
                        <a:pt x="111036" y="415833"/>
                      </a:lnTo>
                      <a:lnTo>
                        <a:pt x="109596" y="412866"/>
                      </a:lnTo>
                      <a:lnTo>
                        <a:pt x="106175" y="410890"/>
                      </a:lnTo>
                      <a:lnTo>
                        <a:pt x="102589" y="410021"/>
                      </a:lnTo>
                      <a:lnTo>
                        <a:pt x="98891" y="408500"/>
                      </a:lnTo>
                      <a:lnTo>
                        <a:pt x="94856" y="406125"/>
                      </a:lnTo>
                      <a:lnTo>
                        <a:pt x="92542" y="404299"/>
                      </a:lnTo>
                      <a:lnTo>
                        <a:pt x="90761" y="402442"/>
                      </a:lnTo>
                      <a:lnTo>
                        <a:pt x="90632" y="398753"/>
                      </a:lnTo>
                      <a:lnTo>
                        <a:pt x="91055" y="396113"/>
                      </a:lnTo>
                      <a:lnTo>
                        <a:pt x="90604" y="394622"/>
                      </a:lnTo>
                      <a:lnTo>
                        <a:pt x="89255" y="393170"/>
                      </a:lnTo>
                      <a:lnTo>
                        <a:pt x="87388" y="391764"/>
                      </a:lnTo>
                      <a:lnTo>
                        <a:pt x="85036" y="389724"/>
                      </a:lnTo>
                      <a:lnTo>
                        <a:pt x="83701" y="388285"/>
                      </a:lnTo>
                      <a:lnTo>
                        <a:pt x="83074" y="386683"/>
                      </a:lnTo>
                      <a:lnTo>
                        <a:pt x="82555" y="384199"/>
                      </a:lnTo>
                      <a:lnTo>
                        <a:pt x="82856" y="382419"/>
                      </a:lnTo>
                      <a:lnTo>
                        <a:pt x="83437" y="380958"/>
                      </a:lnTo>
                      <a:lnTo>
                        <a:pt x="83741" y="379463"/>
                      </a:lnTo>
                      <a:lnTo>
                        <a:pt x="83657" y="377189"/>
                      </a:lnTo>
                      <a:lnTo>
                        <a:pt x="83421" y="375315"/>
                      </a:lnTo>
                      <a:lnTo>
                        <a:pt x="79846" y="359798"/>
                      </a:lnTo>
                      <a:lnTo>
                        <a:pt x="78628" y="356815"/>
                      </a:lnTo>
                      <a:lnTo>
                        <a:pt x="71834" y="345879"/>
                      </a:lnTo>
                      <a:lnTo>
                        <a:pt x="56171" y="325443"/>
                      </a:lnTo>
                      <a:lnTo>
                        <a:pt x="68681" y="318669"/>
                      </a:lnTo>
                      <a:lnTo>
                        <a:pt x="86090" y="309255"/>
                      </a:lnTo>
                      <a:lnTo>
                        <a:pt x="111640" y="295379"/>
                      </a:lnTo>
                      <a:lnTo>
                        <a:pt x="120086" y="292274"/>
                      </a:lnTo>
                      <a:lnTo>
                        <a:pt x="152941" y="290380"/>
                      </a:lnTo>
                      <a:lnTo>
                        <a:pt x="185780" y="288448"/>
                      </a:lnTo>
                      <a:lnTo>
                        <a:pt x="218602" y="286488"/>
                      </a:lnTo>
                      <a:lnTo>
                        <a:pt x="251416" y="284500"/>
                      </a:lnTo>
                      <a:lnTo>
                        <a:pt x="284215" y="282488"/>
                      </a:lnTo>
                      <a:lnTo>
                        <a:pt x="316990" y="280440"/>
                      </a:lnTo>
                      <a:lnTo>
                        <a:pt x="349757" y="278368"/>
                      </a:lnTo>
                      <a:lnTo>
                        <a:pt x="382511" y="276276"/>
                      </a:lnTo>
                      <a:lnTo>
                        <a:pt x="383202" y="275783"/>
                      </a:lnTo>
                      <a:lnTo>
                        <a:pt x="383899" y="275312"/>
                      </a:lnTo>
                      <a:lnTo>
                        <a:pt x="384602" y="274832"/>
                      </a:lnTo>
                      <a:lnTo>
                        <a:pt x="385293" y="274339"/>
                      </a:lnTo>
                      <a:lnTo>
                        <a:pt x="385995" y="273860"/>
                      </a:lnTo>
                      <a:lnTo>
                        <a:pt x="386684" y="273385"/>
                      </a:lnTo>
                      <a:lnTo>
                        <a:pt x="387384" y="272901"/>
                      </a:lnTo>
                      <a:lnTo>
                        <a:pt x="388077" y="272416"/>
                      </a:lnTo>
                      <a:lnTo>
                        <a:pt x="392154" y="262493"/>
                      </a:lnTo>
                      <a:lnTo>
                        <a:pt x="396215" y="252557"/>
                      </a:lnTo>
                      <a:lnTo>
                        <a:pt x="400265" y="242626"/>
                      </a:lnTo>
                      <a:lnTo>
                        <a:pt x="404297" y="232696"/>
                      </a:lnTo>
                      <a:lnTo>
                        <a:pt x="408331" y="222774"/>
                      </a:lnTo>
                      <a:lnTo>
                        <a:pt x="412336" y="212845"/>
                      </a:lnTo>
                      <a:lnTo>
                        <a:pt x="416337" y="202916"/>
                      </a:lnTo>
                      <a:lnTo>
                        <a:pt x="420311" y="192988"/>
                      </a:lnTo>
                      <a:lnTo>
                        <a:pt x="423061" y="189441"/>
                      </a:lnTo>
                      <a:lnTo>
                        <a:pt x="432489" y="180258"/>
                      </a:lnTo>
                      <a:lnTo>
                        <a:pt x="433045" y="179084"/>
                      </a:lnTo>
                      <a:lnTo>
                        <a:pt x="433189" y="177738"/>
                      </a:lnTo>
                      <a:lnTo>
                        <a:pt x="433484" y="176318"/>
                      </a:lnTo>
                      <a:lnTo>
                        <a:pt x="434507" y="174882"/>
                      </a:lnTo>
                      <a:lnTo>
                        <a:pt x="435861" y="174159"/>
                      </a:lnTo>
                      <a:lnTo>
                        <a:pt x="450163" y="167442"/>
                      </a:lnTo>
                      <a:lnTo>
                        <a:pt x="452780" y="165800"/>
                      </a:lnTo>
                      <a:lnTo>
                        <a:pt x="454452" y="162744"/>
                      </a:lnTo>
                      <a:lnTo>
                        <a:pt x="454192" y="161828"/>
                      </a:lnTo>
                      <a:lnTo>
                        <a:pt x="452096" y="157684"/>
                      </a:lnTo>
                      <a:lnTo>
                        <a:pt x="451762" y="156564"/>
                      </a:lnTo>
                      <a:lnTo>
                        <a:pt x="454829" y="151791"/>
                      </a:lnTo>
                      <a:lnTo>
                        <a:pt x="464736" y="143430"/>
                      </a:lnTo>
                      <a:lnTo>
                        <a:pt x="486336" y="132705"/>
                      </a:lnTo>
                      <a:lnTo>
                        <a:pt x="489972" y="130919"/>
                      </a:lnTo>
                      <a:lnTo>
                        <a:pt x="491497" y="128444"/>
                      </a:lnTo>
                      <a:lnTo>
                        <a:pt x="492276" y="125397"/>
                      </a:lnTo>
                      <a:lnTo>
                        <a:pt x="493318" y="120878"/>
                      </a:lnTo>
                      <a:lnTo>
                        <a:pt x="497613" y="114854"/>
                      </a:lnTo>
                      <a:lnTo>
                        <a:pt x="501518" y="109148"/>
                      </a:lnTo>
                      <a:lnTo>
                        <a:pt x="507068" y="99222"/>
                      </a:lnTo>
                      <a:lnTo>
                        <a:pt x="520862" y="84149"/>
                      </a:lnTo>
                      <a:lnTo>
                        <a:pt x="534696" y="68990"/>
                      </a:lnTo>
                      <a:lnTo>
                        <a:pt x="547565" y="54822"/>
                      </a:lnTo>
                      <a:lnTo>
                        <a:pt x="555615" y="45935"/>
                      </a:lnTo>
                      <a:lnTo>
                        <a:pt x="572633" y="33820"/>
                      </a:lnTo>
                      <a:lnTo>
                        <a:pt x="579705" y="31450"/>
                      </a:lnTo>
                      <a:lnTo>
                        <a:pt x="581818" y="30313"/>
                      </a:lnTo>
                      <a:lnTo>
                        <a:pt x="586869" y="25527"/>
                      </a:lnTo>
                      <a:lnTo>
                        <a:pt x="588858" y="24245"/>
                      </a:lnTo>
                      <a:lnTo>
                        <a:pt x="596322" y="20957"/>
                      </a:lnTo>
                      <a:lnTo>
                        <a:pt x="600651" y="17544"/>
                      </a:lnTo>
                      <a:lnTo>
                        <a:pt x="602863" y="16632"/>
                      </a:lnTo>
                      <a:lnTo>
                        <a:pt x="605329" y="16310"/>
                      </a:lnTo>
                      <a:lnTo>
                        <a:pt x="623358" y="16859"/>
                      </a:lnTo>
                      <a:lnTo>
                        <a:pt x="627298" y="16475"/>
                      </a:lnTo>
                      <a:lnTo>
                        <a:pt x="629712" y="16498"/>
                      </a:lnTo>
                      <a:lnTo>
                        <a:pt x="643493" y="15312"/>
                      </a:lnTo>
                      <a:lnTo>
                        <a:pt x="657267" y="14112"/>
                      </a:lnTo>
                      <a:lnTo>
                        <a:pt x="671038" y="12915"/>
                      </a:lnTo>
                      <a:lnTo>
                        <a:pt x="684800" y="11704"/>
                      </a:lnTo>
                      <a:lnTo>
                        <a:pt x="698563" y="10497"/>
                      </a:lnTo>
                      <a:lnTo>
                        <a:pt x="712323" y="9275"/>
                      </a:lnTo>
                      <a:lnTo>
                        <a:pt x="726077" y="8057"/>
                      </a:lnTo>
                      <a:lnTo>
                        <a:pt x="739830" y="6824"/>
                      </a:lnTo>
                      <a:lnTo>
                        <a:pt x="753575" y="5586"/>
                      </a:lnTo>
                      <a:lnTo>
                        <a:pt x="767317" y="4352"/>
                      </a:lnTo>
                      <a:lnTo>
                        <a:pt x="781060" y="3111"/>
                      </a:lnTo>
                      <a:lnTo>
                        <a:pt x="794794" y="1857"/>
                      </a:lnTo>
                      <a:lnTo>
                        <a:pt x="808529" y="606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7" name="Freeform 193">
                  <a:extLst>
                    <a:ext uri="{FF2B5EF4-FFF2-40B4-BE49-F238E27FC236}">
                      <a16:creationId xmlns:a16="http://schemas.microsoft.com/office/drawing/2014/main" id="{F1DBE48C-8590-437D-BF37-F9D9C246F434}"/>
                    </a:ext>
                  </a:extLst>
                </p:cNvPr>
                <p:cNvSpPr/>
                <p:nvPr>
                  <p:custDataLst>
                    <p:tags r:id="rId48"/>
                  </p:custDataLst>
                </p:nvPr>
              </p:nvSpPr>
              <p:spPr>
                <a:xfrm>
                  <a:off x="4800076" y="3984721"/>
                  <a:ext cx="620718" cy="336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918083" h="497562">
                      <a:moveTo>
                        <a:pt x="119442" y="93547"/>
                      </a:moveTo>
                      <a:lnTo>
                        <a:pt x="124736" y="93254"/>
                      </a:lnTo>
                      <a:lnTo>
                        <a:pt x="144544" y="92158"/>
                      </a:lnTo>
                      <a:lnTo>
                        <a:pt x="164346" y="91060"/>
                      </a:lnTo>
                      <a:lnTo>
                        <a:pt x="184142" y="89953"/>
                      </a:lnTo>
                      <a:lnTo>
                        <a:pt x="203934" y="88837"/>
                      </a:lnTo>
                      <a:lnTo>
                        <a:pt x="223721" y="87711"/>
                      </a:lnTo>
                      <a:lnTo>
                        <a:pt x="243498" y="86580"/>
                      </a:lnTo>
                      <a:lnTo>
                        <a:pt x="263279" y="85435"/>
                      </a:lnTo>
                      <a:lnTo>
                        <a:pt x="283050" y="84281"/>
                      </a:lnTo>
                      <a:lnTo>
                        <a:pt x="302813" y="83117"/>
                      </a:lnTo>
                      <a:lnTo>
                        <a:pt x="322577" y="81943"/>
                      </a:lnTo>
                      <a:lnTo>
                        <a:pt x="342337" y="80759"/>
                      </a:lnTo>
                      <a:lnTo>
                        <a:pt x="362082" y="79572"/>
                      </a:lnTo>
                      <a:lnTo>
                        <a:pt x="381830" y="78369"/>
                      </a:lnTo>
                      <a:lnTo>
                        <a:pt x="401570" y="77157"/>
                      </a:lnTo>
                      <a:lnTo>
                        <a:pt x="421301" y="75936"/>
                      </a:lnTo>
                      <a:lnTo>
                        <a:pt x="441027" y="74706"/>
                      </a:lnTo>
                      <a:lnTo>
                        <a:pt x="460759" y="73473"/>
                      </a:lnTo>
                      <a:lnTo>
                        <a:pt x="480468" y="72219"/>
                      </a:lnTo>
                      <a:lnTo>
                        <a:pt x="500190" y="70963"/>
                      </a:lnTo>
                      <a:lnTo>
                        <a:pt x="519895" y="69689"/>
                      </a:lnTo>
                      <a:lnTo>
                        <a:pt x="539590" y="68415"/>
                      </a:lnTo>
                      <a:lnTo>
                        <a:pt x="559288" y="67122"/>
                      </a:lnTo>
                      <a:lnTo>
                        <a:pt x="578983" y="65832"/>
                      </a:lnTo>
                      <a:lnTo>
                        <a:pt x="598659" y="64521"/>
                      </a:lnTo>
                      <a:lnTo>
                        <a:pt x="618342" y="63207"/>
                      </a:lnTo>
                      <a:lnTo>
                        <a:pt x="638015" y="61875"/>
                      </a:lnTo>
                      <a:lnTo>
                        <a:pt x="657676" y="60543"/>
                      </a:lnTo>
                      <a:lnTo>
                        <a:pt x="677343" y="59192"/>
                      </a:lnTo>
                      <a:lnTo>
                        <a:pt x="697000" y="57845"/>
                      </a:lnTo>
                      <a:lnTo>
                        <a:pt x="716641" y="56475"/>
                      </a:lnTo>
                      <a:lnTo>
                        <a:pt x="736286" y="55103"/>
                      </a:lnTo>
                      <a:lnTo>
                        <a:pt x="755918" y="53710"/>
                      </a:lnTo>
                      <a:lnTo>
                        <a:pt x="759120" y="53494"/>
                      </a:lnTo>
                      <a:lnTo>
                        <a:pt x="760895" y="53367"/>
                      </a:lnTo>
                      <a:lnTo>
                        <a:pt x="761330" y="55712"/>
                      </a:lnTo>
                      <a:lnTo>
                        <a:pt x="765304" y="57874"/>
                      </a:lnTo>
                      <a:lnTo>
                        <a:pt x="770238" y="59490"/>
                      </a:lnTo>
                      <a:lnTo>
                        <a:pt x="773706" y="61208"/>
                      </a:lnTo>
                      <a:lnTo>
                        <a:pt x="775249" y="64355"/>
                      </a:lnTo>
                      <a:lnTo>
                        <a:pt x="776516" y="68712"/>
                      </a:lnTo>
                      <a:lnTo>
                        <a:pt x="778180" y="72525"/>
                      </a:lnTo>
                      <a:lnTo>
                        <a:pt x="780921" y="74014"/>
                      </a:lnTo>
                      <a:lnTo>
                        <a:pt x="788642" y="72250"/>
                      </a:lnTo>
                      <a:lnTo>
                        <a:pt x="790595" y="72668"/>
                      </a:lnTo>
                      <a:lnTo>
                        <a:pt x="794298" y="74910"/>
                      </a:lnTo>
                      <a:lnTo>
                        <a:pt x="798506" y="75932"/>
                      </a:lnTo>
                      <a:lnTo>
                        <a:pt x="801288" y="79060"/>
                      </a:lnTo>
                      <a:lnTo>
                        <a:pt x="802822" y="79708"/>
                      </a:lnTo>
                      <a:lnTo>
                        <a:pt x="804818" y="80248"/>
                      </a:lnTo>
                      <a:lnTo>
                        <a:pt x="804571" y="81913"/>
                      </a:lnTo>
                      <a:lnTo>
                        <a:pt x="802069" y="85930"/>
                      </a:lnTo>
                      <a:lnTo>
                        <a:pt x="805375" y="87196"/>
                      </a:lnTo>
                      <a:lnTo>
                        <a:pt x="808081" y="87836"/>
                      </a:lnTo>
                      <a:lnTo>
                        <a:pt x="810162" y="89303"/>
                      </a:lnTo>
                      <a:lnTo>
                        <a:pt x="811632" y="93068"/>
                      </a:lnTo>
                      <a:lnTo>
                        <a:pt x="811540" y="94753"/>
                      </a:lnTo>
                      <a:lnTo>
                        <a:pt x="809890" y="96380"/>
                      </a:lnTo>
                      <a:lnTo>
                        <a:pt x="809790" y="98048"/>
                      </a:lnTo>
                      <a:lnTo>
                        <a:pt x="813194" y="104528"/>
                      </a:lnTo>
                      <a:lnTo>
                        <a:pt x="813958" y="108141"/>
                      </a:lnTo>
                      <a:lnTo>
                        <a:pt x="814998" y="117230"/>
                      </a:lnTo>
                      <a:lnTo>
                        <a:pt x="815812" y="119006"/>
                      </a:lnTo>
                      <a:lnTo>
                        <a:pt x="817999" y="120523"/>
                      </a:lnTo>
                      <a:lnTo>
                        <a:pt x="828409" y="134363"/>
                      </a:lnTo>
                      <a:lnTo>
                        <a:pt x="830957" y="136944"/>
                      </a:lnTo>
                      <a:lnTo>
                        <a:pt x="833869" y="138756"/>
                      </a:lnTo>
                      <a:lnTo>
                        <a:pt x="840654" y="139742"/>
                      </a:lnTo>
                      <a:lnTo>
                        <a:pt x="842808" y="141254"/>
                      </a:lnTo>
                      <a:lnTo>
                        <a:pt x="844656" y="143117"/>
                      </a:lnTo>
                      <a:lnTo>
                        <a:pt x="847069" y="144661"/>
                      </a:lnTo>
                      <a:lnTo>
                        <a:pt x="850731" y="145083"/>
                      </a:lnTo>
                      <a:lnTo>
                        <a:pt x="857737" y="144149"/>
                      </a:lnTo>
                      <a:lnTo>
                        <a:pt x="860892" y="145540"/>
                      </a:lnTo>
                      <a:lnTo>
                        <a:pt x="863106" y="146951"/>
                      </a:lnTo>
                      <a:lnTo>
                        <a:pt x="864635" y="146866"/>
                      </a:lnTo>
                      <a:lnTo>
                        <a:pt x="865931" y="146137"/>
                      </a:lnTo>
                      <a:lnTo>
                        <a:pt x="867494" y="145612"/>
                      </a:lnTo>
                      <a:lnTo>
                        <a:pt x="868709" y="146105"/>
                      </a:lnTo>
                      <a:lnTo>
                        <a:pt x="869764" y="147418"/>
                      </a:lnTo>
                      <a:lnTo>
                        <a:pt x="871507" y="150170"/>
                      </a:lnTo>
                      <a:lnTo>
                        <a:pt x="873146" y="151784"/>
                      </a:lnTo>
                      <a:lnTo>
                        <a:pt x="876206" y="155392"/>
                      </a:lnTo>
                      <a:lnTo>
                        <a:pt x="877757" y="158816"/>
                      </a:lnTo>
                      <a:lnTo>
                        <a:pt x="877886" y="159115"/>
                      </a:lnTo>
                      <a:lnTo>
                        <a:pt x="875376" y="161043"/>
                      </a:lnTo>
                      <a:lnTo>
                        <a:pt x="872183" y="161457"/>
                      </a:lnTo>
                      <a:lnTo>
                        <a:pt x="870804" y="162075"/>
                      </a:lnTo>
                      <a:lnTo>
                        <a:pt x="869191" y="163812"/>
                      </a:lnTo>
                      <a:lnTo>
                        <a:pt x="867672" y="164087"/>
                      </a:lnTo>
                      <a:lnTo>
                        <a:pt x="867041" y="164632"/>
                      </a:lnTo>
                      <a:lnTo>
                        <a:pt x="866750" y="165383"/>
                      </a:lnTo>
                      <a:lnTo>
                        <a:pt x="866340" y="167159"/>
                      </a:lnTo>
                      <a:lnTo>
                        <a:pt x="866141" y="167678"/>
                      </a:lnTo>
                      <a:lnTo>
                        <a:pt x="859732" y="174938"/>
                      </a:lnTo>
                      <a:lnTo>
                        <a:pt x="859152" y="177351"/>
                      </a:lnTo>
                      <a:lnTo>
                        <a:pt x="859303" y="178592"/>
                      </a:lnTo>
                      <a:lnTo>
                        <a:pt x="858946" y="183565"/>
                      </a:lnTo>
                      <a:lnTo>
                        <a:pt x="857143" y="191518"/>
                      </a:lnTo>
                      <a:lnTo>
                        <a:pt x="851575" y="201388"/>
                      </a:lnTo>
                      <a:lnTo>
                        <a:pt x="849996" y="202965"/>
                      </a:lnTo>
                      <a:lnTo>
                        <a:pt x="849046" y="203389"/>
                      </a:lnTo>
                      <a:lnTo>
                        <a:pt x="847690" y="204349"/>
                      </a:lnTo>
                      <a:lnTo>
                        <a:pt x="846502" y="205455"/>
                      </a:lnTo>
                      <a:lnTo>
                        <a:pt x="846076" y="206338"/>
                      </a:lnTo>
                      <a:lnTo>
                        <a:pt x="846599" y="208489"/>
                      </a:lnTo>
                      <a:lnTo>
                        <a:pt x="846642" y="208935"/>
                      </a:lnTo>
                      <a:lnTo>
                        <a:pt x="846131" y="209179"/>
                      </a:lnTo>
                      <a:lnTo>
                        <a:pt x="841639" y="216475"/>
                      </a:lnTo>
                      <a:lnTo>
                        <a:pt x="839336" y="218703"/>
                      </a:lnTo>
                      <a:lnTo>
                        <a:pt x="836278" y="219736"/>
                      </a:lnTo>
                      <a:lnTo>
                        <a:pt x="834289" y="220733"/>
                      </a:lnTo>
                      <a:lnTo>
                        <a:pt x="831268" y="223092"/>
                      </a:lnTo>
                      <a:lnTo>
                        <a:pt x="828578" y="226075"/>
                      </a:lnTo>
                      <a:lnTo>
                        <a:pt x="827598" y="228964"/>
                      </a:lnTo>
                      <a:lnTo>
                        <a:pt x="828184" y="230169"/>
                      </a:lnTo>
                      <a:lnTo>
                        <a:pt x="829352" y="231503"/>
                      </a:lnTo>
                      <a:lnTo>
                        <a:pt x="831504" y="233546"/>
                      </a:lnTo>
                      <a:lnTo>
                        <a:pt x="831780" y="234234"/>
                      </a:lnTo>
                      <a:lnTo>
                        <a:pt x="831790" y="235033"/>
                      </a:lnTo>
                      <a:lnTo>
                        <a:pt x="831910" y="235677"/>
                      </a:lnTo>
                      <a:lnTo>
                        <a:pt x="832508" y="235909"/>
                      </a:lnTo>
                      <a:lnTo>
                        <a:pt x="833398" y="235885"/>
                      </a:lnTo>
                      <a:lnTo>
                        <a:pt x="834283" y="236044"/>
                      </a:lnTo>
                      <a:lnTo>
                        <a:pt x="835024" y="236552"/>
                      </a:lnTo>
                      <a:lnTo>
                        <a:pt x="835482" y="237580"/>
                      </a:lnTo>
                      <a:lnTo>
                        <a:pt x="836862" y="238978"/>
                      </a:lnTo>
                      <a:lnTo>
                        <a:pt x="839648" y="241201"/>
                      </a:lnTo>
                      <a:lnTo>
                        <a:pt x="842391" y="244063"/>
                      </a:lnTo>
                      <a:lnTo>
                        <a:pt x="843629" y="247388"/>
                      </a:lnTo>
                      <a:lnTo>
                        <a:pt x="842788" y="250512"/>
                      </a:lnTo>
                      <a:lnTo>
                        <a:pt x="841061" y="251950"/>
                      </a:lnTo>
                      <a:lnTo>
                        <a:pt x="839652" y="253766"/>
                      </a:lnTo>
                      <a:lnTo>
                        <a:pt x="839782" y="258048"/>
                      </a:lnTo>
                      <a:lnTo>
                        <a:pt x="839457" y="261338"/>
                      </a:lnTo>
                      <a:lnTo>
                        <a:pt x="837410" y="263256"/>
                      </a:lnTo>
                      <a:lnTo>
                        <a:pt x="834485" y="263766"/>
                      </a:lnTo>
                      <a:lnTo>
                        <a:pt x="831563" y="262819"/>
                      </a:lnTo>
                      <a:lnTo>
                        <a:pt x="830852" y="265858"/>
                      </a:lnTo>
                      <a:lnTo>
                        <a:pt x="830143" y="267308"/>
                      </a:lnTo>
                      <a:lnTo>
                        <a:pt x="829183" y="267961"/>
                      </a:lnTo>
                      <a:lnTo>
                        <a:pt x="828619" y="268700"/>
                      </a:lnTo>
                      <a:lnTo>
                        <a:pt x="829110" y="270135"/>
                      </a:lnTo>
                      <a:lnTo>
                        <a:pt x="829943" y="271347"/>
                      </a:lnTo>
                      <a:lnTo>
                        <a:pt x="830410" y="271409"/>
                      </a:lnTo>
                      <a:lnTo>
                        <a:pt x="829453" y="276575"/>
                      </a:lnTo>
                      <a:lnTo>
                        <a:pt x="829357" y="278977"/>
                      </a:lnTo>
                      <a:lnTo>
                        <a:pt x="830309" y="281141"/>
                      </a:lnTo>
                      <a:lnTo>
                        <a:pt x="831253" y="282871"/>
                      </a:lnTo>
                      <a:lnTo>
                        <a:pt x="831071" y="284210"/>
                      </a:lnTo>
                      <a:lnTo>
                        <a:pt x="831307" y="285941"/>
                      </a:lnTo>
                      <a:lnTo>
                        <a:pt x="833009" y="291453"/>
                      </a:lnTo>
                      <a:lnTo>
                        <a:pt x="832682" y="293241"/>
                      </a:lnTo>
                      <a:lnTo>
                        <a:pt x="833339" y="295056"/>
                      </a:lnTo>
                      <a:lnTo>
                        <a:pt x="834331" y="296862"/>
                      </a:lnTo>
                      <a:lnTo>
                        <a:pt x="836447" y="301663"/>
                      </a:lnTo>
                      <a:lnTo>
                        <a:pt x="838454" y="302258"/>
                      </a:lnTo>
                      <a:lnTo>
                        <a:pt x="842698" y="301172"/>
                      </a:lnTo>
                      <a:lnTo>
                        <a:pt x="850600" y="302825"/>
                      </a:lnTo>
                      <a:lnTo>
                        <a:pt x="854085" y="307298"/>
                      </a:lnTo>
                      <a:lnTo>
                        <a:pt x="857993" y="320901"/>
                      </a:lnTo>
                      <a:lnTo>
                        <a:pt x="860159" y="324070"/>
                      </a:lnTo>
                      <a:lnTo>
                        <a:pt x="863611" y="327433"/>
                      </a:lnTo>
                      <a:lnTo>
                        <a:pt x="867304" y="329286"/>
                      </a:lnTo>
                      <a:lnTo>
                        <a:pt x="872649" y="326906"/>
                      </a:lnTo>
                      <a:lnTo>
                        <a:pt x="875189" y="329758"/>
                      </a:lnTo>
                      <a:lnTo>
                        <a:pt x="878624" y="336392"/>
                      </a:lnTo>
                      <a:lnTo>
                        <a:pt x="887617" y="342111"/>
                      </a:lnTo>
                      <a:lnTo>
                        <a:pt x="889316" y="343672"/>
                      </a:lnTo>
                      <a:lnTo>
                        <a:pt x="890009" y="344678"/>
                      </a:lnTo>
                      <a:lnTo>
                        <a:pt x="896341" y="350802"/>
                      </a:lnTo>
                      <a:lnTo>
                        <a:pt x="902021" y="355679"/>
                      </a:lnTo>
                      <a:lnTo>
                        <a:pt x="911179" y="361362"/>
                      </a:lnTo>
                      <a:lnTo>
                        <a:pt x="915702" y="364865"/>
                      </a:lnTo>
                      <a:lnTo>
                        <a:pt x="918082" y="368560"/>
                      </a:lnTo>
                      <a:lnTo>
                        <a:pt x="916976" y="372124"/>
                      </a:lnTo>
                      <a:lnTo>
                        <a:pt x="913220" y="374863"/>
                      </a:lnTo>
                      <a:lnTo>
                        <a:pt x="908627" y="376659"/>
                      </a:lnTo>
                      <a:lnTo>
                        <a:pt x="905022" y="377400"/>
                      </a:lnTo>
                      <a:lnTo>
                        <a:pt x="903765" y="378188"/>
                      </a:lnTo>
                      <a:lnTo>
                        <a:pt x="899500" y="382779"/>
                      </a:lnTo>
                      <a:lnTo>
                        <a:pt x="898131" y="383537"/>
                      </a:lnTo>
                      <a:lnTo>
                        <a:pt x="892921" y="385560"/>
                      </a:lnTo>
                      <a:lnTo>
                        <a:pt x="890934" y="387054"/>
                      </a:lnTo>
                      <a:lnTo>
                        <a:pt x="886365" y="393436"/>
                      </a:lnTo>
                      <a:lnTo>
                        <a:pt x="884623" y="394817"/>
                      </a:lnTo>
                      <a:lnTo>
                        <a:pt x="879922" y="397448"/>
                      </a:lnTo>
                      <a:lnTo>
                        <a:pt x="876791" y="398949"/>
                      </a:lnTo>
                      <a:lnTo>
                        <a:pt x="872667" y="403285"/>
                      </a:lnTo>
                      <a:lnTo>
                        <a:pt x="869525" y="404358"/>
                      </a:lnTo>
                      <a:lnTo>
                        <a:pt x="867236" y="405837"/>
                      </a:lnTo>
                      <a:lnTo>
                        <a:pt x="865929" y="409151"/>
                      </a:lnTo>
                      <a:lnTo>
                        <a:pt x="865880" y="413178"/>
                      </a:lnTo>
                      <a:lnTo>
                        <a:pt x="867418" y="416805"/>
                      </a:lnTo>
                      <a:lnTo>
                        <a:pt x="865656" y="418727"/>
                      </a:lnTo>
                      <a:lnTo>
                        <a:pt x="857369" y="422357"/>
                      </a:lnTo>
                      <a:lnTo>
                        <a:pt x="851980" y="425962"/>
                      </a:lnTo>
                      <a:lnTo>
                        <a:pt x="848478" y="426766"/>
                      </a:lnTo>
                      <a:lnTo>
                        <a:pt x="844614" y="425664"/>
                      </a:lnTo>
                      <a:lnTo>
                        <a:pt x="836331" y="430399"/>
                      </a:lnTo>
                      <a:lnTo>
                        <a:pt x="833844" y="431155"/>
                      </a:lnTo>
                      <a:lnTo>
                        <a:pt x="831777" y="432268"/>
                      </a:lnTo>
                      <a:lnTo>
                        <a:pt x="828088" y="438398"/>
                      </a:lnTo>
                      <a:lnTo>
                        <a:pt x="827960" y="438324"/>
                      </a:lnTo>
                      <a:lnTo>
                        <a:pt x="826895" y="437698"/>
                      </a:lnTo>
                      <a:lnTo>
                        <a:pt x="824479" y="436837"/>
                      </a:lnTo>
                      <a:lnTo>
                        <a:pt x="820697" y="435553"/>
                      </a:lnTo>
                      <a:lnTo>
                        <a:pt x="816713" y="434426"/>
                      </a:lnTo>
                      <a:lnTo>
                        <a:pt x="811446" y="433943"/>
                      </a:lnTo>
                      <a:lnTo>
                        <a:pt x="804926" y="434240"/>
                      </a:lnTo>
                      <a:lnTo>
                        <a:pt x="800781" y="434655"/>
                      </a:lnTo>
                      <a:lnTo>
                        <a:pt x="796734" y="436179"/>
                      </a:lnTo>
                      <a:lnTo>
                        <a:pt x="793678" y="437357"/>
                      </a:lnTo>
                      <a:lnTo>
                        <a:pt x="790202" y="439403"/>
                      </a:lnTo>
                      <a:lnTo>
                        <a:pt x="787068" y="441997"/>
                      </a:lnTo>
                      <a:lnTo>
                        <a:pt x="783457" y="445710"/>
                      </a:lnTo>
                      <a:lnTo>
                        <a:pt x="780449" y="451345"/>
                      </a:lnTo>
                      <a:lnTo>
                        <a:pt x="778972" y="456653"/>
                      </a:lnTo>
                      <a:lnTo>
                        <a:pt x="778771" y="456941"/>
                      </a:lnTo>
                      <a:lnTo>
                        <a:pt x="777619" y="456969"/>
                      </a:lnTo>
                      <a:lnTo>
                        <a:pt x="777032" y="457008"/>
                      </a:lnTo>
                      <a:lnTo>
                        <a:pt x="760474" y="458089"/>
                      </a:lnTo>
                      <a:lnTo>
                        <a:pt x="743340" y="459206"/>
                      </a:lnTo>
                      <a:lnTo>
                        <a:pt x="726188" y="460317"/>
                      </a:lnTo>
                      <a:lnTo>
                        <a:pt x="709037" y="461421"/>
                      </a:lnTo>
                      <a:lnTo>
                        <a:pt x="691880" y="462518"/>
                      </a:lnTo>
                      <a:lnTo>
                        <a:pt x="674716" y="463599"/>
                      </a:lnTo>
                      <a:lnTo>
                        <a:pt x="657551" y="464674"/>
                      </a:lnTo>
                      <a:lnTo>
                        <a:pt x="640378" y="465751"/>
                      </a:lnTo>
                      <a:lnTo>
                        <a:pt x="623203" y="466821"/>
                      </a:lnTo>
                      <a:lnTo>
                        <a:pt x="606031" y="467884"/>
                      </a:lnTo>
                      <a:lnTo>
                        <a:pt x="588849" y="468941"/>
                      </a:lnTo>
                      <a:lnTo>
                        <a:pt x="571661" y="469982"/>
                      </a:lnTo>
                      <a:lnTo>
                        <a:pt x="554466" y="471022"/>
                      </a:lnTo>
                      <a:lnTo>
                        <a:pt x="537272" y="472059"/>
                      </a:lnTo>
                      <a:lnTo>
                        <a:pt x="520081" y="473088"/>
                      </a:lnTo>
                      <a:lnTo>
                        <a:pt x="502874" y="474112"/>
                      </a:lnTo>
                      <a:lnTo>
                        <a:pt x="485671" y="475129"/>
                      </a:lnTo>
                      <a:lnTo>
                        <a:pt x="468464" y="476129"/>
                      </a:lnTo>
                      <a:lnTo>
                        <a:pt x="451244" y="477124"/>
                      </a:lnTo>
                      <a:lnTo>
                        <a:pt x="434026" y="478121"/>
                      </a:lnTo>
                      <a:lnTo>
                        <a:pt x="416803" y="479111"/>
                      </a:lnTo>
                      <a:lnTo>
                        <a:pt x="399578" y="480094"/>
                      </a:lnTo>
                      <a:lnTo>
                        <a:pt x="382356" y="481070"/>
                      </a:lnTo>
                      <a:lnTo>
                        <a:pt x="365121" y="482036"/>
                      </a:lnTo>
                      <a:lnTo>
                        <a:pt x="347877" y="482995"/>
                      </a:lnTo>
                      <a:lnTo>
                        <a:pt x="330647" y="483951"/>
                      </a:lnTo>
                      <a:lnTo>
                        <a:pt x="313400" y="484902"/>
                      </a:lnTo>
                      <a:lnTo>
                        <a:pt x="296152" y="485845"/>
                      </a:lnTo>
                      <a:lnTo>
                        <a:pt x="278899" y="486782"/>
                      </a:lnTo>
                      <a:lnTo>
                        <a:pt x="261644" y="487704"/>
                      </a:lnTo>
                      <a:lnTo>
                        <a:pt x="244388" y="488619"/>
                      </a:lnTo>
                      <a:lnTo>
                        <a:pt x="227130" y="489535"/>
                      </a:lnTo>
                      <a:lnTo>
                        <a:pt x="207647" y="490570"/>
                      </a:lnTo>
                      <a:lnTo>
                        <a:pt x="188150" y="491597"/>
                      </a:lnTo>
                      <a:lnTo>
                        <a:pt x="168659" y="492612"/>
                      </a:lnTo>
                      <a:lnTo>
                        <a:pt x="149163" y="493617"/>
                      </a:lnTo>
                      <a:lnTo>
                        <a:pt x="129657" y="494619"/>
                      </a:lnTo>
                      <a:lnTo>
                        <a:pt x="110153" y="495612"/>
                      </a:lnTo>
                      <a:lnTo>
                        <a:pt x="90643" y="496589"/>
                      </a:lnTo>
                      <a:lnTo>
                        <a:pt x="71124" y="497561"/>
                      </a:lnTo>
                      <a:lnTo>
                        <a:pt x="69274" y="485349"/>
                      </a:lnTo>
                      <a:lnTo>
                        <a:pt x="67422" y="473136"/>
                      </a:lnTo>
                      <a:lnTo>
                        <a:pt x="65564" y="460922"/>
                      </a:lnTo>
                      <a:lnTo>
                        <a:pt x="63703" y="448715"/>
                      </a:lnTo>
                      <a:lnTo>
                        <a:pt x="61568" y="434654"/>
                      </a:lnTo>
                      <a:lnTo>
                        <a:pt x="59417" y="420601"/>
                      </a:lnTo>
                      <a:lnTo>
                        <a:pt x="57261" y="406544"/>
                      </a:lnTo>
                      <a:lnTo>
                        <a:pt x="55102" y="392495"/>
                      </a:lnTo>
                      <a:lnTo>
                        <a:pt x="52939" y="378445"/>
                      </a:lnTo>
                      <a:lnTo>
                        <a:pt x="50771" y="364404"/>
                      </a:lnTo>
                      <a:lnTo>
                        <a:pt x="48594" y="350367"/>
                      </a:lnTo>
                      <a:lnTo>
                        <a:pt x="46421" y="336325"/>
                      </a:lnTo>
                      <a:lnTo>
                        <a:pt x="46405" y="336227"/>
                      </a:lnTo>
                      <a:lnTo>
                        <a:pt x="46390" y="336124"/>
                      </a:lnTo>
                      <a:lnTo>
                        <a:pt x="46374" y="336021"/>
                      </a:lnTo>
                      <a:lnTo>
                        <a:pt x="46358" y="335919"/>
                      </a:lnTo>
                      <a:lnTo>
                        <a:pt x="46342" y="335816"/>
                      </a:lnTo>
                      <a:lnTo>
                        <a:pt x="46327" y="335719"/>
                      </a:lnTo>
                      <a:lnTo>
                        <a:pt x="46312" y="335621"/>
                      </a:lnTo>
                      <a:lnTo>
                        <a:pt x="46296" y="335518"/>
                      </a:lnTo>
                      <a:lnTo>
                        <a:pt x="43460" y="317190"/>
                      </a:lnTo>
                      <a:lnTo>
                        <a:pt x="40616" y="298869"/>
                      </a:lnTo>
                      <a:lnTo>
                        <a:pt x="37762" y="280548"/>
                      </a:lnTo>
                      <a:lnTo>
                        <a:pt x="34903" y="262240"/>
                      </a:lnTo>
                      <a:lnTo>
                        <a:pt x="32036" y="243944"/>
                      </a:lnTo>
                      <a:lnTo>
                        <a:pt x="29160" y="225645"/>
                      </a:lnTo>
                      <a:lnTo>
                        <a:pt x="26278" y="207358"/>
                      </a:lnTo>
                      <a:lnTo>
                        <a:pt x="23387" y="189074"/>
                      </a:lnTo>
                      <a:lnTo>
                        <a:pt x="20490" y="170805"/>
                      </a:lnTo>
                      <a:lnTo>
                        <a:pt x="17584" y="152538"/>
                      </a:lnTo>
                      <a:lnTo>
                        <a:pt x="14671" y="134274"/>
                      </a:lnTo>
                      <a:lnTo>
                        <a:pt x="11749" y="116017"/>
                      </a:lnTo>
                      <a:lnTo>
                        <a:pt x="8820" y="97766"/>
                      </a:lnTo>
                      <a:lnTo>
                        <a:pt x="5883" y="79527"/>
                      </a:lnTo>
                      <a:lnTo>
                        <a:pt x="2940" y="61299"/>
                      </a:lnTo>
                      <a:lnTo>
                        <a:pt x="0" y="43150"/>
                      </a:lnTo>
                      <a:lnTo>
                        <a:pt x="2267" y="42602"/>
                      </a:lnTo>
                      <a:lnTo>
                        <a:pt x="20406" y="38207"/>
                      </a:lnTo>
                      <a:lnTo>
                        <a:pt x="38527" y="33781"/>
                      </a:lnTo>
                      <a:lnTo>
                        <a:pt x="59193" y="23071"/>
                      </a:lnTo>
                      <a:lnTo>
                        <a:pt x="79817" y="12357"/>
                      </a:lnTo>
                      <a:lnTo>
                        <a:pt x="100399" y="1637"/>
                      </a:lnTo>
                      <a:lnTo>
                        <a:pt x="103533" y="0"/>
                      </a:lnTo>
                      <a:lnTo>
                        <a:pt x="104524" y="5791"/>
                      </a:lnTo>
                      <a:lnTo>
                        <a:pt x="105532" y="11689"/>
                      </a:lnTo>
                      <a:lnTo>
                        <a:pt x="106541" y="17592"/>
                      </a:lnTo>
                      <a:lnTo>
                        <a:pt x="107549" y="23495"/>
                      </a:lnTo>
                      <a:lnTo>
                        <a:pt x="108553" y="29391"/>
                      </a:lnTo>
                      <a:lnTo>
                        <a:pt x="109559" y="35296"/>
                      </a:lnTo>
                      <a:lnTo>
                        <a:pt x="110562" y="41193"/>
                      </a:lnTo>
                      <a:lnTo>
                        <a:pt x="111566" y="47099"/>
                      </a:lnTo>
                      <a:lnTo>
                        <a:pt x="112427" y="52170"/>
                      </a:lnTo>
                      <a:lnTo>
                        <a:pt x="113287" y="57232"/>
                      </a:lnTo>
                      <a:lnTo>
                        <a:pt x="114146" y="62299"/>
                      </a:lnTo>
                      <a:lnTo>
                        <a:pt x="115008" y="67367"/>
                      </a:lnTo>
                      <a:lnTo>
                        <a:pt x="115874" y="72435"/>
                      </a:lnTo>
                      <a:lnTo>
                        <a:pt x="116732" y="77509"/>
                      </a:lnTo>
                      <a:lnTo>
                        <a:pt x="117589" y="82582"/>
                      </a:lnTo>
                      <a:lnTo>
                        <a:pt x="118444" y="87647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8" name="Freeform 194">
                  <a:extLst>
                    <a:ext uri="{FF2B5EF4-FFF2-40B4-BE49-F238E27FC236}">
                      <a16:creationId xmlns:a16="http://schemas.microsoft.com/office/drawing/2014/main" id="{2C7EDB9D-65DB-4995-B453-1F2BA13A759D}"/>
                    </a:ext>
                  </a:extLst>
                </p:cNvPr>
                <p:cNvSpPr/>
                <p:nvPr>
                  <p:custDataLst>
                    <p:tags r:id="rId49"/>
                  </p:custDataLst>
                </p:nvPr>
              </p:nvSpPr>
              <p:spPr>
                <a:xfrm>
                  <a:off x="5621823" y="3330429"/>
                  <a:ext cx="399532" cy="5259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934" h="777972">
                      <a:moveTo>
                        <a:pt x="266143" y="629610"/>
                      </a:moveTo>
                      <a:lnTo>
                        <a:pt x="270536" y="631976"/>
                      </a:lnTo>
                      <a:lnTo>
                        <a:pt x="271270" y="635169"/>
                      </a:lnTo>
                      <a:lnTo>
                        <a:pt x="272164" y="640213"/>
                      </a:lnTo>
                      <a:lnTo>
                        <a:pt x="270604" y="640599"/>
                      </a:lnTo>
                      <a:lnTo>
                        <a:pt x="266606" y="637028"/>
                      </a:lnTo>
                      <a:lnTo>
                        <a:pt x="265216" y="634132"/>
                      </a:lnTo>
                      <a:close/>
                      <a:moveTo>
                        <a:pt x="259669" y="609729"/>
                      </a:moveTo>
                      <a:lnTo>
                        <a:pt x="261520" y="611645"/>
                      </a:lnTo>
                      <a:lnTo>
                        <a:pt x="262174" y="613911"/>
                      </a:lnTo>
                      <a:lnTo>
                        <a:pt x="261010" y="615658"/>
                      </a:lnTo>
                      <a:lnTo>
                        <a:pt x="261185" y="620771"/>
                      </a:lnTo>
                      <a:lnTo>
                        <a:pt x="261188" y="620798"/>
                      </a:lnTo>
                      <a:lnTo>
                        <a:pt x="261193" y="620830"/>
                      </a:lnTo>
                      <a:lnTo>
                        <a:pt x="261197" y="620875"/>
                      </a:lnTo>
                      <a:lnTo>
                        <a:pt x="261205" y="620932"/>
                      </a:lnTo>
                      <a:lnTo>
                        <a:pt x="261213" y="621000"/>
                      </a:lnTo>
                      <a:lnTo>
                        <a:pt x="261222" y="621079"/>
                      </a:lnTo>
                      <a:lnTo>
                        <a:pt x="261233" y="621168"/>
                      </a:lnTo>
                      <a:lnTo>
                        <a:pt x="261245" y="621266"/>
                      </a:lnTo>
                      <a:lnTo>
                        <a:pt x="261258" y="621374"/>
                      </a:lnTo>
                      <a:lnTo>
                        <a:pt x="261271" y="621489"/>
                      </a:lnTo>
                      <a:lnTo>
                        <a:pt x="261285" y="621614"/>
                      </a:lnTo>
                      <a:lnTo>
                        <a:pt x="261300" y="621745"/>
                      </a:lnTo>
                      <a:lnTo>
                        <a:pt x="261316" y="621883"/>
                      </a:lnTo>
                      <a:lnTo>
                        <a:pt x="261331" y="622028"/>
                      </a:lnTo>
                      <a:lnTo>
                        <a:pt x="261348" y="622179"/>
                      </a:lnTo>
                      <a:lnTo>
                        <a:pt x="261365" y="622335"/>
                      </a:lnTo>
                      <a:lnTo>
                        <a:pt x="261382" y="622496"/>
                      </a:lnTo>
                      <a:lnTo>
                        <a:pt x="261399" y="622660"/>
                      </a:lnTo>
                      <a:lnTo>
                        <a:pt x="261416" y="622830"/>
                      </a:lnTo>
                      <a:lnTo>
                        <a:pt x="261433" y="623002"/>
                      </a:lnTo>
                      <a:lnTo>
                        <a:pt x="261449" y="623177"/>
                      </a:lnTo>
                      <a:lnTo>
                        <a:pt x="261467" y="623354"/>
                      </a:lnTo>
                      <a:lnTo>
                        <a:pt x="261482" y="623533"/>
                      </a:lnTo>
                      <a:lnTo>
                        <a:pt x="261499" y="623713"/>
                      </a:lnTo>
                      <a:lnTo>
                        <a:pt x="261514" y="623893"/>
                      </a:lnTo>
                      <a:lnTo>
                        <a:pt x="261530" y="624074"/>
                      </a:lnTo>
                      <a:lnTo>
                        <a:pt x="261544" y="624255"/>
                      </a:lnTo>
                      <a:lnTo>
                        <a:pt x="261557" y="624434"/>
                      </a:lnTo>
                      <a:lnTo>
                        <a:pt x="261570" y="624611"/>
                      </a:lnTo>
                      <a:lnTo>
                        <a:pt x="261582" y="624787"/>
                      </a:lnTo>
                      <a:lnTo>
                        <a:pt x="261592" y="624960"/>
                      </a:lnTo>
                      <a:lnTo>
                        <a:pt x="261601" y="625130"/>
                      </a:lnTo>
                      <a:lnTo>
                        <a:pt x="261610" y="625296"/>
                      </a:lnTo>
                      <a:lnTo>
                        <a:pt x="261616" y="625459"/>
                      </a:lnTo>
                      <a:lnTo>
                        <a:pt x="261622" y="625616"/>
                      </a:lnTo>
                      <a:lnTo>
                        <a:pt x="261626" y="625769"/>
                      </a:lnTo>
                      <a:lnTo>
                        <a:pt x="261629" y="625915"/>
                      </a:lnTo>
                      <a:lnTo>
                        <a:pt x="261629" y="626056"/>
                      </a:lnTo>
                      <a:lnTo>
                        <a:pt x="261628" y="626189"/>
                      </a:lnTo>
                      <a:lnTo>
                        <a:pt x="261626" y="626315"/>
                      </a:lnTo>
                      <a:lnTo>
                        <a:pt x="261622" y="626433"/>
                      </a:lnTo>
                      <a:lnTo>
                        <a:pt x="261615" y="626544"/>
                      </a:lnTo>
                      <a:lnTo>
                        <a:pt x="261606" y="626645"/>
                      </a:lnTo>
                      <a:lnTo>
                        <a:pt x="261595" y="626737"/>
                      </a:lnTo>
                      <a:lnTo>
                        <a:pt x="261582" y="626818"/>
                      </a:lnTo>
                      <a:lnTo>
                        <a:pt x="261566" y="626890"/>
                      </a:lnTo>
                      <a:lnTo>
                        <a:pt x="261548" y="626950"/>
                      </a:lnTo>
                      <a:lnTo>
                        <a:pt x="261527" y="626998"/>
                      </a:lnTo>
                      <a:lnTo>
                        <a:pt x="261505" y="627035"/>
                      </a:lnTo>
                      <a:lnTo>
                        <a:pt x="261451" y="627101"/>
                      </a:lnTo>
                      <a:lnTo>
                        <a:pt x="261424" y="627137"/>
                      </a:lnTo>
                      <a:lnTo>
                        <a:pt x="261395" y="627175"/>
                      </a:lnTo>
                      <a:lnTo>
                        <a:pt x="261364" y="627215"/>
                      </a:lnTo>
                      <a:lnTo>
                        <a:pt x="261331" y="627256"/>
                      </a:lnTo>
                      <a:lnTo>
                        <a:pt x="261299" y="627300"/>
                      </a:lnTo>
                      <a:lnTo>
                        <a:pt x="261265" y="627345"/>
                      </a:lnTo>
                      <a:lnTo>
                        <a:pt x="261230" y="627391"/>
                      </a:lnTo>
                      <a:lnTo>
                        <a:pt x="261194" y="627439"/>
                      </a:lnTo>
                      <a:lnTo>
                        <a:pt x="261158" y="627488"/>
                      </a:lnTo>
                      <a:lnTo>
                        <a:pt x="261120" y="627538"/>
                      </a:lnTo>
                      <a:lnTo>
                        <a:pt x="261083" y="627589"/>
                      </a:lnTo>
                      <a:lnTo>
                        <a:pt x="261045" y="627640"/>
                      </a:lnTo>
                      <a:lnTo>
                        <a:pt x="261007" y="627693"/>
                      </a:lnTo>
                      <a:lnTo>
                        <a:pt x="260969" y="627746"/>
                      </a:lnTo>
                      <a:lnTo>
                        <a:pt x="260929" y="627799"/>
                      </a:lnTo>
                      <a:lnTo>
                        <a:pt x="260890" y="627854"/>
                      </a:lnTo>
                      <a:lnTo>
                        <a:pt x="260851" y="627907"/>
                      </a:lnTo>
                      <a:lnTo>
                        <a:pt x="260812" y="627962"/>
                      </a:lnTo>
                      <a:lnTo>
                        <a:pt x="260772" y="628016"/>
                      </a:lnTo>
                      <a:lnTo>
                        <a:pt x="260733" y="628070"/>
                      </a:lnTo>
                      <a:lnTo>
                        <a:pt x="260694" y="628123"/>
                      </a:lnTo>
                      <a:lnTo>
                        <a:pt x="260656" y="628177"/>
                      </a:lnTo>
                      <a:lnTo>
                        <a:pt x="260618" y="628230"/>
                      </a:lnTo>
                      <a:lnTo>
                        <a:pt x="260581" y="628283"/>
                      </a:lnTo>
                      <a:lnTo>
                        <a:pt x="260544" y="628334"/>
                      </a:lnTo>
                      <a:lnTo>
                        <a:pt x="260507" y="628385"/>
                      </a:lnTo>
                      <a:lnTo>
                        <a:pt x="260472" y="628434"/>
                      </a:lnTo>
                      <a:lnTo>
                        <a:pt x="260438" y="628483"/>
                      </a:lnTo>
                      <a:lnTo>
                        <a:pt x="260403" y="628531"/>
                      </a:lnTo>
                      <a:lnTo>
                        <a:pt x="260371" y="628577"/>
                      </a:lnTo>
                      <a:lnTo>
                        <a:pt x="260340" y="628621"/>
                      </a:lnTo>
                      <a:lnTo>
                        <a:pt x="260308" y="628665"/>
                      </a:lnTo>
                      <a:lnTo>
                        <a:pt x="260279" y="628707"/>
                      </a:lnTo>
                      <a:lnTo>
                        <a:pt x="260252" y="628746"/>
                      </a:lnTo>
                      <a:lnTo>
                        <a:pt x="260224" y="628784"/>
                      </a:lnTo>
                      <a:lnTo>
                        <a:pt x="260200" y="628820"/>
                      </a:lnTo>
                      <a:lnTo>
                        <a:pt x="260176" y="628853"/>
                      </a:lnTo>
                      <a:lnTo>
                        <a:pt x="260153" y="628884"/>
                      </a:lnTo>
                      <a:lnTo>
                        <a:pt x="260133" y="628913"/>
                      </a:lnTo>
                      <a:lnTo>
                        <a:pt x="260114" y="628940"/>
                      </a:lnTo>
                      <a:lnTo>
                        <a:pt x="260098" y="628963"/>
                      </a:lnTo>
                      <a:lnTo>
                        <a:pt x="260084" y="628984"/>
                      </a:lnTo>
                      <a:lnTo>
                        <a:pt x="260070" y="629002"/>
                      </a:lnTo>
                      <a:lnTo>
                        <a:pt x="260059" y="629018"/>
                      </a:lnTo>
                      <a:lnTo>
                        <a:pt x="260052" y="629029"/>
                      </a:lnTo>
                      <a:lnTo>
                        <a:pt x="260046" y="629038"/>
                      </a:lnTo>
                      <a:lnTo>
                        <a:pt x="260041" y="629043"/>
                      </a:lnTo>
                      <a:lnTo>
                        <a:pt x="260040" y="629045"/>
                      </a:lnTo>
                      <a:lnTo>
                        <a:pt x="258486" y="626866"/>
                      </a:lnTo>
                      <a:lnTo>
                        <a:pt x="256310" y="623816"/>
                      </a:lnTo>
                      <a:lnTo>
                        <a:pt x="256545" y="620762"/>
                      </a:lnTo>
                      <a:lnTo>
                        <a:pt x="258631" y="617059"/>
                      </a:lnTo>
                      <a:lnTo>
                        <a:pt x="258618" y="613796"/>
                      </a:lnTo>
                      <a:close/>
                      <a:moveTo>
                        <a:pt x="398552" y="573487"/>
                      </a:moveTo>
                      <a:lnTo>
                        <a:pt x="401378" y="573662"/>
                      </a:lnTo>
                      <a:lnTo>
                        <a:pt x="403051" y="576762"/>
                      </a:lnTo>
                      <a:lnTo>
                        <a:pt x="404640" y="580807"/>
                      </a:lnTo>
                      <a:lnTo>
                        <a:pt x="404612" y="585020"/>
                      </a:lnTo>
                      <a:lnTo>
                        <a:pt x="401297" y="586300"/>
                      </a:lnTo>
                      <a:lnTo>
                        <a:pt x="398654" y="587976"/>
                      </a:lnTo>
                      <a:lnTo>
                        <a:pt x="397280" y="586480"/>
                      </a:lnTo>
                      <a:lnTo>
                        <a:pt x="396957" y="584176"/>
                      </a:lnTo>
                      <a:lnTo>
                        <a:pt x="396832" y="580681"/>
                      </a:lnTo>
                      <a:lnTo>
                        <a:pt x="396509" y="578376"/>
                      </a:lnTo>
                      <a:lnTo>
                        <a:pt x="397261" y="575959"/>
                      </a:lnTo>
                      <a:close/>
                      <a:moveTo>
                        <a:pt x="361855" y="573211"/>
                      </a:moveTo>
                      <a:lnTo>
                        <a:pt x="367769" y="575890"/>
                      </a:lnTo>
                      <a:lnTo>
                        <a:pt x="370927" y="576595"/>
                      </a:lnTo>
                      <a:lnTo>
                        <a:pt x="377344" y="576855"/>
                      </a:lnTo>
                      <a:lnTo>
                        <a:pt x="378835" y="577198"/>
                      </a:lnTo>
                      <a:lnTo>
                        <a:pt x="379649" y="580709"/>
                      </a:lnTo>
                      <a:lnTo>
                        <a:pt x="378479" y="582538"/>
                      </a:lnTo>
                      <a:lnTo>
                        <a:pt x="376873" y="583740"/>
                      </a:lnTo>
                      <a:lnTo>
                        <a:pt x="376441" y="585406"/>
                      </a:lnTo>
                      <a:lnTo>
                        <a:pt x="375582" y="586503"/>
                      </a:lnTo>
                      <a:lnTo>
                        <a:pt x="372780" y="586221"/>
                      </a:lnTo>
                      <a:lnTo>
                        <a:pt x="367310" y="584401"/>
                      </a:lnTo>
                      <a:lnTo>
                        <a:pt x="367697" y="581338"/>
                      </a:lnTo>
                      <a:lnTo>
                        <a:pt x="365868" y="578985"/>
                      </a:lnTo>
                      <a:lnTo>
                        <a:pt x="362743" y="577421"/>
                      </a:lnTo>
                      <a:lnTo>
                        <a:pt x="359219" y="576767"/>
                      </a:lnTo>
                      <a:lnTo>
                        <a:pt x="359446" y="573422"/>
                      </a:lnTo>
                      <a:close/>
                      <a:moveTo>
                        <a:pt x="367280" y="561060"/>
                      </a:moveTo>
                      <a:lnTo>
                        <a:pt x="369010" y="562516"/>
                      </a:lnTo>
                      <a:lnTo>
                        <a:pt x="370098" y="566143"/>
                      </a:lnTo>
                      <a:lnTo>
                        <a:pt x="368509" y="567007"/>
                      </a:lnTo>
                      <a:lnTo>
                        <a:pt x="366518" y="568381"/>
                      </a:lnTo>
                      <a:lnTo>
                        <a:pt x="365761" y="570795"/>
                      </a:lnTo>
                      <a:lnTo>
                        <a:pt x="364418" y="571868"/>
                      </a:lnTo>
                      <a:lnTo>
                        <a:pt x="360469" y="570404"/>
                      </a:lnTo>
                      <a:lnTo>
                        <a:pt x="358472" y="569908"/>
                      </a:lnTo>
                      <a:lnTo>
                        <a:pt x="356435" y="571752"/>
                      </a:lnTo>
                      <a:lnTo>
                        <a:pt x="354936" y="575410"/>
                      </a:lnTo>
                      <a:lnTo>
                        <a:pt x="353612" y="573443"/>
                      </a:lnTo>
                      <a:lnTo>
                        <a:pt x="353565" y="572046"/>
                      </a:lnTo>
                      <a:lnTo>
                        <a:pt x="354300" y="568934"/>
                      </a:lnTo>
                      <a:lnTo>
                        <a:pt x="358528" y="564530"/>
                      </a:lnTo>
                      <a:lnTo>
                        <a:pt x="362127" y="561123"/>
                      </a:lnTo>
                      <a:close/>
                      <a:moveTo>
                        <a:pt x="422583" y="554608"/>
                      </a:moveTo>
                      <a:lnTo>
                        <a:pt x="424895" y="555535"/>
                      </a:lnTo>
                      <a:lnTo>
                        <a:pt x="427196" y="557634"/>
                      </a:lnTo>
                      <a:lnTo>
                        <a:pt x="427915" y="560600"/>
                      </a:lnTo>
                      <a:lnTo>
                        <a:pt x="426924" y="562810"/>
                      </a:lnTo>
                      <a:lnTo>
                        <a:pt x="423260" y="564129"/>
                      </a:lnTo>
                      <a:lnTo>
                        <a:pt x="421001" y="561558"/>
                      </a:lnTo>
                      <a:lnTo>
                        <a:pt x="419046" y="560593"/>
                      </a:lnTo>
                      <a:lnTo>
                        <a:pt x="417861" y="560951"/>
                      </a:lnTo>
                      <a:lnTo>
                        <a:pt x="414761" y="562913"/>
                      </a:lnTo>
                      <a:lnTo>
                        <a:pt x="412559" y="561739"/>
                      </a:lnTo>
                      <a:lnTo>
                        <a:pt x="411403" y="559754"/>
                      </a:lnTo>
                      <a:lnTo>
                        <a:pt x="412890" y="557962"/>
                      </a:lnTo>
                      <a:lnTo>
                        <a:pt x="415355" y="558172"/>
                      </a:lnTo>
                      <a:lnTo>
                        <a:pt x="415162" y="556321"/>
                      </a:lnTo>
                      <a:lnTo>
                        <a:pt x="416539" y="554773"/>
                      </a:lnTo>
                      <a:lnTo>
                        <a:pt x="418893" y="555228"/>
                      </a:lnTo>
                      <a:lnTo>
                        <a:pt x="419954" y="556287"/>
                      </a:lnTo>
                      <a:lnTo>
                        <a:pt x="421496" y="555891"/>
                      </a:lnTo>
                      <a:close/>
                      <a:moveTo>
                        <a:pt x="383489" y="542929"/>
                      </a:moveTo>
                      <a:lnTo>
                        <a:pt x="387507" y="544323"/>
                      </a:lnTo>
                      <a:lnTo>
                        <a:pt x="390654" y="545822"/>
                      </a:lnTo>
                      <a:lnTo>
                        <a:pt x="392232" y="547951"/>
                      </a:lnTo>
                      <a:lnTo>
                        <a:pt x="393224" y="550200"/>
                      </a:lnTo>
                      <a:lnTo>
                        <a:pt x="394605" y="552057"/>
                      </a:lnTo>
                      <a:lnTo>
                        <a:pt x="393242" y="552988"/>
                      </a:lnTo>
                      <a:lnTo>
                        <a:pt x="390190" y="554248"/>
                      </a:lnTo>
                      <a:lnTo>
                        <a:pt x="388746" y="555121"/>
                      </a:lnTo>
                      <a:lnTo>
                        <a:pt x="390001" y="556583"/>
                      </a:lnTo>
                      <a:lnTo>
                        <a:pt x="391339" y="557460"/>
                      </a:lnTo>
                      <a:lnTo>
                        <a:pt x="394500" y="558409"/>
                      </a:lnTo>
                      <a:lnTo>
                        <a:pt x="394825" y="559486"/>
                      </a:lnTo>
                      <a:lnTo>
                        <a:pt x="390220" y="562682"/>
                      </a:lnTo>
                      <a:lnTo>
                        <a:pt x="387663" y="563591"/>
                      </a:lnTo>
                      <a:lnTo>
                        <a:pt x="382166" y="561516"/>
                      </a:lnTo>
                      <a:lnTo>
                        <a:pt x="381383" y="560735"/>
                      </a:lnTo>
                      <a:lnTo>
                        <a:pt x="381674" y="559076"/>
                      </a:lnTo>
                      <a:lnTo>
                        <a:pt x="381705" y="557415"/>
                      </a:lnTo>
                      <a:lnTo>
                        <a:pt x="380817" y="555614"/>
                      </a:lnTo>
                      <a:lnTo>
                        <a:pt x="378320" y="552631"/>
                      </a:lnTo>
                      <a:lnTo>
                        <a:pt x="379499" y="552618"/>
                      </a:lnTo>
                      <a:lnTo>
                        <a:pt x="381818" y="552159"/>
                      </a:lnTo>
                      <a:lnTo>
                        <a:pt x="383013" y="552144"/>
                      </a:lnTo>
                      <a:lnTo>
                        <a:pt x="381879" y="550546"/>
                      </a:lnTo>
                      <a:lnTo>
                        <a:pt x="381071" y="548672"/>
                      </a:lnTo>
                      <a:lnTo>
                        <a:pt x="380700" y="546754"/>
                      </a:lnTo>
                      <a:lnTo>
                        <a:pt x="380861" y="545014"/>
                      </a:lnTo>
                      <a:lnTo>
                        <a:pt x="381938" y="543178"/>
                      </a:lnTo>
                      <a:close/>
                      <a:moveTo>
                        <a:pt x="349248" y="539094"/>
                      </a:moveTo>
                      <a:lnTo>
                        <a:pt x="352006" y="540912"/>
                      </a:lnTo>
                      <a:lnTo>
                        <a:pt x="350879" y="544530"/>
                      </a:lnTo>
                      <a:lnTo>
                        <a:pt x="350432" y="552283"/>
                      </a:lnTo>
                      <a:lnTo>
                        <a:pt x="348709" y="552692"/>
                      </a:lnTo>
                      <a:lnTo>
                        <a:pt x="348302" y="551333"/>
                      </a:lnTo>
                      <a:lnTo>
                        <a:pt x="347978" y="547164"/>
                      </a:lnTo>
                      <a:lnTo>
                        <a:pt x="347589" y="544635"/>
                      </a:lnTo>
                      <a:lnTo>
                        <a:pt x="345262" y="544874"/>
                      </a:lnTo>
                      <a:lnTo>
                        <a:pt x="344608" y="543307"/>
                      </a:lnTo>
                      <a:lnTo>
                        <a:pt x="346232" y="540106"/>
                      </a:lnTo>
                      <a:close/>
                      <a:moveTo>
                        <a:pt x="347352" y="524814"/>
                      </a:moveTo>
                      <a:lnTo>
                        <a:pt x="350042" y="526404"/>
                      </a:lnTo>
                      <a:lnTo>
                        <a:pt x="352520" y="530351"/>
                      </a:lnTo>
                      <a:lnTo>
                        <a:pt x="351813" y="532291"/>
                      </a:lnTo>
                      <a:lnTo>
                        <a:pt x="350374" y="535476"/>
                      </a:lnTo>
                      <a:lnTo>
                        <a:pt x="348483" y="537772"/>
                      </a:lnTo>
                      <a:lnTo>
                        <a:pt x="346014" y="535692"/>
                      </a:lnTo>
                      <a:lnTo>
                        <a:pt x="345334" y="533427"/>
                      </a:lnTo>
                      <a:lnTo>
                        <a:pt x="344961" y="529730"/>
                      </a:lnTo>
                      <a:lnTo>
                        <a:pt x="345958" y="527526"/>
                      </a:lnTo>
                      <a:close/>
                      <a:moveTo>
                        <a:pt x="400293" y="521402"/>
                      </a:moveTo>
                      <a:lnTo>
                        <a:pt x="401393" y="521987"/>
                      </a:lnTo>
                      <a:lnTo>
                        <a:pt x="402550" y="523970"/>
                      </a:lnTo>
                      <a:lnTo>
                        <a:pt x="403806" y="526877"/>
                      </a:lnTo>
                      <a:lnTo>
                        <a:pt x="404854" y="529106"/>
                      </a:lnTo>
                      <a:lnTo>
                        <a:pt x="407013" y="530749"/>
                      </a:lnTo>
                      <a:lnTo>
                        <a:pt x="406315" y="532693"/>
                      </a:lnTo>
                      <a:lnTo>
                        <a:pt x="404184" y="531747"/>
                      </a:lnTo>
                      <a:lnTo>
                        <a:pt x="402438" y="531463"/>
                      </a:lnTo>
                      <a:lnTo>
                        <a:pt x="400652" y="531650"/>
                      </a:lnTo>
                      <a:lnTo>
                        <a:pt x="399166" y="530403"/>
                      </a:lnTo>
                      <a:lnTo>
                        <a:pt x="398407" y="527911"/>
                      </a:lnTo>
                      <a:lnTo>
                        <a:pt x="398363" y="525344"/>
                      </a:lnTo>
                      <a:lnTo>
                        <a:pt x="398662" y="523910"/>
                      </a:lnTo>
                      <a:lnTo>
                        <a:pt x="399112" y="521759"/>
                      </a:lnTo>
                      <a:close/>
                      <a:moveTo>
                        <a:pt x="428450" y="507833"/>
                      </a:moveTo>
                      <a:lnTo>
                        <a:pt x="433240" y="509978"/>
                      </a:lnTo>
                      <a:lnTo>
                        <a:pt x="434683" y="513333"/>
                      </a:lnTo>
                      <a:lnTo>
                        <a:pt x="445012" y="520856"/>
                      </a:lnTo>
                      <a:lnTo>
                        <a:pt x="447749" y="525721"/>
                      </a:lnTo>
                      <a:lnTo>
                        <a:pt x="445739" y="529474"/>
                      </a:lnTo>
                      <a:lnTo>
                        <a:pt x="440746" y="532535"/>
                      </a:lnTo>
                      <a:lnTo>
                        <a:pt x="435033" y="533519"/>
                      </a:lnTo>
                      <a:lnTo>
                        <a:pt x="430949" y="531078"/>
                      </a:lnTo>
                      <a:lnTo>
                        <a:pt x="430012" y="531176"/>
                      </a:lnTo>
                      <a:lnTo>
                        <a:pt x="430388" y="535356"/>
                      </a:lnTo>
                      <a:lnTo>
                        <a:pt x="432596" y="537638"/>
                      </a:lnTo>
                      <a:lnTo>
                        <a:pt x="434897" y="539165"/>
                      </a:lnTo>
                      <a:lnTo>
                        <a:pt x="435508" y="541081"/>
                      </a:lnTo>
                      <a:lnTo>
                        <a:pt x="434449" y="543387"/>
                      </a:lnTo>
                      <a:lnTo>
                        <a:pt x="432716" y="545719"/>
                      </a:lnTo>
                      <a:lnTo>
                        <a:pt x="430745" y="546344"/>
                      </a:lnTo>
                      <a:lnTo>
                        <a:pt x="428963" y="543548"/>
                      </a:lnTo>
                      <a:lnTo>
                        <a:pt x="428466" y="543981"/>
                      </a:lnTo>
                      <a:lnTo>
                        <a:pt x="427068" y="544728"/>
                      </a:lnTo>
                      <a:lnTo>
                        <a:pt x="426544" y="545141"/>
                      </a:lnTo>
                      <a:lnTo>
                        <a:pt x="424200" y="542924"/>
                      </a:lnTo>
                      <a:lnTo>
                        <a:pt x="418895" y="541296"/>
                      </a:lnTo>
                      <a:lnTo>
                        <a:pt x="416757" y="538707"/>
                      </a:lnTo>
                      <a:lnTo>
                        <a:pt x="418612" y="537781"/>
                      </a:lnTo>
                      <a:lnTo>
                        <a:pt x="418659" y="536534"/>
                      </a:lnTo>
                      <a:lnTo>
                        <a:pt x="417359" y="535486"/>
                      </a:lnTo>
                      <a:lnTo>
                        <a:pt x="415160" y="535191"/>
                      </a:lnTo>
                      <a:lnTo>
                        <a:pt x="413850" y="534393"/>
                      </a:lnTo>
                      <a:lnTo>
                        <a:pt x="413339" y="532284"/>
                      </a:lnTo>
                      <a:lnTo>
                        <a:pt x="413317" y="529830"/>
                      </a:lnTo>
                      <a:lnTo>
                        <a:pt x="414045" y="523586"/>
                      </a:lnTo>
                      <a:lnTo>
                        <a:pt x="414620" y="521421"/>
                      </a:lnTo>
                      <a:lnTo>
                        <a:pt x="415560" y="520430"/>
                      </a:lnTo>
                      <a:lnTo>
                        <a:pt x="417281" y="519752"/>
                      </a:lnTo>
                      <a:lnTo>
                        <a:pt x="418484" y="518382"/>
                      </a:lnTo>
                      <a:lnTo>
                        <a:pt x="418443" y="516786"/>
                      </a:lnTo>
                      <a:lnTo>
                        <a:pt x="416405" y="515431"/>
                      </a:lnTo>
                      <a:lnTo>
                        <a:pt x="418226" y="511789"/>
                      </a:lnTo>
                      <a:lnTo>
                        <a:pt x="422843" y="508844"/>
                      </a:lnTo>
                      <a:close/>
                      <a:moveTo>
                        <a:pt x="516211" y="484164"/>
                      </a:moveTo>
                      <a:lnTo>
                        <a:pt x="518912" y="484572"/>
                      </a:lnTo>
                      <a:lnTo>
                        <a:pt x="520735" y="488591"/>
                      </a:lnTo>
                      <a:lnTo>
                        <a:pt x="522978" y="490456"/>
                      </a:lnTo>
                      <a:lnTo>
                        <a:pt x="523981" y="493628"/>
                      </a:lnTo>
                      <a:lnTo>
                        <a:pt x="522424" y="496846"/>
                      </a:lnTo>
                      <a:lnTo>
                        <a:pt x="520464" y="494715"/>
                      </a:lnTo>
                      <a:lnTo>
                        <a:pt x="517434" y="490358"/>
                      </a:lnTo>
                      <a:lnTo>
                        <a:pt x="514796" y="486662"/>
                      </a:lnTo>
                      <a:lnTo>
                        <a:pt x="514473" y="485057"/>
                      </a:lnTo>
                      <a:close/>
                      <a:moveTo>
                        <a:pt x="550736" y="461131"/>
                      </a:moveTo>
                      <a:lnTo>
                        <a:pt x="553683" y="461743"/>
                      </a:lnTo>
                      <a:lnTo>
                        <a:pt x="555818" y="462677"/>
                      </a:lnTo>
                      <a:lnTo>
                        <a:pt x="555690" y="464569"/>
                      </a:lnTo>
                      <a:lnTo>
                        <a:pt x="552510" y="466095"/>
                      </a:lnTo>
                      <a:lnTo>
                        <a:pt x="549489" y="465257"/>
                      </a:lnTo>
                      <a:lnTo>
                        <a:pt x="549335" y="463632"/>
                      </a:lnTo>
                      <a:close/>
                      <a:moveTo>
                        <a:pt x="568170" y="399760"/>
                      </a:moveTo>
                      <a:lnTo>
                        <a:pt x="569933" y="401438"/>
                      </a:lnTo>
                      <a:lnTo>
                        <a:pt x="574538" y="404355"/>
                      </a:lnTo>
                      <a:lnTo>
                        <a:pt x="577775" y="406803"/>
                      </a:lnTo>
                      <a:lnTo>
                        <a:pt x="577992" y="408971"/>
                      </a:lnTo>
                      <a:lnTo>
                        <a:pt x="574842" y="409012"/>
                      </a:lnTo>
                      <a:lnTo>
                        <a:pt x="573645" y="407586"/>
                      </a:lnTo>
                      <a:lnTo>
                        <a:pt x="568802" y="404688"/>
                      </a:lnTo>
                      <a:lnTo>
                        <a:pt x="567820" y="401677"/>
                      </a:lnTo>
                      <a:close/>
                      <a:moveTo>
                        <a:pt x="586133" y="397561"/>
                      </a:moveTo>
                      <a:lnTo>
                        <a:pt x="586652" y="399144"/>
                      </a:lnTo>
                      <a:lnTo>
                        <a:pt x="587570" y="401386"/>
                      </a:lnTo>
                      <a:lnTo>
                        <a:pt x="589822" y="403242"/>
                      </a:lnTo>
                      <a:lnTo>
                        <a:pt x="590535" y="405978"/>
                      </a:lnTo>
                      <a:lnTo>
                        <a:pt x="590441" y="409040"/>
                      </a:lnTo>
                      <a:lnTo>
                        <a:pt x="588993" y="411317"/>
                      </a:lnTo>
                      <a:lnTo>
                        <a:pt x="587498" y="412895"/>
                      </a:lnTo>
                      <a:lnTo>
                        <a:pt x="590017" y="416130"/>
                      </a:lnTo>
                      <a:lnTo>
                        <a:pt x="590934" y="418373"/>
                      </a:lnTo>
                      <a:lnTo>
                        <a:pt x="588214" y="418446"/>
                      </a:lnTo>
                      <a:lnTo>
                        <a:pt x="585478" y="417348"/>
                      </a:lnTo>
                      <a:lnTo>
                        <a:pt x="582021" y="415158"/>
                      </a:lnTo>
                      <a:lnTo>
                        <a:pt x="580476" y="413221"/>
                      </a:lnTo>
                      <a:lnTo>
                        <a:pt x="583354" y="411957"/>
                      </a:lnTo>
                      <a:lnTo>
                        <a:pt x="583217" y="409860"/>
                      </a:lnTo>
                      <a:lnTo>
                        <a:pt x="582626" y="408049"/>
                      </a:lnTo>
                      <a:lnTo>
                        <a:pt x="582795" y="405214"/>
                      </a:lnTo>
                      <a:lnTo>
                        <a:pt x="583083" y="403304"/>
                      </a:lnTo>
                      <a:lnTo>
                        <a:pt x="583074" y="400489"/>
                      </a:lnTo>
                      <a:lnTo>
                        <a:pt x="584289" y="399179"/>
                      </a:lnTo>
                      <a:close/>
                      <a:moveTo>
                        <a:pt x="575368" y="385881"/>
                      </a:moveTo>
                      <a:lnTo>
                        <a:pt x="577628" y="386093"/>
                      </a:lnTo>
                      <a:lnTo>
                        <a:pt x="578193" y="388374"/>
                      </a:lnTo>
                      <a:lnTo>
                        <a:pt x="578156" y="390490"/>
                      </a:lnTo>
                      <a:lnTo>
                        <a:pt x="578768" y="393471"/>
                      </a:lnTo>
                      <a:lnTo>
                        <a:pt x="577915" y="397556"/>
                      </a:lnTo>
                      <a:lnTo>
                        <a:pt x="577384" y="402075"/>
                      </a:lnTo>
                      <a:lnTo>
                        <a:pt x="576919" y="404004"/>
                      </a:lnTo>
                      <a:lnTo>
                        <a:pt x="573020" y="400458"/>
                      </a:lnTo>
                      <a:lnTo>
                        <a:pt x="570901" y="397883"/>
                      </a:lnTo>
                      <a:lnTo>
                        <a:pt x="569662" y="395209"/>
                      </a:lnTo>
                      <a:lnTo>
                        <a:pt x="570654" y="393220"/>
                      </a:lnTo>
                      <a:lnTo>
                        <a:pt x="572101" y="390944"/>
                      </a:lnTo>
                      <a:lnTo>
                        <a:pt x="573249" y="387764"/>
                      </a:lnTo>
                      <a:close/>
                      <a:moveTo>
                        <a:pt x="136664" y="0"/>
                      </a:moveTo>
                      <a:lnTo>
                        <a:pt x="158186" y="2567"/>
                      </a:lnTo>
                      <a:lnTo>
                        <a:pt x="160988" y="4653"/>
                      </a:lnTo>
                      <a:lnTo>
                        <a:pt x="162571" y="9655"/>
                      </a:lnTo>
                      <a:lnTo>
                        <a:pt x="164332" y="20045"/>
                      </a:lnTo>
                      <a:lnTo>
                        <a:pt x="166324" y="25747"/>
                      </a:lnTo>
                      <a:lnTo>
                        <a:pt x="166838" y="26673"/>
                      </a:lnTo>
                      <a:lnTo>
                        <a:pt x="168822" y="30247"/>
                      </a:lnTo>
                      <a:lnTo>
                        <a:pt x="172230" y="33499"/>
                      </a:lnTo>
                      <a:lnTo>
                        <a:pt x="193129" y="41652"/>
                      </a:lnTo>
                      <a:lnTo>
                        <a:pt x="195280" y="41345"/>
                      </a:lnTo>
                      <a:lnTo>
                        <a:pt x="209499" y="31509"/>
                      </a:lnTo>
                      <a:lnTo>
                        <a:pt x="214824" y="29458"/>
                      </a:lnTo>
                      <a:lnTo>
                        <a:pt x="221361" y="29050"/>
                      </a:lnTo>
                      <a:lnTo>
                        <a:pt x="224487" y="28370"/>
                      </a:lnTo>
                      <a:lnTo>
                        <a:pt x="226371" y="26393"/>
                      </a:lnTo>
                      <a:lnTo>
                        <a:pt x="227866" y="23623"/>
                      </a:lnTo>
                      <a:lnTo>
                        <a:pt x="230127" y="21116"/>
                      </a:lnTo>
                      <a:lnTo>
                        <a:pt x="235124" y="17463"/>
                      </a:lnTo>
                      <a:lnTo>
                        <a:pt x="237686" y="16301"/>
                      </a:lnTo>
                      <a:lnTo>
                        <a:pt x="240937" y="15438"/>
                      </a:lnTo>
                      <a:lnTo>
                        <a:pt x="244357" y="15383"/>
                      </a:lnTo>
                      <a:lnTo>
                        <a:pt x="249298" y="17392"/>
                      </a:lnTo>
                      <a:lnTo>
                        <a:pt x="250867" y="16887"/>
                      </a:lnTo>
                      <a:lnTo>
                        <a:pt x="252241" y="15964"/>
                      </a:lnTo>
                      <a:lnTo>
                        <a:pt x="255222" y="14863"/>
                      </a:lnTo>
                      <a:lnTo>
                        <a:pt x="255204" y="13898"/>
                      </a:lnTo>
                      <a:lnTo>
                        <a:pt x="254516" y="12421"/>
                      </a:lnTo>
                      <a:lnTo>
                        <a:pt x="254201" y="10331"/>
                      </a:lnTo>
                      <a:lnTo>
                        <a:pt x="256930" y="4555"/>
                      </a:lnTo>
                      <a:lnTo>
                        <a:pt x="262697" y="2238"/>
                      </a:lnTo>
                      <a:lnTo>
                        <a:pt x="270088" y="2688"/>
                      </a:lnTo>
                      <a:lnTo>
                        <a:pt x="277658" y="5239"/>
                      </a:lnTo>
                      <a:lnTo>
                        <a:pt x="279798" y="6468"/>
                      </a:lnTo>
                      <a:lnTo>
                        <a:pt x="285021" y="10585"/>
                      </a:lnTo>
                      <a:lnTo>
                        <a:pt x="286762" y="11316"/>
                      </a:lnTo>
                      <a:lnTo>
                        <a:pt x="291176" y="12446"/>
                      </a:lnTo>
                      <a:lnTo>
                        <a:pt x="293354" y="13283"/>
                      </a:lnTo>
                      <a:lnTo>
                        <a:pt x="303847" y="19382"/>
                      </a:lnTo>
                      <a:lnTo>
                        <a:pt x="311172" y="22466"/>
                      </a:lnTo>
                      <a:lnTo>
                        <a:pt x="316678" y="26387"/>
                      </a:lnTo>
                      <a:lnTo>
                        <a:pt x="318461" y="28154"/>
                      </a:lnTo>
                      <a:lnTo>
                        <a:pt x="319740" y="30451"/>
                      </a:lnTo>
                      <a:lnTo>
                        <a:pt x="321086" y="31794"/>
                      </a:lnTo>
                      <a:lnTo>
                        <a:pt x="328385" y="35551"/>
                      </a:lnTo>
                      <a:lnTo>
                        <a:pt x="333945" y="40519"/>
                      </a:lnTo>
                      <a:lnTo>
                        <a:pt x="336578" y="41912"/>
                      </a:lnTo>
                      <a:lnTo>
                        <a:pt x="342909" y="44028"/>
                      </a:lnTo>
                      <a:lnTo>
                        <a:pt x="343938" y="45118"/>
                      </a:lnTo>
                      <a:lnTo>
                        <a:pt x="346687" y="51856"/>
                      </a:lnTo>
                      <a:lnTo>
                        <a:pt x="354798" y="74926"/>
                      </a:lnTo>
                      <a:lnTo>
                        <a:pt x="362879" y="98027"/>
                      </a:lnTo>
                      <a:lnTo>
                        <a:pt x="370946" y="121145"/>
                      </a:lnTo>
                      <a:lnTo>
                        <a:pt x="378988" y="144271"/>
                      </a:lnTo>
                      <a:lnTo>
                        <a:pt x="386997" y="167403"/>
                      </a:lnTo>
                      <a:lnTo>
                        <a:pt x="394997" y="190561"/>
                      </a:lnTo>
                      <a:lnTo>
                        <a:pt x="402975" y="213736"/>
                      </a:lnTo>
                      <a:lnTo>
                        <a:pt x="410926" y="236916"/>
                      </a:lnTo>
                      <a:lnTo>
                        <a:pt x="411711" y="238550"/>
                      </a:lnTo>
                      <a:lnTo>
                        <a:pt x="412969" y="239770"/>
                      </a:lnTo>
                      <a:lnTo>
                        <a:pt x="414579" y="240839"/>
                      </a:lnTo>
                      <a:lnTo>
                        <a:pt x="416039" y="241998"/>
                      </a:lnTo>
                      <a:lnTo>
                        <a:pt x="416795" y="243543"/>
                      </a:lnTo>
                      <a:lnTo>
                        <a:pt x="416123" y="246396"/>
                      </a:lnTo>
                      <a:lnTo>
                        <a:pt x="414513" y="249077"/>
                      </a:lnTo>
                      <a:lnTo>
                        <a:pt x="413734" y="251739"/>
                      </a:lnTo>
                      <a:lnTo>
                        <a:pt x="415563" y="254535"/>
                      </a:lnTo>
                      <a:lnTo>
                        <a:pt x="418795" y="257413"/>
                      </a:lnTo>
                      <a:lnTo>
                        <a:pt x="419950" y="259572"/>
                      </a:lnTo>
                      <a:lnTo>
                        <a:pt x="419705" y="261813"/>
                      </a:lnTo>
                      <a:lnTo>
                        <a:pt x="418726" y="264886"/>
                      </a:lnTo>
                      <a:lnTo>
                        <a:pt x="418080" y="268080"/>
                      </a:lnTo>
                      <a:lnTo>
                        <a:pt x="418286" y="270789"/>
                      </a:lnTo>
                      <a:lnTo>
                        <a:pt x="421846" y="280007"/>
                      </a:lnTo>
                      <a:lnTo>
                        <a:pt x="423507" y="282155"/>
                      </a:lnTo>
                      <a:lnTo>
                        <a:pt x="425869" y="283439"/>
                      </a:lnTo>
                      <a:lnTo>
                        <a:pt x="429758" y="284996"/>
                      </a:lnTo>
                      <a:lnTo>
                        <a:pt x="431733" y="285193"/>
                      </a:lnTo>
                      <a:lnTo>
                        <a:pt x="432382" y="284073"/>
                      </a:lnTo>
                      <a:lnTo>
                        <a:pt x="432681" y="282760"/>
                      </a:lnTo>
                      <a:lnTo>
                        <a:pt x="433608" y="282388"/>
                      </a:lnTo>
                      <a:lnTo>
                        <a:pt x="435417" y="283418"/>
                      </a:lnTo>
                      <a:lnTo>
                        <a:pt x="436906" y="285039"/>
                      </a:lnTo>
                      <a:lnTo>
                        <a:pt x="438293" y="286895"/>
                      </a:lnTo>
                      <a:lnTo>
                        <a:pt x="440764" y="288481"/>
                      </a:lnTo>
                      <a:lnTo>
                        <a:pt x="445773" y="290867"/>
                      </a:lnTo>
                      <a:lnTo>
                        <a:pt x="453837" y="293068"/>
                      </a:lnTo>
                      <a:lnTo>
                        <a:pt x="461849" y="293891"/>
                      </a:lnTo>
                      <a:lnTo>
                        <a:pt x="467985" y="293311"/>
                      </a:lnTo>
                      <a:lnTo>
                        <a:pt x="471911" y="292301"/>
                      </a:lnTo>
                      <a:lnTo>
                        <a:pt x="475500" y="292285"/>
                      </a:lnTo>
                      <a:lnTo>
                        <a:pt x="478733" y="294230"/>
                      </a:lnTo>
                      <a:lnTo>
                        <a:pt x="481621" y="299138"/>
                      </a:lnTo>
                      <a:lnTo>
                        <a:pt x="483077" y="305320"/>
                      </a:lnTo>
                      <a:lnTo>
                        <a:pt x="481452" y="307528"/>
                      </a:lnTo>
                      <a:lnTo>
                        <a:pt x="478949" y="310307"/>
                      </a:lnTo>
                      <a:lnTo>
                        <a:pt x="476353" y="313319"/>
                      </a:lnTo>
                      <a:lnTo>
                        <a:pt x="479945" y="319671"/>
                      </a:lnTo>
                      <a:lnTo>
                        <a:pt x="491006" y="330725"/>
                      </a:lnTo>
                      <a:lnTo>
                        <a:pt x="492308" y="337181"/>
                      </a:lnTo>
                      <a:lnTo>
                        <a:pt x="490807" y="343079"/>
                      </a:lnTo>
                      <a:lnTo>
                        <a:pt x="490446" y="346100"/>
                      </a:lnTo>
                      <a:lnTo>
                        <a:pt x="490686" y="349575"/>
                      </a:lnTo>
                      <a:lnTo>
                        <a:pt x="492091" y="352305"/>
                      </a:lnTo>
                      <a:lnTo>
                        <a:pt x="499659" y="356797"/>
                      </a:lnTo>
                      <a:lnTo>
                        <a:pt x="507105" y="363774"/>
                      </a:lnTo>
                      <a:lnTo>
                        <a:pt x="513259" y="367971"/>
                      </a:lnTo>
                      <a:lnTo>
                        <a:pt x="518940" y="369498"/>
                      </a:lnTo>
                      <a:lnTo>
                        <a:pt x="522714" y="366228"/>
                      </a:lnTo>
                      <a:lnTo>
                        <a:pt x="522868" y="364530"/>
                      </a:lnTo>
                      <a:lnTo>
                        <a:pt x="522447" y="363080"/>
                      </a:lnTo>
                      <a:lnTo>
                        <a:pt x="522284" y="361714"/>
                      </a:lnTo>
                      <a:lnTo>
                        <a:pt x="523194" y="360272"/>
                      </a:lnTo>
                      <a:lnTo>
                        <a:pt x="524717" y="359645"/>
                      </a:lnTo>
                      <a:lnTo>
                        <a:pt x="526550" y="359884"/>
                      </a:lnTo>
                      <a:lnTo>
                        <a:pt x="530292" y="361339"/>
                      </a:lnTo>
                      <a:lnTo>
                        <a:pt x="532186" y="361616"/>
                      </a:lnTo>
                      <a:lnTo>
                        <a:pt x="536862" y="363019"/>
                      </a:lnTo>
                      <a:lnTo>
                        <a:pt x="534707" y="362956"/>
                      </a:lnTo>
                      <a:lnTo>
                        <a:pt x="533062" y="363530"/>
                      </a:lnTo>
                      <a:lnTo>
                        <a:pt x="532664" y="364856"/>
                      </a:lnTo>
                      <a:lnTo>
                        <a:pt x="534301" y="367116"/>
                      </a:lnTo>
                      <a:lnTo>
                        <a:pt x="534890" y="367211"/>
                      </a:lnTo>
                      <a:lnTo>
                        <a:pt x="537567" y="366748"/>
                      </a:lnTo>
                      <a:lnTo>
                        <a:pt x="538684" y="367046"/>
                      </a:lnTo>
                      <a:lnTo>
                        <a:pt x="539534" y="367960"/>
                      </a:lnTo>
                      <a:lnTo>
                        <a:pt x="540248" y="369080"/>
                      </a:lnTo>
                      <a:lnTo>
                        <a:pt x="541700" y="370805"/>
                      </a:lnTo>
                      <a:lnTo>
                        <a:pt x="543183" y="373010"/>
                      </a:lnTo>
                      <a:lnTo>
                        <a:pt x="543610" y="373431"/>
                      </a:lnTo>
                      <a:lnTo>
                        <a:pt x="544512" y="373577"/>
                      </a:lnTo>
                      <a:lnTo>
                        <a:pt x="545609" y="374106"/>
                      </a:lnTo>
                      <a:lnTo>
                        <a:pt x="547611" y="375439"/>
                      </a:lnTo>
                      <a:lnTo>
                        <a:pt x="550504" y="377983"/>
                      </a:lnTo>
                      <a:lnTo>
                        <a:pt x="553282" y="380833"/>
                      </a:lnTo>
                      <a:lnTo>
                        <a:pt x="552699" y="383726"/>
                      </a:lnTo>
                      <a:lnTo>
                        <a:pt x="554490" y="386352"/>
                      </a:lnTo>
                      <a:lnTo>
                        <a:pt x="557133" y="388229"/>
                      </a:lnTo>
                      <a:lnTo>
                        <a:pt x="559169" y="388878"/>
                      </a:lnTo>
                      <a:lnTo>
                        <a:pt x="560269" y="389941"/>
                      </a:lnTo>
                      <a:lnTo>
                        <a:pt x="564684" y="395025"/>
                      </a:lnTo>
                      <a:lnTo>
                        <a:pt x="566875" y="396616"/>
                      </a:lnTo>
                      <a:lnTo>
                        <a:pt x="565903" y="398867"/>
                      </a:lnTo>
                      <a:lnTo>
                        <a:pt x="566290" y="401682"/>
                      </a:lnTo>
                      <a:lnTo>
                        <a:pt x="566175" y="404216"/>
                      </a:lnTo>
                      <a:lnTo>
                        <a:pt x="563707" y="405579"/>
                      </a:lnTo>
                      <a:lnTo>
                        <a:pt x="561783" y="404419"/>
                      </a:lnTo>
                      <a:lnTo>
                        <a:pt x="559515" y="402381"/>
                      </a:lnTo>
                      <a:lnTo>
                        <a:pt x="557834" y="402109"/>
                      </a:lnTo>
                      <a:lnTo>
                        <a:pt x="557655" y="406263"/>
                      </a:lnTo>
                      <a:lnTo>
                        <a:pt x="560260" y="407742"/>
                      </a:lnTo>
                      <a:lnTo>
                        <a:pt x="561041" y="409721"/>
                      </a:lnTo>
                      <a:lnTo>
                        <a:pt x="560278" y="411522"/>
                      </a:lnTo>
                      <a:lnTo>
                        <a:pt x="558233" y="412456"/>
                      </a:lnTo>
                      <a:lnTo>
                        <a:pt x="556183" y="411733"/>
                      </a:lnTo>
                      <a:lnTo>
                        <a:pt x="550485" y="408623"/>
                      </a:lnTo>
                      <a:lnTo>
                        <a:pt x="548797" y="408490"/>
                      </a:lnTo>
                      <a:lnTo>
                        <a:pt x="548631" y="410971"/>
                      </a:lnTo>
                      <a:lnTo>
                        <a:pt x="551178" y="413263"/>
                      </a:lnTo>
                      <a:lnTo>
                        <a:pt x="554400" y="415305"/>
                      </a:lnTo>
                      <a:lnTo>
                        <a:pt x="556258" y="416987"/>
                      </a:lnTo>
                      <a:lnTo>
                        <a:pt x="561077" y="425666"/>
                      </a:lnTo>
                      <a:lnTo>
                        <a:pt x="560868" y="423857"/>
                      </a:lnTo>
                      <a:lnTo>
                        <a:pt x="559474" y="418604"/>
                      </a:lnTo>
                      <a:lnTo>
                        <a:pt x="559312" y="417259"/>
                      </a:lnTo>
                      <a:lnTo>
                        <a:pt x="560787" y="416837"/>
                      </a:lnTo>
                      <a:lnTo>
                        <a:pt x="563959" y="419690"/>
                      </a:lnTo>
                      <a:lnTo>
                        <a:pt x="565713" y="419002"/>
                      </a:lnTo>
                      <a:lnTo>
                        <a:pt x="564287" y="417813"/>
                      </a:lnTo>
                      <a:lnTo>
                        <a:pt x="565779" y="416531"/>
                      </a:lnTo>
                      <a:lnTo>
                        <a:pt x="565119" y="415800"/>
                      </a:lnTo>
                      <a:lnTo>
                        <a:pt x="563844" y="414110"/>
                      </a:lnTo>
                      <a:lnTo>
                        <a:pt x="562817" y="413288"/>
                      </a:lnTo>
                      <a:lnTo>
                        <a:pt x="565137" y="412132"/>
                      </a:lnTo>
                      <a:lnTo>
                        <a:pt x="567979" y="414934"/>
                      </a:lnTo>
                      <a:lnTo>
                        <a:pt x="570499" y="419400"/>
                      </a:lnTo>
                      <a:lnTo>
                        <a:pt x="571882" y="423233"/>
                      </a:lnTo>
                      <a:lnTo>
                        <a:pt x="574273" y="420859"/>
                      </a:lnTo>
                      <a:lnTo>
                        <a:pt x="573340" y="417276"/>
                      </a:lnTo>
                      <a:lnTo>
                        <a:pt x="568561" y="410067"/>
                      </a:lnTo>
                      <a:lnTo>
                        <a:pt x="570869" y="410422"/>
                      </a:lnTo>
                      <a:lnTo>
                        <a:pt x="572870" y="411933"/>
                      </a:lnTo>
                      <a:lnTo>
                        <a:pt x="577229" y="416353"/>
                      </a:lnTo>
                      <a:lnTo>
                        <a:pt x="577689" y="416433"/>
                      </a:lnTo>
                      <a:lnTo>
                        <a:pt x="579587" y="416086"/>
                      </a:lnTo>
                      <a:lnTo>
                        <a:pt x="580122" y="416289"/>
                      </a:lnTo>
                      <a:lnTo>
                        <a:pt x="580328" y="416941"/>
                      </a:lnTo>
                      <a:lnTo>
                        <a:pt x="580468" y="417739"/>
                      </a:lnTo>
                      <a:lnTo>
                        <a:pt x="580772" y="418409"/>
                      </a:lnTo>
                      <a:lnTo>
                        <a:pt x="583825" y="422515"/>
                      </a:lnTo>
                      <a:lnTo>
                        <a:pt x="584302" y="423048"/>
                      </a:lnTo>
                      <a:lnTo>
                        <a:pt x="583866" y="425012"/>
                      </a:lnTo>
                      <a:lnTo>
                        <a:pt x="580896" y="430753"/>
                      </a:lnTo>
                      <a:lnTo>
                        <a:pt x="579548" y="432313"/>
                      </a:lnTo>
                      <a:lnTo>
                        <a:pt x="578258" y="432619"/>
                      </a:lnTo>
                      <a:lnTo>
                        <a:pt x="575211" y="432537"/>
                      </a:lnTo>
                      <a:lnTo>
                        <a:pt x="573985" y="432939"/>
                      </a:lnTo>
                      <a:lnTo>
                        <a:pt x="574111" y="433541"/>
                      </a:lnTo>
                      <a:lnTo>
                        <a:pt x="574016" y="436793"/>
                      </a:lnTo>
                      <a:lnTo>
                        <a:pt x="573760" y="437891"/>
                      </a:lnTo>
                      <a:lnTo>
                        <a:pt x="572322" y="436704"/>
                      </a:lnTo>
                      <a:lnTo>
                        <a:pt x="572008" y="440032"/>
                      </a:lnTo>
                      <a:lnTo>
                        <a:pt x="571471" y="442387"/>
                      </a:lnTo>
                      <a:lnTo>
                        <a:pt x="566417" y="451121"/>
                      </a:lnTo>
                      <a:lnTo>
                        <a:pt x="565410" y="451836"/>
                      </a:lnTo>
                      <a:lnTo>
                        <a:pt x="563290" y="452850"/>
                      </a:lnTo>
                      <a:lnTo>
                        <a:pt x="562466" y="454027"/>
                      </a:lnTo>
                      <a:lnTo>
                        <a:pt x="563014" y="454625"/>
                      </a:lnTo>
                      <a:lnTo>
                        <a:pt x="564202" y="456179"/>
                      </a:lnTo>
                      <a:lnTo>
                        <a:pt x="560407" y="456602"/>
                      </a:lnTo>
                      <a:lnTo>
                        <a:pt x="559137" y="456289"/>
                      </a:lnTo>
                      <a:lnTo>
                        <a:pt x="556463" y="455012"/>
                      </a:lnTo>
                      <a:lnTo>
                        <a:pt x="556050" y="454742"/>
                      </a:lnTo>
                      <a:lnTo>
                        <a:pt x="554543" y="454830"/>
                      </a:lnTo>
                      <a:lnTo>
                        <a:pt x="553741" y="455439"/>
                      </a:lnTo>
                      <a:lnTo>
                        <a:pt x="554220" y="456911"/>
                      </a:lnTo>
                      <a:lnTo>
                        <a:pt x="556564" y="459611"/>
                      </a:lnTo>
                      <a:lnTo>
                        <a:pt x="553489" y="459690"/>
                      </a:lnTo>
                      <a:lnTo>
                        <a:pt x="551091" y="458468"/>
                      </a:lnTo>
                      <a:lnTo>
                        <a:pt x="548723" y="456906"/>
                      </a:lnTo>
                      <a:lnTo>
                        <a:pt x="545749" y="455888"/>
                      </a:lnTo>
                      <a:lnTo>
                        <a:pt x="545332" y="454586"/>
                      </a:lnTo>
                      <a:lnTo>
                        <a:pt x="546505" y="451275"/>
                      </a:lnTo>
                      <a:lnTo>
                        <a:pt x="545061" y="448138"/>
                      </a:lnTo>
                      <a:lnTo>
                        <a:pt x="542133" y="446881"/>
                      </a:lnTo>
                      <a:lnTo>
                        <a:pt x="538796" y="449171"/>
                      </a:lnTo>
                      <a:lnTo>
                        <a:pt x="540989" y="450041"/>
                      </a:lnTo>
                      <a:lnTo>
                        <a:pt x="539558" y="451475"/>
                      </a:lnTo>
                      <a:lnTo>
                        <a:pt x="537835" y="451608"/>
                      </a:lnTo>
                      <a:lnTo>
                        <a:pt x="535936" y="450865"/>
                      </a:lnTo>
                      <a:lnTo>
                        <a:pt x="534067" y="449696"/>
                      </a:lnTo>
                      <a:lnTo>
                        <a:pt x="535840" y="452445"/>
                      </a:lnTo>
                      <a:lnTo>
                        <a:pt x="538102" y="454304"/>
                      </a:lnTo>
                      <a:lnTo>
                        <a:pt x="539676" y="456481"/>
                      </a:lnTo>
                      <a:lnTo>
                        <a:pt x="539344" y="460174"/>
                      </a:lnTo>
                      <a:lnTo>
                        <a:pt x="541917" y="461677"/>
                      </a:lnTo>
                      <a:lnTo>
                        <a:pt x="541778" y="462623"/>
                      </a:lnTo>
                      <a:lnTo>
                        <a:pt x="540605" y="462936"/>
                      </a:lnTo>
                      <a:lnTo>
                        <a:pt x="540101" y="462546"/>
                      </a:lnTo>
                      <a:lnTo>
                        <a:pt x="538540" y="464872"/>
                      </a:lnTo>
                      <a:lnTo>
                        <a:pt x="538048" y="466026"/>
                      </a:lnTo>
                      <a:lnTo>
                        <a:pt x="537932" y="467820"/>
                      </a:lnTo>
                      <a:lnTo>
                        <a:pt x="535136" y="464677"/>
                      </a:lnTo>
                      <a:lnTo>
                        <a:pt x="533154" y="460500"/>
                      </a:lnTo>
                      <a:lnTo>
                        <a:pt x="530975" y="457173"/>
                      </a:lnTo>
                      <a:lnTo>
                        <a:pt x="527612" y="456548"/>
                      </a:lnTo>
                      <a:lnTo>
                        <a:pt x="529424" y="459425"/>
                      </a:lnTo>
                      <a:lnTo>
                        <a:pt x="530134" y="462116"/>
                      </a:lnTo>
                      <a:lnTo>
                        <a:pt x="531037" y="464339"/>
                      </a:lnTo>
                      <a:lnTo>
                        <a:pt x="533457" y="465852"/>
                      </a:lnTo>
                      <a:lnTo>
                        <a:pt x="531329" y="466966"/>
                      </a:lnTo>
                      <a:lnTo>
                        <a:pt x="528934" y="467494"/>
                      </a:lnTo>
                      <a:lnTo>
                        <a:pt x="526458" y="467444"/>
                      </a:lnTo>
                      <a:lnTo>
                        <a:pt x="524078" y="466886"/>
                      </a:lnTo>
                      <a:lnTo>
                        <a:pt x="524123" y="464303"/>
                      </a:lnTo>
                      <a:lnTo>
                        <a:pt x="522729" y="462698"/>
                      </a:lnTo>
                      <a:lnTo>
                        <a:pt x="521118" y="462641"/>
                      </a:lnTo>
                      <a:lnTo>
                        <a:pt x="520502" y="464709"/>
                      </a:lnTo>
                      <a:lnTo>
                        <a:pt x="519572" y="464811"/>
                      </a:lnTo>
                      <a:lnTo>
                        <a:pt x="517492" y="460997"/>
                      </a:lnTo>
                      <a:lnTo>
                        <a:pt x="515525" y="461601"/>
                      </a:lnTo>
                      <a:lnTo>
                        <a:pt x="511699" y="467016"/>
                      </a:lnTo>
                      <a:lnTo>
                        <a:pt x="514431" y="466497"/>
                      </a:lnTo>
                      <a:lnTo>
                        <a:pt x="515855" y="467731"/>
                      </a:lnTo>
                      <a:lnTo>
                        <a:pt x="517385" y="473100"/>
                      </a:lnTo>
                      <a:lnTo>
                        <a:pt x="517522" y="474506"/>
                      </a:lnTo>
                      <a:lnTo>
                        <a:pt x="517461" y="476073"/>
                      </a:lnTo>
                      <a:lnTo>
                        <a:pt x="517719" y="477663"/>
                      </a:lnTo>
                      <a:lnTo>
                        <a:pt x="518813" y="479089"/>
                      </a:lnTo>
                      <a:lnTo>
                        <a:pt x="519345" y="480151"/>
                      </a:lnTo>
                      <a:lnTo>
                        <a:pt x="518329" y="480878"/>
                      </a:lnTo>
                      <a:lnTo>
                        <a:pt x="516818" y="481417"/>
                      </a:lnTo>
                      <a:lnTo>
                        <a:pt x="515903" y="481919"/>
                      </a:lnTo>
                      <a:lnTo>
                        <a:pt x="515234" y="482506"/>
                      </a:lnTo>
                      <a:lnTo>
                        <a:pt x="514140" y="482896"/>
                      </a:lnTo>
                      <a:lnTo>
                        <a:pt x="512897" y="483069"/>
                      </a:lnTo>
                      <a:lnTo>
                        <a:pt x="511858" y="482977"/>
                      </a:lnTo>
                      <a:lnTo>
                        <a:pt x="510231" y="482408"/>
                      </a:lnTo>
                      <a:lnTo>
                        <a:pt x="509917" y="481886"/>
                      </a:lnTo>
                      <a:lnTo>
                        <a:pt x="509816" y="481077"/>
                      </a:lnTo>
                      <a:lnTo>
                        <a:pt x="509204" y="479664"/>
                      </a:lnTo>
                      <a:lnTo>
                        <a:pt x="508723" y="478399"/>
                      </a:lnTo>
                      <a:lnTo>
                        <a:pt x="507772" y="476877"/>
                      </a:lnTo>
                      <a:lnTo>
                        <a:pt x="506806" y="476148"/>
                      </a:lnTo>
                      <a:lnTo>
                        <a:pt x="505512" y="476627"/>
                      </a:lnTo>
                      <a:lnTo>
                        <a:pt x="504522" y="477672"/>
                      </a:lnTo>
                      <a:lnTo>
                        <a:pt x="503195" y="480233"/>
                      </a:lnTo>
                      <a:lnTo>
                        <a:pt x="501636" y="488910"/>
                      </a:lnTo>
                      <a:lnTo>
                        <a:pt x="499608" y="488692"/>
                      </a:lnTo>
                      <a:lnTo>
                        <a:pt x="497556" y="487627"/>
                      </a:lnTo>
                      <a:lnTo>
                        <a:pt x="495747" y="485730"/>
                      </a:lnTo>
                      <a:lnTo>
                        <a:pt x="494429" y="482982"/>
                      </a:lnTo>
                      <a:lnTo>
                        <a:pt x="493251" y="474085"/>
                      </a:lnTo>
                      <a:lnTo>
                        <a:pt x="492277" y="472830"/>
                      </a:lnTo>
                      <a:lnTo>
                        <a:pt x="491112" y="474069"/>
                      </a:lnTo>
                      <a:lnTo>
                        <a:pt x="489569" y="482844"/>
                      </a:lnTo>
                      <a:lnTo>
                        <a:pt x="490197" y="483581"/>
                      </a:lnTo>
                      <a:lnTo>
                        <a:pt x="490348" y="485321"/>
                      </a:lnTo>
                      <a:lnTo>
                        <a:pt x="489569" y="484652"/>
                      </a:lnTo>
                      <a:lnTo>
                        <a:pt x="487635" y="483156"/>
                      </a:lnTo>
                      <a:lnTo>
                        <a:pt x="487471" y="480789"/>
                      </a:lnTo>
                      <a:lnTo>
                        <a:pt x="488077" y="477824"/>
                      </a:lnTo>
                      <a:lnTo>
                        <a:pt x="488088" y="475072"/>
                      </a:lnTo>
                      <a:lnTo>
                        <a:pt x="486773" y="472404"/>
                      </a:lnTo>
                      <a:lnTo>
                        <a:pt x="485791" y="472804"/>
                      </a:lnTo>
                      <a:lnTo>
                        <a:pt x="485171" y="474899"/>
                      </a:lnTo>
                      <a:lnTo>
                        <a:pt x="484935" y="477302"/>
                      </a:lnTo>
                      <a:lnTo>
                        <a:pt x="483039" y="476001"/>
                      </a:lnTo>
                      <a:lnTo>
                        <a:pt x="481487" y="476082"/>
                      </a:lnTo>
                      <a:lnTo>
                        <a:pt x="480644" y="477344"/>
                      </a:lnTo>
                      <a:lnTo>
                        <a:pt x="480888" y="482074"/>
                      </a:lnTo>
                      <a:lnTo>
                        <a:pt x="479624" y="483147"/>
                      </a:lnTo>
                      <a:lnTo>
                        <a:pt x="478110" y="483589"/>
                      </a:lnTo>
                      <a:lnTo>
                        <a:pt x="477461" y="484157"/>
                      </a:lnTo>
                      <a:lnTo>
                        <a:pt x="478482" y="486154"/>
                      </a:lnTo>
                      <a:lnTo>
                        <a:pt x="482343" y="489585"/>
                      </a:lnTo>
                      <a:lnTo>
                        <a:pt x="483618" y="491526"/>
                      </a:lnTo>
                      <a:lnTo>
                        <a:pt x="483771" y="494130"/>
                      </a:lnTo>
                      <a:lnTo>
                        <a:pt x="482405" y="494848"/>
                      </a:lnTo>
                      <a:lnTo>
                        <a:pt x="480363" y="494527"/>
                      </a:lnTo>
                      <a:lnTo>
                        <a:pt x="478517" y="493973"/>
                      </a:lnTo>
                      <a:lnTo>
                        <a:pt x="480154" y="497331"/>
                      </a:lnTo>
                      <a:lnTo>
                        <a:pt x="480592" y="505341"/>
                      </a:lnTo>
                      <a:lnTo>
                        <a:pt x="481588" y="509713"/>
                      </a:lnTo>
                      <a:lnTo>
                        <a:pt x="478215" y="507529"/>
                      </a:lnTo>
                      <a:lnTo>
                        <a:pt x="476482" y="502966"/>
                      </a:lnTo>
                      <a:lnTo>
                        <a:pt x="476084" y="497880"/>
                      </a:lnTo>
                      <a:lnTo>
                        <a:pt x="476734" y="494166"/>
                      </a:lnTo>
                      <a:lnTo>
                        <a:pt x="474971" y="495256"/>
                      </a:lnTo>
                      <a:lnTo>
                        <a:pt x="474202" y="497724"/>
                      </a:lnTo>
                      <a:lnTo>
                        <a:pt x="474209" y="500767"/>
                      </a:lnTo>
                      <a:lnTo>
                        <a:pt x="474777" y="503641"/>
                      </a:lnTo>
                      <a:lnTo>
                        <a:pt x="476152" y="506851"/>
                      </a:lnTo>
                      <a:lnTo>
                        <a:pt x="476209" y="508235"/>
                      </a:lnTo>
                      <a:lnTo>
                        <a:pt x="474509" y="507408"/>
                      </a:lnTo>
                      <a:lnTo>
                        <a:pt x="473376" y="506652"/>
                      </a:lnTo>
                      <a:lnTo>
                        <a:pt x="472454" y="506166"/>
                      </a:lnTo>
                      <a:lnTo>
                        <a:pt x="471695" y="505465"/>
                      </a:lnTo>
                      <a:lnTo>
                        <a:pt x="471046" y="504042"/>
                      </a:lnTo>
                      <a:lnTo>
                        <a:pt x="467015" y="492660"/>
                      </a:lnTo>
                      <a:lnTo>
                        <a:pt x="465713" y="493093"/>
                      </a:lnTo>
                      <a:lnTo>
                        <a:pt x="465298" y="494030"/>
                      </a:lnTo>
                      <a:lnTo>
                        <a:pt x="465497" y="495420"/>
                      </a:lnTo>
                      <a:lnTo>
                        <a:pt x="466032" y="497214"/>
                      </a:lnTo>
                      <a:lnTo>
                        <a:pt x="465997" y="498929"/>
                      </a:lnTo>
                      <a:lnTo>
                        <a:pt x="464713" y="499067"/>
                      </a:lnTo>
                      <a:lnTo>
                        <a:pt x="461952" y="498208"/>
                      </a:lnTo>
                      <a:lnTo>
                        <a:pt x="460415" y="499163"/>
                      </a:lnTo>
                      <a:lnTo>
                        <a:pt x="462707" y="500658"/>
                      </a:lnTo>
                      <a:lnTo>
                        <a:pt x="467682" y="502509"/>
                      </a:lnTo>
                      <a:lnTo>
                        <a:pt x="467992" y="503360"/>
                      </a:lnTo>
                      <a:lnTo>
                        <a:pt x="470886" y="507929"/>
                      </a:lnTo>
                      <a:lnTo>
                        <a:pt x="471422" y="508354"/>
                      </a:lnTo>
                      <a:lnTo>
                        <a:pt x="471666" y="509601"/>
                      </a:lnTo>
                      <a:lnTo>
                        <a:pt x="471773" y="511112"/>
                      </a:lnTo>
                      <a:lnTo>
                        <a:pt x="471605" y="512462"/>
                      </a:lnTo>
                      <a:lnTo>
                        <a:pt x="471039" y="513306"/>
                      </a:lnTo>
                      <a:lnTo>
                        <a:pt x="469687" y="513451"/>
                      </a:lnTo>
                      <a:lnTo>
                        <a:pt x="468942" y="512499"/>
                      </a:lnTo>
                      <a:lnTo>
                        <a:pt x="468376" y="511433"/>
                      </a:lnTo>
                      <a:lnTo>
                        <a:pt x="467495" y="511228"/>
                      </a:lnTo>
                      <a:lnTo>
                        <a:pt x="466345" y="511973"/>
                      </a:lnTo>
                      <a:lnTo>
                        <a:pt x="466473" y="512530"/>
                      </a:lnTo>
                      <a:lnTo>
                        <a:pt x="466913" y="513390"/>
                      </a:lnTo>
                      <a:lnTo>
                        <a:pt x="466648" y="515006"/>
                      </a:lnTo>
                      <a:lnTo>
                        <a:pt x="464393" y="521781"/>
                      </a:lnTo>
                      <a:lnTo>
                        <a:pt x="463642" y="524027"/>
                      </a:lnTo>
                      <a:lnTo>
                        <a:pt x="461397" y="522467"/>
                      </a:lnTo>
                      <a:lnTo>
                        <a:pt x="460336" y="520598"/>
                      </a:lnTo>
                      <a:lnTo>
                        <a:pt x="460053" y="518346"/>
                      </a:lnTo>
                      <a:lnTo>
                        <a:pt x="460199" y="515697"/>
                      </a:lnTo>
                      <a:lnTo>
                        <a:pt x="458278" y="516685"/>
                      </a:lnTo>
                      <a:lnTo>
                        <a:pt x="457621" y="517311"/>
                      </a:lnTo>
                      <a:lnTo>
                        <a:pt x="455485" y="514577"/>
                      </a:lnTo>
                      <a:lnTo>
                        <a:pt x="452525" y="509531"/>
                      </a:lnTo>
                      <a:lnTo>
                        <a:pt x="450450" y="505116"/>
                      </a:lnTo>
                      <a:lnTo>
                        <a:pt x="449851" y="501180"/>
                      </a:lnTo>
                      <a:lnTo>
                        <a:pt x="448484" y="498365"/>
                      </a:lnTo>
                      <a:lnTo>
                        <a:pt x="444330" y="497647"/>
                      </a:lnTo>
                      <a:lnTo>
                        <a:pt x="443650" y="497230"/>
                      </a:lnTo>
                      <a:lnTo>
                        <a:pt x="443370" y="496237"/>
                      </a:lnTo>
                      <a:lnTo>
                        <a:pt x="443037" y="495365"/>
                      </a:lnTo>
                      <a:lnTo>
                        <a:pt x="442219" y="495321"/>
                      </a:lnTo>
                      <a:lnTo>
                        <a:pt x="441219" y="496137"/>
                      </a:lnTo>
                      <a:lnTo>
                        <a:pt x="441237" y="497049"/>
                      </a:lnTo>
                      <a:lnTo>
                        <a:pt x="441558" y="498067"/>
                      </a:lnTo>
                      <a:lnTo>
                        <a:pt x="441516" y="499286"/>
                      </a:lnTo>
                      <a:lnTo>
                        <a:pt x="441847" y="500244"/>
                      </a:lnTo>
                      <a:lnTo>
                        <a:pt x="442719" y="501372"/>
                      </a:lnTo>
                      <a:lnTo>
                        <a:pt x="443135" y="502359"/>
                      </a:lnTo>
                      <a:lnTo>
                        <a:pt x="442103" y="502893"/>
                      </a:lnTo>
                      <a:lnTo>
                        <a:pt x="440034" y="503041"/>
                      </a:lnTo>
                      <a:lnTo>
                        <a:pt x="439089" y="502586"/>
                      </a:lnTo>
                      <a:lnTo>
                        <a:pt x="438383" y="501345"/>
                      </a:lnTo>
                      <a:lnTo>
                        <a:pt x="436786" y="496479"/>
                      </a:lnTo>
                      <a:lnTo>
                        <a:pt x="435109" y="492623"/>
                      </a:lnTo>
                      <a:lnTo>
                        <a:pt x="433689" y="491860"/>
                      </a:lnTo>
                      <a:lnTo>
                        <a:pt x="432880" y="496318"/>
                      </a:lnTo>
                      <a:lnTo>
                        <a:pt x="433359" y="498928"/>
                      </a:lnTo>
                      <a:lnTo>
                        <a:pt x="434191" y="501339"/>
                      </a:lnTo>
                      <a:lnTo>
                        <a:pt x="434104" y="502379"/>
                      </a:lnTo>
                      <a:lnTo>
                        <a:pt x="428245" y="498113"/>
                      </a:lnTo>
                      <a:lnTo>
                        <a:pt x="426989" y="496332"/>
                      </a:lnTo>
                      <a:lnTo>
                        <a:pt x="426207" y="493447"/>
                      </a:lnTo>
                      <a:lnTo>
                        <a:pt x="423776" y="493743"/>
                      </a:lnTo>
                      <a:lnTo>
                        <a:pt x="420932" y="492737"/>
                      </a:lnTo>
                      <a:lnTo>
                        <a:pt x="418974" y="492719"/>
                      </a:lnTo>
                      <a:lnTo>
                        <a:pt x="419206" y="496026"/>
                      </a:lnTo>
                      <a:lnTo>
                        <a:pt x="424204" y="497490"/>
                      </a:lnTo>
                      <a:lnTo>
                        <a:pt x="426520" y="499634"/>
                      </a:lnTo>
                      <a:lnTo>
                        <a:pt x="425321" y="503349"/>
                      </a:lnTo>
                      <a:lnTo>
                        <a:pt x="426183" y="503872"/>
                      </a:lnTo>
                      <a:lnTo>
                        <a:pt x="426807" y="504463"/>
                      </a:lnTo>
                      <a:lnTo>
                        <a:pt x="427346" y="505071"/>
                      </a:lnTo>
                      <a:lnTo>
                        <a:pt x="427954" y="505627"/>
                      </a:lnTo>
                      <a:lnTo>
                        <a:pt x="421921" y="506385"/>
                      </a:lnTo>
                      <a:lnTo>
                        <a:pt x="418898" y="506003"/>
                      </a:lnTo>
                      <a:lnTo>
                        <a:pt x="415978" y="504340"/>
                      </a:lnTo>
                      <a:lnTo>
                        <a:pt x="416070" y="507969"/>
                      </a:lnTo>
                      <a:lnTo>
                        <a:pt x="413858" y="512061"/>
                      </a:lnTo>
                      <a:lnTo>
                        <a:pt x="415108" y="514355"/>
                      </a:lnTo>
                      <a:lnTo>
                        <a:pt x="411782" y="515817"/>
                      </a:lnTo>
                      <a:lnTo>
                        <a:pt x="409883" y="515930"/>
                      </a:lnTo>
                      <a:lnTo>
                        <a:pt x="408727" y="513881"/>
                      </a:lnTo>
                      <a:lnTo>
                        <a:pt x="406324" y="504484"/>
                      </a:lnTo>
                      <a:lnTo>
                        <a:pt x="404321" y="501891"/>
                      </a:lnTo>
                      <a:lnTo>
                        <a:pt x="401472" y="500921"/>
                      </a:lnTo>
                      <a:lnTo>
                        <a:pt x="397618" y="501378"/>
                      </a:lnTo>
                      <a:lnTo>
                        <a:pt x="401800" y="506554"/>
                      </a:lnTo>
                      <a:lnTo>
                        <a:pt x="402798" y="508852"/>
                      </a:lnTo>
                      <a:lnTo>
                        <a:pt x="402868" y="509889"/>
                      </a:lnTo>
                      <a:lnTo>
                        <a:pt x="402637" y="510672"/>
                      </a:lnTo>
                      <a:lnTo>
                        <a:pt x="402647" y="511461"/>
                      </a:lnTo>
                      <a:lnTo>
                        <a:pt x="403427" y="512467"/>
                      </a:lnTo>
                      <a:lnTo>
                        <a:pt x="404329" y="513066"/>
                      </a:lnTo>
                      <a:lnTo>
                        <a:pt x="405005" y="513360"/>
                      </a:lnTo>
                      <a:lnTo>
                        <a:pt x="405497" y="513951"/>
                      </a:lnTo>
                      <a:lnTo>
                        <a:pt x="405833" y="515332"/>
                      </a:lnTo>
                      <a:lnTo>
                        <a:pt x="405645" y="516974"/>
                      </a:lnTo>
                      <a:lnTo>
                        <a:pt x="404966" y="519193"/>
                      </a:lnTo>
                      <a:lnTo>
                        <a:pt x="404088" y="520616"/>
                      </a:lnTo>
                      <a:lnTo>
                        <a:pt x="403265" y="519841"/>
                      </a:lnTo>
                      <a:lnTo>
                        <a:pt x="402020" y="515734"/>
                      </a:lnTo>
                      <a:lnTo>
                        <a:pt x="401180" y="513887"/>
                      </a:lnTo>
                      <a:lnTo>
                        <a:pt x="399954" y="512168"/>
                      </a:lnTo>
                      <a:lnTo>
                        <a:pt x="398286" y="515674"/>
                      </a:lnTo>
                      <a:lnTo>
                        <a:pt x="395741" y="517329"/>
                      </a:lnTo>
                      <a:lnTo>
                        <a:pt x="392523" y="517645"/>
                      </a:lnTo>
                      <a:lnTo>
                        <a:pt x="388830" y="517119"/>
                      </a:lnTo>
                      <a:lnTo>
                        <a:pt x="390934" y="518738"/>
                      </a:lnTo>
                      <a:lnTo>
                        <a:pt x="393750" y="522636"/>
                      </a:lnTo>
                      <a:lnTo>
                        <a:pt x="395491" y="524440"/>
                      </a:lnTo>
                      <a:lnTo>
                        <a:pt x="396159" y="526029"/>
                      </a:lnTo>
                      <a:lnTo>
                        <a:pt x="395611" y="530913"/>
                      </a:lnTo>
                      <a:lnTo>
                        <a:pt x="395677" y="533003"/>
                      </a:lnTo>
                      <a:lnTo>
                        <a:pt x="396912" y="535058"/>
                      </a:lnTo>
                      <a:lnTo>
                        <a:pt x="398473" y="535567"/>
                      </a:lnTo>
                      <a:lnTo>
                        <a:pt x="400131" y="535716"/>
                      </a:lnTo>
                      <a:lnTo>
                        <a:pt x="401613" y="536612"/>
                      </a:lnTo>
                      <a:lnTo>
                        <a:pt x="403099" y="539109"/>
                      </a:lnTo>
                      <a:lnTo>
                        <a:pt x="403334" y="540962"/>
                      </a:lnTo>
                      <a:lnTo>
                        <a:pt x="402276" y="541599"/>
                      </a:lnTo>
                      <a:lnTo>
                        <a:pt x="399883" y="540475"/>
                      </a:lnTo>
                      <a:lnTo>
                        <a:pt x="401196" y="542237"/>
                      </a:lnTo>
                      <a:lnTo>
                        <a:pt x="402595" y="543407"/>
                      </a:lnTo>
                      <a:lnTo>
                        <a:pt x="404157" y="544222"/>
                      </a:lnTo>
                      <a:lnTo>
                        <a:pt x="405968" y="544851"/>
                      </a:lnTo>
                      <a:lnTo>
                        <a:pt x="402539" y="546832"/>
                      </a:lnTo>
                      <a:lnTo>
                        <a:pt x="386779" y="537899"/>
                      </a:lnTo>
                      <a:lnTo>
                        <a:pt x="382084" y="538037"/>
                      </a:lnTo>
                      <a:lnTo>
                        <a:pt x="379978" y="538928"/>
                      </a:lnTo>
                      <a:lnTo>
                        <a:pt x="376613" y="537364"/>
                      </a:lnTo>
                      <a:lnTo>
                        <a:pt x="371562" y="533727"/>
                      </a:lnTo>
                      <a:lnTo>
                        <a:pt x="367921" y="533003"/>
                      </a:lnTo>
                      <a:lnTo>
                        <a:pt x="363986" y="536652"/>
                      </a:lnTo>
                      <a:lnTo>
                        <a:pt x="360093" y="537368"/>
                      </a:lnTo>
                      <a:lnTo>
                        <a:pt x="359392" y="530815"/>
                      </a:lnTo>
                      <a:lnTo>
                        <a:pt x="359544" y="527632"/>
                      </a:lnTo>
                      <a:lnTo>
                        <a:pt x="361096" y="526135"/>
                      </a:lnTo>
                      <a:lnTo>
                        <a:pt x="362516" y="526374"/>
                      </a:lnTo>
                      <a:lnTo>
                        <a:pt x="364297" y="527868"/>
                      </a:lnTo>
                      <a:lnTo>
                        <a:pt x="365513" y="528121"/>
                      </a:lnTo>
                      <a:lnTo>
                        <a:pt x="366585" y="527208"/>
                      </a:lnTo>
                      <a:lnTo>
                        <a:pt x="365907" y="525424"/>
                      </a:lnTo>
                      <a:lnTo>
                        <a:pt x="364457" y="523516"/>
                      </a:lnTo>
                      <a:lnTo>
                        <a:pt x="363251" y="522233"/>
                      </a:lnTo>
                      <a:lnTo>
                        <a:pt x="364628" y="520696"/>
                      </a:lnTo>
                      <a:lnTo>
                        <a:pt x="365680" y="518922"/>
                      </a:lnTo>
                      <a:lnTo>
                        <a:pt x="366574" y="518757"/>
                      </a:lnTo>
                      <a:lnTo>
                        <a:pt x="369878" y="520091"/>
                      </a:lnTo>
                      <a:lnTo>
                        <a:pt x="371318" y="520168"/>
                      </a:lnTo>
                      <a:lnTo>
                        <a:pt x="371766" y="519106"/>
                      </a:lnTo>
                      <a:lnTo>
                        <a:pt x="368136" y="515557"/>
                      </a:lnTo>
                      <a:lnTo>
                        <a:pt x="367264" y="513138"/>
                      </a:lnTo>
                      <a:lnTo>
                        <a:pt x="362851" y="516232"/>
                      </a:lnTo>
                      <a:lnTo>
                        <a:pt x="361815" y="517485"/>
                      </a:lnTo>
                      <a:lnTo>
                        <a:pt x="360462" y="521522"/>
                      </a:lnTo>
                      <a:lnTo>
                        <a:pt x="359432" y="523461"/>
                      </a:lnTo>
                      <a:lnTo>
                        <a:pt x="357968" y="523898"/>
                      </a:lnTo>
                      <a:lnTo>
                        <a:pt x="356141" y="522095"/>
                      </a:lnTo>
                      <a:lnTo>
                        <a:pt x="355551" y="519303"/>
                      </a:lnTo>
                      <a:lnTo>
                        <a:pt x="355687" y="516400"/>
                      </a:lnTo>
                      <a:lnTo>
                        <a:pt x="356033" y="514307"/>
                      </a:lnTo>
                      <a:lnTo>
                        <a:pt x="356391" y="513744"/>
                      </a:lnTo>
                      <a:lnTo>
                        <a:pt x="357745" y="512648"/>
                      </a:lnTo>
                      <a:lnTo>
                        <a:pt x="358232" y="511728"/>
                      </a:lnTo>
                      <a:lnTo>
                        <a:pt x="358259" y="510602"/>
                      </a:lnTo>
                      <a:lnTo>
                        <a:pt x="357690" y="507925"/>
                      </a:lnTo>
                      <a:lnTo>
                        <a:pt x="357623" y="506794"/>
                      </a:lnTo>
                      <a:lnTo>
                        <a:pt x="359104" y="497541"/>
                      </a:lnTo>
                      <a:lnTo>
                        <a:pt x="357685" y="494538"/>
                      </a:lnTo>
                      <a:lnTo>
                        <a:pt x="352804" y="493821"/>
                      </a:lnTo>
                      <a:lnTo>
                        <a:pt x="350517" y="494009"/>
                      </a:lnTo>
                      <a:lnTo>
                        <a:pt x="349816" y="494388"/>
                      </a:lnTo>
                      <a:lnTo>
                        <a:pt x="350430" y="498970"/>
                      </a:lnTo>
                      <a:lnTo>
                        <a:pt x="350527" y="508866"/>
                      </a:lnTo>
                      <a:lnTo>
                        <a:pt x="351415" y="508891"/>
                      </a:lnTo>
                      <a:lnTo>
                        <a:pt x="353663" y="509650"/>
                      </a:lnTo>
                      <a:lnTo>
                        <a:pt x="351879" y="511966"/>
                      </a:lnTo>
                      <a:lnTo>
                        <a:pt x="349442" y="513516"/>
                      </a:lnTo>
                      <a:lnTo>
                        <a:pt x="347694" y="513289"/>
                      </a:lnTo>
                      <a:lnTo>
                        <a:pt x="348042" y="510233"/>
                      </a:lnTo>
                      <a:lnTo>
                        <a:pt x="345913" y="510017"/>
                      </a:lnTo>
                      <a:lnTo>
                        <a:pt x="343956" y="511444"/>
                      </a:lnTo>
                      <a:lnTo>
                        <a:pt x="341313" y="515270"/>
                      </a:lnTo>
                      <a:lnTo>
                        <a:pt x="339922" y="516727"/>
                      </a:lnTo>
                      <a:lnTo>
                        <a:pt x="334105" y="519026"/>
                      </a:lnTo>
                      <a:lnTo>
                        <a:pt x="331763" y="521193"/>
                      </a:lnTo>
                      <a:lnTo>
                        <a:pt x="332749" y="522448"/>
                      </a:lnTo>
                      <a:lnTo>
                        <a:pt x="334581" y="523659"/>
                      </a:lnTo>
                      <a:lnTo>
                        <a:pt x="334757" y="525741"/>
                      </a:lnTo>
                      <a:lnTo>
                        <a:pt x="335611" y="527492"/>
                      </a:lnTo>
                      <a:lnTo>
                        <a:pt x="341307" y="533178"/>
                      </a:lnTo>
                      <a:lnTo>
                        <a:pt x="343158" y="536008"/>
                      </a:lnTo>
                      <a:lnTo>
                        <a:pt x="342824" y="538698"/>
                      </a:lnTo>
                      <a:lnTo>
                        <a:pt x="340761" y="540587"/>
                      </a:lnTo>
                      <a:lnTo>
                        <a:pt x="338286" y="542023"/>
                      </a:lnTo>
                      <a:lnTo>
                        <a:pt x="336647" y="543344"/>
                      </a:lnTo>
                      <a:lnTo>
                        <a:pt x="335976" y="551839"/>
                      </a:lnTo>
                      <a:lnTo>
                        <a:pt x="334748" y="554685"/>
                      </a:lnTo>
                      <a:lnTo>
                        <a:pt x="334832" y="563227"/>
                      </a:lnTo>
                      <a:lnTo>
                        <a:pt x="334202" y="567946"/>
                      </a:lnTo>
                      <a:lnTo>
                        <a:pt x="333569" y="570520"/>
                      </a:lnTo>
                      <a:lnTo>
                        <a:pt x="332548" y="572141"/>
                      </a:lnTo>
                      <a:lnTo>
                        <a:pt x="332867" y="573218"/>
                      </a:lnTo>
                      <a:lnTo>
                        <a:pt x="334395" y="575762"/>
                      </a:lnTo>
                      <a:lnTo>
                        <a:pt x="334362" y="578844"/>
                      </a:lnTo>
                      <a:lnTo>
                        <a:pt x="335314" y="580791"/>
                      </a:lnTo>
                      <a:lnTo>
                        <a:pt x="339775" y="579870"/>
                      </a:lnTo>
                      <a:lnTo>
                        <a:pt x="339289" y="583809"/>
                      </a:lnTo>
                      <a:lnTo>
                        <a:pt x="338608" y="586586"/>
                      </a:lnTo>
                      <a:lnTo>
                        <a:pt x="336890" y="588323"/>
                      </a:lnTo>
                      <a:lnTo>
                        <a:pt x="333278" y="589215"/>
                      </a:lnTo>
                      <a:lnTo>
                        <a:pt x="332756" y="591033"/>
                      </a:lnTo>
                      <a:lnTo>
                        <a:pt x="333136" y="594453"/>
                      </a:lnTo>
                      <a:lnTo>
                        <a:pt x="332232" y="596880"/>
                      </a:lnTo>
                      <a:lnTo>
                        <a:pt x="327885" y="595759"/>
                      </a:lnTo>
                      <a:lnTo>
                        <a:pt x="328198" y="597566"/>
                      </a:lnTo>
                      <a:lnTo>
                        <a:pt x="327931" y="598628"/>
                      </a:lnTo>
                      <a:lnTo>
                        <a:pt x="327092" y="598961"/>
                      </a:lnTo>
                      <a:lnTo>
                        <a:pt x="325702" y="598547"/>
                      </a:lnTo>
                      <a:lnTo>
                        <a:pt x="325148" y="600617"/>
                      </a:lnTo>
                      <a:lnTo>
                        <a:pt x="325178" y="602686"/>
                      </a:lnTo>
                      <a:lnTo>
                        <a:pt x="325982" y="604459"/>
                      </a:lnTo>
                      <a:lnTo>
                        <a:pt x="327799" y="605677"/>
                      </a:lnTo>
                      <a:lnTo>
                        <a:pt x="323737" y="609121"/>
                      </a:lnTo>
                      <a:lnTo>
                        <a:pt x="322334" y="609904"/>
                      </a:lnTo>
                      <a:lnTo>
                        <a:pt x="319825" y="610813"/>
                      </a:lnTo>
                      <a:lnTo>
                        <a:pt x="318979" y="610556"/>
                      </a:lnTo>
                      <a:lnTo>
                        <a:pt x="318208" y="606087"/>
                      </a:lnTo>
                      <a:lnTo>
                        <a:pt x="320583" y="599443"/>
                      </a:lnTo>
                      <a:lnTo>
                        <a:pt x="321036" y="596260"/>
                      </a:lnTo>
                      <a:lnTo>
                        <a:pt x="318460" y="596710"/>
                      </a:lnTo>
                      <a:lnTo>
                        <a:pt x="313035" y="607482"/>
                      </a:lnTo>
                      <a:lnTo>
                        <a:pt x="311865" y="609169"/>
                      </a:lnTo>
                      <a:lnTo>
                        <a:pt x="310775" y="607003"/>
                      </a:lnTo>
                      <a:lnTo>
                        <a:pt x="310866" y="602172"/>
                      </a:lnTo>
                      <a:lnTo>
                        <a:pt x="309118" y="601443"/>
                      </a:lnTo>
                      <a:lnTo>
                        <a:pt x="307280" y="602145"/>
                      </a:lnTo>
                      <a:lnTo>
                        <a:pt x="304385" y="604397"/>
                      </a:lnTo>
                      <a:lnTo>
                        <a:pt x="302135" y="604587"/>
                      </a:lnTo>
                      <a:lnTo>
                        <a:pt x="303258" y="600528"/>
                      </a:lnTo>
                      <a:lnTo>
                        <a:pt x="303434" y="598162"/>
                      </a:lnTo>
                      <a:lnTo>
                        <a:pt x="302495" y="597207"/>
                      </a:lnTo>
                      <a:lnTo>
                        <a:pt x="299947" y="597062"/>
                      </a:lnTo>
                      <a:lnTo>
                        <a:pt x="299558" y="596087"/>
                      </a:lnTo>
                      <a:lnTo>
                        <a:pt x="301275" y="593041"/>
                      </a:lnTo>
                      <a:lnTo>
                        <a:pt x="301224" y="590677"/>
                      </a:lnTo>
                      <a:lnTo>
                        <a:pt x="299774" y="589080"/>
                      </a:lnTo>
                      <a:lnTo>
                        <a:pt x="298378" y="589213"/>
                      </a:lnTo>
                      <a:lnTo>
                        <a:pt x="298468" y="592047"/>
                      </a:lnTo>
                      <a:lnTo>
                        <a:pt x="297893" y="593527"/>
                      </a:lnTo>
                      <a:lnTo>
                        <a:pt x="296149" y="594562"/>
                      </a:lnTo>
                      <a:lnTo>
                        <a:pt x="294868" y="595645"/>
                      </a:lnTo>
                      <a:lnTo>
                        <a:pt x="297110" y="599752"/>
                      </a:lnTo>
                      <a:lnTo>
                        <a:pt x="295749" y="601338"/>
                      </a:lnTo>
                      <a:lnTo>
                        <a:pt x="293598" y="602035"/>
                      </a:lnTo>
                      <a:lnTo>
                        <a:pt x="292680" y="601864"/>
                      </a:lnTo>
                      <a:lnTo>
                        <a:pt x="291817" y="604051"/>
                      </a:lnTo>
                      <a:lnTo>
                        <a:pt x="291568" y="606554"/>
                      </a:lnTo>
                      <a:lnTo>
                        <a:pt x="291695" y="622174"/>
                      </a:lnTo>
                      <a:lnTo>
                        <a:pt x="291045" y="627474"/>
                      </a:lnTo>
                      <a:lnTo>
                        <a:pt x="289258" y="630554"/>
                      </a:lnTo>
                      <a:lnTo>
                        <a:pt x="288014" y="626959"/>
                      </a:lnTo>
                      <a:lnTo>
                        <a:pt x="286258" y="624501"/>
                      </a:lnTo>
                      <a:lnTo>
                        <a:pt x="284481" y="622409"/>
                      </a:lnTo>
                      <a:lnTo>
                        <a:pt x="283183" y="619929"/>
                      </a:lnTo>
                      <a:lnTo>
                        <a:pt x="282315" y="620015"/>
                      </a:lnTo>
                      <a:lnTo>
                        <a:pt x="282314" y="622574"/>
                      </a:lnTo>
                      <a:lnTo>
                        <a:pt x="282793" y="625289"/>
                      </a:lnTo>
                      <a:lnTo>
                        <a:pt x="284448" y="631031"/>
                      </a:lnTo>
                      <a:lnTo>
                        <a:pt x="281843" y="628744"/>
                      </a:lnTo>
                      <a:lnTo>
                        <a:pt x="282500" y="627345"/>
                      </a:lnTo>
                      <a:lnTo>
                        <a:pt x="279789" y="625492"/>
                      </a:lnTo>
                      <a:lnTo>
                        <a:pt x="279113" y="623854"/>
                      </a:lnTo>
                      <a:lnTo>
                        <a:pt x="279360" y="622203"/>
                      </a:lnTo>
                      <a:lnTo>
                        <a:pt x="279402" y="620304"/>
                      </a:lnTo>
                      <a:lnTo>
                        <a:pt x="279276" y="619150"/>
                      </a:lnTo>
                      <a:lnTo>
                        <a:pt x="279361" y="617042"/>
                      </a:lnTo>
                      <a:lnTo>
                        <a:pt x="279258" y="616148"/>
                      </a:lnTo>
                      <a:lnTo>
                        <a:pt x="278609" y="614988"/>
                      </a:lnTo>
                      <a:lnTo>
                        <a:pt x="276982" y="613968"/>
                      </a:lnTo>
                      <a:lnTo>
                        <a:pt x="276317" y="612715"/>
                      </a:lnTo>
                      <a:lnTo>
                        <a:pt x="276353" y="608601"/>
                      </a:lnTo>
                      <a:lnTo>
                        <a:pt x="278466" y="601263"/>
                      </a:lnTo>
                      <a:lnTo>
                        <a:pt x="276944" y="598434"/>
                      </a:lnTo>
                      <a:lnTo>
                        <a:pt x="275896" y="600164"/>
                      </a:lnTo>
                      <a:lnTo>
                        <a:pt x="275299" y="602620"/>
                      </a:lnTo>
                      <a:lnTo>
                        <a:pt x="274752" y="607317"/>
                      </a:lnTo>
                      <a:lnTo>
                        <a:pt x="273734" y="610217"/>
                      </a:lnTo>
                      <a:lnTo>
                        <a:pt x="273438" y="611776"/>
                      </a:lnTo>
                      <a:lnTo>
                        <a:pt x="273952" y="612950"/>
                      </a:lnTo>
                      <a:lnTo>
                        <a:pt x="274693" y="614145"/>
                      </a:lnTo>
                      <a:lnTo>
                        <a:pt x="274803" y="615708"/>
                      </a:lnTo>
                      <a:lnTo>
                        <a:pt x="274524" y="617244"/>
                      </a:lnTo>
                      <a:lnTo>
                        <a:pt x="274079" y="618396"/>
                      </a:lnTo>
                      <a:lnTo>
                        <a:pt x="275148" y="619427"/>
                      </a:lnTo>
                      <a:lnTo>
                        <a:pt x="275783" y="620720"/>
                      </a:lnTo>
                      <a:lnTo>
                        <a:pt x="275920" y="622071"/>
                      </a:lnTo>
                      <a:lnTo>
                        <a:pt x="275485" y="623257"/>
                      </a:lnTo>
                      <a:lnTo>
                        <a:pt x="277491" y="625304"/>
                      </a:lnTo>
                      <a:lnTo>
                        <a:pt x="279208" y="627831"/>
                      </a:lnTo>
                      <a:lnTo>
                        <a:pt x="280306" y="630712"/>
                      </a:lnTo>
                      <a:lnTo>
                        <a:pt x="280459" y="633773"/>
                      </a:lnTo>
                      <a:lnTo>
                        <a:pt x="279609" y="636380"/>
                      </a:lnTo>
                      <a:lnTo>
                        <a:pt x="278680" y="635007"/>
                      </a:lnTo>
                      <a:lnTo>
                        <a:pt x="277202" y="629204"/>
                      </a:lnTo>
                      <a:lnTo>
                        <a:pt x="275583" y="631069"/>
                      </a:lnTo>
                      <a:lnTo>
                        <a:pt x="273624" y="631474"/>
                      </a:lnTo>
                      <a:lnTo>
                        <a:pt x="271214" y="630626"/>
                      </a:lnTo>
                      <a:lnTo>
                        <a:pt x="268212" y="628758"/>
                      </a:lnTo>
                      <a:lnTo>
                        <a:pt x="266027" y="627093"/>
                      </a:lnTo>
                      <a:lnTo>
                        <a:pt x="265531" y="625975"/>
                      </a:lnTo>
                      <a:lnTo>
                        <a:pt x="267195" y="621512"/>
                      </a:lnTo>
                      <a:lnTo>
                        <a:pt x="266214" y="620282"/>
                      </a:lnTo>
                      <a:lnTo>
                        <a:pt x="265767" y="619335"/>
                      </a:lnTo>
                      <a:lnTo>
                        <a:pt x="265700" y="618321"/>
                      </a:lnTo>
                      <a:lnTo>
                        <a:pt x="265853" y="616863"/>
                      </a:lnTo>
                      <a:lnTo>
                        <a:pt x="266968" y="617293"/>
                      </a:lnTo>
                      <a:lnTo>
                        <a:pt x="268885" y="617468"/>
                      </a:lnTo>
                      <a:lnTo>
                        <a:pt x="269882" y="617689"/>
                      </a:lnTo>
                      <a:lnTo>
                        <a:pt x="268122" y="615750"/>
                      </a:lnTo>
                      <a:lnTo>
                        <a:pt x="266320" y="615170"/>
                      </a:lnTo>
                      <a:lnTo>
                        <a:pt x="264668" y="614343"/>
                      </a:lnTo>
                      <a:lnTo>
                        <a:pt x="263253" y="611568"/>
                      </a:lnTo>
                      <a:lnTo>
                        <a:pt x="263074" y="609349"/>
                      </a:lnTo>
                      <a:lnTo>
                        <a:pt x="263652" y="602858"/>
                      </a:lnTo>
                      <a:lnTo>
                        <a:pt x="264305" y="602014"/>
                      </a:lnTo>
                      <a:lnTo>
                        <a:pt x="265340" y="600213"/>
                      </a:lnTo>
                      <a:lnTo>
                        <a:pt x="265480" y="598699"/>
                      </a:lnTo>
                      <a:lnTo>
                        <a:pt x="263407" y="598656"/>
                      </a:lnTo>
                      <a:lnTo>
                        <a:pt x="261846" y="599940"/>
                      </a:lnTo>
                      <a:lnTo>
                        <a:pt x="260531" y="602176"/>
                      </a:lnTo>
                      <a:lnTo>
                        <a:pt x="253145" y="622342"/>
                      </a:lnTo>
                      <a:lnTo>
                        <a:pt x="252538" y="624951"/>
                      </a:lnTo>
                      <a:lnTo>
                        <a:pt x="253809" y="626131"/>
                      </a:lnTo>
                      <a:lnTo>
                        <a:pt x="255743" y="626706"/>
                      </a:lnTo>
                      <a:lnTo>
                        <a:pt x="257159" y="627514"/>
                      </a:lnTo>
                      <a:lnTo>
                        <a:pt x="258151" y="629857"/>
                      </a:lnTo>
                      <a:lnTo>
                        <a:pt x="258447" y="632342"/>
                      </a:lnTo>
                      <a:lnTo>
                        <a:pt x="257932" y="637319"/>
                      </a:lnTo>
                      <a:lnTo>
                        <a:pt x="259067" y="636100"/>
                      </a:lnTo>
                      <a:lnTo>
                        <a:pt x="259753" y="631799"/>
                      </a:lnTo>
                      <a:lnTo>
                        <a:pt x="260930" y="630808"/>
                      </a:lnTo>
                      <a:lnTo>
                        <a:pt x="262317" y="631940"/>
                      </a:lnTo>
                      <a:lnTo>
                        <a:pt x="262717" y="634604"/>
                      </a:lnTo>
                      <a:lnTo>
                        <a:pt x="262011" y="643813"/>
                      </a:lnTo>
                      <a:lnTo>
                        <a:pt x="260889" y="646991"/>
                      </a:lnTo>
                      <a:lnTo>
                        <a:pt x="259045" y="647041"/>
                      </a:lnTo>
                      <a:lnTo>
                        <a:pt x="256423" y="642262"/>
                      </a:lnTo>
                      <a:lnTo>
                        <a:pt x="256140" y="640992"/>
                      </a:lnTo>
                      <a:lnTo>
                        <a:pt x="256299" y="640248"/>
                      </a:lnTo>
                      <a:lnTo>
                        <a:pt x="256572" y="639741"/>
                      </a:lnTo>
                      <a:lnTo>
                        <a:pt x="256629" y="639232"/>
                      </a:lnTo>
                      <a:lnTo>
                        <a:pt x="255968" y="638021"/>
                      </a:lnTo>
                      <a:lnTo>
                        <a:pt x="255191" y="637719"/>
                      </a:lnTo>
                      <a:lnTo>
                        <a:pt x="254514" y="637785"/>
                      </a:lnTo>
                      <a:lnTo>
                        <a:pt x="254149" y="637690"/>
                      </a:lnTo>
                      <a:lnTo>
                        <a:pt x="250786" y="629357"/>
                      </a:lnTo>
                      <a:lnTo>
                        <a:pt x="249800" y="627537"/>
                      </a:lnTo>
                      <a:lnTo>
                        <a:pt x="248158" y="625331"/>
                      </a:lnTo>
                      <a:lnTo>
                        <a:pt x="247152" y="623484"/>
                      </a:lnTo>
                      <a:lnTo>
                        <a:pt x="246341" y="621262"/>
                      </a:lnTo>
                      <a:lnTo>
                        <a:pt x="245812" y="619216"/>
                      </a:lnTo>
                      <a:lnTo>
                        <a:pt x="245134" y="617258"/>
                      </a:lnTo>
                      <a:lnTo>
                        <a:pt x="243850" y="615374"/>
                      </a:lnTo>
                      <a:lnTo>
                        <a:pt x="242495" y="611887"/>
                      </a:lnTo>
                      <a:lnTo>
                        <a:pt x="241043" y="608768"/>
                      </a:lnTo>
                      <a:lnTo>
                        <a:pt x="240686" y="606239"/>
                      </a:lnTo>
                      <a:lnTo>
                        <a:pt x="240199" y="603258"/>
                      </a:lnTo>
                      <a:lnTo>
                        <a:pt x="241103" y="600605"/>
                      </a:lnTo>
                      <a:lnTo>
                        <a:pt x="241971" y="599122"/>
                      </a:lnTo>
                      <a:lnTo>
                        <a:pt x="242955" y="597394"/>
                      </a:lnTo>
                      <a:lnTo>
                        <a:pt x="242923" y="595999"/>
                      </a:lnTo>
                      <a:lnTo>
                        <a:pt x="242661" y="595092"/>
                      </a:lnTo>
                      <a:lnTo>
                        <a:pt x="241696" y="594955"/>
                      </a:lnTo>
                      <a:lnTo>
                        <a:pt x="240747" y="595514"/>
                      </a:lnTo>
                      <a:lnTo>
                        <a:pt x="240238" y="596963"/>
                      </a:lnTo>
                      <a:lnTo>
                        <a:pt x="239058" y="598010"/>
                      </a:lnTo>
                      <a:lnTo>
                        <a:pt x="236929" y="599618"/>
                      </a:lnTo>
                      <a:lnTo>
                        <a:pt x="234449" y="604522"/>
                      </a:lnTo>
                      <a:lnTo>
                        <a:pt x="232397" y="607053"/>
                      </a:lnTo>
                      <a:lnTo>
                        <a:pt x="231474" y="609007"/>
                      </a:lnTo>
                      <a:lnTo>
                        <a:pt x="230912" y="610926"/>
                      </a:lnTo>
                      <a:lnTo>
                        <a:pt x="231562" y="613193"/>
                      </a:lnTo>
                      <a:lnTo>
                        <a:pt x="233265" y="613957"/>
                      </a:lnTo>
                      <a:lnTo>
                        <a:pt x="235789" y="613710"/>
                      </a:lnTo>
                      <a:lnTo>
                        <a:pt x="237203" y="612174"/>
                      </a:lnTo>
                      <a:lnTo>
                        <a:pt x="238073" y="610690"/>
                      </a:lnTo>
                      <a:lnTo>
                        <a:pt x="239171" y="611281"/>
                      </a:lnTo>
                      <a:lnTo>
                        <a:pt x="240167" y="612814"/>
                      </a:lnTo>
                      <a:lnTo>
                        <a:pt x="242435" y="617487"/>
                      </a:lnTo>
                      <a:lnTo>
                        <a:pt x="247868" y="630043"/>
                      </a:lnTo>
                      <a:lnTo>
                        <a:pt x="249818" y="636183"/>
                      </a:lnTo>
                      <a:lnTo>
                        <a:pt x="252764" y="642016"/>
                      </a:lnTo>
                      <a:lnTo>
                        <a:pt x="254975" y="645034"/>
                      </a:lnTo>
                      <a:lnTo>
                        <a:pt x="255741" y="646657"/>
                      </a:lnTo>
                      <a:lnTo>
                        <a:pt x="256072" y="651267"/>
                      </a:lnTo>
                      <a:lnTo>
                        <a:pt x="255829" y="652085"/>
                      </a:lnTo>
                      <a:lnTo>
                        <a:pt x="254258" y="652851"/>
                      </a:lnTo>
                      <a:lnTo>
                        <a:pt x="253143" y="654483"/>
                      </a:lnTo>
                      <a:lnTo>
                        <a:pt x="252503" y="656557"/>
                      </a:lnTo>
                      <a:lnTo>
                        <a:pt x="252348" y="658664"/>
                      </a:lnTo>
                      <a:lnTo>
                        <a:pt x="250253" y="656900"/>
                      </a:lnTo>
                      <a:lnTo>
                        <a:pt x="248362" y="651532"/>
                      </a:lnTo>
                      <a:lnTo>
                        <a:pt x="246619" y="650551"/>
                      </a:lnTo>
                      <a:lnTo>
                        <a:pt x="245435" y="649311"/>
                      </a:lnTo>
                      <a:lnTo>
                        <a:pt x="244546" y="646439"/>
                      </a:lnTo>
                      <a:lnTo>
                        <a:pt x="243798" y="642374"/>
                      </a:lnTo>
                      <a:lnTo>
                        <a:pt x="243968" y="641119"/>
                      </a:lnTo>
                      <a:lnTo>
                        <a:pt x="244484" y="640544"/>
                      </a:lnTo>
                      <a:lnTo>
                        <a:pt x="244840" y="639781"/>
                      </a:lnTo>
                      <a:lnTo>
                        <a:pt x="244573" y="637971"/>
                      </a:lnTo>
                      <a:lnTo>
                        <a:pt x="243676" y="636500"/>
                      </a:lnTo>
                      <a:lnTo>
                        <a:pt x="241107" y="635003"/>
                      </a:lnTo>
                      <a:lnTo>
                        <a:pt x="240181" y="633447"/>
                      </a:lnTo>
                      <a:lnTo>
                        <a:pt x="240042" y="631581"/>
                      </a:lnTo>
                      <a:lnTo>
                        <a:pt x="240309" y="630506"/>
                      </a:lnTo>
                      <a:lnTo>
                        <a:pt x="239999" y="629888"/>
                      </a:lnTo>
                      <a:lnTo>
                        <a:pt x="238142" y="629377"/>
                      </a:lnTo>
                      <a:lnTo>
                        <a:pt x="236688" y="629345"/>
                      </a:lnTo>
                      <a:lnTo>
                        <a:pt x="235510" y="629853"/>
                      </a:lnTo>
                      <a:lnTo>
                        <a:pt x="234599" y="630802"/>
                      </a:lnTo>
                      <a:lnTo>
                        <a:pt x="233965" y="632117"/>
                      </a:lnTo>
                      <a:lnTo>
                        <a:pt x="235917" y="632858"/>
                      </a:lnTo>
                      <a:lnTo>
                        <a:pt x="237720" y="633993"/>
                      </a:lnTo>
                      <a:lnTo>
                        <a:pt x="239133" y="635953"/>
                      </a:lnTo>
                      <a:lnTo>
                        <a:pt x="239933" y="639080"/>
                      </a:lnTo>
                      <a:lnTo>
                        <a:pt x="239649" y="641584"/>
                      </a:lnTo>
                      <a:lnTo>
                        <a:pt x="238574" y="643699"/>
                      </a:lnTo>
                      <a:lnTo>
                        <a:pt x="237166" y="644201"/>
                      </a:lnTo>
                      <a:lnTo>
                        <a:pt x="235845" y="641824"/>
                      </a:lnTo>
                      <a:lnTo>
                        <a:pt x="232184" y="649508"/>
                      </a:lnTo>
                      <a:lnTo>
                        <a:pt x="231400" y="650305"/>
                      </a:lnTo>
                      <a:lnTo>
                        <a:pt x="230501" y="650698"/>
                      </a:lnTo>
                      <a:lnTo>
                        <a:pt x="229903" y="651317"/>
                      </a:lnTo>
                      <a:lnTo>
                        <a:pt x="230211" y="654244"/>
                      </a:lnTo>
                      <a:lnTo>
                        <a:pt x="229908" y="655263"/>
                      </a:lnTo>
                      <a:lnTo>
                        <a:pt x="229178" y="655888"/>
                      </a:lnTo>
                      <a:lnTo>
                        <a:pt x="228128" y="656121"/>
                      </a:lnTo>
                      <a:lnTo>
                        <a:pt x="232250" y="637294"/>
                      </a:lnTo>
                      <a:lnTo>
                        <a:pt x="230625" y="633775"/>
                      </a:lnTo>
                      <a:lnTo>
                        <a:pt x="229411" y="635254"/>
                      </a:lnTo>
                      <a:lnTo>
                        <a:pt x="228135" y="638904"/>
                      </a:lnTo>
                      <a:lnTo>
                        <a:pt x="227239" y="642981"/>
                      </a:lnTo>
                      <a:lnTo>
                        <a:pt x="227143" y="645772"/>
                      </a:lnTo>
                      <a:lnTo>
                        <a:pt x="227413" y="648704"/>
                      </a:lnTo>
                      <a:lnTo>
                        <a:pt x="226727" y="651566"/>
                      </a:lnTo>
                      <a:lnTo>
                        <a:pt x="225100" y="653617"/>
                      </a:lnTo>
                      <a:lnTo>
                        <a:pt x="222586" y="654094"/>
                      </a:lnTo>
                      <a:lnTo>
                        <a:pt x="223756" y="649160"/>
                      </a:lnTo>
                      <a:lnTo>
                        <a:pt x="227580" y="639096"/>
                      </a:lnTo>
                      <a:lnTo>
                        <a:pt x="227787" y="634052"/>
                      </a:lnTo>
                      <a:lnTo>
                        <a:pt x="224837" y="634695"/>
                      </a:lnTo>
                      <a:lnTo>
                        <a:pt x="221208" y="638629"/>
                      </a:lnTo>
                      <a:lnTo>
                        <a:pt x="219239" y="638544"/>
                      </a:lnTo>
                      <a:lnTo>
                        <a:pt x="220281" y="637613"/>
                      </a:lnTo>
                      <a:lnTo>
                        <a:pt x="221319" y="636158"/>
                      </a:lnTo>
                      <a:lnTo>
                        <a:pt x="222071" y="634294"/>
                      </a:lnTo>
                      <a:lnTo>
                        <a:pt x="222293" y="632139"/>
                      </a:lnTo>
                      <a:lnTo>
                        <a:pt x="220475" y="632541"/>
                      </a:lnTo>
                      <a:lnTo>
                        <a:pt x="219049" y="633728"/>
                      </a:lnTo>
                      <a:lnTo>
                        <a:pt x="218000" y="635344"/>
                      </a:lnTo>
                      <a:lnTo>
                        <a:pt x="216453" y="638559"/>
                      </a:lnTo>
                      <a:lnTo>
                        <a:pt x="215302" y="639763"/>
                      </a:lnTo>
                      <a:lnTo>
                        <a:pt x="212356" y="641758"/>
                      </a:lnTo>
                      <a:lnTo>
                        <a:pt x="210666" y="642519"/>
                      </a:lnTo>
                      <a:lnTo>
                        <a:pt x="209209" y="642864"/>
                      </a:lnTo>
                      <a:lnTo>
                        <a:pt x="207987" y="643550"/>
                      </a:lnTo>
                      <a:lnTo>
                        <a:pt x="202732" y="651248"/>
                      </a:lnTo>
                      <a:lnTo>
                        <a:pt x="200177" y="653190"/>
                      </a:lnTo>
                      <a:lnTo>
                        <a:pt x="198597" y="660816"/>
                      </a:lnTo>
                      <a:lnTo>
                        <a:pt x="195107" y="663873"/>
                      </a:lnTo>
                      <a:lnTo>
                        <a:pt x="195834" y="666133"/>
                      </a:lnTo>
                      <a:lnTo>
                        <a:pt x="197174" y="668508"/>
                      </a:lnTo>
                      <a:lnTo>
                        <a:pt x="197811" y="670034"/>
                      </a:lnTo>
                      <a:lnTo>
                        <a:pt x="196828" y="671963"/>
                      </a:lnTo>
                      <a:lnTo>
                        <a:pt x="195097" y="672806"/>
                      </a:lnTo>
                      <a:lnTo>
                        <a:pt x="190880" y="673143"/>
                      </a:lnTo>
                      <a:lnTo>
                        <a:pt x="191243" y="674440"/>
                      </a:lnTo>
                      <a:lnTo>
                        <a:pt x="195421" y="674500"/>
                      </a:lnTo>
                      <a:lnTo>
                        <a:pt x="199018" y="673966"/>
                      </a:lnTo>
                      <a:lnTo>
                        <a:pt x="202215" y="674825"/>
                      </a:lnTo>
                      <a:lnTo>
                        <a:pt x="205238" y="679094"/>
                      </a:lnTo>
                      <a:lnTo>
                        <a:pt x="205754" y="680996"/>
                      </a:lnTo>
                      <a:lnTo>
                        <a:pt x="206623" y="686469"/>
                      </a:lnTo>
                      <a:lnTo>
                        <a:pt x="206649" y="687625"/>
                      </a:lnTo>
                      <a:lnTo>
                        <a:pt x="204618" y="688190"/>
                      </a:lnTo>
                      <a:lnTo>
                        <a:pt x="201501" y="690148"/>
                      </a:lnTo>
                      <a:lnTo>
                        <a:pt x="199611" y="690743"/>
                      </a:lnTo>
                      <a:lnTo>
                        <a:pt x="199875" y="689479"/>
                      </a:lnTo>
                      <a:lnTo>
                        <a:pt x="199989" y="688260"/>
                      </a:lnTo>
                      <a:lnTo>
                        <a:pt x="197574" y="689248"/>
                      </a:lnTo>
                      <a:lnTo>
                        <a:pt x="195722" y="693428"/>
                      </a:lnTo>
                      <a:lnTo>
                        <a:pt x="193944" y="694952"/>
                      </a:lnTo>
                      <a:lnTo>
                        <a:pt x="192547" y="691255"/>
                      </a:lnTo>
                      <a:lnTo>
                        <a:pt x="190412" y="691246"/>
                      </a:lnTo>
                      <a:lnTo>
                        <a:pt x="188346" y="693241"/>
                      </a:lnTo>
                      <a:lnTo>
                        <a:pt x="187182" y="695593"/>
                      </a:lnTo>
                      <a:lnTo>
                        <a:pt x="186703" y="699512"/>
                      </a:lnTo>
                      <a:lnTo>
                        <a:pt x="187154" y="702861"/>
                      </a:lnTo>
                      <a:lnTo>
                        <a:pt x="188402" y="706164"/>
                      </a:lnTo>
                      <a:lnTo>
                        <a:pt x="190288" y="709955"/>
                      </a:lnTo>
                      <a:lnTo>
                        <a:pt x="192547" y="708088"/>
                      </a:lnTo>
                      <a:lnTo>
                        <a:pt x="193844" y="707382"/>
                      </a:lnTo>
                      <a:lnTo>
                        <a:pt x="195343" y="707029"/>
                      </a:lnTo>
                      <a:lnTo>
                        <a:pt x="195645" y="708115"/>
                      </a:lnTo>
                      <a:lnTo>
                        <a:pt x="193999" y="709202"/>
                      </a:lnTo>
                      <a:lnTo>
                        <a:pt x="192748" y="710727"/>
                      </a:lnTo>
                      <a:lnTo>
                        <a:pt x="190923" y="714226"/>
                      </a:lnTo>
                      <a:lnTo>
                        <a:pt x="190748" y="715198"/>
                      </a:lnTo>
                      <a:lnTo>
                        <a:pt x="190843" y="717628"/>
                      </a:lnTo>
                      <a:lnTo>
                        <a:pt x="190686" y="718472"/>
                      </a:lnTo>
                      <a:lnTo>
                        <a:pt x="189990" y="719164"/>
                      </a:lnTo>
                      <a:lnTo>
                        <a:pt x="188282" y="719530"/>
                      </a:lnTo>
                      <a:lnTo>
                        <a:pt x="187226" y="720124"/>
                      </a:lnTo>
                      <a:lnTo>
                        <a:pt x="185186" y="722632"/>
                      </a:lnTo>
                      <a:lnTo>
                        <a:pt x="183745" y="725257"/>
                      </a:lnTo>
                      <a:lnTo>
                        <a:pt x="181994" y="727636"/>
                      </a:lnTo>
                      <a:lnTo>
                        <a:pt x="178984" y="729346"/>
                      </a:lnTo>
                      <a:lnTo>
                        <a:pt x="174836" y="729938"/>
                      </a:lnTo>
                      <a:lnTo>
                        <a:pt x="173420" y="730421"/>
                      </a:lnTo>
                      <a:lnTo>
                        <a:pt x="172255" y="731920"/>
                      </a:lnTo>
                      <a:lnTo>
                        <a:pt x="169332" y="737690"/>
                      </a:lnTo>
                      <a:lnTo>
                        <a:pt x="168239" y="738250"/>
                      </a:lnTo>
                      <a:lnTo>
                        <a:pt x="167811" y="742513"/>
                      </a:lnTo>
                      <a:lnTo>
                        <a:pt x="168750" y="746720"/>
                      </a:lnTo>
                      <a:lnTo>
                        <a:pt x="171786" y="750355"/>
                      </a:lnTo>
                      <a:lnTo>
                        <a:pt x="170443" y="753174"/>
                      </a:lnTo>
                      <a:lnTo>
                        <a:pt x="169473" y="756569"/>
                      </a:lnTo>
                      <a:lnTo>
                        <a:pt x="171792" y="757577"/>
                      </a:lnTo>
                      <a:lnTo>
                        <a:pt x="169721" y="758913"/>
                      </a:lnTo>
                      <a:lnTo>
                        <a:pt x="168448" y="760684"/>
                      </a:lnTo>
                      <a:lnTo>
                        <a:pt x="166977" y="765459"/>
                      </a:lnTo>
                      <a:lnTo>
                        <a:pt x="165391" y="775079"/>
                      </a:lnTo>
                      <a:lnTo>
                        <a:pt x="164138" y="776724"/>
                      </a:lnTo>
                      <a:lnTo>
                        <a:pt x="161695" y="775778"/>
                      </a:lnTo>
                      <a:lnTo>
                        <a:pt x="159071" y="773100"/>
                      </a:lnTo>
                      <a:lnTo>
                        <a:pt x="156417" y="770936"/>
                      </a:lnTo>
                      <a:lnTo>
                        <a:pt x="153858" y="771441"/>
                      </a:lnTo>
                      <a:lnTo>
                        <a:pt x="154429" y="772422"/>
                      </a:lnTo>
                      <a:lnTo>
                        <a:pt x="154134" y="777225"/>
                      </a:lnTo>
                      <a:lnTo>
                        <a:pt x="154084" y="777972"/>
                      </a:lnTo>
                      <a:lnTo>
                        <a:pt x="149055" y="774206"/>
                      </a:lnTo>
                      <a:lnTo>
                        <a:pt x="142833" y="769547"/>
                      </a:lnTo>
                      <a:lnTo>
                        <a:pt x="139039" y="765468"/>
                      </a:lnTo>
                      <a:lnTo>
                        <a:pt x="138646" y="764426"/>
                      </a:lnTo>
                      <a:lnTo>
                        <a:pt x="138299" y="762467"/>
                      </a:lnTo>
                      <a:lnTo>
                        <a:pt x="138285" y="757059"/>
                      </a:lnTo>
                      <a:lnTo>
                        <a:pt x="138097" y="755666"/>
                      </a:lnTo>
                      <a:lnTo>
                        <a:pt x="137632" y="754129"/>
                      </a:lnTo>
                      <a:lnTo>
                        <a:pt x="136469" y="751678"/>
                      </a:lnTo>
                      <a:lnTo>
                        <a:pt x="135445" y="750489"/>
                      </a:lnTo>
                      <a:lnTo>
                        <a:pt x="134350" y="749655"/>
                      </a:lnTo>
                      <a:lnTo>
                        <a:pt x="128041" y="746885"/>
                      </a:lnTo>
                      <a:lnTo>
                        <a:pt x="122128" y="741390"/>
                      </a:lnTo>
                      <a:lnTo>
                        <a:pt x="115935" y="735633"/>
                      </a:lnTo>
                      <a:lnTo>
                        <a:pt x="110354" y="731430"/>
                      </a:lnTo>
                      <a:lnTo>
                        <a:pt x="109028" y="730090"/>
                      </a:lnTo>
                      <a:lnTo>
                        <a:pt x="107909" y="728711"/>
                      </a:lnTo>
                      <a:lnTo>
                        <a:pt x="106780" y="726778"/>
                      </a:lnTo>
                      <a:lnTo>
                        <a:pt x="106264" y="725451"/>
                      </a:lnTo>
                      <a:lnTo>
                        <a:pt x="105963" y="724245"/>
                      </a:lnTo>
                      <a:lnTo>
                        <a:pt x="105876" y="723197"/>
                      </a:lnTo>
                      <a:lnTo>
                        <a:pt x="106094" y="718786"/>
                      </a:lnTo>
                      <a:lnTo>
                        <a:pt x="105989" y="716820"/>
                      </a:lnTo>
                      <a:lnTo>
                        <a:pt x="105033" y="713926"/>
                      </a:lnTo>
                      <a:lnTo>
                        <a:pt x="103932" y="711423"/>
                      </a:lnTo>
                      <a:lnTo>
                        <a:pt x="103540" y="709903"/>
                      </a:lnTo>
                      <a:lnTo>
                        <a:pt x="103387" y="708796"/>
                      </a:lnTo>
                      <a:lnTo>
                        <a:pt x="103424" y="707926"/>
                      </a:lnTo>
                      <a:lnTo>
                        <a:pt x="103099" y="705409"/>
                      </a:lnTo>
                      <a:lnTo>
                        <a:pt x="102359" y="702787"/>
                      </a:lnTo>
                      <a:lnTo>
                        <a:pt x="101522" y="697311"/>
                      </a:lnTo>
                      <a:lnTo>
                        <a:pt x="99797" y="692108"/>
                      </a:lnTo>
                      <a:lnTo>
                        <a:pt x="96715" y="682839"/>
                      </a:lnTo>
                      <a:lnTo>
                        <a:pt x="93635" y="673567"/>
                      </a:lnTo>
                      <a:lnTo>
                        <a:pt x="90542" y="664307"/>
                      </a:lnTo>
                      <a:lnTo>
                        <a:pt x="87463" y="655052"/>
                      </a:lnTo>
                      <a:lnTo>
                        <a:pt x="84371" y="645787"/>
                      </a:lnTo>
                      <a:lnTo>
                        <a:pt x="81274" y="636533"/>
                      </a:lnTo>
                      <a:lnTo>
                        <a:pt x="78183" y="627280"/>
                      </a:lnTo>
                      <a:lnTo>
                        <a:pt x="75082" y="618018"/>
                      </a:lnTo>
                      <a:lnTo>
                        <a:pt x="71972" y="608763"/>
                      </a:lnTo>
                      <a:lnTo>
                        <a:pt x="68879" y="599520"/>
                      </a:lnTo>
                      <a:lnTo>
                        <a:pt x="65773" y="590273"/>
                      </a:lnTo>
                      <a:lnTo>
                        <a:pt x="62658" y="581024"/>
                      </a:lnTo>
                      <a:lnTo>
                        <a:pt x="59551" y="571775"/>
                      </a:lnTo>
                      <a:lnTo>
                        <a:pt x="56438" y="562539"/>
                      </a:lnTo>
                      <a:lnTo>
                        <a:pt x="53324" y="553304"/>
                      </a:lnTo>
                      <a:lnTo>
                        <a:pt x="50205" y="544067"/>
                      </a:lnTo>
                      <a:lnTo>
                        <a:pt x="47083" y="534828"/>
                      </a:lnTo>
                      <a:lnTo>
                        <a:pt x="43961" y="525599"/>
                      </a:lnTo>
                      <a:lnTo>
                        <a:pt x="40835" y="516369"/>
                      </a:lnTo>
                      <a:lnTo>
                        <a:pt x="37707" y="507142"/>
                      </a:lnTo>
                      <a:lnTo>
                        <a:pt x="34576" y="497916"/>
                      </a:lnTo>
                      <a:lnTo>
                        <a:pt x="31443" y="488692"/>
                      </a:lnTo>
                      <a:lnTo>
                        <a:pt x="28308" y="479471"/>
                      </a:lnTo>
                      <a:lnTo>
                        <a:pt x="25168" y="470247"/>
                      </a:lnTo>
                      <a:lnTo>
                        <a:pt x="22027" y="461026"/>
                      </a:lnTo>
                      <a:lnTo>
                        <a:pt x="18890" y="451819"/>
                      </a:lnTo>
                      <a:lnTo>
                        <a:pt x="15742" y="442611"/>
                      </a:lnTo>
                      <a:lnTo>
                        <a:pt x="12596" y="433396"/>
                      </a:lnTo>
                      <a:lnTo>
                        <a:pt x="9441" y="424184"/>
                      </a:lnTo>
                      <a:lnTo>
                        <a:pt x="6290" y="414983"/>
                      </a:lnTo>
                      <a:lnTo>
                        <a:pt x="3137" y="405787"/>
                      </a:lnTo>
                      <a:lnTo>
                        <a:pt x="0" y="396646"/>
                      </a:lnTo>
                      <a:lnTo>
                        <a:pt x="2693" y="395896"/>
                      </a:lnTo>
                      <a:lnTo>
                        <a:pt x="3865" y="395197"/>
                      </a:lnTo>
                      <a:lnTo>
                        <a:pt x="5645" y="392713"/>
                      </a:lnTo>
                      <a:lnTo>
                        <a:pt x="6327" y="390647"/>
                      </a:lnTo>
                      <a:lnTo>
                        <a:pt x="7417" y="389037"/>
                      </a:lnTo>
                      <a:lnTo>
                        <a:pt x="10371" y="387917"/>
                      </a:lnTo>
                      <a:lnTo>
                        <a:pt x="13945" y="388160"/>
                      </a:lnTo>
                      <a:lnTo>
                        <a:pt x="16811" y="390104"/>
                      </a:lnTo>
                      <a:lnTo>
                        <a:pt x="27141" y="404348"/>
                      </a:lnTo>
                      <a:lnTo>
                        <a:pt x="29692" y="406168"/>
                      </a:lnTo>
                      <a:lnTo>
                        <a:pt x="31610" y="404017"/>
                      </a:lnTo>
                      <a:lnTo>
                        <a:pt x="31645" y="402305"/>
                      </a:lnTo>
                      <a:lnTo>
                        <a:pt x="30452" y="399060"/>
                      </a:lnTo>
                      <a:lnTo>
                        <a:pt x="30316" y="397484"/>
                      </a:lnTo>
                      <a:lnTo>
                        <a:pt x="30998" y="396133"/>
                      </a:lnTo>
                      <a:lnTo>
                        <a:pt x="33217" y="393989"/>
                      </a:lnTo>
                      <a:lnTo>
                        <a:pt x="33764" y="392411"/>
                      </a:lnTo>
                      <a:lnTo>
                        <a:pt x="33267" y="389126"/>
                      </a:lnTo>
                      <a:lnTo>
                        <a:pt x="30595" y="381470"/>
                      </a:lnTo>
                      <a:lnTo>
                        <a:pt x="29823" y="377991"/>
                      </a:lnTo>
                      <a:lnTo>
                        <a:pt x="30029" y="374887"/>
                      </a:lnTo>
                      <a:lnTo>
                        <a:pt x="31152" y="372473"/>
                      </a:lnTo>
                      <a:lnTo>
                        <a:pt x="33268" y="371028"/>
                      </a:lnTo>
                      <a:lnTo>
                        <a:pt x="36414" y="370785"/>
                      </a:lnTo>
                      <a:lnTo>
                        <a:pt x="39426" y="371859"/>
                      </a:lnTo>
                      <a:lnTo>
                        <a:pt x="45375" y="375732"/>
                      </a:lnTo>
                      <a:lnTo>
                        <a:pt x="48698" y="376941"/>
                      </a:lnTo>
                      <a:lnTo>
                        <a:pt x="51546" y="376653"/>
                      </a:lnTo>
                      <a:lnTo>
                        <a:pt x="54227" y="375187"/>
                      </a:lnTo>
                      <a:lnTo>
                        <a:pt x="55243" y="372772"/>
                      </a:lnTo>
                      <a:lnTo>
                        <a:pt x="53079" y="369614"/>
                      </a:lnTo>
                      <a:lnTo>
                        <a:pt x="50065" y="367851"/>
                      </a:lnTo>
                      <a:lnTo>
                        <a:pt x="43866" y="365374"/>
                      </a:lnTo>
                      <a:lnTo>
                        <a:pt x="41039" y="363070"/>
                      </a:lnTo>
                      <a:lnTo>
                        <a:pt x="38760" y="359620"/>
                      </a:lnTo>
                      <a:lnTo>
                        <a:pt x="38168" y="356768"/>
                      </a:lnTo>
                      <a:lnTo>
                        <a:pt x="40835" y="345002"/>
                      </a:lnTo>
                      <a:lnTo>
                        <a:pt x="50029" y="330049"/>
                      </a:lnTo>
                      <a:lnTo>
                        <a:pt x="51831" y="328007"/>
                      </a:lnTo>
                      <a:lnTo>
                        <a:pt x="58657" y="323877"/>
                      </a:lnTo>
                      <a:lnTo>
                        <a:pt x="61804" y="320378"/>
                      </a:lnTo>
                      <a:lnTo>
                        <a:pt x="63223" y="319539"/>
                      </a:lnTo>
                      <a:lnTo>
                        <a:pt x="66243" y="319210"/>
                      </a:lnTo>
                      <a:lnTo>
                        <a:pt x="67661" y="318683"/>
                      </a:lnTo>
                      <a:lnTo>
                        <a:pt x="69783" y="316516"/>
                      </a:lnTo>
                      <a:lnTo>
                        <a:pt x="70655" y="313829"/>
                      </a:lnTo>
                      <a:lnTo>
                        <a:pt x="70395" y="310631"/>
                      </a:lnTo>
                      <a:lnTo>
                        <a:pt x="69097" y="306941"/>
                      </a:lnTo>
                      <a:lnTo>
                        <a:pt x="67976" y="305189"/>
                      </a:lnTo>
                      <a:lnTo>
                        <a:pt x="66938" y="304219"/>
                      </a:lnTo>
                      <a:lnTo>
                        <a:pt x="66156" y="303213"/>
                      </a:lnTo>
                      <a:lnTo>
                        <a:pt x="65877" y="301359"/>
                      </a:lnTo>
                      <a:lnTo>
                        <a:pt x="66268" y="300190"/>
                      </a:lnTo>
                      <a:lnTo>
                        <a:pt x="68256" y="297448"/>
                      </a:lnTo>
                      <a:lnTo>
                        <a:pt x="76490" y="289054"/>
                      </a:lnTo>
                      <a:lnTo>
                        <a:pt x="79294" y="284713"/>
                      </a:lnTo>
                      <a:lnTo>
                        <a:pt x="80404" y="278815"/>
                      </a:lnTo>
                      <a:lnTo>
                        <a:pt x="79961" y="274269"/>
                      </a:lnTo>
                      <a:lnTo>
                        <a:pt x="78581" y="272994"/>
                      </a:lnTo>
                      <a:lnTo>
                        <a:pt x="76125" y="272801"/>
                      </a:lnTo>
                      <a:lnTo>
                        <a:pt x="72479" y="271517"/>
                      </a:lnTo>
                      <a:lnTo>
                        <a:pt x="70076" y="269207"/>
                      </a:lnTo>
                      <a:lnTo>
                        <a:pt x="69173" y="266453"/>
                      </a:lnTo>
                      <a:lnTo>
                        <a:pt x="68750" y="260043"/>
                      </a:lnTo>
                      <a:lnTo>
                        <a:pt x="68925" y="259465"/>
                      </a:lnTo>
                      <a:lnTo>
                        <a:pt x="69848" y="258225"/>
                      </a:lnTo>
                      <a:lnTo>
                        <a:pt x="69965" y="257552"/>
                      </a:lnTo>
                      <a:lnTo>
                        <a:pt x="69553" y="256639"/>
                      </a:lnTo>
                      <a:lnTo>
                        <a:pt x="68942" y="256022"/>
                      </a:lnTo>
                      <a:lnTo>
                        <a:pt x="68109" y="255418"/>
                      </a:lnTo>
                      <a:lnTo>
                        <a:pt x="67356" y="254741"/>
                      </a:lnTo>
                      <a:lnTo>
                        <a:pt x="66166" y="253816"/>
                      </a:lnTo>
                      <a:lnTo>
                        <a:pt x="65599" y="252505"/>
                      </a:lnTo>
                      <a:lnTo>
                        <a:pt x="66753" y="250663"/>
                      </a:lnTo>
                      <a:lnTo>
                        <a:pt x="70683" y="247190"/>
                      </a:lnTo>
                      <a:lnTo>
                        <a:pt x="71970" y="244572"/>
                      </a:lnTo>
                      <a:lnTo>
                        <a:pt x="71650" y="240979"/>
                      </a:lnTo>
                      <a:lnTo>
                        <a:pt x="69821" y="237302"/>
                      </a:lnTo>
                      <a:lnTo>
                        <a:pt x="66870" y="233968"/>
                      </a:lnTo>
                      <a:lnTo>
                        <a:pt x="63542" y="232774"/>
                      </a:lnTo>
                      <a:lnTo>
                        <a:pt x="63030" y="229276"/>
                      </a:lnTo>
                      <a:lnTo>
                        <a:pt x="64665" y="222073"/>
                      </a:lnTo>
                      <a:lnTo>
                        <a:pt x="65063" y="215491"/>
                      </a:lnTo>
                      <a:lnTo>
                        <a:pt x="66089" y="213175"/>
                      </a:lnTo>
                      <a:lnTo>
                        <a:pt x="68766" y="212066"/>
                      </a:lnTo>
                      <a:lnTo>
                        <a:pt x="68576" y="210352"/>
                      </a:lnTo>
                      <a:lnTo>
                        <a:pt x="67784" y="206598"/>
                      </a:lnTo>
                      <a:lnTo>
                        <a:pt x="67818" y="202770"/>
                      </a:lnTo>
                      <a:lnTo>
                        <a:pt x="70116" y="200801"/>
                      </a:lnTo>
                      <a:lnTo>
                        <a:pt x="71796" y="199803"/>
                      </a:lnTo>
                      <a:lnTo>
                        <a:pt x="79882" y="190677"/>
                      </a:lnTo>
                      <a:lnTo>
                        <a:pt x="80197" y="186053"/>
                      </a:lnTo>
                      <a:lnTo>
                        <a:pt x="78305" y="174556"/>
                      </a:lnTo>
                      <a:lnTo>
                        <a:pt x="75434" y="157373"/>
                      </a:lnTo>
                      <a:lnTo>
                        <a:pt x="73926" y="148386"/>
                      </a:lnTo>
                      <a:lnTo>
                        <a:pt x="73777" y="140810"/>
                      </a:lnTo>
                      <a:lnTo>
                        <a:pt x="75213" y="137533"/>
                      </a:lnTo>
                      <a:lnTo>
                        <a:pt x="82437" y="120833"/>
                      </a:lnTo>
                      <a:lnTo>
                        <a:pt x="89629" y="104154"/>
                      </a:lnTo>
                      <a:lnTo>
                        <a:pt x="96769" y="87466"/>
                      </a:lnTo>
                      <a:lnTo>
                        <a:pt x="103869" y="70792"/>
                      </a:lnTo>
                      <a:lnTo>
                        <a:pt x="110917" y="54098"/>
                      </a:lnTo>
                      <a:lnTo>
                        <a:pt x="117921" y="37419"/>
                      </a:lnTo>
                      <a:lnTo>
                        <a:pt x="124866" y="20732"/>
                      </a:lnTo>
                      <a:lnTo>
                        <a:pt x="131773" y="4058"/>
                      </a:lnTo>
                      <a:lnTo>
                        <a:pt x="133243" y="1576"/>
                      </a:lnTo>
                      <a:lnTo>
                        <a:pt x="134706" y="370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9" name="Freeform 211">
                  <a:extLst>
                    <a:ext uri="{FF2B5EF4-FFF2-40B4-BE49-F238E27FC236}">
                      <a16:creationId xmlns:a16="http://schemas.microsoft.com/office/drawing/2014/main" id="{A55CFA6A-F75A-4968-8708-C25EEE1DD628}"/>
                    </a:ext>
                  </a:extLst>
                </p:cNvPr>
                <p:cNvSpPr/>
                <p:nvPr>
                  <p:custDataLst>
                    <p:tags r:id="rId50"/>
                  </p:custDataLst>
                </p:nvPr>
              </p:nvSpPr>
              <p:spPr>
                <a:xfrm>
                  <a:off x="3792259" y="3351105"/>
                  <a:ext cx="826362" cy="75598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222244" h="1118152">
                      <a:moveTo>
                        <a:pt x="818736" y="296232"/>
                      </a:moveTo>
                      <a:lnTo>
                        <a:pt x="821394" y="295217"/>
                      </a:lnTo>
                      <a:lnTo>
                        <a:pt x="823089" y="293497"/>
                      </a:lnTo>
                      <a:lnTo>
                        <a:pt x="824598" y="291421"/>
                      </a:lnTo>
                      <a:lnTo>
                        <a:pt x="826720" y="289345"/>
                      </a:lnTo>
                      <a:lnTo>
                        <a:pt x="829642" y="285464"/>
                      </a:lnTo>
                      <a:lnTo>
                        <a:pt x="834066" y="283780"/>
                      </a:lnTo>
                      <a:lnTo>
                        <a:pt x="839142" y="283134"/>
                      </a:lnTo>
                      <a:lnTo>
                        <a:pt x="846136" y="286460"/>
                      </a:lnTo>
                      <a:lnTo>
                        <a:pt x="854284" y="281831"/>
                      </a:lnTo>
                      <a:lnTo>
                        <a:pt x="859978" y="278161"/>
                      </a:lnTo>
                      <a:lnTo>
                        <a:pt x="866935" y="278714"/>
                      </a:lnTo>
                      <a:lnTo>
                        <a:pt x="872421" y="281029"/>
                      </a:lnTo>
                      <a:lnTo>
                        <a:pt x="867963" y="297232"/>
                      </a:lnTo>
                      <a:lnTo>
                        <a:pt x="870293" y="302882"/>
                      </a:lnTo>
                      <a:lnTo>
                        <a:pt x="873456" y="307015"/>
                      </a:lnTo>
                      <a:lnTo>
                        <a:pt x="877367" y="311535"/>
                      </a:lnTo>
                      <a:lnTo>
                        <a:pt x="876806" y="314977"/>
                      </a:lnTo>
                      <a:lnTo>
                        <a:pt x="876273" y="317347"/>
                      </a:lnTo>
                      <a:lnTo>
                        <a:pt x="877401" y="320505"/>
                      </a:lnTo>
                      <a:lnTo>
                        <a:pt x="878876" y="323640"/>
                      </a:lnTo>
                      <a:lnTo>
                        <a:pt x="880524" y="328056"/>
                      </a:lnTo>
                      <a:lnTo>
                        <a:pt x="880847" y="330389"/>
                      </a:lnTo>
                      <a:lnTo>
                        <a:pt x="881482" y="332495"/>
                      </a:lnTo>
                      <a:lnTo>
                        <a:pt x="883422" y="336472"/>
                      </a:lnTo>
                      <a:lnTo>
                        <a:pt x="888420" y="341373"/>
                      </a:lnTo>
                      <a:lnTo>
                        <a:pt x="893711" y="344553"/>
                      </a:lnTo>
                      <a:lnTo>
                        <a:pt x="895512" y="350602"/>
                      </a:lnTo>
                      <a:lnTo>
                        <a:pt x="896349" y="351196"/>
                      </a:lnTo>
                      <a:lnTo>
                        <a:pt x="898409" y="353026"/>
                      </a:lnTo>
                      <a:lnTo>
                        <a:pt x="901774" y="357707"/>
                      </a:lnTo>
                      <a:lnTo>
                        <a:pt x="903649" y="359332"/>
                      </a:lnTo>
                      <a:lnTo>
                        <a:pt x="906108" y="359667"/>
                      </a:lnTo>
                      <a:lnTo>
                        <a:pt x="908254" y="358477"/>
                      </a:lnTo>
                      <a:lnTo>
                        <a:pt x="915323" y="351113"/>
                      </a:lnTo>
                      <a:lnTo>
                        <a:pt x="917386" y="349668"/>
                      </a:lnTo>
                      <a:lnTo>
                        <a:pt x="919678" y="348968"/>
                      </a:lnTo>
                      <a:lnTo>
                        <a:pt x="922686" y="349286"/>
                      </a:lnTo>
                      <a:lnTo>
                        <a:pt x="930072" y="350687"/>
                      </a:lnTo>
                      <a:lnTo>
                        <a:pt x="943857" y="347877"/>
                      </a:lnTo>
                      <a:lnTo>
                        <a:pt x="951004" y="348154"/>
                      </a:lnTo>
                      <a:lnTo>
                        <a:pt x="958331" y="352099"/>
                      </a:lnTo>
                      <a:lnTo>
                        <a:pt x="967255" y="359164"/>
                      </a:lnTo>
                      <a:lnTo>
                        <a:pt x="969840" y="360816"/>
                      </a:lnTo>
                      <a:lnTo>
                        <a:pt x="972674" y="363088"/>
                      </a:lnTo>
                      <a:lnTo>
                        <a:pt x="974622" y="365643"/>
                      </a:lnTo>
                      <a:lnTo>
                        <a:pt x="974563" y="368176"/>
                      </a:lnTo>
                      <a:lnTo>
                        <a:pt x="969905" y="378857"/>
                      </a:lnTo>
                      <a:lnTo>
                        <a:pt x="965064" y="389895"/>
                      </a:lnTo>
                      <a:lnTo>
                        <a:pt x="960939" y="399262"/>
                      </a:lnTo>
                      <a:lnTo>
                        <a:pt x="973625" y="405122"/>
                      </a:lnTo>
                      <a:lnTo>
                        <a:pt x="990806" y="413046"/>
                      </a:lnTo>
                      <a:lnTo>
                        <a:pt x="1020439" y="426671"/>
                      </a:lnTo>
                      <a:lnTo>
                        <a:pt x="1047610" y="439144"/>
                      </a:lnTo>
                      <a:lnTo>
                        <a:pt x="1086807" y="457072"/>
                      </a:lnTo>
                      <a:lnTo>
                        <a:pt x="1112631" y="468847"/>
                      </a:lnTo>
                      <a:lnTo>
                        <a:pt x="1119272" y="474957"/>
                      </a:lnTo>
                      <a:lnTo>
                        <a:pt x="1122612" y="481901"/>
                      </a:lnTo>
                      <a:lnTo>
                        <a:pt x="1134876" y="517693"/>
                      </a:lnTo>
                      <a:lnTo>
                        <a:pt x="1147153" y="553514"/>
                      </a:lnTo>
                      <a:lnTo>
                        <a:pt x="1159452" y="589365"/>
                      </a:lnTo>
                      <a:lnTo>
                        <a:pt x="1171743" y="625245"/>
                      </a:lnTo>
                      <a:lnTo>
                        <a:pt x="1184049" y="661146"/>
                      </a:lnTo>
                      <a:lnTo>
                        <a:pt x="1196385" y="697083"/>
                      </a:lnTo>
                      <a:lnTo>
                        <a:pt x="1208717" y="733046"/>
                      </a:lnTo>
                      <a:lnTo>
                        <a:pt x="1221061" y="769056"/>
                      </a:lnTo>
                      <a:lnTo>
                        <a:pt x="1221642" y="770890"/>
                      </a:lnTo>
                      <a:lnTo>
                        <a:pt x="1222243" y="775080"/>
                      </a:lnTo>
                      <a:lnTo>
                        <a:pt x="1221799" y="779773"/>
                      </a:lnTo>
                      <a:lnTo>
                        <a:pt x="1218789" y="790768"/>
                      </a:lnTo>
                      <a:lnTo>
                        <a:pt x="1215784" y="801760"/>
                      </a:lnTo>
                      <a:lnTo>
                        <a:pt x="1212761" y="812749"/>
                      </a:lnTo>
                      <a:lnTo>
                        <a:pt x="1209728" y="823749"/>
                      </a:lnTo>
                      <a:lnTo>
                        <a:pt x="1206695" y="834749"/>
                      </a:lnTo>
                      <a:lnTo>
                        <a:pt x="1203640" y="845761"/>
                      </a:lnTo>
                      <a:lnTo>
                        <a:pt x="1200576" y="856761"/>
                      </a:lnTo>
                      <a:lnTo>
                        <a:pt x="1197506" y="867768"/>
                      </a:lnTo>
                      <a:lnTo>
                        <a:pt x="1197596" y="873715"/>
                      </a:lnTo>
                      <a:lnTo>
                        <a:pt x="1198708" y="879574"/>
                      </a:lnTo>
                      <a:lnTo>
                        <a:pt x="1197221" y="885214"/>
                      </a:lnTo>
                      <a:lnTo>
                        <a:pt x="1194744" y="890968"/>
                      </a:lnTo>
                      <a:lnTo>
                        <a:pt x="1193949" y="897170"/>
                      </a:lnTo>
                      <a:lnTo>
                        <a:pt x="1193969" y="900599"/>
                      </a:lnTo>
                      <a:lnTo>
                        <a:pt x="1192620" y="905697"/>
                      </a:lnTo>
                      <a:lnTo>
                        <a:pt x="1192606" y="908593"/>
                      </a:lnTo>
                      <a:lnTo>
                        <a:pt x="1194799" y="912043"/>
                      </a:lnTo>
                      <a:lnTo>
                        <a:pt x="1195370" y="913342"/>
                      </a:lnTo>
                      <a:lnTo>
                        <a:pt x="1195584" y="915203"/>
                      </a:lnTo>
                      <a:lnTo>
                        <a:pt x="1195229" y="918426"/>
                      </a:lnTo>
                      <a:lnTo>
                        <a:pt x="1195341" y="925789"/>
                      </a:lnTo>
                      <a:lnTo>
                        <a:pt x="1193100" y="938561"/>
                      </a:lnTo>
                      <a:lnTo>
                        <a:pt x="1191590" y="943304"/>
                      </a:lnTo>
                      <a:lnTo>
                        <a:pt x="1188962" y="948482"/>
                      </a:lnTo>
                      <a:lnTo>
                        <a:pt x="1185571" y="951980"/>
                      </a:lnTo>
                      <a:lnTo>
                        <a:pt x="1181094" y="954052"/>
                      </a:lnTo>
                      <a:lnTo>
                        <a:pt x="1175965" y="954860"/>
                      </a:lnTo>
                      <a:lnTo>
                        <a:pt x="1169631" y="961900"/>
                      </a:lnTo>
                      <a:lnTo>
                        <a:pt x="1156697" y="980146"/>
                      </a:lnTo>
                      <a:lnTo>
                        <a:pt x="1152418" y="983826"/>
                      </a:lnTo>
                      <a:lnTo>
                        <a:pt x="1137310" y="991924"/>
                      </a:lnTo>
                      <a:lnTo>
                        <a:pt x="1123755" y="996645"/>
                      </a:lnTo>
                      <a:lnTo>
                        <a:pt x="1118609" y="1001549"/>
                      </a:lnTo>
                      <a:lnTo>
                        <a:pt x="1115020" y="1007432"/>
                      </a:lnTo>
                      <a:lnTo>
                        <a:pt x="1113050" y="1013162"/>
                      </a:lnTo>
                      <a:lnTo>
                        <a:pt x="1112893" y="1020100"/>
                      </a:lnTo>
                      <a:lnTo>
                        <a:pt x="1114312" y="1034785"/>
                      </a:lnTo>
                      <a:lnTo>
                        <a:pt x="1113023" y="1046989"/>
                      </a:lnTo>
                      <a:lnTo>
                        <a:pt x="1114447" y="1054947"/>
                      </a:lnTo>
                      <a:lnTo>
                        <a:pt x="1119390" y="1064956"/>
                      </a:lnTo>
                      <a:lnTo>
                        <a:pt x="1119722" y="1065627"/>
                      </a:lnTo>
                      <a:lnTo>
                        <a:pt x="1102933" y="1082512"/>
                      </a:lnTo>
                      <a:lnTo>
                        <a:pt x="1082842" y="1102644"/>
                      </a:lnTo>
                      <a:lnTo>
                        <a:pt x="1062289" y="1104587"/>
                      </a:lnTo>
                      <a:lnTo>
                        <a:pt x="1049733" y="1105105"/>
                      </a:lnTo>
                      <a:lnTo>
                        <a:pt x="1037168" y="1106162"/>
                      </a:lnTo>
                      <a:lnTo>
                        <a:pt x="1025972" y="1107160"/>
                      </a:lnTo>
                      <a:lnTo>
                        <a:pt x="1013250" y="1108216"/>
                      </a:lnTo>
                      <a:lnTo>
                        <a:pt x="1001623" y="1108864"/>
                      </a:lnTo>
                      <a:lnTo>
                        <a:pt x="989027" y="1109727"/>
                      </a:lnTo>
                      <a:lnTo>
                        <a:pt x="976626" y="1110941"/>
                      </a:lnTo>
                      <a:lnTo>
                        <a:pt x="964331" y="1111784"/>
                      </a:lnTo>
                      <a:lnTo>
                        <a:pt x="952664" y="1112781"/>
                      </a:lnTo>
                      <a:lnTo>
                        <a:pt x="940093" y="1113266"/>
                      </a:lnTo>
                      <a:lnTo>
                        <a:pt x="927661" y="1114286"/>
                      </a:lnTo>
                      <a:lnTo>
                        <a:pt x="915490" y="1114930"/>
                      </a:lnTo>
                      <a:lnTo>
                        <a:pt x="903010" y="1115581"/>
                      </a:lnTo>
                      <a:lnTo>
                        <a:pt x="888971" y="1116649"/>
                      </a:lnTo>
                      <a:lnTo>
                        <a:pt x="878840" y="1117414"/>
                      </a:lnTo>
                      <a:lnTo>
                        <a:pt x="877612" y="1106730"/>
                      </a:lnTo>
                      <a:lnTo>
                        <a:pt x="867622" y="1107018"/>
                      </a:lnTo>
                      <a:lnTo>
                        <a:pt x="856198" y="1107433"/>
                      </a:lnTo>
                      <a:lnTo>
                        <a:pt x="844777" y="1107846"/>
                      </a:lnTo>
                      <a:lnTo>
                        <a:pt x="833355" y="1108250"/>
                      </a:lnTo>
                      <a:lnTo>
                        <a:pt x="821928" y="1108652"/>
                      </a:lnTo>
                      <a:lnTo>
                        <a:pt x="810512" y="1109055"/>
                      </a:lnTo>
                      <a:lnTo>
                        <a:pt x="799087" y="1109460"/>
                      </a:lnTo>
                      <a:lnTo>
                        <a:pt x="787657" y="1109857"/>
                      </a:lnTo>
                      <a:lnTo>
                        <a:pt x="776234" y="1110247"/>
                      </a:lnTo>
                      <a:lnTo>
                        <a:pt x="764806" y="1110641"/>
                      </a:lnTo>
                      <a:lnTo>
                        <a:pt x="753376" y="1111022"/>
                      </a:lnTo>
                      <a:lnTo>
                        <a:pt x="741946" y="1111406"/>
                      </a:lnTo>
                      <a:lnTo>
                        <a:pt x="730516" y="1111788"/>
                      </a:lnTo>
                      <a:lnTo>
                        <a:pt x="719083" y="1112163"/>
                      </a:lnTo>
                      <a:lnTo>
                        <a:pt x="707649" y="1112534"/>
                      </a:lnTo>
                      <a:lnTo>
                        <a:pt x="696216" y="1112908"/>
                      </a:lnTo>
                      <a:lnTo>
                        <a:pt x="684781" y="1113278"/>
                      </a:lnTo>
                      <a:lnTo>
                        <a:pt x="673346" y="1113641"/>
                      </a:lnTo>
                      <a:lnTo>
                        <a:pt x="661909" y="1114009"/>
                      </a:lnTo>
                      <a:lnTo>
                        <a:pt x="650470" y="1114365"/>
                      </a:lnTo>
                      <a:lnTo>
                        <a:pt x="639033" y="1114723"/>
                      </a:lnTo>
                      <a:lnTo>
                        <a:pt x="627597" y="1115082"/>
                      </a:lnTo>
                      <a:lnTo>
                        <a:pt x="616157" y="1115430"/>
                      </a:lnTo>
                      <a:lnTo>
                        <a:pt x="604715" y="1115775"/>
                      </a:lnTo>
                      <a:lnTo>
                        <a:pt x="593268" y="1116116"/>
                      </a:lnTo>
                      <a:lnTo>
                        <a:pt x="581826" y="1116459"/>
                      </a:lnTo>
                      <a:lnTo>
                        <a:pt x="570385" y="1116799"/>
                      </a:lnTo>
                      <a:lnTo>
                        <a:pt x="558941" y="1117132"/>
                      </a:lnTo>
                      <a:lnTo>
                        <a:pt x="547491" y="1117462"/>
                      </a:lnTo>
                      <a:lnTo>
                        <a:pt x="536049" y="1117792"/>
                      </a:lnTo>
                      <a:lnTo>
                        <a:pt x="524598" y="1118125"/>
                      </a:lnTo>
                      <a:lnTo>
                        <a:pt x="523684" y="1118151"/>
                      </a:lnTo>
                      <a:lnTo>
                        <a:pt x="524991" y="1105651"/>
                      </a:lnTo>
                      <a:lnTo>
                        <a:pt x="526978" y="1087974"/>
                      </a:lnTo>
                      <a:lnTo>
                        <a:pt x="529432" y="1066415"/>
                      </a:lnTo>
                      <a:lnTo>
                        <a:pt x="531377" y="1048610"/>
                      </a:lnTo>
                      <a:lnTo>
                        <a:pt x="533134" y="1032787"/>
                      </a:lnTo>
                      <a:lnTo>
                        <a:pt x="535079" y="1016541"/>
                      </a:lnTo>
                      <a:lnTo>
                        <a:pt x="537446" y="1002712"/>
                      </a:lnTo>
                      <a:lnTo>
                        <a:pt x="539679" y="989611"/>
                      </a:lnTo>
                      <a:lnTo>
                        <a:pt x="534443" y="967039"/>
                      </a:lnTo>
                      <a:lnTo>
                        <a:pt x="532023" y="954047"/>
                      </a:lnTo>
                      <a:lnTo>
                        <a:pt x="527734" y="936431"/>
                      </a:lnTo>
                      <a:lnTo>
                        <a:pt x="524334" y="920640"/>
                      </a:lnTo>
                      <a:lnTo>
                        <a:pt x="520883" y="904286"/>
                      </a:lnTo>
                      <a:lnTo>
                        <a:pt x="515975" y="882596"/>
                      </a:lnTo>
                      <a:lnTo>
                        <a:pt x="511177" y="862045"/>
                      </a:lnTo>
                      <a:lnTo>
                        <a:pt x="507690" y="845289"/>
                      </a:lnTo>
                      <a:lnTo>
                        <a:pt x="505483" y="832459"/>
                      </a:lnTo>
                      <a:lnTo>
                        <a:pt x="503385" y="819925"/>
                      </a:lnTo>
                      <a:lnTo>
                        <a:pt x="503715" y="803855"/>
                      </a:lnTo>
                      <a:lnTo>
                        <a:pt x="504142" y="788192"/>
                      </a:lnTo>
                      <a:lnTo>
                        <a:pt x="504968" y="770749"/>
                      </a:lnTo>
                      <a:lnTo>
                        <a:pt x="507089" y="751943"/>
                      </a:lnTo>
                      <a:lnTo>
                        <a:pt x="509168" y="735278"/>
                      </a:lnTo>
                      <a:lnTo>
                        <a:pt x="512149" y="717657"/>
                      </a:lnTo>
                      <a:lnTo>
                        <a:pt x="514625" y="700893"/>
                      </a:lnTo>
                      <a:lnTo>
                        <a:pt x="519427" y="681506"/>
                      </a:lnTo>
                      <a:lnTo>
                        <a:pt x="521377" y="666368"/>
                      </a:lnTo>
                      <a:lnTo>
                        <a:pt x="525016" y="649028"/>
                      </a:lnTo>
                      <a:lnTo>
                        <a:pt x="528927" y="632248"/>
                      </a:lnTo>
                      <a:lnTo>
                        <a:pt x="533020" y="617441"/>
                      </a:lnTo>
                      <a:lnTo>
                        <a:pt x="540221" y="596395"/>
                      </a:lnTo>
                      <a:lnTo>
                        <a:pt x="543433" y="583081"/>
                      </a:lnTo>
                      <a:lnTo>
                        <a:pt x="548883" y="574485"/>
                      </a:lnTo>
                      <a:lnTo>
                        <a:pt x="552555" y="565607"/>
                      </a:lnTo>
                      <a:lnTo>
                        <a:pt x="557742" y="557541"/>
                      </a:lnTo>
                      <a:lnTo>
                        <a:pt x="565191" y="548704"/>
                      </a:lnTo>
                      <a:lnTo>
                        <a:pt x="569941" y="542472"/>
                      </a:lnTo>
                      <a:lnTo>
                        <a:pt x="576145" y="535496"/>
                      </a:lnTo>
                      <a:lnTo>
                        <a:pt x="585910" y="527270"/>
                      </a:lnTo>
                      <a:lnTo>
                        <a:pt x="593599" y="521368"/>
                      </a:lnTo>
                      <a:lnTo>
                        <a:pt x="601785" y="513756"/>
                      </a:lnTo>
                      <a:lnTo>
                        <a:pt x="596445" y="511704"/>
                      </a:lnTo>
                      <a:lnTo>
                        <a:pt x="591762" y="509585"/>
                      </a:lnTo>
                      <a:lnTo>
                        <a:pt x="587462" y="507737"/>
                      </a:lnTo>
                      <a:lnTo>
                        <a:pt x="582649" y="505478"/>
                      </a:lnTo>
                      <a:lnTo>
                        <a:pt x="577503" y="503374"/>
                      </a:lnTo>
                      <a:lnTo>
                        <a:pt x="572826" y="501252"/>
                      </a:lnTo>
                      <a:lnTo>
                        <a:pt x="567916" y="499139"/>
                      </a:lnTo>
                      <a:lnTo>
                        <a:pt x="563242" y="497016"/>
                      </a:lnTo>
                      <a:lnTo>
                        <a:pt x="558568" y="494894"/>
                      </a:lnTo>
                      <a:lnTo>
                        <a:pt x="553664" y="492780"/>
                      </a:lnTo>
                      <a:lnTo>
                        <a:pt x="548862" y="490519"/>
                      </a:lnTo>
                      <a:lnTo>
                        <a:pt x="544019" y="488401"/>
                      </a:lnTo>
                      <a:lnTo>
                        <a:pt x="538373" y="486160"/>
                      </a:lnTo>
                      <a:lnTo>
                        <a:pt x="533638" y="483892"/>
                      </a:lnTo>
                      <a:lnTo>
                        <a:pt x="528910" y="481627"/>
                      </a:lnTo>
                      <a:lnTo>
                        <a:pt x="525815" y="480597"/>
                      </a:lnTo>
                      <a:lnTo>
                        <a:pt x="503549" y="481615"/>
                      </a:lnTo>
                      <a:lnTo>
                        <a:pt x="488146" y="482116"/>
                      </a:lnTo>
                      <a:lnTo>
                        <a:pt x="479611" y="482110"/>
                      </a:lnTo>
                      <a:lnTo>
                        <a:pt x="474855" y="489857"/>
                      </a:lnTo>
                      <a:lnTo>
                        <a:pt x="470781" y="497582"/>
                      </a:lnTo>
                      <a:lnTo>
                        <a:pt x="466735" y="503339"/>
                      </a:lnTo>
                      <a:lnTo>
                        <a:pt x="460902" y="509369"/>
                      </a:lnTo>
                      <a:lnTo>
                        <a:pt x="452190" y="517583"/>
                      </a:lnTo>
                      <a:lnTo>
                        <a:pt x="439900" y="524436"/>
                      </a:lnTo>
                      <a:lnTo>
                        <a:pt x="438324" y="536870"/>
                      </a:lnTo>
                      <a:lnTo>
                        <a:pt x="437367" y="546190"/>
                      </a:lnTo>
                      <a:lnTo>
                        <a:pt x="429890" y="545573"/>
                      </a:lnTo>
                      <a:lnTo>
                        <a:pt x="422121" y="544841"/>
                      </a:lnTo>
                      <a:lnTo>
                        <a:pt x="414228" y="542541"/>
                      </a:lnTo>
                      <a:lnTo>
                        <a:pt x="405962" y="539949"/>
                      </a:lnTo>
                      <a:lnTo>
                        <a:pt x="403426" y="538345"/>
                      </a:lnTo>
                      <a:lnTo>
                        <a:pt x="403043" y="537545"/>
                      </a:lnTo>
                      <a:lnTo>
                        <a:pt x="402161" y="536371"/>
                      </a:lnTo>
                      <a:lnTo>
                        <a:pt x="400579" y="534738"/>
                      </a:lnTo>
                      <a:lnTo>
                        <a:pt x="396998" y="531922"/>
                      </a:lnTo>
                      <a:lnTo>
                        <a:pt x="394648" y="529611"/>
                      </a:lnTo>
                      <a:lnTo>
                        <a:pt x="393520" y="528007"/>
                      </a:lnTo>
                      <a:lnTo>
                        <a:pt x="393240" y="526810"/>
                      </a:lnTo>
                      <a:lnTo>
                        <a:pt x="393361" y="521328"/>
                      </a:lnTo>
                      <a:lnTo>
                        <a:pt x="393674" y="519161"/>
                      </a:lnTo>
                      <a:lnTo>
                        <a:pt x="395804" y="512156"/>
                      </a:lnTo>
                      <a:lnTo>
                        <a:pt x="398662" y="505117"/>
                      </a:lnTo>
                      <a:lnTo>
                        <a:pt x="399703" y="503651"/>
                      </a:lnTo>
                      <a:lnTo>
                        <a:pt x="401648" y="501541"/>
                      </a:lnTo>
                      <a:lnTo>
                        <a:pt x="402213" y="500441"/>
                      </a:lnTo>
                      <a:lnTo>
                        <a:pt x="402180" y="499536"/>
                      </a:lnTo>
                      <a:lnTo>
                        <a:pt x="401904" y="498688"/>
                      </a:lnTo>
                      <a:lnTo>
                        <a:pt x="400855" y="497184"/>
                      </a:lnTo>
                      <a:lnTo>
                        <a:pt x="399536" y="495646"/>
                      </a:lnTo>
                      <a:lnTo>
                        <a:pt x="398575" y="494738"/>
                      </a:lnTo>
                      <a:lnTo>
                        <a:pt x="397685" y="494224"/>
                      </a:lnTo>
                      <a:lnTo>
                        <a:pt x="396692" y="494141"/>
                      </a:lnTo>
                      <a:lnTo>
                        <a:pt x="395815" y="494401"/>
                      </a:lnTo>
                      <a:lnTo>
                        <a:pt x="385932" y="499486"/>
                      </a:lnTo>
                      <a:lnTo>
                        <a:pt x="384948" y="499721"/>
                      </a:lnTo>
                      <a:lnTo>
                        <a:pt x="383880" y="499836"/>
                      </a:lnTo>
                      <a:lnTo>
                        <a:pt x="382676" y="499784"/>
                      </a:lnTo>
                      <a:lnTo>
                        <a:pt x="379371" y="499013"/>
                      </a:lnTo>
                      <a:lnTo>
                        <a:pt x="378297" y="499019"/>
                      </a:lnTo>
                      <a:lnTo>
                        <a:pt x="377375" y="499293"/>
                      </a:lnTo>
                      <a:lnTo>
                        <a:pt x="375803" y="500191"/>
                      </a:lnTo>
                      <a:lnTo>
                        <a:pt x="374712" y="500395"/>
                      </a:lnTo>
                      <a:lnTo>
                        <a:pt x="373323" y="500197"/>
                      </a:lnTo>
                      <a:lnTo>
                        <a:pt x="371091" y="499016"/>
                      </a:lnTo>
                      <a:lnTo>
                        <a:pt x="370128" y="497987"/>
                      </a:lnTo>
                      <a:lnTo>
                        <a:pt x="369642" y="496897"/>
                      </a:lnTo>
                      <a:lnTo>
                        <a:pt x="369712" y="495859"/>
                      </a:lnTo>
                      <a:lnTo>
                        <a:pt x="371041" y="492142"/>
                      </a:lnTo>
                      <a:lnTo>
                        <a:pt x="371219" y="491004"/>
                      </a:lnTo>
                      <a:lnTo>
                        <a:pt x="371164" y="489591"/>
                      </a:lnTo>
                      <a:lnTo>
                        <a:pt x="370612" y="487486"/>
                      </a:lnTo>
                      <a:lnTo>
                        <a:pt x="370590" y="486082"/>
                      </a:lnTo>
                      <a:lnTo>
                        <a:pt x="370866" y="485046"/>
                      </a:lnTo>
                      <a:lnTo>
                        <a:pt x="371428" y="484383"/>
                      </a:lnTo>
                      <a:lnTo>
                        <a:pt x="375769" y="481224"/>
                      </a:lnTo>
                      <a:lnTo>
                        <a:pt x="376375" y="480569"/>
                      </a:lnTo>
                      <a:lnTo>
                        <a:pt x="376906" y="479837"/>
                      </a:lnTo>
                      <a:lnTo>
                        <a:pt x="377826" y="478224"/>
                      </a:lnTo>
                      <a:lnTo>
                        <a:pt x="378447" y="476491"/>
                      </a:lnTo>
                      <a:lnTo>
                        <a:pt x="378682" y="475587"/>
                      </a:lnTo>
                      <a:lnTo>
                        <a:pt x="378706" y="474994"/>
                      </a:lnTo>
                      <a:lnTo>
                        <a:pt x="378566" y="473858"/>
                      </a:lnTo>
                      <a:lnTo>
                        <a:pt x="376898" y="468565"/>
                      </a:lnTo>
                      <a:lnTo>
                        <a:pt x="375292" y="465121"/>
                      </a:lnTo>
                      <a:lnTo>
                        <a:pt x="375276" y="463578"/>
                      </a:lnTo>
                      <a:lnTo>
                        <a:pt x="375865" y="462865"/>
                      </a:lnTo>
                      <a:lnTo>
                        <a:pt x="376804" y="462569"/>
                      </a:lnTo>
                      <a:lnTo>
                        <a:pt x="377635" y="462171"/>
                      </a:lnTo>
                      <a:lnTo>
                        <a:pt x="378271" y="461611"/>
                      </a:lnTo>
                      <a:lnTo>
                        <a:pt x="378720" y="460567"/>
                      </a:lnTo>
                      <a:lnTo>
                        <a:pt x="378940" y="459177"/>
                      </a:lnTo>
                      <a:lnTo>
                        <a:pt x="378753" y="456911"/>
                      </a:lnTo>
                      <a:lnTo>
                        <a:pt x="378347" y="455623"/>
                      </a:lnTo>
                      <a:lnTo>
                        <a:pt x="377789" y="454642"/>
                      </a:lnTo>
                      <a:lnTo>
                        <a:pt x="375057" y="451274"/>
                      </a:lnTo>
                      <a:lnTo>
                        <a:pt x="373924" y="449497"/>
                      </a:lnTo>
                      <a:lnTo>
                        <a:pt x="373696" y="448242"/>
                      </a:lnTo>
                      <a:lnTo>
                        <a:pt x="373959" y="447295"/>
                      </a:lnTo>
                      <a:lnTo>
                        <a:pt x="375341" y="446148"/>
                      </a:lnTo>
                      <a:lnTo>
                        <a:pt x="375915" y="445549"/>
                      </a:lnTo>
                      <a:lnTo>
                        <a:pt x="376194" y="444560"/>
                      </a:lnTo>
                      <a:lnTo>
                        <a:pt x="376167" y="444054"/>
                      </a:lnTo>
                      <a:lnTo>
                        <a:pt x="375906" y="443538"/>
                      </a:lnTo>
                      <a:lnTo>
                        <a:pt x="374961" y="442564"/>
                      </a:lnTo>
                      <a:lnTo>
                        <a:pt x="372865" y="440837"/>
                      </a:lnTo>
                      <a:lnTo>
                        <a:pt x="370923" y="438870"/>
                      </a:lnTo>
                      <a:lnTo>
                        <a:pt x="369423" y="437825"/>
                      </a:lnTo>
                      <a:lnTo>
                        <a:pt x="365880" y="435860"/>
                      </a:lnTo>
                      <a:lnTo>
                        <a:pt x="365134" y="435283"/>
                      </a:lnTo>
                      <a:lnTo>
                        <a:pt x="363300" y="433212"/>
                      </a:lnTo>
                      <a:lnTo>
                        <a:pt x="362626" y="432596"/>
                      </a:lnTo>
                      <a:lnTo>
                        <a:pt x="361819" y="432096"/>
                      </a:lnTo>
                      <a:lnTo>
                        <a:pt x="360873" y="431655"/>
                      </a:lnTo>
                      <a:lnTo>
                        <a:pt x="359747" y="431407"/>
                      </a:lnTo>
                      <a:lnTo>
                        <a:pt x="353607" y="431134"/>
                      </a:lnTo>
                      <a:lnTo>
                        <a:pt x="351228" y="430600"/>
                      </a:lnTo>
                      <a:lnTo>
                        <a:pt x="350278" y="430179"/>
                      </a:lnTo>
                      <a:lnTo>
                        <a:pt x="349471" y="429666"/>
                      </a:lnTo>
                      <a:lnTo>
                        <a:pt x="348798" y="429100"/>
                      </a:lnTo>
                      <a:lnTo>
                        <a:pt x="346945" y="427193"/>
                      </a:lnTo>
                      <a:lnTo>
                        <a:pt x="346528" y="426941"/>
                      </a:lnTo>
                      <a:lnTo>
                        <a:pt x="345904" y="426717"/>
                      </a:lnTo>
                      <a:lnTo>
                        <a:pt x="345092" y="426748"/>
                      </a:lnTo>
                      <a:lnTo>
                        <a:pt x="342273" y="427621"/>
                      </a:lnTo>
                      <a:lnTo>
                        <a:pt x="340097" y="427915"/>
                      </a:lnTo>
                      <a:lnTo>
                        <a:pt x="338905" y="427882"/>
                      </a:lnTo>
                      <a:lnTo>
                        <a:pt x="336523" y="427452"/>
                      </a:lnTo>
                      <a:lnTo>
                        <a:pt x="334363" y="426760"/>
                      </a:lnTo>
                      <a:lnTo>
                        <a:pt x="332192" y="425767"/>
                      </a:lnTo>
                      <a:lnTo>
                        <a:pt x="331039" y="424920"/>
                      </a:lnTo>
                      <a:lnTo>
                        <a:pt x="329535" y="423359"/>
                      </a:lnTo>
                      <a:lnTo>
                        <a:pt x="329032" y="422143"/>
                      </a:lnTo>
                      <a:lnTo>
                        <a:pt x="328979" y="420989"/>
                      </a:lnTo>
                      <a:lnTo>
                        <a:pt x="329267" y="420072"/>
                      </a:lnTo>
                      <a:lnTo>
                        <a:pt x="329710" y="419217"/>
                      </a:lnTo>
                      <a:lnTo>
                        <a:pt x="332447" y="415610"/>
                      </a:lnTo>
                      <a:lnTo>
                        <a:pt x="332931" y="414754"/>
                      </a:lnTo>
                      <a:lnTo>
                        <a:pt x="333332" y="413775"/>
                      </a:lnTo>
                      <a:lnTo>
                        <a:pt x="333319" y="412236"/>
                      </a:lnTo>
                      <a:lnTo>
                        <a:pt x="332681" y="410977"/>
                      </a:lnTo>
                      <a:lnTo>
                        <a:pt x="328433" y="404171"/>
                      </a:lnTo>
                      <a:lnTo>
                        <a:pt x="327211" y="403021"/>
                      </a:lnTo>
                      <a:lnTo>
                        <a:pt x="325877" y="402331"/>
                      </a:lnTo>
                      <a:lnTo>
                        <a:pt x="323625" y="401696"/>
                      </a:lnTo>
                      <a:lnTo>
                        <a:pt x="322677" y="401263"/>
                      </a:lnTo>
                      <a:lnTo>
                        <a:pt x="318849" y="398844"/>
                      </a:lnTo>
                      <a:lnTo>
                        <a:pt x="317767" y="398511"/>
                      </a:lnTo>
                      <a:lnTo>
                        <a:pt x="316664" y="398525"/>
                      </a:lnTo>
                      <a:lnTo>
                        <a:pt x="314563" y="398886"/>
                      </a:lnTo>
                      <a:lnTo>
                        <a:pt x="313442" y="398955"/>
                      </a:lnTo>
                      <a:lnTo>
                        <a:pt x="312243" y="398843"/>
                      </a:lnTo>
                      <a:lnTo>
                        <a:pt x="309829" y="398141"/>
                      </a:lnTo>
                      <a:lnTo>
                        <a:pt x="307259" y="396983"/>
                      </a:lnTo>
                      <a:lnTo>
                        <a:pt x="306101" y="396648"/>
                      </a:lnTo>
                      <a:lnTo>
                        <a:pt x="304949" y="396521"/>
                      </a:lnTo>
                      <a:lnTo>
                        <a:pt x="300061" y="396574"/>
                      </a:lnTo>
                      <a:lnTo>
                        <a:pt x="297655" y="396281"/>
                      </a:lnTo>
                      <a:lnTo>
                        <a:pt x="296807" y="396025"/>
                      </a:lnTo>
                      <a:lnTo>
                        <a:pt x="293034" y="393652"/>
                      </a:lnTo>
                      <a:lnTo>
                        <a:pt x="291715" y="393053"/>
                      </a:lnTo>
                      <a:lnTo>
                        <a:pt x="290481" y="392887"/>
                      </a:lnTo>
                      <a:lnTo>
                        <a:pt x="287651" y="393688"/>
                      </a:lnTo>
                      <a:lnTo>
                        <a:pt x="286472" y="393721"/>
                      </a:lnTo>
                      <a:lnTo>
                        <a:pt x="285090" y="393546"/>
                      </a:lnTo>
                      <a:lnTo>
                        <a:pt x="280121" y="391398"/>
                      </a:lnTo>
                      <a:lnTo>
                        <a:pt x="279010" y="391073"/>
                      </a:lnTo>
                      <a:lnTo>
                        <a:pt x="277988" y="391139"/>
                      </a:lnTo>
                      <a:lnTo>
                        <a:pt x="277145" y="391425"/>
                      </a:lnTo>
                      <a:lnTo>
                        <a:pt x="275966" y="391458"/>
                      </a:lnTo>
                      <a:lnTo>
                        <a:pt x="274558" y="391169"/>
                      </a:lnTo>
                      <a:lnTo>
                        <a:pt x="272112" y="389705"/>
                      </a:lnTo>
                      <a:lnTo>
                        <a:pt x="270569" y="388977"/>
                      </a:lnTo>
                      <a:lnTo>
                        <a:pt x="269117" y="388573"/>
                      </a:lnTo>
                      <a:lnTo>
                        <a:pt x="267967" y="388467"/>
                      </a:lnTo>
                      <a:lnTo>
                        <a:pt x="266898" y="388588"/>
                      </a:lnTo>
                      <a:lnTo>
                        <a:pt x="265989" y="388860"/>
                      </a:lnTo>
                      <a:lnTo>
                        <a:pt x="264331" y="389757"/>
                      </a:lnTo>
                      <a:lnTo>
                        <a:pt x="263409" y="390008"/>
                      </a:lnTo>
                      <a:lnTo>
                        <a:pt x="262280" y="389971"/>
                      </a:lnTo>
                      <a:lnTo>
                        <a:pt x="261252" y="389769"/>
                      </a:lnTo>
                      <a:lnTo>
                        <a:pt x="260186" y="389689"/>
                      </a:lnTo>
                      <a:lnTo>
                        <a:pt x="259291" y="389926"/>
                      </a:lnTo>
                      <a:lnTo>
                        <a:pt x="256439" y="392057"/>
                      </a:lnTo>
                      <a:lnTo>
                        <a:pt x="255241" y="392223"/>
                      </a:lnTo>
                      <a:lnTo>
                        <a:pt x="253610" y="391927"/>
                      </a:lnTo>
                      <a:lnTo>
                        <a:pt x="248672" y="389901"/>
                      </a:lnTo>
                      <a:lnTo>
                        <a:pt x="245431" y="389121"/>
                      </a:lnTo>
                      <a:lnTo>
                        <a:pt x="243237" y="388201"/>
                      </a:lnTo>
                      <a:lnTo>
                        <a:pt x="241754" y="387826"/>
                      </a:lnTo>
                      <a:lnTo>
                        <a:pt x="240438" y="387731"/>
                      </a:lnTo>
                      <a:lnTo>
                        <a:pt x="239380" y="387905"/>
                      </a:lnTo>
                      <a:lnTo>
                        <a:pt x="236549" y="388921"/>
                      </a:lnTo>
                      <a:lnTo>
                        <a:pt x="235411" y="388996"/>
                      </a:lnTo>
                      <a:lnTo>
                        <a:pt x="233973" y="388784"/>
                      </a:lnTo>
                      <a:lnTo>
                        <a:pt x="232898" y="387971"/>
                      </a:lnTo>
                      <a:lnTo>
                        <a:pt x="231859" y="387626"/>
                      </a:lnTo>
                      <a:lnTo>
                        <a:pt x="230915" y="387642"/>
                      </a:lnTo>
                      <a:lnTo>
                        <a:pt x="228878" y="388034"/>
                      </a:lnTo>
                      <a:lnTo>
                        <a:pt x="227805" y="388104"/>
                      </a:lnTo>
                      <a:lnTo>
                        <a:pt x="225976" y="387947"/>
                      </a:lnTo>
                      <a:lnTo>
                        <a:pt x="222486" y="386398"/>
                      </a:lnTo>
                      <a:lnTo>
                        <a:pt x="213882" y="382574"/>
                      </a:lnTo>
                      <a:lnTo>
                        <a:pt x="205280" y="378739"/>
                      </a:lnTo>
                      <a:lnTo>
                        <a:pt x="196689" y="374906"/>
                      </a:lnTo>
                      <a:lnTo>
                        <a:pt x="188096" y="371060"/>
                      </a:lnTo>
                      <a:lnTo>
                        <a:pt x="185102" y="369714"/>
                      </a:lnTo>
                      <a:lnTo>
                        <a:pt x="180049" y="368671"/>
                      </a:lnTo>
                      <a:lnTo>
                        <a:pt x="178560" y="368369"/>
                      </a:lnTo>
                      <a:lnTo>
                        <a:pt x="174344" y="367496"/>
                      </a:lnTo>
                      <a:lnTo>
                        <a:pt x="167800" y="366145"/>
                      </a:lnTo>
                      <a:lnTo>
                        <a:pt x="159304" y="364368"/>
                      </a:lnTo>
                      <a:lnTo>
                        <a:pt x="149266" y="362280"/>
                      </a:lnTo>
                      <a:lnTo>
                        <a:pt x="138061" y="359942"/>
                      </a:lnTo>
                      <a:lnTo>
                        <a:pt x="126084" y="357447"/>
                      </a:lnTo>
                      <a:lnTo>
                        <a:pt x="113723" y="354863"/>
                      </a:lnTo>
                      <a:lnTo>
                        <a:pt x="101367" y="352274"/>
                      </a:lnTo>
                      <a:lnTo>
                        <a:pt x="89408" y="349761"/>
                      </a:lnTo>
                      <a:lnTo>
                        <a:pt x="78219" y="347415"/>
                      </a:lnTo>
                      <a:lnTo>
                        <a:pt x="68212" y="345303"/>
                      </a:lnTo>
                      <a:lnTo>
                        <a:pt x="59747" y="343510"/>
                      </a:lnTo>
                      <a:lnTo>
                        <a:pt x="53229" y="342140"/>
                      </a:lnTo>
                      <a:lnTo>
                        <a:pt x="49029" y="341250"/>
                      </a:lnTo>
                      <a:lnTo>
                        <a:pt x="47539" y="340936"/>
                      </a:lnTo>
                      <a:lnTo>
                        <a:pt x="43574" y="340078"/>
                      </a:lnTo>
                      <a:lnTo>
                        <a:pt x="42752" y="339336"/>
                      </a:lnTo>
                      <a:lnTo>
                        <a:pt x="42257" y="338462"/>
                      </a:lnTo>
                      <a:lnTo>
                        <a:pt x="40939" y="335047"/>
                      </a:lnTo>
                      <a:lnTo>
                        <a:pt x="38317" y="330431"/>
                      </a:lnTo>
                      <a:lnTo>
                        <a:pt x="34167" y="323110"/>
                      </a:lnTo>
                      <a:lnTo>
                        <a:pt x="31455" y="318321"/>
                      </a:lnTo>
                      <a:lnTo>
                        <a:pt x="29874" y="315523"/>
                      </a:lnTo>
                      <a:lnTo>
                        <a:pt x="28041" y="313477"/>
                      </a:lnTo>
                      <a:lnTo>
                        <a:pt x="26112" y="311724"/>
                      </a:lnTo>
                      <a:lnTo>
                        <a:pt x="24713" y="310944"/>
                      </a:lnTo>
                      <a:lnTo>
                        <a:pt x="23261" y="310583"/>
                      </a:lnTo>
                      <a:lnTo>
                        <a:pt x="21923" y="310490"/>
                      </a:lnTo>
                      <a:lnTo>
                        <a:pt x="20248" y="310042"/>
                      </a:lnTo>
                      <a:lnTo>
                        <a:pt x="19048" y="309328"/>
                      </a:lnTo>
                      <a:lnTo>
                        <a:pt x="17674" y="308193"/>
                      </a:lnTo>
                      <a:lnTo>
                        <a:pt x="16359" y="307792"/>
                      </a:lnTo>
                      <a:lnTo>
                        <a:pt x="13623" y="307390"/>
                      </a:lnTo>
                      <a:lnTo>
                        <a:pt x="12793" y="306636"/>
                      </a:lnTo>
                      <a:lnTo>
                        <a:pt x="11246" y="304187"/>
                      </a:lnTo>
                      <a:lnTo>
                        <a:pt x="10238" y="303740"/>
                      </a:lnTo>
                      <a:lnTo>
                        <a:pt x="9321" y="303876"/>
                      </a:lnTo>
                      <a:lnTo>
                        <a:pt x="6963" y="305238"/>
                      </a:lnTo>
                      <a:lnTo>
                        <a:pt x="5952" y="305596"/>
                      </a:lnTo>
                      <a:lnTo>
                        <a:pt x="4785" y="305699"/>
                      </a:lnTo>
                      <a:lnTo>
                        <a:pt x="3210" y="305506"/>
                      </a:lnTo>
                      <a:lnTo>
                        <a:pt x="2242" y="305009"/>
                      </a:lnTo>
                      <a:lnTo>
                        <a:pt x="1618" y="304318"/>
                      </a:lnTo>
                      <a:lnTo>
                        <a:pt x="926" y="302572"/>
                      </a:lnTo>
                      <a:lnTo>
                        <a:pt x="0" y="299374"/>
                      </a:lnTo>
                      <a:lnTo>
                        <a:pt x="1181" y="296782"/>
                      </a:lnTo>
                      <a:lnTo>
                        <a:pt x="4558" y="289382"/>
                      </a:lnTo>
                      <a:lnTo>
                        <a:pt x="7936" y="281991"/>
                      </a:lnTo>
                      <a:lnTo>
                        <a:pt x="11302" y="274593"/>
                      </a:lnTo>
                      <a:lnTo>
                        <a:pt x="14666" y="267195"/>
                      </a:lnTo>
                      <a:lnTo>
                        <a:pt x="18021" y="259806"/>
                      </a:lnTo>
                      <a:lnTo>
                        <a:pt x="21370" y="252410"/>
                      </a:lnTo>
                      <a:lnTo>
                        <a:pt x="24721" y="245018"/>
                      </a:lnTo>
                      <a:lnTo>
                        <a:pt x="28063" y="237628"/>
                      </a:lnTo>
                      <a:lnTo>
                        <a:pt x="31397" y="230238"/>
                      </a:lnTo>
                      <a:lnTo>
                        <a:pt x="34727" y="222844"/>
                      </a:lnTo>
                      <a:lnTo>
                        <a:pt x="38053" y="215452"/>
                      </a:lnTo>
                      <a:lnTo>
                        <a:pt x="41370" y="208068"/>
                      </a:lnTo>
                      <a:lnTo>
                        <a:pt x="44685" y="200685"/>
                      </a:lnTo>
                      <a:lnTo>
                        <a:pt x="47991" y="193295"/>
                      </a:lnTo>
                      <a:lnTo>
                        <a:pt x="51294" y="185905"/>
                      </a:lnTo>
                      <a:lnTo>
                        <a:pt x="54592" y="178516"/>
                      </a:lnTo>
                      <a:lnTo>
                        <a:pt x="57981" y="170889"/>
                      </a:lnTo>
                      <a:lnTo>
                        <a:pt x="61371" y="163262"/>
                      </a:lnTo>
                      <a:lnTo>
                        <a:pt x="64748" y="155636"/>
                      </a:lnTo>
                      <a:lnTo>
                        <a:pt x="68118" y="148011"/>
                      </a:lnTo>
                      <a:lnTo>
                        <a:pt x="71491" y="140386"/>
                      </a:lnTo>
                      <a:lnTo>
                        <a:pt x="74854" y="132763"/>
                      </a:lnTo>
                      <a:lnTo>
                        <a:pt x="78211" y="125149"/>
                      </a:lnTo>
                      <a:lnTo>
                        <a:pt x="81558" y="117527"/>
                      </a:lnTo>
                      <a:lnTo>
                        <a:pt x="84910" y="109901"/>
                      </a:lnTo>
                      <a:lnTo>
                        <a:pt x="88246" y="102285"/>
                      </a:lnTo>
                      <a:lnTo>
                        <a:pt x="91572" y="94666"/>
                      </a:lnTo>
                      <a:lnTo>
                        <a:pt x="94906" y="87043"/>
                      </a:lnTo>
                      <a:lnTo>
                        <a:pt x="98223" y="79425"/>
                      </a:lnTo>
                      <a:lnTo>
                        <a:pt x="101534" y="71808"/>
                      </a:lnTo>
                      <a:lnTo>
                        <a:pt x="104851" y="64191"/>
                      </a:lnTo>
                      <a:lnTo>
                        <a:pt x="108119" y="56639"/>
                      </a:lnTo>
                      <a:lnTo>
                        <a:pt x="113159" y="56609"/>
                      </a:lnTo>
                      <a:lnTo>
                        <a:pt x="123483" y="58732"/>
                      </a:lnTo>
                      <a:lnTo>
                        <a:pt x="126677" y="58810"/>
                      </a:lnTo>
                      <a:lnTo>
                        <a:pt x="129768" y="57959"/>
                      </a:lnTo>
                      <a:lnTo>
                        <a:pt x="142118" y="51352"/>
                      </a:lnTo>
                      <a:lnTo>
                        <a:pt x="161648" y="40861"/>
                      </a:lnTo>
                      <a:lnTo>
                        <a:pt x="186367" y="27566"/>
                      </a:lnTo>
                      <a:lnTo>
                        <a:pt x="202212" y="19016"/>
                      </a:lnTo>
                      <a:lnTo>
                        <a:pt x="220216" y="9253"/>
                      </a:lnTo>
                      <a:lnTo>
                        <a:pt x="228619" y="6670"/>
                      </a:lnTo>
                      <a:lnTo>
                        <a:pt x="251154" y="303"/>
                      </a:lnTo>
                      <a:lnTo>
                        <a:pt x="255376" y="0"/>
                      </a:lnTo>
                      <a:lnTo>
                        <a:pt x="259414" y="978"/>
                      </a:lnTo>
                      <a:lnTo>
                        <a:pt x="285899" y="12726"/>
                      </a:lnTo>
                      <a:lnTo>
                        <a:pt x="312434" y="24452"/>
                      </a:lnTo>
                      <a:lnTo>
                        <a:pt x="339025" y="36168"/>
                      </a:lnTo>
                      <a:lnTo>
                        <a:pt x="365664" y="47860"/>
                      </a:lnTo>
                      <a:lnTo>
                        <a:pt x="392362" y="59547"/>
                      </a:lnTo>
                      <a:lnTo>
                        <a:pt x="419100" y="71220"/>
                      </a:lnTo>
                      <a:lnTo>
                        <a:pt x="445886" y="82884"/>
                      </a:lnTo>
                      <a:lnTo>
                        <a:pt x="472733" y="94529"/>
                      </a:lnTo>
                      <a:lnTo>
                        <a:pt x="487766" y="101216"/>
                      </a:lnTo>
                      <a:lnTo>
                        <a:pt x="502815" y="107902"/>
                      </a:lnTo>
                      <a:lnTo>
                        <a:pt x="517879" y="114568"/>
                      </a:lnTo>
                      <a:lnTo>
                        <a:pt x="532953" y="121246"/>
                      </a:lnTo>
                      <a:lnTo>
                        <a:pt x="548051" y="127929"/>
                      </a:lnTo>
                      <a:lnTo>
                        <a:pt x="563164" y="134590"/>
                      </a:lnTo>
                      <a:lnTo>
                        <a:pt x="578291" y="141247"/>
                      </a:lnTo>
                      <a:lnTo>
                        <a:pt x="593444" y="147903"/>
                      </a:lnTo>
                      <a:lnTo>
                        <a:pt x="611558" y="156068"/>
                      </a:lnTo>
                      <a:lnTo>
                        <a:pt x="629702" y="164223"/>
                      </a:lnTo>
                      <a:lnTo>
                        <a:pt x="647865" y="172367"/>
                      </a:lnTo>
                      <a:lnTo>
                        <a:pt x="666055" y="180515"/>
                      </a:lnTo>
                      <a:lnTo>
                        <a:pt x="684265" y="188651"/>
                      </a:lnTo>
                      <a:lnTo>
                        <a:pt x="702499" y="196777"/>
                      </a:lnTo>
                      <a:lnTo>
                        <a:pt x="720756" y="204916"/>
                      </a:lnTo>
                      <a:lnTo>
                        <a:pt x="739037" y="213044"/>
                      </a:lnTo>
                      <a:lnTo>
                        <a:pt x="741427" y="214181"/>
                      </a:lnTo>
                      <a:lnTo>
                        <a:pt x="743811" y="215334"/>
                      </a:lnTo>
                      <a:lnTo>
                        <a:pt x="746198" y="216475"/>
                      </a:lnTo>
                      <a:lnTo>
                        <a:pt x="748596" y="217616"/>
                      </a:lnTo>
                      <a:lnTo>
                        <a:pt x="750986" y="218774"/>
                      </a:lnTo>
                      <a:lnTo>
                        <a:pt x="753380" y="219905"/>
                      </a:lnTo>
                      <a:lnTo>
                        <a:pt x="755771" y="221064"/>
                      </a:lnTo>
                      <a:lnTo>
                        <a:pt x="758163" y="222204"/>
                      </a:lnTo>
                      <a:lnTo>
                        <a:pt x="760575" y="224841"/>
                      </a:lnTo>
                      <a:lnTo>
                        <a:pt x="762352" y="228328"/>
                      </a:lnTo>
                      <a:lnTo>
                        <a:pt x="766221" y="237994"/>
                      </a:lnTo>
                      <a:lnTo>
                        <a:pt x="770133" y="247772"/>
                      </a:lnTo>
                      <a:lnTo>
                        <a:pt x="776122" y="262745"/>
                      </a:lnTo>
                      <a:lnTo>
                        <a:pt x="778602" y="266717"/>
                      </a:lnTo>
                      <a:lnTo>
                        <a:pt x="791127" y="277961"/>
                      </a:lnTo>
                      <a:lnTo>
                        <a:pt x="807555" y="292675"/>
                      </a:lnTo>
                      <a:lnTo>
                        <a:pt x="811026" y="294919"/>
                      </a:lnTo>
                      <a:lnTo>
                        <a:pt x="814706" y="296201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0" name="Freeform 73">
                  <a:extLst>
                    <a:ext uri="{FF2B5EF4-FFF2-40B4-BE49-F238E27FC236}">
                      <a16:creationId xmlns:a16="http://schemas.microsoft.com/office/drawing/2014/main" id="{5E5D6CB4-5C3A-4C7C-AB90-D86EEB14872F}"/>
                    </a:ext>
                  </a:extLst>
                </p:cNvPr>
                <p:cNvSpPr/>
                <p:nvPr>
                  <p:custDataLst>
                    <p:tags r:id="rId51"/>
                  </p:custDataLst>
                </p:nvPr>
              </p:nvSpPr>
              <p:spPr>
                <a:xfrm>
                  <a:off x="2086992" y="4733203"/>
                  <a:ext cx="1454966" cy="1294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1992" h="1915218">
                      <a:moveTo>
                        <a:pt x="1507275" y="1668863"/>
                      </a:moveTo>
                      <a:lnTo>
                        <a:pt x="1506079" y="1672448"/>
                      </a:lnTo>
                      <a:lnTo>
                        <a:pt x="1506907" y="1718695"/>
                      </a:lnTo>
                      <a:lnTo>
                        <a:pt x="1512281" y="1750280"/>
                      </a:lnTo>
                      <a:lnTo>
                        <a:pt x="1529522" y="1806488"/>
                      </a:lnTo>
                      <a:lnTo>
                        <a:pt x="1529295" y="1808656"/>
                      </a:lnTo>
                      <a:lnTo>
                        <a:pt x="1530747" y="1810954"/>
                      </a:lnTo>
                      <a:lnTo>
                        <a:pt x="1531795" y="1814934"/>
                      </a:lnTo>
                      <a:lnTo>
                        <a:pt x="1533876" y="1825563"/>
                      </a:lnTo>
                      <a:lnTo>
                        <a:pt x="1535506" y="1833068"/>
                      </a:lnTo>
                      <a:lnTo>
                        <a:pt x="1536146" y="1837165"/>
                      </a:lnTo>
                      <a:lnTo>
                        <a:pt x="1538747" y="1845297"/>
                      </a:lnTo>
                      <a:lnTo>
                        <a:pt x="1539606" y="1850024"/>
                      </a:lnTo>
                      <a:lnTo>
                        <a:pt x="1540719" y="1854634"/>
                      </a:lnTo>
                      <a:lnTo>
                        <a:pt x="1541720" y="1863318"/>
                      </a:lnTo>
                      <a:lnTo>
                        <a:pt x="1541864" y="1866554"/>
                      </a:lnTo>
                      <a:lnTo>
                        <a:pt x="1541338" y="1868496"/>
                      </a:lnTo>
                      <a:lnTo>
                        <a:pt x="1539149" y="1865420"/>
                      </a:lnTo>
                      <a:lnTo>
                        <a:pt x="1537658" y="1860081"/>
                      </a:lnTo>
                      <a:lnTo>
                        <a:pt x="1533659" y="1834157"/>
                      </a:lnTo>
                      <a:lnTo>
                        <a:pt x="1531315" y="1826073"/>
                      </a:lnTo>
                      <a:lnTo>
                        <a:pt x="1529184" y="1821095"/>
                      </a:lnTo>
                      <a:lnTo>
                        <a:pt x="1527642" y="1816415"/>
                      </a:lnTo>
                      <a:lnTo>
                        <a:pt x="1525857" y="1802472"/>
                      </a:lnTo>
                      <a:lnTo>
                        <a:pt x="1524527" y="1798418"/>
                      </a:lnTo>
                      <a:lnTo>
                        <a:pt x="1520552" y="1791394"/>
                      </a:lnTo>
                      <a:lnTo>
                        <a:pt x="1519006" y="1787546"/>
                      </a:lnTo>
                      <a:lnTo>
                        <a:pt x="1517075" y="1777377"/>
                      </a:lnTo>
                      <a:lnTo>
                        <a:pt x="1516260" y="1775625"/>
                      </a:lnTo>
                      <a:lnTo>
                        <a:pt x="1514389" y="1772621"/>
                      </a:lnTo>
                      <a:lnTo>
                        <a:pt x="1512954" y="1768840"/>
                      </a:lnTo>
                      <a:lnTo>
                        <a:pt x="1510950" y="1760987"/>
                      </a:lnTo>
                      <a:lnTo>
                        <a:pt x="1508726" y="1756689"/>
                      </a:lnTo>
                      <a:lnTo>
                        <a:pt x="1510007" y="1755356"/>
                      </a:lnTo>
                      <a:lnTo>
                        <a:pt x="1508895" y="1754295"/>
                      </a:lnTo>
                      <a:lnTo>
                        <a:pt x="1508178" y="1753161"/>
                      </a:lnTo>
                      <a:lnTo>
                        <a:pt x="1507783" y="1751881"/>
                      </a:lnTo>
                      <a:lnTo>
                        <a:pt x="1507623" y="1750412"/>
                      </a:lnTo>
                      <a:lnTo>
                        <a:pt x="1507971" y="1749686"/>
                      </a:lnTo>
                      <a:lnTo>
                        <a:pt x="1509672" y="1749229"/>
                      </a:lnTo>
                      <a:lnTo>
                        <a:pt x="1510073" y="1748627"/>
                      </a:lnTo>
                      <a:lnTo>
                        <a:pt x="1509904" y="1747598"/>
                      </a:lnTo>
                      <a:lnTo>
                        <a:pt x="1509078" y="1746200"/>
                      </a:lnTo>
                      <a:lnTo>
                        <a:pt x="1508836" y="1745480"/>
                      </a:lnTo>
                      <a:lnTo>
                        <a:pt x="1508164" y="1744045"/>
                      </a:lnTo>
                      <a:lnTo>
                        <a:pt x="1503111" y="1736844"/>
                      </a:lnTo>
                      <a:lnTo>
                        <a:pt x="1504786" y="1730615"/>
                      </a:lnTo>
                      <a:lnTo>
                        <a:pt x="1505300" y="1724329"/>
                      </a:lnTo>
                      <a:lnTo>
                        <a:pt x="1504024" y="1707377"/>
                      </a:lnTo>
                      <a:lnTo>
                        <a:pt x="1502535" y="1700764"/>
                      </a:lnTo>
                      <a:lnTo>
                        <a:pt x="1502239" y="1697181"/>
                      </a:lnTo>
                      <a:lnTo>
                        <a:pt x="1503498" y="1690402"/>
                      </a:lnTo>
                      <a:lnTo>
                        <a:pt x="1503692" y="1686981"/>
                      </a:lnTo>
                      <a:lnTo>
                        <a:pt x="1502377" y="1683747"/>
                      </a:lnTo>
                      <a:lnTo>
                        <a:pt x="1503784" y="1679971"/>
                      </a:lnTo>
                      <a:lnTo>
                        <a:pt x="1504782" y="1671512"/>
                      </a:lnTo>
                      <a:close/>
                      <a:moveTo>
                        <a:pt x="1563289" y="1554334"/>
                      </a:moveTo>
                      <a:lnTo>
                        <a:pt x="1564728" y="1555943"/>
                      </a:lnTo>
                      <a:lnTo>
                        <a:pt x="1562869" y="1557829"/>
                      </a:lnTo>
                      <a:lnTo>
                        <a:pt x="1541783" y="1588744"/>
                      </a:lnTo>
                      <a:lnTo>
                        <a:pt x="1527748" y="1616937"/>
                      </a:lnTo>
                      <a:lnTo>
                        <a:pt x="1517183" y="1641891"/>
                      </a:lnTo>
                      <a:lnTo>
                        <a:pt x="1512565" y="1656917"/>
                      </a:lnTo>
                      <a:lnTo>
                        <a:pt x="1511641" y="1663947"/>
                      </a:lnTo>
                      <a:lnTo>
                        <a:pt x="1509199" y="1665912"/>
                      </a:lnTo>
                      <a:lnTo>
                        <a:pt x="1505433" y="1665951"/>
                      </a:lnTo>
                      <a:lnTo>
                        <a:pt x="1503840" y="1665050"/>
                      </a:lnTo>
                      <a:lnTo>
                        <a:pt x="1505189" y="1662053"/>
                      </a:lnTo>
                      <a:lnTo>
                        <a:pt x="1508687" y="1643524"/>
                      </a:lnTo>
                      <a:lnTo>
                        <a:pt x="1514138" y="1632587"/>
                      </a:lnTo>
                      <a:lnTo>
                        <a:pt x="1517143" y="1624104"/>
                      </a:lnTo>
                      <a:lnTo>
                        <a:pt x="1518728" y="1620190"/>
                      </a:lnTo>
                      <a:lnTo>
                        <a:pt x="1521190" y="1614810"/>
                      </a:lnTo>
                      <a:lnTo>
                        <a:pt x="1523826" y="1608941"/>
                      </a:lnTo>
                      <a:lnTo>
                        <a:pt x="1525935" y="1604213"/>
                      </a:lnTo>
                      <a:lnTo>
                        <a:pt x="1528272" y="1599531"/>
                      </a:lnTo>
                      <a:lnTo>
                        <a:pt x="1530376" y="1594053"/>
                      </a:lnTo>
                      <a:lnTo>
                        <a:pt x="1530578" y="1592352"/>
                      </a:lnTo>
                      <a:lnTo>
                        <a:pt x="1529654" y="1590340"/>
                      </a:lnTo>
                      <a:lnTo>
                        <a:pt x="1528909" y="1587478"/>
                      </a:lnTo>
                      <a:lnTo>
                        <a:pt x="1532875" y="1589016"/>
                      </a:lnTo>
                      <a:lnTo>
                        <a:pt x="1534791" y="1590327"/>
                      </a:lnTo>
                      <a:lnTo>
                        <a:pt x="1536000" y="1592309"/>
                      </a:lnTo>
                      <a:lnTo>
                        <a:pt x="1537060" y="1592313"/>
                      </a:lnTo>
                      <a:lnTo>
                        <a:pt x="1546487" y="1573073"/>
                      </a:lnTo>
                      <a:lnTo>
                        <a:pt x="1551131" y="1567750"/>
                      </a:lnTo>
                      <a:lnTo>
                        <a:pt x="1558285" y="1561533"/>
                      </a:lnTo>
                      <a:lnTo>
                        <a:pt x="1559386" y="1559666"/>
                      </a:lnTo>
                      <a:lnTo>
                        <a:pt x="1560761" y="1554921"/>
                      </a:lnTo>
                      <a:close/>
                      <a:moveTo>
                        <a:pt x="1594931" y="1501948"/>
                      </a:moveTo>
                      <a:lnTo>
                        <a:pt x="1597073" y="1502832"/>
                      </a:lnTo>
                      <a:lnTo>
                        <a:pt x="1598661" y="1504535"/>
                      </a:lnTo>
                      <a:lnTo>
                        <a:pt x="1599110" y="1506059"/>
                      </a:lnTo>
                      <a:lnTo>
                        <a:pt x="1598582" y="1507845"/>
                      </a:lnTo>
                      <a:lnTo>
                        <a:pt x="1598307" y="1511873"/>
                      </a:lnTo>
                      <a:lnTo>
                        <a:pt x="1597801" y="1513542"/>
                      </a:lnTo>
                      <a:lnTo>
                        <a:pt x="1582809" y="1529375"/>
                      </a:lnTo>
                      <a:lnTo>
                        <a:pt x="1575806" y="1539307"/>
                      </a:lnTo>
                      <a:lnTo>
                        <a:pt x="1569773" y="1545931"/>
                      </a:lnTo>
                      <a:lnTo>
                        <a:pt x="1567373" y="1549420"/>
                      </a:lnTo>
                      <a:lnTo>
                        <a:pt x="1566375" y="1552928"/>
                      </a:lnTo>
                      <a:lnTo>
                        <a:pt x="1564945" y="1549634"/>
                      </a:lnTo>
                      <a:lnTo>
                        <a:pt x="1567229" y="1544188"/>
                      </a:lnTo>
                      <a:lnTo>
                        <a:pt x="1573430" y="1535608"/>
                      </a:lnTo>
                      <a:lnTo>
                        <a:pt x="1578451" y="1530507"/>
                      </a:lnTo>
                      <a:lnTo>
                        <a:pt x="1579243" y="1529366"/>
                      </a:lnTo>
                      <a:lnTo>
                        <a:pt x="1580324" y="1527361"/>
                      </a:lnTo>
                      <a:lnTo>
                        <a:pt x="1580277" y="1526262"/>
                      </a:lnTo>
                      <a:lnTo>
                        <a:pt x="1577041" y="1525404"/>
                      </a:lnTo>
                      <a:lnTo>
                        <a:pt x="1577048" y="1524525"/>
                      </a:lnTo>
                      <a:lnTo>
                        <a:pt x="1587044" y="1508492"/>
                      </a:lnTo>
                      <a:lnTo>
                        <a:pt x="1589375" y="1507985"/>
                      </a:lnTo>
                      <a:lnTo>
                        <a:pt x="1590628" y="1506684"/>
                      </a:lnTo>
                      <a:lnTo>
                        <a:pt x="1591533" y="1504885"/>
                      </a:lnTo>
                      <a:lnTo>
                        <a:pt x="1592789" y="1502924"/>
                      </a:lnTo>
                      <a:close/>
                      <a:moveTo>
                        <a:pt x="1671911" y="1454950"/>
                      </a:moveTo>
                      <a:lnTo>
                        <a:pt x="1672712" y="1455155"/>
                      </a:lnTo>
                      <a:lnTo>
                        <a:pt x="1673342" y="1456825"/>
                      </a:lnTo>
                      <a:lnTo>
                        <a:pt x="1673461" y="1461562"/>
                      </a:lnTo>
                      <a:lnTo>
                        <a:pt x="1673317" y="1463077"/>
                      </a:lnTo>
                      <a:lnTo>
                        <a:pt x="1672818" y="1464504"/>
                      </a:lnTo>
                      <a:lnTo>
                        <a:pt x="1671391" y="1466544"/>
                      </a:lnTo>
                      <a:lnTo>
                        <a:pt x="1671100" y="1467320"/>
                      </a:lnTo>
                      <a:lnTo>
                        <a:pt x="1658839" y="1472998"/>
                      </a:lnTo>
                      <a:lnTo>
                        <a:pt x="1653300" y="1474337"/>
                      </a:lnTo>
                      <a:lnTo>
                        <a:pt x="1648026" y="1477601"/>
                      </a:lnTo>
                      <a:lnTo>
                        <a:pt x="1638701" y="1485142"/>
                      </a:lnTo>
                      <a:lnTo>
                        <a:pt x="1622809" y="1493014"/>
                      </a:lnTo>
                      <a:lnTo>
                        <a:pt x="1618563" y="1497311"/>
                      </a:lnTo>
                      <a:lnTo>
                        <a:pt x="1609499" y="1503621"/>
                      </a:lnTo>
                      <a:lnTo>
                        <a:pt x="1604823" y="1507786"/>
                      </a:lnTo>
                      <a:lnTo>
                        <a:pt x="1602753" y="1510469"/>
                      </a:lnTo>
                      <a:lnTo>
                        <a:pt x="1601468" y="1513550"/>
                      </a:lnTo>
                      <a:lnTo>
                        <a:pt x="1600212" y="1513548"/>
                      </a:lnTo>
                      <a:lnTo>
                        <a:pt x="1600789" y="1510385"/>
                      </a:lnTo>
                      <a:lnTo>
                        <a:pt x="1602200" y="1507018"/>
                      </a:lnTo>
                      <a:lnTo>
                        <a:pt x="1604086" y="1504107"/>
                      </a:lnTo>
                      <a:lnTo>
                        <a:pt x="1606048" y="1502280"/>
                      </a:lnTo>
                      <a:lnTo>
                        <a:pt x="1606055" y="1501160"/>
                      </a:lnTo>
                      <a:lnTo>
                        <a:pt x="1604833" y="1499114"/>
                      </a:lnTo>
                      <a:lnTo>
                        <a:pt x="1604286" y="1495751"/>
                      </a:lnTo>
                      <a:lnTo>
                        <a:pt x="1605083" y="1492596"/>
                      </a:lnTo>
                      <a:lnTo>
                        <a:pt x="1607898" y="1491233"/>
                      </a:lnTo>
                      <a:lnTo>
                        <a:pt x="1611337" y="1490845"/>
                      </a:lnTo>
                      <a:lnTo>
                        <a:pt x="1616781" y="1489165"/>
                      </a:lnTo>
                      <a:lnTo>
                        <a:pt x="1619529" y="1488789"/>
                      </a:lnTo>
                      <a:lnTo>
                        <a:pt x="1621536" y="1488002"/>
                      </a:lnTo>
                      <a:lnTo>
                        <a:pt x="1628005" y="1484354"/>
                      </a:lnTo>
                      <a:lnTo>
                        <a:pt x="1629397" y="1483280"/>
                      </a:lnTo>
                      <a:lnTo>
                        <a:pt x="1631033" y="1480141"/>
                      </a:lnTo>
                      <a:lnTo>
                        <a:pt x="1638171" y="1476494"/>
                      </a:lnTo>
                      <a:lnTo>
                        <a:pt x="1639799" y="1474695"/>
                      </a:lnTo>
                      <a:lnTo>
                        <a:pt x="1641093" y="1473768"/>
                      </a:lnTo>
                      <a:lnTo>
                        <a:pt x="1648918" y="1470406"/>
                      </a:lnTo>
                      <a:lnTo>
                        <a:pt x="1652369" y="1467044"/>
                      </a:lnTo>
                      <a:lnTo>
                        <a:pt x="1654582" y="1465846"/>
                      </a:lnTo>
                      <a:lnTo>
                        <a:pt x="1658244" y="1465405"/>
                      </a:lnTo>
                      <a:lnTo>
                        <a:pt x="1664608" y="1466008"/>
                      </a:lnTo>
                      <a:lnTo>
                        <a:pt x="1666668" y="1465044"/>
                      </a:lnTo>
                      <a:lnTo>
                        <a:pt x="1668717" y="1461738"/>
                      </a:lnTo>
                      <a:lnTo>
                        <a:pt x="1668834" y="1460289"/>
                      </a:lnTo>
                      <a:lnTo>
                        <a:pt x="1668686" y="1456482"/>
                      </a:lnTo>
                      <a:lnTo>
                        <a:pt x="1669318" y="1455707"/>
                      </a:lnTo>
                      <a:lnTo>
                        <a:pt x="1670820" y="1455388"/>
                      </a:lnTo>
                      <a:close/>
                      <a:moveTo>
                        <a:pt x="1702232" y="1438443"/>
                      </a:moveTo>
                      <a:lnTo>
                        <a:pt x="1702229" y="1439658"/>
                      </a:lnTo>
                      <a:lnTo>
                        <a:pt x="1700893" y="1439803"/>
                      </a:lnTo>
                      <a:lnTo>
                        <a:pt x="1700194" y="1440117"/>
                      </a:lnTo>
                      <a:lnTo>
                        <a:pt x="1699645" y="1440548"/>
                      </a:lnTo>
                      <a:lnTo>
                        <a:pt x="1699835" y="1441002"/>
                      </a:lnTo>
                      <a:lnTo>
                        <a:pt x="1698451" y="1441747"/>
                      </a:lnTo>
                      <a:lnTo>
                        <a:pt x="1694895" y="1444261"/>
                      </a:lnTo>
                      <a:lnTo>
                        <a:pt x="1693561" y="1445958"/>
                      </a:lnTo>
                      <a:lnTo>
                        <a:pt x="1689469" y="1447022"/>
                      </a:lnTo>
                      <a:lnTo>
                        <a:pt x="1685160" y="1451130"/>
                      </a:lnTo>
                      <a:lnTo>
                        <a:pt x="1682400" y="1452921"/>
                      </a:lnTo>
                      <a:lnTo>
                        <a:pt x="1679098" y="1453268"/>
                      </a:lnTo>
                      <a:lnTo>
                        <a:pt x="1679103" y="1451914"/>
                      </a:lnTo>
                      <a:lnTo>
                        <a:pt x="1688692" y="1443991"/>
                      </a:lnTo>
                      <a:lnTo>
                        <a:pt x="1695037" y="1440376"/>
                      </a:lnTo>
                      <a:close/>
                      <a:moveTo>
                        <a:pt x="1936830" y="1281853"/>
                      </a:moveTo>
                      <a:lnTo>
                        <a:pt x="1937510" y="1281925"/>
                      </a:lnTo>
                      <a:lnTo>
                        <a:pt x="1937660" y="1282969"/>
                      </a:lnTo>
                      <a:lnTo>
                        <a:pt x="1939792" y="1283146"/>
                      </a:lnTo>
                      <a:lnTo>
                        <a:pt x="1954842" y="1286661"/>
                      </a:lnTo>
                      <a:lnTo>
                        <a:pt x="1927004" y="1306167"/>
                      </a:lnTo>
                      <a:lnTo>
                        <a:pt x="1917734" y="1311743"/>
                      </a:lnTo>
                      <a:lnTo>
                        <a:pt x="1896264" y="1326126"/>
                      </a:lnTo>
                      <a:lnTo>
                        <a:pt x="1890873" y="1330705"/>
                      </a:lnTo>
                      <a:lnTo>
                        <a:pt x="1889489" y="1330636"/>
                      </a:lnTo>
                      <a:lnTo>
                        <a:pt x="1891862" y="1326649"/>
                      </a:lnTo>
                      <a:lnTo>
                        <a:pt x="1895352" y="1322169"/>
                      </a:lnTo>
                      <a:lnTo>
                        <a:pt x="1903243" y="1317333"/>
                      </a:lnTo>
                      <a:lnTo>
                        <a:pt x="1914285" y="1309243"/>
                      </a:lnTo>
                      <a:lnTo>
                        <a:pt x="1918397" y="1306544"/>
                      </a:lnTo>
                      <a:lnTo>
                        <a:pt x="1920784" y="1304020"/>
                      </a:lnTo>
                      <a:lnTo>
                        <a:pt x="1922111" y="1301578"/>
                      </a:lnTo>
                      <a:lnTo>
                        <a:pt x="1922690" y="1300708"/>
                      </a:lnTo>
                      <a:lnTo>
                        <a:pt x="1929702" y="1295433"/>
                      </a:lnTo>
                      <a:lnTo>
                        <a:pt x="1931072" y="1292676"/>
                      </a:lnTo>
                      <a:lnTo>
                        <a:pt x="1931861" y="1291747"/>
                      </a:lnTo>
                      <a:lnTo>
                        <a:pt x="1935571" y="1290774"/>
                      </a:lnTo>
                      <a:lnTo>
                        <a:pt x="1935896" y="1290635"/>
                      </a:lnTo>
                      <a:lnTo>
                        <a:pt x="1937536" y="1289492"/>
                      </a:lnTo>
                      <a:lnTo>
                        <a:pt x="1938587" y="1287064"/>
                      </a:lnTo>
                      <a:lnTo>
                        <a:pt x="1938130" y="1284874"/>
                      </a:lnTo>
                      <a:lnTo>
                        <a:pt x="1935241" y="1284384"/>
                      </a:lnTo>
                      <a:lnTo>
                        <a:pt x="1935233" y="1283157"/>
                      </a:lnTo>
                      <a:lnTo>
                        <a:pt x="1936078" y="1283257"/>
                      </a:lnTo>
                      <a:lnTo>
                        <a:pt x="1936280" y="1282964"/>
                      </a:lnTo>
                      <a:lnTo>
                        <a:pt x="1936277" y="1282453"/>
                      </a:lnTo>
                      <a:lnTo>
                        <a:pt x="1936469" y="1281927"/>
                      </a:lnTo>
                      <a:close/>
                      <a:moveTo>
                        <a:pt x="638421" y="0"/>
                      </a:moveTo>
                      <a:lnTo>
                        <a:pt x="644987" y="29"/>
                      </a:lnTo>
                      <a:lnTo>
                        <a:pt x="650138" y="136"/>
                      </a:lnTo>
                      <a:lnTo>
                        <a:pt x="664718" y="436"/>
                      </a:lnTo>
                      <a:lnTo>
                        <a:pt x="687376" y="894"/>
                      </a:lnTo>
                      <a:lnTo>
                        <a:pt x="716764" y="1477"/>
                      </a:lnTo>
                      <a:lnTo>
                        <a:pt x="751541" y="2143"/>
                      </a:lnTo>
                      <a:lnTo>
                        <a:pt x="790369" y="2864"/>
                      </a:lnTo>
                      <a:lnTo>
                        <a:pt x="831897" y="3599"/>
                      </a:lnTo>
                      <a:lnTo>
                        <a:pt x="874773" y="4324"/>
                      </a:lnTo>
                      <a:lnTo>
                        <a:pt x="917658" y="5015"/>
                      </a:lnTo>
                      <a:lnTo>
                        <a:pt x="959202" y="5653"/>
                      </a:lnTo>
                      <a:lnTo>
                        <a:pt x="998059" y="6228"/>
                      </a:lnTo>
                      <a:lnTo>
                        <a:pt x="1032873" y="6712"/>
                      </a:lnTo>
                      <a:lnTo>
                        <a:pt x="1062301" y="7113"/>
                      </a:lnTo>
                      <a:lnTo>
                        <a:pt x="1084990" y="7404"/>
                      </a:lnTo>
                      <a:lnTo>
                        <a:pt x="1099596" y="7587"/>
                      </a:lnTo>
                      <a:lnTo>
                        <a:pt x="1104764" y="7650"/>
                      </a:lnTo>
                      <a:lnTo>
                        <a:pt x="1113304" y="7755"/>
                      </a:lnTo>
                      <a:lnTo>
                        <a:pt x="1115034" y="7810"/>
                      </a:lnTo>
                      <a:lnTo>
                        <a:pt x="1114711" y="16522"/>
                      </a:lnTo>
                      <a:lnTo>
                        <a:pt x="1113990" y="36560"/>
                      </a:lnTo>
                      <a:lnTo>
                        <a:pt x="1113280" y="56609"/>
                      </a:lnTo>
                      <a:lnTo>
                        <a:pt x="1112559" y="76672"/>
                      </a:lnTo>
                      <a:lnTo>
                        <a:pt x="1111848" y="96730"/>
                      </a:lnTo>
                      <a:lnTo>
                        <a:pt x="1111140" y="116807"/>
                      </a:lnTo>
                      <a:lnTo>
                        <a:pt x="1110428" y="136877"/>
                      </a:lnTo>
                      <a:lnTo>
                        <a:pt x="1109726" y="156950"/>
                      </a:lnTo>
                      <a:lnTo>
                        <a:pt x="1109025" y="177045"/>
                      </a:lnTo>
                      <a:lnTo>
                        <a:pt x="1108331" y="197140"/>
                      </a:lnTo>
                      <a:lnTo>
                        <a:pt x="1107632" y="217245"/>
                      </a:lnTo>
                      <a:lnTo>
                        <a:pt x="1106939" y="237351"/>
                      </a:lnTo>
                      <a:lnTo>
                        <a:pt x="1106249" y="257460"/>
                      </a:lnTo>
                      <a:lnTo>
                        <a:pt x="1105561" y="277580"/>
                      </a:lnTo>
                      <a:lnTo>
                        <a:pt x="1104876" y="297710"/>
                      </a:lnTo>
                      <a:lnTo>
                        <a:pt x="1104185" y="317842"/>
                      </a:lnTo>
                      <a:lnTo>
                        <a:pt x="1103505" y="337981"/>
                      </a:lnTo>
                      <a:lnTo>
                        <a:pt x="1103232" y="346193"/>
                      </a:lnTo>
                      <a:lnTo>
                        <a:pt x="1103168" y="348007"/>
                      </a:lnTo>
                      <a:lnTo>
                        <a:pt x="1105727" y="347815"/>
                      </a:lnTo>
                      <a:lnTo>
                        <a:pt x="1112942" y="346961"/>
                      </a:lnTo>
                      <a:lnTo>
                        <a:pt x="1115386" y="347651"/>
                      </a:lnTo>
                      <a:lnTo>
                        <a:pt x="1116819" y="348450"/>
                      </a:lnTo>
                      <a:lnTo>
                        <a:pt x="1120338" y="349095"/>
                      </a:lnTo>
                      <a:lnTo>
                        <a:pt x="1121854" y="350086"/>
                      </a:lnTo>
                      <a:lnTo>
                        <a:pt x="1148076" y="374149"/>
                      </a:lnTo>
                      <a:lnTo>
                        <a:pt x="1151069" y="378559"/>
                      </a:lnTo>
                      <a:lnTo>
                        <a:pt x="1153048" y="380615"/>
                      </a:lnTo>
                      <a:lnTo>
                        <a:pt x="1155993" y="381495"/>
                      </a:lnTo>
                      <a:lnTo>
                        <a:pt x="1165658" y="382456"/>
                      </a:lnTo>
                      <a:lnTo>
                        <a:pt x="1168611" y="381624"/>
                      </a:lnTo>
                      <a:lnTo>
                        <a:pt x="1169752" y="380795"/>
                      </a:lnTo>
                      <a:lnTo>
                        <a:pt x="1171658" y="378862"/>
                      </a:lnTo>
                      <a:lnTo>
                        <a:pt x="1173104" y="378041"/>
                      </a:lnTo>
                      <a:lnTo>
                        <a:pt x="1174531" y="377683"/>
                      </a:lnTo>
                      <a:lnTo>
                        <a:pt x="1182231" y="378756"/>
                      </a:lnTo>
                      <a:lnTo>
                        <a:pt x="1188255" y="381925"/>
                      </a:lnTo>
                      <a:lnTo>
                        <a:pt x="1191542" y="383179"/>
                      </a:lnTo>
                      <a:lnTo>
                        <a:pt x="1195309" y="383579"/>
                      </a:lnTo>
                      <a:lnTo>
                        <a:pt x="1197758" y="382538"/>
                      </a:lnTo>
                      <a:lnTo>
                        <a:pt x="1199121" y="379840"/>
                      </a:lnTo>
                      <a:lnTo>
                        <a:pt x="1200343" y="371024"/>
                      </a:lnTo>
                      <a:lnTo>
                        <a:pt x="1202009" y="369044"/>
                      </a:lnTo>
                      <a:lnTo>
                        <a:pt x="1204407" y="369145"/>
                      </a:lnTo>
                      <a:lnTo>
                        <a:pt x="1207312" y="371112"/>
                      </a:lnTo>
                      <a:lnTo>
                        <a:pt x="1208046" y="372197"/>
                      </a:lnTo>
                      <a:lnTo>
                        <a:pt x="1208471" y="373440"/>
                      </a:lnTo>
                      <a:lnTo>
                        <a:pt x="1209098" y="374731"/>
                      </a:lnTo>
                      <a:lnTo>
                        <a:pt x="1210453" y="375987"/>
                      </a:lnTo>
                      <a:lnTo>
                        <a:pt x="1211793" y="376567"/>
                      </a:lnTo>
                      <a:lnTo>
                        <a:pt x="1213398" y="376924"/>
                      </a:lnTo>
                      <a:lnTo>
                        <a:pt x="1216481" y="377144"/>
                      </a:lnTo>
                      <a:lnTo>
                        <a:pt x="1219655" y="378282"/>
                      </a:lnTo>
                      <a:lnTo>
                        <a:pt x="1221150" y="380955"/>
                      </a:lnTo>
                      <a:lnTo>
                        <a:pt x="1222051" y="384198"/>
                      </a:lnTo>
                      <a:lnTo>
                        <a:pt x="1223457" y="387008"/>
                      </a:lnTo>
                      <a:lnTo>
                        <a:pt x="1228279" y="391097"/>
                      </a:lnTo>
                      <a:lnTo>
                        <a:pt x="1230969" y="394231"/>
                      </a:lnTo>
                      <a:lnTo>
                        <a:pt x="1230276" y="395658"/>
                      </a:lnTo>
                      <a:lnTo>
                        <a:pt x="1229642" y="397727"/>
                      </a:lnTo>
                      <a:lnTo>
                        <a:pt x="1229787" y="407335"/>
                      </a:lnTo>
                      <a:lnTo>
                        <a:pt x="1230364" y="410191"/>
                      </a:lnTo>
                      <a:lnTo>
                        <a:pt x="1233052" y="412278"/>
                      </a:lnTo>
                      <a:lnTo>
                        <a:pt x="1236626" y="412964"/>
                      </a:lnTo>
                      <a:lnTo>
                        <a:pt x="1244093" y="412736"/>
                      </a:lnTo>
                      <a:lnTo>
                        <a:pt x="1247388" y="413168"/>
                      </a:lnTo>
                      <a:lnTo>
                        <a:pt x="1253425" y="414953"/>
                      </a:lnTo>
                      <a:lnTo>
                        <a:pt x="1256619" y="415380"/>
                      </a:lnTo>
                      <a:lnTo>
                        <a:pt x="1260077" y="414890"/>
                      </a:lnTo>
                      <a:lnTo>
                        <a:pt x="1262630" y="413932"/>
                      </a:lnTo>
                      <a:lnTo>
                        <a:pt x="1265225" y="413396"/>
                      </a:lnTo>
                      <a:lnTo>
                        <a:pt x="1268807" y="414167"/>
                      </a:lnTo>
                      <a:lnTo>
                        <a:pt x="1280678" y="421531"/>
                      </a:lnTo>
                      <a:lnTo>
                        <a:pt x="1283888" y="422618"/>
                      </a:lnTo>
                      <a:lnTo>
                        <a:pt x="1303922" y="426808"/>
                      </a:lnTo>
                      <a:lnTo>
                        <a:pt x="1305839" y="427793"/>
                      </a:lnTo>
                      <a:lnTo>
                        <a:pt x="1316678" y="423787"/>
                      </a:lnTo>
                      <a:lnTo>
                        <a:pt x="1320303" y="423165"/>
                      </a:lnTo>
                      <a:lnTo>
                        <a:pt x="1322250" y="423253"/>
                      </a:lnTo>
                      <a:lnTo>
                        <a:pt x="1327451" y="424323"/>
                      </a:lnTo>
                      <a:lnTo>
                        <a:pt x="1329241" y="425298"/>
                      </a:lnTo>
                      <a:lnTo>
                        <a:pt x="1331716" y="429557"/>
                      </a:lnTo>
                      <a:lnTo>
                        <a:pt x="1332792" y="430527"/>
                      </a:lnTo>
                      <a:lnTo>
                        <a:pt x="1334801" y="431854"/>
                      </a:lnTo>
                      <a:lnTo>
                        <a:pt x="1340038" y="437642"/>
                      </a:lnTo>
                      <a:lnTo>
                        <a:pt x="1342433" y="438972"/>
                      </a:lnTo>
                      <a:lnTo>
                        <a:pt x="1350469" y="439007"/>
                      </a:lnTo>
                      <a:lnTo>
                        <a:pt x="1354362" y="438376"/>
                      </a:lnTo>
                      <a:lnTo>
                        <a:pt x="1355296" y="436749"/>
                      </a:lnTo>
                      <a:lnTo>
                        <a:pt x="1357696" y="433833"/>
                      </a:lnTo>
                      <a:lnTo>
                        <a:pt x="1359712" y="430623"/>
                      </a:lnTo>
                      <a:lnTo>
                        <a:pt x="1362287" y="428046"/>
                      </a:lnTo>
                      <a:lnTo>
                        <a:pt x="1366376" y="427021"/>
                      </a:lnTo>
                      <a:lnTo>
                        <a:pt x="1387804" y="429697"/>
                      </a:lnTo>
                      <a:lnTo>
                        <a:pt x="1392756" y="429166"/>
                      </a:lnTo>
                      <a:lnTo>
                        <a:pt x="1400337" y="426705"/>
                      </a:lnTo>
                      <a:lnTo>
                        <a:pt x="1404422" y="426167"/>
                      </a:lnTo>
                      <a:lnTo>
                        <a:pt x="1406929" y="428201"/>
                      </a:lnTo>
                      <a:lnTo>
                        <a:pt x="1406742" y="432895"/>
                      </a:lnTo>
                      <a:lnTo>
                        <a:pt x="1405992" y="438163"/>
                      </a:lnTo>
                      <a:lnTo>
                        <a:pt x="1406768" y="441928"/>
                      </a:lnTo>
                      <a:lnTo>
                        <a:pt x="1406925" y="447800"/>
                      </a:lnTo>
                      <a:lnTo>
                        <a:pt x="1412964" y="450662"/>
                      </a:lnTo>
                      <a:lnTo>
                        <a:pt x="1420828" y="452191"/>
                      </a:lnTo>
                      <a:lnTo>
                        <a:pt x="1426505" y="454052"/>
                      </a:lnTo>
                      <a:lnTo>
                        <a:pt x="1428117" y="453698"/>
                      </a:lnTo>
                      <a:lnTo>
                        <a:pt x="1429274" y="455103"/>
                      </a:lnTo>
                      <a:lnTo>
                        <a:pt x="1429556" y="456946"/>
                      </a:lnTo>
                      <a:lnTo>
                        <a:pt x="1428518" y="459025"/>
                      </a:lnTo>
                      <a:lnTo>
                        <a:pt x="1429556" y="460921"/>
                      </a:lnTo>
                      <a:lnTo>
                        <a:pt x="1429546" y="462632"/>
                      </a:lnTo>
                      <a:lnTo>
                        <a:pt x="1428390" y="466292"/>
                      </a:lnTo>
                      <a:lnTo>
                        <a:pt x="1428024" y="468119"/>
                      </a:lnTo>
                      <a:lnTo>
                        <a:pt x="1427726" y="469218"/>
                      </a:lnTo>
                      <a:lnTo>
                        <a:pt x="1427290" y="471851"/>
                      </a:lnTo>
                      <a:lnTo>
                        <a:pt x="1428839" y="473610"/>
                      </a:lnTo>
                      <a:lnTo>
                        <a:pt x="1432452" y="475408"/>
                      </a:lnTo>
                      <a:lnTo>
                        <a:pt x="1439284" y="477488"/>
                      </a:lnTo>
                      <a:lnTo>
                        <a:pt x="1446352" y="476395"/>
                      </a:lnTo>
                      <a:lnTo>
                        <a:pt x="1452766" y="472910"/>
                      </a:lnTo>
                      <a:lnTo>
                        <a:pt x="1466779" y="460167"/>
                      </a:lnTo>
                      <a:lnTo>
                        <a:pt x="1472471" y="456031"/>
                      </a:lnTo>
                      <a:lnTo>
                        <a:pt x="1478828" y="454109"/>
                      </a:lnTo>
                      <a:lnTo>
                        <a:pt x="1484869" y="456893"/>
                      </a:lnTo>
                      <a:lnTo>
                        <a:pt x="1486258" y="459895"/>
                      </a:lnTo>
                      <a:lnTo>
                        <a:pt x="1486029" y="466480"/>
                      </a:lnTo>
                      <a:lnTo>
                        <a:pt x="1487430" y="469797"/>
                      </a:lnTo>
                      <a:lnTo>
                        <a:pt x="1489794" y="471118"/>
                      </a:lnTo>
                      <a:lnTo>
                        <a:pt x="1500154" y="470515"/>
                      </a:lnTo>
                      <a:lnTo>
                        <a:pt x="1503790" y="471126"/>
                      </a:lnTo>
                      <a:lnTo>
                        <a:pt x="1506146" y="472406"/>
                      </a:lnTo>
                      <a:lnTo>
                        <a:pt x="1507404" y="474695"/>
                      </a:lnTo>
                      <a:lnTo>
                        <a:pt x="1507744" y="478377"/>
                      </a:lnTo>
                      <a:lnTo>
                        <a:pt x="1508714" y="482499"/>
                      </a:lnTo>
                      <a:lnTo>
                        <a:pt x="1511274" y="484001"/>
                      </a:lnTo>
                      <a:lnTo>
                        <a:pt x="1521704" y="483416"/>
                      </a:lnTo>
                      <a:lnTo>
                        <a:pt x="1523533" y="482864"/>
                      </a:lnTo>
                      <a:lnTo>
                        <a:pt x="1524794" y="482025"/>
                      </a:lnTo>
                      <a:lnTo>
                        <a:pt x="1525521" y="481403"/>
                      </a:lnTo>
                      <a:lnTo>
                        <a:pt x="1527217" y="480447"/>
                      </a:lnTo>
                      <a:lnTo>
                        <a:pt x="1528076" y="479671"/>
                      </a:lnTo>
                      <a:lnTo>
                        <a:pt x="1528569" y="478932"/>
                      </a:lnTo>
                      <a:lnTo>
                        <a:pt x="1529500" y="477128"/>
                      </a:lnTo>
                      <a:lnTo>
                        <a:pt x="1529860" y="476592"/>
                      </a:lnTo>
                      <a:lnTo>
                        <a:pt x="1532435" y="475029"/>
                      </a:lnTo>
                      <a:lnTo>
                        <a:pt x="1534367" y="475488"/>
                      </a:lnTo>
                      <a:lnTo>
                        <a:pt x="1538625" y="479053"/>
                      </a:lnTo>
                      <a:lnTo>
                        <a:pt x="1539539" y="477935"/>
                      </a:lnTo>
                      <a:lnTo>
                        <a:pt x="1542459" y="473400"/>
                      </a:lnTo>
                      <a:lnTo>
                        <a:pt x="1542993" y="472080"/>
                      </a:lnTo>
                      <a:lnTo>
                        <a:pt x="1543714" y="471246"/>
                      </a:lnTo>
                      <a:lnTo>
                        <a:pt x="1544594" y="470686"/>
                      </a:lnTo>
                      <a:lnTo>
                        <a:pt x="1546631" y="469935"/>
                      </a:lnTo>
                      <a:lnTo>
                        <a:pt x="1547635" y="469393"/>
                      </a:lnTo>
                      <a:lnTo>
                        <a:pt x="1549648" y="470748"/>
                      </a:lnTo>
                      <a:lnTo>
                        <a:pt x="1551413" y="472458"/>
                      </a:lnTo>
                      <a:lnTo>
                        <a:pt x="1552645" y="474464"/>
                      </a:lnTo>
                      <a:lnTo>
                        <a:pt x="1553047" y="476680"/>
                      </a:lnTo>
                      <a:lnTo>
                        <a:pt x="1552248" y="479551"/>
                      </a:lnTo>
                      <a:lnTo>
                        <a:pt x="1549150" y="484022"/>
                      </a:lnTo>
                      <a:lnTo>
                        <a:pt x="1548432" y="487023"/>
                      </a:lnTo>
                      <a:lnTo>
                        <a:pt x="1549190" y="491322"/>
                      </a:lnTo>
                      <a:lnTo>
                        <a:pt x="1551296" y="496029"/>
                      </a:lnTo>
                      <a:lnTo>
                        <a:pt x="1554416" y="500042"/>
                      </a:lnTo>
                      <a:lnTo>
                        <a:pt x="1558171" y="502267"/>
                      </a:lnTo>
                      <a:lnTo>
                        <a:pt x="1563267" y="502110"/>
                      </a:lnTo>
                      <a:lnTo>
                        <a:pt x="1566312" y="499238"/>
                      </a:lnTo>
                      <a:lnTo>
                        <a:pt x="1567789" y="494699"/>
                      </a:lnTo>
                      <a:lnTo>
                        <a:pt x="1568208" y="489516"/>
                      </a:lnTo>
                      <a:lnTo>
                        <a:pt x="1568932" y="487602"/>
                      </a:lnTo>
                      <a:lnTo>
                        <a:pt x="1572037" y="485953"/>
                      </a:lnTo>
                      <a:lnTo>
                        <a:pt x="1572758" y="484685"/>
                      </a:lnTo>
                      <a:lnTo>
                        <a:pt x="1572167" y="482906"/>
                      </a:lnTo>
                      <a:lnTo>
                        <a:pt x="1570882" y="482017"/>
                      </a:lnTo>
                      <a:lnTo>
                        <a:pt x="1569723" y="480809"/>
                      </a:lnTo>
                      <a:lnTo>
                        <a:pt x="1569527" y="478065"/>
                      </a:lnTo>
                      <a:lnTo>
                        <a:pt x="1575218" y="479513"/>
                      </a:lnTo>
                      <a:lnTo>
                        <a:pt x="1578793" y="478645"/>
                      </a:lnTo>
                      <a:lnTo>
                        <a:pt x="1581319" y="475676"/>
                      </a:lnTo>
                      <a:lnTo>
                        <a:pt x="1583882" y="470834"/>
                      </a:lnTo>
                      <a:lnTo>
                        <a:pt x="1584304" y="466541"/>
                      </a:lnTo>
                      <a:lnTo>
                        <a:pt x="1584181" y="464223"/>
                      </a:lnTo>
                      <a:lnTo>
                        <a:pt x="1585354" y="462871"/>
                      </a:lnTo>
                      <a:lnTo>
                        <a:pt x="1586206" y="462435"/>
                      </a:lnTo>
                      <a:lnTo>
                        <a:pt x="1587129" y="462070"/>
                      </a:lnTo>
                      <a:lnTo>
                        <a:pt x="1592638" y="461154"/>
                      </a:lnTo>
                      <a:lnTo>
                        <a:pt x="1594025" y="461159"/>
                      </a:lnTo>
                      <a:lnTo>
                        <a:pt x="1595562" y="461411"/>
                      </a:lnTo>
                      <a:lnTo>
                        <a:pt x="1597747" y="462323"/>
                      </a:lnTo>
                      <a:lnTo>
                        <a:pt x="1598840" y="463135"/>
                      </a:lnTo>
                      <a:lnTo>
                        <a:pt x="1599613" y="463991"/>
                      </a:lnTo>
                      <a:lnTo>
                        <a:pt x="1600314" y="465748"/>
                      </a:lnTo>
                      <a:lnTo>
                        <a:pt x="1601268" y="470747"/>
                      </a:lnTo>
                      <a:lnTo>
                        <a:pt x="1602003" y="472483"/>
                      </a:lnTo>
                      <a:lnTo>
                        <a:pt x="1603000" y="473964"/>
                      </a:lnTo>
                      <a:lnTo>
                        <a:pt x="1604926" y="475833"/>
                      </a:lnTo>
                      <a:lnTo>
                        <a:pt x="1605692" y="476350"/>
                      </a:lnTo>
                      <a:lnTo>
                        <a:pt x="1606858" y="476709"/>
                      </a:lnTo>
                      <a:lnTo>
                        <a:pt x="1608398" y="476826"/>
                      </a:lnTo>
                      <a:lnTo>
                        <a:pt x="1614144" y="476121"/>
                      </a:lnTo>
                      <a:lnTo>
                        <a:pt x="1615463" y="476329"/>
                      </a:lnTo>
                      <a:lnTo>
                        <a:pt x="1617112" y="477100"/>
                      </a:lnTo>
                      <a:lnTo>
                        <a:pt x="1621296" y="480041"/>
                      </a:lnTo>
                      <a:lnTo>
                        <a:pt x="1622147" y="480485"/>
                      </a:lnTo>
                      <a:lnTo>
                        <a:pt x="1623529" y="480714"/>
                      </a:lnTo>
                      <a:lnTo>
                        <a:pt x="1625294" y="480796"/>
                      </a:lnTo>
                      <a:lnTo>
                        <a:pt x="1628384" y="480435"/>
                      </a:lnTo>
                      <a:lnTo>
                        <a:pt x="1630031" y="480005"/>
                      </a:lnTo>
                      <a:lnTo>
                        <a:pt x="1631245" y="479488"/>
                      </a:lnTo>
                      <a:lnTo>
                        <a:pt x="1631950" y="478909"/>
                      </a:lnTo>
                      <a:lnTo>
                        <a:pt x="1632536" y="478234"/>
                      </a:lnTo>
                      <a:lnTo>
                        <a:pt x="1633061" y="477490"/>
                      </a:lnTo>
                      <a:lnTo>
                        <a:pt x="1633503" y="476646"/>
                      </a:lnTo>
                      <a:lnTo>
                        <a:pt x="1635622" y="471147"/>
                      </a:lnTo>
                      <a:lnTo>
                        <a:pt x="1636654" y="469638"/>
                      </a:lnTo>
                      <a:lnTo>
                        <a:pt x="1637346" y="469054"/>
                      </a:lnTo>
                      <a:lnTo>
                        <a:pt x="1638182" y="468614"/>
                      </a:lnTo>
                      <a:lnTo>
                        <a:pt x="1639806" y="468583"/>
                      </a:lnTo>
                      <a:lnTo>
                        <a:pt x="1642011" y="469081"/>
                      </a:lnTo>
                      <a:lnTo>
                        <a:pt x="1645987" y="470598"/>
                      </a:lnTo>
                      <a:lnTo>
                        <a:pt x="1647315" y="471853"/>
                      </a:lnTo>
                      <a:lnTo>
                        <a:pt x="1647733" y="472907"/>
                      </a:lnTo>
                      <a:lnTo>
                        <a:pt x="1645966" y="476218"/>
                      </a:lnTo>
                      <a:lnTo>
                        <a:pt x="1645662" y="477097"/>
                      </a:lnTo>
                      <a:lnTo>
                        <a:pt x="1645663" y="478059"/>
                      </a:lnTo>
                      <a:lnTo>
                        <a:pt x="1645889" y="478961"/>
                      </a:lnTo>
                      <a:lnTo>
                        <a:pt x="1646367" y="479742"/>
                      </a:lnTo>
                      <a:lnTo>
                        <a:pt x="1646981" y="480385"/>
                      </a:lnTo>
                      <a:lnTo>
                        <a:pt x="1648942" y="482348"/>
                      </a:lnTo>
                      <a:lnTo>
                        <a:pt x="1655551" y="484234"/>
                      </a:lnTo>
                      <a:lnTo>
                        <a:pt x="1655562" y="484234"/>
                      </a:lnTo>
                      <a:lnTo>
                        <a:pt x="1659081" y="485914"/>
                      </a:lnTo>
                      <a:lnTo>
                        <a:pt x="1659949" y="486669"/>
                      </a:lnTo>
                      <a:lnTo>
                        <a:pt x="1660473" y="487980"/>
                      </a:lnTo>
                      <a:lnTo>
                        <a:pt x="1660850" y="489627"/>
                      </a:lnTo>
                      <a:lnTo>
                        <a:pt x="1661448" y="491037"/>
                      </a:lnTo>
                      <a:lnTo>
                        <a:pt x="1662668" y="491633"/>
                      </a:lnTo>
                      <a:lnTo>
                        <a:pt x="1673590" y="491093"/>
                      </a:lnTo>
                      <a:lnTo>
                        <a:pt x="1676526" y="491657"/>
                      </a:lnTo>
                      <a:lnTo>
                        <a:pt x="1680280" y="495880"/>
                      </a:lnTo>
                      <a:lnTo>
                        <a:pt x="1684835" y="502494"/>
                      </a:lnTo>
                      <a:lnTo>
                        <a:pt x="1689628" y="506719"/>
                      </a:lnTo>
                      <a:lnTo>
                        <a:pt x="1694085" y="503803"/>
                      </a:lnTo>
                      <a:lnTo>
                        <a:pt x="1695025" y="500110"/>
                      </a:lnTo>
                      <a:lnTo>
                        <a:pt x="1694973" y="497458"/>
                      </a:lnTo>
                      <a:lnTo>
                        <a:pt x="1696003" y="495863"/>
                      </a:lnTo>
                      <a:lnTo>
                        <a:pt x="1700219" y="495335"/>
                      </a:lnTo>
                      <a:lnTo>
                        <a:pt x="1707085" y="496054"/>
                      </a:lnTo>
                      <a:lnTo>
                        <a:pt x="1709994" y="495766"/>
                      </a:lnTo>
                      <a:lnTo>
                        <a:pt x="1713034" y="494018"/>
                      </a:lnTo>
                      <a:lnTo>
                        <a:pt x="1714623" y="491679"/>
                      </a:lnTo>
                      <a:lnTo>
                        <a:pt x="1717488" y="485566"/>
                      </a:lnTo>
                      <a:lnTo>
                        <a:pt x="1719058" y="484323"/>
                      </a:lnTo>
                      <a:lnTo>
                        <a:pt x="1720805" y="483953"/>
                      </a:lnTo>
                      <a:lnTo>
                        <a:pt x="1724121" y="482281"/>
                      </a:lnTo>
                      <a:lnTo>
                        <a:pt x="1725714" y="481910"/>
                      </a:lnTo>
                      <a:lnTo>
                        <a:pt x="1733962" y="481916"/>
                      </a:lnTo>
                      <a:lnTo>
                        <a:pt x="1736220" y="481654"/>
                      </a:lnTo>
                      <a:lnTo>
                        <a:pt x="1741666" y="479498"/>
                      </a:lnTo>
                      <a:lnTo>
                        <a:pt x="1744661" y="477579"/>
                      </a:lnTo>
                      <a:lnTo>
                        <a:pt x="1747129" y="476380"/>
                      </a:lnTo>
                      <a:lnTo>
                        <a:pt x="1748273" y="476467"/>
                      </a:lnTo>
                      <a:lnTo>
                        <a:pt x="1748989" y="475145"/>
                      </a:lnTo>
                      <a:lnTo>
                        <a:pt x="1750687" y="473465"/>
                      </a:lnTo>
                      <a:lnTo>
                        <a:pt x="1752712" y="472383"/>
                      </a:lnTo>
                      <a:lnTo>
                        <a:pt x="1754370" y="472834"/>
                      </a:lnTo>
                      <a:lnTo>
                        <a:pt x="1756079" y="474425"/>
                      </a:lnTo>
                      <a:lnTo>
                        <a:pt x="1765185" y="479770"/>
                      </a:lnTo>
                      <a:lnTo>
                        <a:pt x="1767038" y="480208"/>
                      </a:lnTo>
                      <a:lnTo>
                        <a:pt x="1771561" y="479506"/>
                      </a:lnTo>
                      <a:lnTo>
                        <a:pt x="1772539" y="478297"/>
                      </a:lnTo>
                      <a:lnTo>
                        <a:pt x="1773483" y="477477"/>
                      </a:lnTo>
                      <a:lnTo>
                        <a:pt x="1774761" y="477079"/>
                      </a:lnTo>
                      <a:lnTo>
                        <a:pt x="1775626" y="478297"/>
                      </a:lnTo>
                      <a:lnTo>
                        <a:pt x="1776500" y="479125"/>
                      </a:lnTo>
                      <a:lnTo>
                        <a:pt x="1777608" y="479505"/>
                      </a:lnTo>
                      <a:lnTo>
                        <a:pt x="1779377" y="478366"/>
                      </a:lnTo>
                      <a:lnTo>
                        <a:pt x="1778688" y="473369"/>
                      </a:lnTo>
                      <a:lnTo>
                        <a:pt x="1779804" y="472229"/>
                      </a:lnTo>
                      <a:lnTo>
                        <a:pt x="1785059" y="472368"/>
                      </a:lnTo>
                      <a:lnTo>
                        <a:pt x="1787473" y="472077"/>
                      </a:lnTo>
                      <a:lnTo>
                        <a:pt x="1789147" y="472228"/>
                      </a:lnTo>
                      <a:lnTo>
                        <a:pt x="1790193" y="471074"/>
                      </a:lnTo>
                      <a:lnTo>
                        <a:pt x="1791791" y="469887"/>
                      </a:lnTo>
                      <a:lnTo>
                        <a:pt x="1793594" y="468963"/>
                      </a:lnTo>
                      <a:lnTo>
                        <a:pt x="1795241" y="468595"/>
                      </a:lnTo>
                      <a:lnTo>
                        <a:pt x="1799039" y="466717"/>
                      </a:lnTo>
                      <a:lnTo>
                        <a:pt x="1799541" y="466310"/>
                      </a:lnTo>
                      <a:lnTo>
                        <a:pt x="1802215" y="467213"/>
                      </a:lnTo>
                      <a:lnTo>
                        <a:pt x="1803433" y="467265"/>
                      </a:lnTo>
                      <a:lnTo>
                        <a:pt x="1805570" y="463875"/>
                      </a:lnTo>
                      <a:lnTo>
                        <a:pt x="1807401" y="462345"/>
                      </a:lnTo>
                      <a:lnTo>
                        <a:pt x="1809521" y="463076"/>
                      </a:lnTo>
                      <a:lnTo>
                        <a:pt x="1811626" y="464687"/>
                      </a:lnTo>
                      <a:lnTo>
                        <a:pt x="1813682" y="465686"/>
                      </a:lnTo>
                      <a:lnTo>
                        <a:pt x="1815462" y="467050"/>
                      </a:lnTo>
                      <a:lnTo>
                        <a:pt x="1816729" y="469796"/>
                      </a:lnTo>
                      <a:lnTo>
                        <a:pt x="1815202" y="472340"/>
                      </a:lnTo>
                      <a:lnTo>
                        <a:pt x="1817241" y="473371"/>
                      </a:lnTo>
                      <a:lnTo>
                        <a:pt x="1822327" y="473423"/>
                      </a:lnTo>
                      <a:lnTo>
                        <a:pt x="1822301" y="473704"/>
                      </a:lnTo>
                      <a:lnTo>
                        <a:pt x="1822669" y="474320"/>
                      </a:lnTo>
                      <a:lnTo>
                        <a:pt x="1823334" y="475186"/>
                      </a:lnTo>
                      <a:lnTo>
                        <a:pt x="1823695" y="475957"/>
                      </a:lnTo>
                      <a:lnTo>
                        <a:pt x="1824520" y="475626"/>
                      </a:lnTo>
                      <a:lnTo>
                        <a:pt x="1825465" y="474916"/>
                      </a:lnTo>
                      <a:lnTo>
                        <a:pt x="1826183" y="474520"/>
                      </a:lnTo>
                      <a:lnTo>
                        <a:pt x="1827729" y="474627"/>
                      </a:lnTo>
                      <a:lnTo>
                        <a:pt x="1828952" y="475030"/>
                      </a:lnTo>
                      <a:lnTo>
                        <a:pt x="1830016" y="475800"/>
                      </a:lnTo>
                      <a:lnTo>
                        <a:pt x="1831038" y="477051"/>
                      </a:lnTo>
                      <a:lnTo>
                        <a:pt x="1832795" y="476798"/>
                      </a:lnTo>
                      <a:lnTo>
                        <a:pt x="1846252" y="477195"/>
                      </a:lnTo>
                      <a:lnTo>
                        <a:pt x="1847634" y="477033"/>
                      </a:lnTo>
                      <a:lnTo>
                        <a:pt x="1848687" y="476559"/>
                      </a:lnTo>
                      <a:lnTo>
                        <a:pt x="1849365" y="476098"/>
                      </a:lnTo>
                      <a:lnTo>
                        <a:pt x="1849715" y="475345"/>
                      </a:lnTo>
                      <a:lnTo>
                        <a:pt x="1849817" y="473945"/>
                      </a:lnTo>
                      <a:lnTo>
                        <a:pt x="1850306" y="472345"/>
                      </a:lnTo>
                      <a:lnTo>
                        <a:pt x="1851419" y="472374"/>
                      </a:lnTo>
                      <a:lnTo>
                        <a:pt x="1853215" y="473390"/>
                      </a:lnTo>
                      <a:lnTo>
                        <a:pt x="1854960" y="472434"/>
                      </a:lnTo>
                      <a:lnTo>
                        <a:pt x="1856423" y="471878"/>
                      </a:lnTo>
                      <a:lnTo>
                        <a:pt x="1857628" y="471165"/>
                      </a:lnTo>
                      <a:lnTo>
                        <a:pt x="1858596" y="469752"/>
                      </a:lnTo>
                      <a:lnTo>
                        <a:pt x="1860467" y="470724"/>
                      </a:lnTo>
                      <a:lnTo>
                        <a:pt x="1861319" y="468789"/>
                      </a:lnTo>
                      <a:lnTo>
                        <a:pt x="1861541" y="465665"/>
                      </a:lnTo>
                      <a:lnTo>
                        <a:pt x="1862511" y="463021"/>
                      </a:lnTo>
                      <a:lnTo>
                        <a:pt x="1865549" y="460758"/>
                      </a:lnTo>
                      <a:lnTo>
                        <a:pt x="1868192" y="460352"/>
                      </a:lnTo>
                      <a:lnTo>
                        <a:pt x="1878829" y="463661"/>
                      </a:lnTo>
                      <a:lnTo>
                        <a:pt x="1880650" y="464750"/>
                      </a:lnTo>
                      <a:lnTo>
                        <a:pt x="1881520" y="465801"/>
                      </a:lnTo>
                      <a:lnTo>
                        <a:pt x="1882163" y="467035"/>
                      </a:lnTo>
                      <a:lnTo>
                        <a:pt x="1883038" y="468065"/>
                      </a:lnTo>
                      <a:lnTo>
                        <a:pt x="1888086" y="469183"/>
                      </a:lnTo>
                      <a:lnTo>
                        <a:pt x="1890927" y="470940"/>
                      </a:lnTo>
                      <a:lnTo>
                        <a:pt x="1896102" y="475744"/>
                      </a:lnTo>
                      <a:lnTo>
                        <a:pt x="1898641" y="477374"/>
                      </a:lnTo>
                      <a:lnTo>
                        <a:pt x="1901118" y="478105"/>
                      </a:lnTo>
                      <a:lnTo>
                        <a:pt x="1906715" y="478258"/>
                      </a:lnTo>
                      <a:lnTo>
                        <a:pt x="1907874" y="478584"/>
                      </a:lnTo>
                      <a:lnTo>
                        <a:pt x="1909161" y="479387"/>
                      </a:lnTo>
                      <a:lnTo>
                        <a:pt x="1910206" y="480368"/>
                      </a:lnTo>
                      <a:lnTo>
                        <a:pt x="1910636" y="481218"/>
                      </a:lnTo>
                      <a:lnTo>
                        <a:pt x="1911048" y="483907"/>
                      </a:lnTo>
                      <a:lnTo>
                        <a:pt x="1912075" y="485006"/>
                      </a:lnTo>
                      <a:lnTo>
                        <a:pt x="1913492" y="485562"/>
                      </a:lnTo>
                      <a:lnTo>
                        <a:pt x="1915073" y="486608"/>
                      </a:lnTo>
                      <a:lnTo>
                        <a:pt x="1915923" y="487685"/>
                      </a:lnTo>
                      <a:lnTo>
                        <a:pt x="1918312" y="491558"/>
                      </a:lnTo>
                      <a:lnTo>
                        <a:pt x="1924401" y="496989"/>
                      </a:lnTo>
                      <a:lnTo>
                        <a:pt x="1934975" y="498686"/>
                      </a:lnTo>
                      <a:lnTo>
                        <a:pt x="1939066" y="499838"/>
                      </a:lnTo>
                      <a:lnTo>
                        <a:pt x="1941039" y="499989"/>
                      </a:lnTo>
                      <a:lnTo>
                        <a:pt x="1943339" y="500931"/>
                      </a:lnTo>
                      <a:lnTo>
                        <a:pt x="1945934" y="505086"/>
                      </a:lnTo>
                      <a:lnTo>
                        <a:pt x="1948757" y="506387"/>
                      </a:lnTo>
                      <a:lnTo>
                        <a:pt x="1950145" y="507984"/>
                      </a:lnTo>
                      <a:lnTo>
                        <a:pt x="1951074" y="508340"/>
                      </a:lnTo>
                      <a:lnTo>
                        <a:pt x="1952179" y="508125"/>
                      </a:lnTo>
                      <a:lnTo>
                        <a:pt x="1954042" y="507312"/>
                      </a:lnTo>
                      <a:lnTo>
                        <a:pt x="1955069" y="507228"/>
                      </a:lnTo>
                      <a:lnTo>
                        <a:pt x="1957393" y="507641"/>
                      </a:lnTo>
                      <a:lnTo>
                        <a:pt x="1959604" y="508315"/>
                      </a:lnTo>
                      <a:lnTo>
                        <a:pt x="1961465" y="509337"/>
                      </a:lnTo>
                      <a:lnTo>
                        <a:pt x="1962708" y="510838"/>
                      </a:lnTo>
                      <a:lnTo>
                        <a:pt x="1966912" y="510162"/>
                      </a:lnTo>
                      <a:lnTo>
                        <a:pt x="1970368" y="510471"/>
                      </a:lnTo>
                      <a:lnTo>
                        <a:pt x="1969843" y="511132"/>
                      </a:lnTo>
                      <a:lnTo>
                        <a:pt x="1969334" y="512139"/>
                      </a:lnTo>
                      <a:lnTo>
                        <a:pt x="1971705" y="513268"/>
                      </a:lnTo>
                      <a:lnTo>
                        <a:pt x="1979382" y="515636"/>
                      </a:lnTo>
                      <a:lnTo>
                        <a:pt x="1979369" y="514417"/>
                      </a:lnTo>
                      <a:lnTo>
                        <a:pt x="1982315" y="515756"/>
                      </a:lnTo>
                      <a:lnTo>
                        <a:pt x="1986406" y="515886"/>
                      </a:lnTo>
                      <a:lnTo>
                        <a:pt x="1987262" y="516069"/>
                      </a:lnTo>
                      <a:lnTo>
                        <a:pt x="1990042" y="516657"/>
                      </a:lnTo>
                      <a:lnTo>
                        <a:pt x="1991650" y="519891"/>
                      </a:lnTo>
                      <a:lnTo>
                        <a:pt x="1992869" y="523595"/>
                      </a:lnTo>
                      <a:lnTo>
                        <a:pt x="1995865" y="526091"/>
                      </a:lnTo>
                      <a:lnTo>
                        <a:pt x="1999811" y="527161"/>
                      </a:lnTo>
                      <a:lnTo>
                        <a:pt x="2003852" y="526573"/>
                      </a:lnTo>
                      <a:lnTo>
                        <a:pt x="2003865" y="527679"/>
                      </a:lnTo>
                      <a:lnTo>
                        <a:pt x="2001863" y="529504"/>
                      </a:lnTo>
                      <a:lnTo>
                        <a:pt x="2003039" y="531222"/>
                      </a:lnTo>
                      <a:lnTo>
                        <a:pt x="2006010" y="531787"/>
                      </a:lnTo>
                      <a:lnTo>
                        <a:pt x="2009406" y="530191"/>
                      </a:lnTo>
                      <a:lnTo>
                        <a:pt x="2012670" y="531849"/>
                      </a:lnTo>
                      <a:lnTo>
                        <a:pt x="2014327" y="530289"/>
                      </a:lnTo>
                      <a:lnTo>
                        <a:pt x="2015444" y="527457"/>
                      </a:lnTo>
                      <a:lnTo>
                        <a:pt x="2017064" y="525307"/>
                      </a:lnTo>
                      <a:lnTo>
                        <a:pt x="2019799" y="525236"/>
                      </a:lnTo>
                      <a:lnTo>
                        <a:pt x="2027627" y="528908"/>
                      </a:lnTo>
                      <a:lnTo>
                        <a:pt x="2029830" y="527966"/>
                      </a:lnTo>
                      <a:lnTo>
                        <a:pt x="2031912" y="526253"/>
                      </a:lnTo>
                      <a:lnTo>
                        <a:pt x="2034329" y="525388"/>
                      </a:lnTo>
                      <a:lnTo>
                        <a:pt x="2039836" y="528314"/>
                      </a:lnTo>
                      <a:lnTo>
                        <a:pt x="2042983" y="529067"/>
                      </a:lnTo>
                      <a:lnTo>
                        <a:pt x="2046332" y="528897"/>
                      </a:lnTo>
                      <a:lnTo>
                        <a:pt x="2049256" y="527491"/>
                      </a:lnTo>
                      <a:lnTo>
                        <a:pt x="2053977" y="530684"/>
                      </a:lnTo>
                      <a:lnTo>
                        <a:pt x="2056413" y="531783"/>
                      </a:lnTo>
                      <a:lnTo>
                        <a:pt x="2057982" y="532349"/>
                      </a:lnTo>
                      <a:lnTo>
                        <a:pt x="2057984" y="532483"/>
                      </a:lnTo>
                      <a:lnTo>
                        <a:pt x="2058264" y="544034"/>
                      </a:lnTo>
                      <a:lnTo>
                        <a:pt x="2058785" y="565248"/>
                      </a:lnTo>
                      <a:lnTo>
                        <a:pt x="2059305" y="586467"/>
                      </a:lnTo>
                      <a:lnTo>
                        <a:pt x="2059817" y="607693"/>
                      </a:lnTo>
                      <a:lnTo>
                        <a:pt x="2060336" y="628926"/>
                      </a:lnTo>
                      <a:lnTo>
                        <a:pt x="2060591" y="649801"/>
                      </a:lnTo>
                      <a:lnTo>
                        <a:pt x="2060849" y="670692"/>
                      </a:lnTo>
                      <a:lnTo>
                        <a:pt x="2061101" y="691583"/>
                      </a:lnTo>
                      <a:lnTo>
                        <a:pt x="2061361" y="712482"/>
                      </a:lnTo>
                      <a:lnTo>
                        <a:pt x="2061620" y="733382"/>
                      </a:lnTo>
                      <a:lnTo>
                        <a:pt x="2061869" y="754294"/>
                      </a:lnTo>
                      <a:lnTo>
                        <a:pt x="2062121" y="775216"/>
                      </a:lnTo>
                      <a:lnTo>
                        <a:pt x="2062368" y="796129"/>
                      </a:lnTo>
                      <a:lnTo>
                        <a:pt x="2062521" y="809351"/>
                      </a:lnTo>
                      <a:lnTo>
                        <a:pt x="2062654" y="809725"/>
                      </a:lnTo>
                      <a:lnTo>
                        <a:pt x="2063003" y="810398"/>
                      </a:lnTo>
                      <a:lnTo>
                        <a:pt x="2063894" y="811309"/>
                      </a:lnTo>
                      <a:lnTo>
                        <a:pt x="2066166" y="812849"/>
                      </a:lnTo>
                      <a:lnTo>
                        <a:pt x="2067207" y="813358"/>
                      </a:lnTo>
                      <a:lnTo>
                        <a:pt x="2069263" y="814825"/>
                      </a:lnTo>
                      <a:lnTo>
                        <a:pt x="2070038" y="815676"/>
                      </a:lnTo>
                      <a:lnTo>
                        <a:pt x="2073462" y="821453"/>
                      </a:lnTo>
                      <a:lnTo>
                        <a:pt x="2074038" y="822087"/>
                      </a:lnTo>
                      <a:lnTo>
                        <a:pt x="2074746" y="822624"/>
                      </a:lnTo>
                      <a:lnTo>
                        <a:pt x="2075479" y="823069"/>
                      </a:lnTo>
                      <a:lnTo>
                        <a:pt x="2080903" y="825584"/>
                      </a:lnTo>
                      <a:lnTo>
                        <a:pt x="2082355" y="826679"/>
                      </a:lnTo>
                      <a:lnTo>
                        <a:pt x="2085584" y="829761"/>
                      </a:lnTo>
                      <a:lnTo>
                        <a:pt x="2087860" y="832478"/>
                      </a:lnTo>
                      <a:lnTo>
                        <a:pt x="2089330" y="834836"/>
                      </a:lnTo>
                      <a:lnTo>
                        <a:pt x="2090148" y="836501"/>
                      </a:lnTo>
                      <a:lnTo>
                        <a:pt x="2090826" y="838236"/>
                      </a:lnTo>
                      <a:lnTo>
                        <a:pt x="2092028" y="840514"/>
                      </a:lnTo>
                      <a:lnTo>
                        <a:pt x="2096338" y="846279"/>
                      </a:lnTo>
                      <a:lnTo>
                        <a:pt x="2096806" y="847885"/>
                      </a:lnTo>
                      <a:lnTo>
                        <a:pt x="2098020" y="854765"/>
                      </a:lnTo>
                      <a:lnTo>
                        <a:pt x="2098656" y="856862"/>
                      </a:lnTo>
                      <a:lnTo>
                        <a:pt x="2099258" y="858236"/>
                      </a:lnTo>
                      <a:lnTo>
                        <a:pt x="2099838" y="858792"/>
                      </a:lnTo>
                      <a:lnTo>
                        <a:pt x="2100340" y="859377"/>
                      </a:lnTo>
                      <a:lnTo>
                        <a:pt x="2100771" y="860051"/>
                      </a:lnTo>
                      <a:lnTo>
                        <a:pt x="2100925" y="860939"/>
                      </a:lnTo>
                      <a:lnTo>
                        <a:pt x="2100873" y="861964"/>
                      </a:lnTo>
                      <a:lnTo>
                        <a:pt x="2100135" y="864805"/>
                      </a:lnTo>
                      <a:lnTo>
                        <a:pt x="2099904" y="866450"/>
                      </a:lnTo>
                      <a:lnTo>
                        <a:pt x="2099699" y="871442"/>
                      </a:lnTo>
                      <a:lnTo>
                        <a:pt x="2099509" y="872942"/>
                      </a:lnTo>
                      <a:lnTo>
                        <a:pt x="2099255" y="873903"/>
                      </a:lnTo>
                      <a:lnTo>
                        <a:pt x="2098590" y="875205"/>
                      </a:lnTo>
                      <a:lnTo>
                        <a:pt x="2097976" y="877065"/>
                      </a:lnTo>
                      <a:lnTo>
                        <a:pt x="2097898" y="878291"/>
                      </a:lnTo>
                      <a:lnTo>
                        <a:pt x="2098015" y="879641"/>
                      </a:lnTo>
                      <a:lnTo>
                        <a:pt x="2098582" y="881356"/>
                      </a:lnTo>
                      <a:lnTo>
                        <a:pt x="2099039" y="882422"/>
                      </a:lnTo>
                      <a:lnTo>
                        <a:pt x="2100081" y="884052"/>
                      </a:lnTo>
                      <a:lnTo>
                        <a:pt x="2101729" y="886102"/>
                      </a:lnTo>
                      <a:lnTo>
                        <a:pt x="2106198" y="890627"/>
                      </a:lnTo>
                      <a:lnTo>
                        <a:pt x="2107655" y="891728"/>
                      </a:lnTo>
                      <a:lnTo>
                        <a:pt x="2108454" y="892212"/>
                      </a:lnTo>
                      <a:lnTo>
                        <a:pt x="2109391" y="892630"/>
                      </a:lnTo>
                      <a:lnTo>
                        <a:pt x="2113412" y="893744"/>
                      </a:lnTo>
                      <a:lnTo>
                        <a:pt x="2114369" y="894127"/>
                      </a:lnTo>
                      <a:lnTo>
                        <a:pt x="2115171" y="894620"/>
                      </a:lnTo>
                      <a:lnTo>
                        <a:pt x="2115705" y="895350"/>
                      </a:lnTo>
                      <a:lnTo>
                        <a:pt x="2115791" y="896291"/>
                      </a:lnTo>
                      <a:lnTo>
                        <a:pt x="2115328" y="897218"/>
                      </a:lnTo>
                      <a:lnTo>
                        <a:pt x="2114940" y="897739"/>
                      </a:lnTo>
                      <a:lnTo>
                        <a:pt x="2114750" y="897932"/>
                      </a:lnTo>
                      <a:lnTo>
                        <a:pt x="2114674" y="898002"/>
                      </a:lnTo>
                      <a:lnTo>
                        <a:pt x="2112966" y="899062"/>
                      </a:lnTo>
                      <a:lnTo>
                        <a:pt x="2112471" y="899771"/>
                      </a:lnTo>
                      <a:lnTo>
                        <a:pt x="2112361" y="900630"/>
                      </a:lnTo>
                      <a:lnTo>
                        <a:pt x="2112731" y="902055"/>
                      </a:lnTo>
                      <a:lnTo>
                        <a:pt x="2113102" y="902864"/>
                      </a:lnTo>
                      <a:lnTo>
                        <a:pt x="2113616" y="903634"/>
                      </a:lnTo>
                      <a:lnTo>
                        <a:pt x="2114245" y="904132"/>
                      </a:lnTo>
                      <a:lnTo>
                        <a:pt x="2115018" y="904520"/>
                      </a:lnTo>
                      <a:lnTo>
                        <a:pt x="2116976" y="904999"/>
                      </a:lnTo>
                      <a:lnTo>
                        <a:pt x="2117881" y="905369"/>
                      </a:lnTo>
                      <a:lnTo>
                        <a:pt x="2118588" y="905893"/>
                      </a:lnTo>
                      <a:lnTo>
                        <a:pt x="2119143" y="906959"/>
                      </a:lnTo>
                      <a:lnTo>
                        <a:pt x="2119569" y="908440"/>
                      </a:lnTo>
                      <a:lnTo>
                        <a:pt x="2120093" y="911320"/>
                      </a:lnTo>
                      <a:lnTo>
                        <a:pt x="2120586" y="912844"/>
                      </a:lnTo>
                      <a:lnTo>
                        <a:pt x="2121143" y="914023"/>
                      </a:lnTo>
                      <a:lnTo>
                        <a:pt x="2122803" y="916082"/>
                      </a:lnTo>
                      <a:lnTo>
                        <a:pt x="2125390" y="918642"/>
                      </a:lnTo>
                      <a:lnTo>
                        <a:pt x="2127687" y="920057"/>
                      </a:lnTo>
                      <a:lnTo>
                        <a:pt x="2127987" y="920540"/>
                      </a:lnTo>
                      <a:lnTo>
                        <a:pt x="2127896" y="921141"/>
                      </a:lnTo>
                      <a:lnTo>
                        <a:pt x="2125868" y="923643"/>
                      </a:lnTo>
                      <a:lnTo>
                        <a:pt x="2125394" y="924357"/>
                      </a:lnTo>
                      <a:lnTo>
                        <a:pt x="2124716" y="925931"/>
                      </a:lnTo>
                      <a:lnTo>
                        <a:pt x="2124411" y="926975"/>
                      </a:lnTo>
                      <a:lnTo>
                        <a:pt x="2124255" y="928228"/>
                      </a:lnTo>
                      <a:lnTo>
                        <a:pt x="2124616" y="930133"/>
                      </a:lnTo>
                      <a:lnTo>
                        <a:pt x="2125171" y="931185"/>
                      </a:lnTo>
                      <a:lnTo>
                        <a:pt x="2125903" y="932028"/>
                      </a:lnTo>
                      <a:lnTo>
                        <a:pt x="2130170" y="935335"/>
                      </a:lnTo>
                      <a:lnTo>
                        <a:pt x="2132016" y="937135"/>
                      </a:lnTo>
                      <a:lnTo>
                        <a:pt x="2132550" y="937849"/>
                      </a:lnTo>
                      <a:lnTo>
                        <a:pt x="2133006" y="938706"/>
                      </a:lnTo>
                      <a:lnTo>
                        <a:pt x="2133384" y="939698"/>
                      </a:lnTo>
                      <a:lnTo>
                        <a:pt x="2133735" y="941154"/>
                      </a:lnTo>
                      <a:lnTo>
                        <a:pt x="2134145" y="942387"/>
                      </a:lnTo>
                      <a:lnTo>
                        <a:pt x="2134663" y="943313"/>
                      </a:lnTo>
                      <a:lnTo>
                        <a:pt x="2135573" y="944626"/>
                      </a:lnTo>
                      <a:lnTo>
                        <a:pt x="2135866" y="945550"/>
                      </a:lnTo>
                      <a:lnTo>
                        <a:pt x="2136588" y="950312"/>
                      </a:lnTo>
                      <a:lnTo>
                        <a:pt x="2136938" y="951244"/>
                      </a:lnTo>
                      <a:lnTo>
                        <a:pt x="2137395" y="951878"/>
                      </a:lnTo>
                      <a:lnTo>
                        <a:pt x="2137913" y="952364"/>
                      </a:lnTo>
                      <a:lnTo>
                        <a:pt x="2138378" y="952698"/>
                      </a:lnTo>
                      <a:lnTo>
                        <a:pt x="2138726" y="952854"/>
                      </a:lnTo>
                      <a:lnTo>
                        <a:pt x="2139233" y="952916"/>
                      </a:lnTo>
                      <a:lnTo>
                        <a:pt x="2139822" y="952926"/>
                      </a:lnTo>
                      <a:lnTo>
                        <a:pt x="2143010" y="952127"/>
                      </a:lnTo>
                      <a:lnTo>
                        <a:pt x="2145979" y="952809"/>
                      </a:lnTo>
                      <a:lnTo>
                        <a:pt x="2146921" y="955728"/>
                      </a:lnTo>
                      <a:lnTo>
                        <a:pt x="2146582" y="963705"/>
                      </a:lnTo>
                      <a:lnTo>
                        <a:pt x="2146257" y="965466"/>
                      </a:lnTo>
                      <a:lnTo>
                        <a:pt x="2144752" y="967892"/>
                      </a:lnTo>
                      <a:lnTo>
                        <a:pt x="2144432" y="969875"/>
                      </a:lnTo>
                      <a:lnTo>
                        <a:pt x="2148949" y="976508"/>
                      </a:lnTo>
                      <a:lnTo>
                        <a:pt x="2151297" y="978403"/>
                      </a:lnTo>
                      <a:lnTo>
                        <a:pt x="2151992" y="979683"/>
                      </a:lnTo>
                      <a:lnTo>
                        <a:pt x="2151390" y="981490"/>
                      </a:lnTo>
                      <a:lnTo>
                        <a:pt x="2150091" y="982335"/>
                      </a:lnTo>
                      <a:lnTo>
                        <a:pt x="2145638" y="983647"/>
                      </a:lnTo>
                      <a:lnTo>
                        <a:pt x="2144104" y="983865"/>
                      </a:lnTo>
                      <a:lnTo>
                        <a:pt x="2141733" y="985755"/>
                      </a:lnTo>
                      <a:lnTo>
                        <a:pt x="2143199" y="989809"/>
                      </a:lnTo>
                      <a:lnTo>
                        <a:pt x="2145871" y="993655"/>
                      </a:lnTo>
                      <a:lnTo>
                        <a:pt x="2147110" y="994948"/>
                      </a:lnTo>
                      <a:lnTo>
                        <a:pt x="2148430" y="997255"/>
                      </a:lnTo>
                      <a:lnTo>
                        <a:pt x="2148198" y="998057"/>
                      </a:lnTo>
                      <a:lnTo>
                        <a:pt x="2147194" y="999944"/>
                      </a:lnTo>
                      <a:lnTo>
                        <a:pt x="2144730" y="1002032"/>
                      </a:lnTo>
                      <a:lnTo>
                        <a:pt x="2143292" y="1003559"/>
                      </a:lnTo>
                      <a:lnTo>
                        <a:pt x="2142673" y="1005410"/>
                      </a:lnTo>
                      <a:lnTo>
                        <a:pt x="2142899" y="1007392"/>
                      </a:lnTo>
                      <a:lnTo>
                        <a:pt x="2143799" y="1010785"/>
                      </a:lnTo>
                      <a:lnTo>
                        <a:pt x="2144026" y="1012788"/>
                      </a:lnTo>
                      <a:lnTo>
                        <a:pt x="2143992" y="1014925"/>
                      </a:lnTo>
                      <a:lnTo>
                        <a:pt x="2143793" y="1016498"/>
                      </a:lnTo>
                      <a:lnTo>
                        <a:pt x="2142907" y="1019509"/>
                      </a:lnTo>
                      <a:lnTo>
                        <a:pt x="2137096" y="1029884"/>
                      </a:lnTo>
                      <a:lnTo>
                        <a:pt x="2135878" y="1038432"/>
                      </a:lnTo>
                      <a:lnTo>
                        <a:pt x="2134328" y="1040992"/>
                      </a:lnTo>
                      <a:lnTo>
                        <a:pt x="2128750" y="1045242"/>
                      </a:lnTo>
                      <a:lnTo>
                        <a:pt x="2127400" y="1048041"/>
                      </a:lnTo>
                      <a:lnTo>
                        <a:pt x="2125135" y="1056924"/>
                      </a:lnTo>
                      <a:lnTo>
                        <a:pt x="2124853" y="1058818"/>
                      </a:lnTo>
                      <a:lnTo>
                        <a:pt x="2121609" y="1059695"/>
                      </a:lnTo>
                      <a:lnTo>
                        <a:pt x="2119118" y="1061955"/>
                      </a:lnTo>
                      <a:lnTo>
                        <a:pt x="2117710" y="1065104"/>
                      </a:lnTo>
                      <a:lnTo>
                        <a:pt x="2117707" y="1068631"/>
                      </a:lnTo>
                      <a:lnTo>
                        <a:pt x="2118191" y="1069534"/>
                      </a:lnTo>
                      <a:lnTo>
                        <a:pt x="2119562" y="1070335"/>
                      </a:lnTo>
                      <a:lnTo>
                        <a:pt x="2120011" y="1071177"/>
                      </a:lnTo>
                      <a:lnTo>
                        <a:pt x="2120210" y="1074651"/>
                      </a:lnTo>
                      <a:lnTo>
                        <a:pt x="2120067" y="1074844"/>
                      </a:lnTo>
                      <a:lnTo>
                        <a:pt x="2122172" y="1080184"/>
                      </a:lnTo>
                      <a:lnTo>
                        <a:pt x="2122429" y="1081608"/>
                      </a:lnTo>
                      <a:lnTo>
                        <a:pt x="2122015" y="1084932"/>
                      </a:lnTo>
                      <a:lnTo>
                        <a:pt x="2120797" y="1087357"/>
                      </a:lnTo>
                      <a:lnTo>
                        <a:pt x="2116829" y="1092085"/>
                      </a:lnTo>
                      <a:lnTo>
                        <a:pt x="2114555" y="1096093"/>
                      </a:lnTo>
                      <a:lnTo>
                        <a:pt x="2114043" y="1099554"/>
                      </a:lnTo>
                      <a:lnTo>
                        <a:pt x="2114798" y="1107435"/>
                      </a:lnTo>
                      <a:lnTo>
                        <a:pt x="2116014" y="1110184"/>
                      </a:lnTo>
                      <a:lnTo>
                        <a:pt x="2118574" y="1112358"/>
                      </a:lnTo>
                      <a:lnTo>
                        <a:pt x="2121016" y="1114944"/>
                      </a:lnTo>
                      <a:lnTo>
                        <a:pt x="2121872" y="1118968"/>
                      </a:lnTo>
                      <a:lnTo>
                        <a:pt x="2121413" y="1120760"/>
                      </a:lnTo>
                      <a:lnTo>
                        <a:pt x="2119889" y="1124288"/>
                      </a:lnTo>
                      <a:lnTo>
                        <a:pt x="2119612" y="1126319"/>
                      </a:lnTo>
                      <a:lnTo>
                        <a:pt x="2120041" y="1128110"/>
                      </a:lnTo>
                      <a:lnTo>
                        <a:pt x="2121689" y="1130722"/>
                      </a:lnTo>
                      <a:lnTo>
                        <a:pt x="2122069" y="1131920"/>
                      </a:lnTo>
                      <a:lnTo>
                        <a:pt x="2122477" y="1135229"/>
                      </a:lnTo>
                      <a:lnTo>
                        <a:pt x="2123108" y="1137794"/>
                      </a:lnTo>
                      <a:lnTo>
                        <a:pt x="2123269" y="1140646"/>
                      </a:lnTo>
                      <a:lnTo>
                        <a:pt x="2122264" y="1144768"/>
                      </a:lnTo>
                      <a:lnTo>
                        <a:pt x="2120176" y="1148314"/>
                      </a:lnTo>
                      <a:lnTo>
                        <a:pt x="2119932" y="1149969"/>
                      </a:lnTo>
                      <a:lnTo>
                        <a:pt x="2121243" y="1152115"/>
                      </a:lnTo>
                      <a:lnTo>
                        <a:pt x="2111607" y="1162560"/>
                      </a:lnTo>
                      <a:lnTo>
                        <a:pt x="2108312" y="1168234"/>
                      </a:lnTo>
                      <a:lnTo>
                        <a:pt x="2107987" y="1169066"/>
                      </a:lnTo>
                      <a:lnTo>
                        <a:pt x="2104620" y="1168876"/>
                      </a:lnTo>
                      <a:lnTo>
                        <a:pt x="2101975" y="1169450"/>
                      </a:lnTo>
                      <a:lnTo>
                        <a:pt x="2098728" y="1168938"/>
                      </a:lnTo>
                      <a:lnTo>
                        <a:pt x="2098116" y="1172223"/>
                      </a:lnTo>
                      <a:lnTo>
                        <a:pt x="2096578" y="1175499"/>
                      </a:lnTo>
                      <a:lnTo>
                        <a:pt x="2087322" y="1190672"/>
                      </a:lnTo>
                      <a:lnTo>
                        <a:pt x="2085182" y="1201391"/>
                      </a:lnTo>
                      <a:lnTo>
                        <a:pt x="2086154" y="1206715"/>
                      </a:lnTo>
                      <a:lnTo>
                        <a:pt x="2095759" y="1216146"/>
                      </a:lnTo>
                      <a:lnTo>
                        <a:pt x="2098488" y="1221660"/>
                      </a:lnTo>
                      <a:lnTo>
                        <a:pt x="2095886" y="1224818"/>
                      </a:lnTo>
                      <a:lnTo>
                        <a:pt x="2093966" y="1224913"/>
                      </a:lnTo>
                      <a:lnTo>
                        <a:pt x="2089043" y="1223629"/>
                      </a:lnTo>
                      <a:lnTo>
                        <a:pt x="2068887" y="1223320"/>
                      </a:lnTo>
                      <a:lnTo>
                        <a:pt x="2065134" y="1223730"/>
                      </a:lnTo>
                      <a:lnTo>
                        <a:pt x="2058183" y="1225773"/>
                      </a:lnTo>
                      <a:lnTo>
                        <a:pt x="2053288" y="1227894"/>
                      </a:lnTo>
                      <a:lnTo>
                        <a:pt x="2039277" y="1235371"/>
                      </a:lnTo>
                      <a:lnTo>
                        <a:pt x="2019448" y="1242494"/>
                      </a:lnTo>
                      <a:lnTo>
                        <a:pt x="1966393" y="1265319"/>
                      </a:lnTo>
                      <a:lnTo>
                        <a:pt x="1960337" y="1269512"/>
                      </a:lnTo>
                      <a:lnTo>
                        <a:pt x="1951775" y="1279218"/>
                      </a:lnTo>
                      <a:lnTo>
                        <a:pt x="1948385" y="1280687"/>
                      </a:lnTo>
                      <a:lnTo>
                        <a:pt x="1944463" y="1280017"/>
                      </a:lnTo>
                      <a:lnTo>
                        <a:pt x="1943708" y="1278273"/>
                      </a:lnTo>
                      <a:lnTo>
                        <a:pt x="1945127" y="1275874"/>
                      </a:lnTo>
                      <a:lnTo>
                        <a:pt x="1958575" y="1263382"/>
                      </a:lnTo>
                      <a:lnTo>
                        <a:pt x="1962873" y="1261217"/>
                      </a:lnTo>
                      <a:lnTo>
                        <a:pt x="1966803" y="1260586"/>
                      </a:lnTo>
                      <a:lnTo>
                        <a:pt x="1968715" y="1260011"/>
                      </a:lnTo>
                      <a:lnTo>
                        <a:pt x="1970394" y="1259248"/>
                      </a:lnTo>
                      <a:lnTo>
                        <a:pt x="1971658" y="1258455"/>
                      </a:lnTo>
                      <a:lnTo>
                        <a:pt x="1976598" y="1253505"/>
                      </a:lnTo>
                      <a:lnTo>
                        <a:pt x="1978544" y="1252302"/>
                      </a:lnTo>
                      <a:lnTo>
                        <a:pt x="1980000" y="1251904"/>
                      </a:lnTo>
                      <a:lnTo>
                        <a:pt x="1988394" y="1252317"/>
                      </a:lnTo>
                      <a:lnTo>
                        <a:pt x="1991299" y="1251944"/>
                      </a:lnTo>
                      <a:lnTo>
                        <a:pt x="1993397" y="1250484"/>
                      </a:lnTo>
                      <a:lnTo>
                        <a:pt x="1994461" y="1247247"/>
                      </a:lnTo>
                      <a:lnTo>
                        <a:pt x="1994322" y="1244743"/>
                      </a:lnTo>
                      <a:lnTo>
                        <a:pt x="1992834" y="1246062"/>
                      </a:lnTo>
                      <a:lnTo>
                        <a:pt x="1990316" y="1247822"/>
                      </a:lnTo>
                      <a:lnTo>
                        <a:pt x="1987045" y="1246656"/>
                      </a:lnTo>
                      <a:lnTo>
                        <a:pt x="1984375" y="1244357"/>
                      </a:lnTo>
                      <a:lnTo>
                        <a:pt x="1981711" y="1243255"/>
                      </a:lnTo>
                      <a:lnTo>
                        <a:pt x="1974398" y="1247216"/>
                      </a:lnTo>
                      <a:lnTo>
                        <a:pt x="1959430" y="1249713"/>
                      </a:lnTo>
                      <a:lnTo>
                        <a:pt x="1952502" y="1251611"/>
                      </a:lnTo>
                      <a:lnTo>
                        <a:pt x="1949433" y="1252373"/>
                      </a:lnTo>
                      <a:lnTo>
                        <a:pt x="1945449" y="1251376"/>
                      </a:lnTo>
                      <a:lnTo>
                        <a:pt x="1944037" y="1249435"/>
                      </a:lnTo>
                      <a:lnTo>
                        <a:pt x="1944421" y="1248318"/>
                      </a:lnTo>
                      <a:lnTo>
                        <a:pt x="1946318" y="1249235"/>
                      </a:lnTo>
                      <a:lnTo>
                        <a:pt x="1948398" y="1248850"/>
                      </a:lnTo>
                      <a:lnTo>
                        <a:pt x="1950348" y="1245774"/>
                      </a:lnTo>
                      <a:lnTo>
                        <a:pt x="1952607" y="1242503"/>
                      </a:lnTo>
                      <a:lnTo>
                        <a:pt x="1955839" y="1236723"/>
                      </a:lnTo>
                      <a:lnTo>
                        <a:pt x="1957958" y="1229716"/>
                      </a:lnTo>
                      <a:lnTo>
                        <a:pt x="1959622" y="1221477"/>
                      </a:lnTo>
                      <a:lnTo>
                        <a:pt x="1959136" y="1217572"/>
                      </a:lnTo>
                      <a:lnTo>
                        <a:pt x="1958000" y="1214493"/>
                      </a:lnTo>
                      <a:lnTo>
                        <a:pt x="1957746" y="1211614"/>
                      </a:lnTo>
                      <a:lnTo>
                        <a:pt x="1956625" y="1209975"/>
                      </a:lnTo>
                      <a:lnTo>
                        <a:pt x="1955050" y="1207104"/>
                      </a:lnTo>
                      <a:lnTo>
                        <a:pt x="1952615" y="1206089"/>
                      </a:lnTo>
                      <a:lnTo>
                        <a:pt x="1950853" y="1206100"/>
                      </a:lnTo>
                      <a:lnTo>
                        <a:pt x="1948223" y="1207145"/>
                      </a:lnTo>
                      <a:lnTo>
                        <a:pt x="1946030" y="1207776"/>
                      </a:lnTo>
                      <a:lnTo>
                        <a:pt x="1942508" y="1208003"/>
                      </a:lnTo>
                      <a:lnTo>
                        <a:pt x="1940504" y="1206163"/>
                      </a:lnTo>
                      <a:lnTo>
                        <a:pt x="1937230" y="1208654"/>
                      </a:lnTo>
                      <a:lnTo>
                        <a:pt x="1937271" y="1211946"/>
                      </a:lnTo>
                      <a:lnTo>
                        <a:pt x="1933597" y="1217731"/>
                      </a:lnTo>
                      <a:lnTo>
                        <a:pt x="1931251" y="1223920"/>
                      </a:lnTo>
                      <a:lnTo>
                        <a:pt x="1929089" y="1227021"/>
                      </a:lnTo>
                      <a:lnTo>
                        <a:pt x="1924039" y="1228496"/>
                      </a:lnTo>
                      <a:lnTo>
                        <a:pt x="1921843" y="1228923"/>
                      </a:lnTo>
                      <a:lnTo>
                        <a:pt x="1919835" y="1226879"/>
                      </a:lnTo>
                      <a:lnTo>
                        <a:pt x="1918682" y="1222772"/>
                      </a:lnTo>
                      <a:lnTo>
                        <a:pt x="1916910" y="1221961"/>
                      </a:lnTo>
                      <a:lnTo>
                        <a:pt x="1914021" y="1220130"/>
                      </a:lnTo>
                      <a:lnTo>
                        <a:pt x="1908506" y="1218064"/>
                      </a:lnTo>
                      <a:lnTo>
                        <a:pt x="1905779" y="1217300"/>
                      </a:lnTo>
                      <a:lnTo>
                        <a:pt x="1903889" y="1214471"/>
                      </a:lnTo>
                      <a:lnTo>
                        <a:pt x="1902668" y="1212255"/>
                      </a:lnTo>
                      <a:lnTo>
                        <a:pt x="1899620" y="1212029"/>
                      </a:lnTo>
                      <a:lnTo>
                        <a:pt x="1897688" y="1218645"/>
                      </a:lnTo>
                      <a:lnTo>
                        <a:pt x="1899986" y="1219691"/>
                      </a:lnTo>
                      <a:lnTo>
                        <a:pt x="1902243" y="1220168"/>
                      </a:lnTo>
                      <a:lnTo>
                        <a:pt x="1903581" y="1221394"/>
                      </a:lnTo>
                      <a:lnTo>
                        <a:pt x="1905307" y="1221752"/>
                      </a:lnTo>
                      <a:lnTo>
                        <a:pt x="1906899" y="1222111"/>
                      </a:lnTo>
                      <a:lnTo>
                        <a:pt x="1908635" y="1223334"/>
                      </a:lnTo>
                      <a:lnTo>
                        <a:pt x="1910779" y="1225418"/>
                      </a:lnTo>
                      <a:lnTo>
                        <a:pt x="1906976" y="1228165"/>
                      </a:lnTo>
                      <a:lnTo>
                        <a:pt x="1905819" y="1230892"/>
                      </a:lnTo>
                      <a:lnTo>
                        <a:pt x="1906788" y="1234221"/>
                      </a:lnTo>
                      <a:lnTo>
                        <a:pt x="1911065" y="1237771"/>
                      </a:lnTo>
                      <a:lnTo>
                        <a:pt x="1910297" y="1239878"/>
                      </a:lnTo>
                      <a:lnTo>
                        <a:pt x="1907603" y="1242715"/>
                      </a:lnTo>
                      <a:lnTo>
                        <a:pt x="1905853" y="1244456"/>
                      </a:lnTo>
                      <a:lnTo>
                        <a:pt x="1904555" y="1249255"/>
                      </a:lnTo>
                      <a:lnTo>
                        <a:pt x="1911264" y="1254331"/>
                      </a:lnTo>
                      <a:lnTo>
                        <a:pt x="1923993" y="1257448"/>
                      </a:lnTo>
                      <a:lnTo>
                        <a:pt x="1922821" y="1258941"/>
                      </a:lnTo>
                      <a:lnTo>
                        <a:pt x="1921393" y="1261177"/>
                      </a:lnTo>
                      <a:lnTo>
                        <a:pt x="1919236" y="1260376"/>
                      </a:lnTo>
                      <a:lnTo>
                        <a:pt x="1916871" y="1261505"/>
                      </a:lnTo>
                      <a:lnTo>
                        <a:pt x="1914456" y="1262254"/>
                      </a:lnTo>
                      <a:lnTo>
                        <a:pt x="1914463" y="1263481"/>
                      </a:lnTo>
                      <a:lnTo>
                        <a:pt x="1917289" y="1265418"/>
                      </a:lnTo>
                      <a:lnTo>
                        <a:pt x="1917498" y="1268397"/>
                      </a:lnTo>
                      <a:lnTo>
                        <a:pt x="1918206" y="1270791"/>
                      </a:lnTo>
                      <a:lnTo>
                        <a:pt x="1922490" y="1270943"/>
                      </a:lnTo>
                      <a:lnTo>
                        <a:pt x="1922482" y="1269599"/>
                      </a:lnTo>
                      <a:lnTo>
                        <a:pt x="1921777" y="1268973"/>
                      </a:lnTo>
                      <a:lnTo>
                        <a:pt x="1921693" y="1268637"/>
                      </a:lnTo>
                      <a:lnTo>
                        <a:pt x="1921725" y="1268184"/>
                      </a:lnTo>
                      <a:lnTo>
                        <a:pt x="1922092" y="1268183"/>
                      </a:lnTo>
                      <a:lnTo>
                        <a:pt x="1922302" y="1268096"/>
                      </a:lnTo>
                      <a:lnTo>
                        <a:pt x="1922319" y="1267540"/>
                      </a:lnTo>
                      <a:lnTo>
                        <a:pt x="1922466" y="1267146"/>
                      </a:lnTo>
                      <a:lnTo>
                        <a:pt x="1927151" y="1274578"/>
                      </a:lnTo>
                      <a:lnTo>
                        <a:pt x="1928961" y="1275823"/>
                      </a:lnTo>
                      <a:lnTo>
                        <a:pt x="1931133" y="1276198"/>
                      </a:lnTo>
                      <a:lnTo>
                        <a:pt x="1938622" y="1279373"/>
                      </a:lnTo>
                      <a:lnTo>
                        <a:pt x="1937984" y="1279586"/>
                      </a:lnTo>
                      <a:lnTo>
                        <a:pt x="1937427" y="1279682"/>
                      </a:lnTo>
                      <a:lnTo>
                        <a:pt x="1936925" y="1279954"/>
                      </a:lnTo>
                      <a:lnTo>
                        <a:pt x="1936461" y="1280715"/>
                      </a:lnTo>
                      <a:lnTo>
                        <a:pt x="1933886" y="1279025"/>
                      </a:lnTo>
                      <a:lnTo>
                        <a:pt x="1930384" y="1278157"/>
                      </a:lnTo>
                      <a:lnTo>
                        <a:pt x="1927302" y="1279040"/>
                      </a:lnTo>
                      <a:lnTo>
                        <a:pt x="1925992" y="1282563"/>
                      </a:lnTo>
                      <a:lnTo>
                        <a:pt x="1925254" y="1286465"/>
                      </a:lnTo>
                      <a:lnTo>
                        <a:pt x="1923345" y="1289887"/>
                      </a:lnTo>
                      <a:lnTo>
                        <a:pt x="1920794" y="1291332"/>
                      </a:lnTo>
                      <a:lnTo>
                        <a:pt x="1918148" y="1289321"/>
                      </a:lnTo>
                      <a:lnTo>
                        <a:pt x="1917005" y="1289323"/>
                      </a:lnTo>
                      <a:lnTo>
                        <a:pt x="1916292" y="1291560"/>
                      </a:lnTo>
                      <a:lnTo>
                        <a:pt x="1914741" y="1293097"/>
                      </a:lnTo>
                      <a:lnTo>
                        <a:pt x="1911333" y="1295471"/>
                      </a:lnTo>
                      <a:lnTo>
                        <a:pt x="1910843" y="1295603"/>
                      </a:lnTo>
                      <a:lnTo>
                        <a:pt x="1909446" y="1295364"/>
                      </a:lnTo>
                      <a:lnTo>
                        <a:pt x="1908950" y="1295475"/>
                      </a:lnTo>
                      <a:lnTo>
                        <a:pt x="1908837" y="1295950"/>
                      </a:lnTo>
                      <a:lnTo>
                        <a:pt x="1909049" y="1297425"/>
                      </a:lnTo>
                      <a:lnTo>
                        <a:pt x="1908964" y="1297922"/>
                      </a:lnTo>
                      <a:lnTo>
                        <a:pt x="1897986" y="1309938"/>
                      </a:lnTo>
                      <a:lnTo>
                        <a:pt x="1894118" y="1312735"/>
                      </a:lnTo>
                      <a:lnTo>
                        <a:pt x="1889526" y="1315234"/>
                      </a:lnTo>
                      <a:lnTo>
                        <a:pt x="1888106" y="1311861"/>
                      </a:lnTo>
                      <a:lnTo>
                        <a:pt x="1885936" y="1310900"/>
                      </a:lnTo>
                      <a:lnTo>
                        <a:pt x="1883265" y="1310553"/>
                      </a:lnTo>
                      <a:lnTo>
                        <a:pt x="1880350" y="1309111"/>
                      </a:lnTo>
                      <a:lnTo>
                        <a:pt x="1881631" y="1310600"/>
                      </a:lnTo>
                      <a:lnTo>
                        <a:pt x="1883811" y="1315243"/>
                      </a:lnTo>
                      <a:lnTo>
                        <a:pt x="1882296" y="1319257"/>
                      </a:lnTo>
                      <a:lnTo>
                        <a:pt x="1882491" y="1323116"/>
                      </a:lnTo>
                      <a:lnTo>
                        <a:pt x="1883881" y="1330626"/>
                      </a:lnTo>
                      <a:lnTo>
                        <a:pt x="1883957" y="1333666"/>
                      </a:lnTo>
                      <a:lnTo>
                        <a:pt x="1883702" y="1336122"/>
                      </a:lnTo>
                      <a:lnTo>
                        <a:pt x="1882424" y="1338419"/>
                      </a:lnTo>
                      <a:lnTo>
                        <a:pt x="1870297" y="1347456"/>
                      </a:lnTo>
                      <a:lnTo>
                        <a:pt x="1865531" y="1349933"/>
                      </a:lnTo>
                      <a:lnTo>
                        <a:pt x="1856533" y="1359535"/>
                      </a:lnTo>
                      <a:lnTo>
                        <a:pt x="1847521" y="1366951"/>
                      </a:lnTo>
                      <a:lnTo>
                        <a:pt x="1845571" y="1368137"/>
                      </a:lnTo>
                      <a:lnTo>
                        <a:pt x="1841824" y="1368536"/>
                      </a:lnTo>
                      <a:lnTo>
                        <a:pt x="1838899" y="1369628"/>
                      </a:lnTo>
                      <a:lnTo>
                        <a:pt x="1827508" y="1377300"/>
                      </a:lnTo>
                      <a:lnTo>
                        <a:pt x="1808266" y="1389137"/>
                      </a:lnTo>
                      <a:lnTo>
                        <a:pt x="1801054" y="1392365"/>
                      </a:lnTo>
                      <a:lnTo>
                        <a:pt x="1793669" y="1394094"/>
                      </a:lnTo>
                      <a:lnTo>
                        <a:pt x="1786098" y="1394586"/>
                      </a:lnTo>
                      <a:lnTo>
                        <a:pt x="1778360" y="1394170"/>
                      </a:lnTo>
                      <a:lnTo>
                        <a:pt x="1772087" y="1394784"/>
                      </a:lnTo>
                      <a:lnTo>
                        <a:pt x="1749472" y="1402651"/>
                      </a:lnTo>
                      <a:lnTo>
                        <a:pt x="1750509" y="1404853"/>
                      </a:lnTo>
                      <a:lnTo>
                        <a:pt x="1750281" y="1406689"/>
                      </a:lnTo>
                      <a:lnTo>
                        <a:pt x="1749631" y="1408357"/>
                      </a:lnTo>
                      <a:lnTo>
                        <a:pt x="1749395" y="1411349"/>
                      </a:lnTo>
                      <a:lnTo>
                        <a:pt x="1748963" y="1412058"/>
                      </a:lnTo>
                      <a:lnTo>
                        <a:pt x="1748799" y="1412731"/>
                      </a:lnTo>
                      <a:lnTo>
                        <a:pt x="1749462" y="1413807"/>
                      </a:lnTo>
                      <a:lnTo>
                        <a:pt x="1750254" y="1414049"/>
                      </a:lnTo>
                      <a:lnTo>
                        <a:pt x="1751444" y="1413975"/>
                      </a:lnTo>
                      <a:lnTo>
                        <a:pt x="1752532" y="1413640"/>
                      </a:lnTo>
                      <a:lnTo>
                        <a:pt x="1753019" y="1413194"/>
                      </a:lnTo>
                      <a:lnTo>
                        <a:pt x="1776106" y="1400723"/>
                      </a:lnTo>
                      <a:lnTo>
                        <a:pt x="1782573" y="1398383"/>
                      </a:lnTo>
                      <a:lnTo>
                        <a:pt x="1788573" y="1397840"/>
                      </a:lnTo>
                      <a:lnTo>
                        <a:pt x="1768763" y="1410247"/>
                      </a:lnTo>
                      <a:lnTo>
                        <a:pt x="1757792" y="1415389"/>
                      </a:lnTo>
                      <a:lnTo>
                        <a:pt x="1740521" y="1419225"/>
                      </a:lnTo>
                      <a:lnTo>
                        <a:pt x="1730226" y="1426888"/>
                      </a:lnTo>
                      <a:lnTo>
                        <a:pt x="1720564" y="1429947"/>
                      </a:lnTo>
                      <a:lnTo>
                        <a:pt x="1709693" y="1436262"/>
                      </a:lnTo>
                      <a:lnTo>
                        <a:pt x="1704532" y="1438445"/>
                      </a:lnTo>
                      <a:lnTo>
                        <a:pt x="1708632" y="1433758"/>
                      </a:lnTo>
                      <a:lnTo>
                        <a:pt x="1714309" y="1429862"/>
                      </a:lnTo>
                      <a:lnTo>
                        <a:pt x="1738485" y="1418192"/>
                      </a:lnTo>
                      <a:lnTo>
                        <a:pt x="1742056" y="1417484"/>
                      </a:lnTo>
                      <a:lnTo>
                        <a:pt x="1743919" y="1416241"/>
                      </a:lnTo>
                      <a:lnTo>
                        <a:pt x="1744524" y="1413454"/>
                      </a:lnTo>
                      <a:lnTo>
                        <a:pt x="1743446" y="1410535"/>
                      </a:lnTo>
                      <a:lnTo>
                        <a:pt x="1740289" y="1408888"/>
                      </a:lnTo>
                      <a:lnTo>
                        <a:pt x="1736952" y="1409420"/>
                      </a:lnTo>
                      <a:lnTo>
                        <a:pt x="1730504" y="1412957"/>
                      </a:lnTo>
                      <a:lnTo>
                        <a:pt x="1728287" y="1413797"/>
                      </a:lnTo>
                      <a:lnTo>
                        <a:pt x="1724851" y="1414402"/>
                      </a:lnTo>
                      <a:lnTo>
                        <a:pt x="1714924" y="1418799"/>
                      </a:lnTo>
                      <a:lnTo>
                        <a:pt x="1706928" y="1420973"/>
                      </a:lnTo>
                      <a:lnTo>
                        <a:pt x="1703302" y="1420882"/>
                      </a:lnTo>
                      <a:lnTo>
                        <a:pt x="1704014" y="1418125"/>
                      </a:lnTo>
                      <a:lnTo>
                        <a:pt x="1706966" y="1416671"/>
                      </a:lnTo>
                      <a:lnTo>
                        <a:pt x="1714670" y="1415859"/>
                      </a:lnTo>
                      <a:lnTo>
                        <a:pt x="1717330" y="1413790"/>
                      </a:lnTo>
                      <a:lnTo>
                        <a:pt x="1718383" y="1413791"/>
                      </a:lnTo>
                      <a:lnTo>
                        <a:pt x="1718385" y="1412555"/>
                      </a:lnTo>
                      <a:lnTo>
                        <a:pt x="1715520" y="1412253"/>
                      </a:lnTo>
                      <a:lnTo>
                        <a:pt x="1713105" y="1412726"/>
                      </a:lnTo>
                      <a:lnTo>
                        <a:pt x="1710901" y="1413426"/>
                      </a:lnTo>
                      <a:lnTo>
                        <a:pt x="1708622" y="1413784"/>
                      </a:lnTo>
                      <a:lnTo>
                        <a:pt x="1705176" y="1413290"/>
                      </a:lnTo>
                      <a:lnTo>
                        <a:pt x="1704339" y="1411943"/>
                      </a:lnTo>
                      <a:lnTo>
                        <a:pt x="1705185" y="1409961"/>
                      </a:lnTo>
                      <a:lnTo>
                        <a:pt x="1709099" y="1404032"/>
                      </a:lnTo>
                      <a:lnTo>
                        <a:pt x="1709808" y="1402240"/>
                      </a:lnTo>
                      <a:lnTo>
                        <a:pt x="1708633" y="1401589"/>
                      </a:lnTo>
                      <a:lnTo>
                        <a:pt x="1705209" y="1401498"/>
                      </a:lnTo>
                      <a:lnTo>
                        <a:pt x="1702624" y="1401883"/>
                      </a:lnTo>
                      <a:lnTo>
                        <a:pt x="1700317" y="1402824"/>
                      </a:lnTo>
                      <a:lnTo>
                        <a:pt x="1696592" y="1405059"/>
                      </a:lnTo>
                      <a:lnTo>
                        <a:pt x="1697652" y="1402617"/>
                      </a:lnTo>
                      <a:lnTo>
                        <a:pt x="1694119" y="1404223"/>
                      </a:lnTo>
                      <a:lnTo>
                        <a:pt x="1689616" y="1409375"/>
                      </a:lnTo>
                      <a:lnTo>
                        <a:pt x="1686142" y="1411412"/>
                      </a:lnTo>
                      <a:lnTo>
                        <a:pt x="1683275" y="1412199"/>
                      </a:lnTo>
                      <a:lnTo>
                        <a:pt x="1682591" y="1411825"/>
                      </a:lnTo>
                      <a:lnTo>
                        <a:pt x="1682534" y="1410618"/>
                      </a:lnTo>
                      <a:lnTo>
                        <a:pt x="1681564" y="1408840"/>
                      </a:lnTo>
                      <a:lnTo>
                        <a:pt x="1676685" y="1404276"/>
                      </a:lnTo>
                      <a:lnTo>
                        <a:pt x="1675844" y="1402592"/>
                      </a:lnTo>
                      <a:lnTo>
                        <a:pt x="1677561" y="1400517"/>
                      </a:lnTo>
                      <a:lnTo>
                        <a:pt x="1677981" y="1397884"/>
                      </a:lnTo>
                      <a:lnTo>
                        <a:pt x="1677034" y="1395163"/>
                      </a:lnTo>
                      <a:lnTo>
                        <a:pt x="1674639" y="1392760"/>
                      </a:lnTo>
                      <a:lnTo>
                        <a:pt x="1673611" y="1393592"/>
                      </a:lnTo>
                      <a:lnTo>
                        <a:pt x="1672035" y="1394475"/>
                      </a:lnTo>
                      <a:lnTo>
                        <a:pt x="1671396" y="1395213"/>
                      </a:lnTo>
                      <a:lnTo>
                        <a:pt x="1668361" y="1390543"/>
                      </a:lnTo>
                      <a:lnTo>
                        <a:pt x="1667773" y="1389072"/>
                      </a:lnTo>
                      <a:lnTo>
                        <a:pt x="1666727" y="1389070"/>
                      </a:lnTo>
                      <a:lnTo>
                        <a:pt x="1666859" y="1391696"/>
                      </a:lnTo>
                      <a:lnTo>
                        <a:pt x="1667783" y="1394843"/>
                      </a:lnTo>
                      <a:lnTo>
                        <a:pt x="1669016" y="1397587"/>
                      </a:lnTo>
                      <a:lnTo>
                        <a:pt x="1670129" y="1399000"/>
                      </a:lnTo>
                      <a:lnTo>
                        <a:pt x="1671341" y="1398636"/>
                      </a:lnTo>
                      <a:lnTo>
                        <a:pt x="1672830" y="1397512"/>
                      </a:lnTo>
                      <a:lnTo>
                        <a:pt x="1674089" y="1396987"/>
                      </a:lnTo>
                      <a:lnTo>
                        <a:pt x="1674616" y="1398392"/>
                      </a:lnTo>
                      <a:lnTo>
                        <a:pt x="1674158" y="1400096"/>
                      </a:lnTo>
                      <a:lnTo>
                        <a:pt x="1673115" y="1401140"/>
                      </a:lnTo>
                      <a:lnTo>
                        <a:pt x="1672018" y="1401848"/>
                      </a:lnTo>
                      <a:lnTo>
                        <a:pt x="1671365" y="1402586"/>
                      </a:lnTo>
                      <a:lnTo>
                        <a:pt x="1671442" y="1403976"/>
                      </a:lnTo>
                      <a:lnTo>
                        <a:pt x="1672052" y="1405272"/>
                      </a:lnTo>
                      <a:lnTo>
                        <a:pt x="1672450" y="1406611"/>
                      </a:lnTo>
                      <a:lnTo>
                        <a:pt x="1671870" y="1408161"/>
                      </a:lnTo>
                      <a:lnTo>
                        <a:pt x="1671340" y="1410677"/>
                      </a:lnTo>
                      <a:lnTo>
                        <a:pt x="1673583" y="1412143"/>
                      </a:lnTo>
                      <a:lnTo>
                        <a:pt x="1679247" y="1413753"/>
                      </a:lnTo>
                      <a:lnTo>
                        <a:pt x="1669484" y="1419359"/>
                      </a:lnTo>
                      <a:lnTo>
                        <a:pt x="1663611" y="1421545"/>
                      </a:lnTo>
                      <a:lnTo>
                        <a:pt x="1658443" y="1422306"/>
                      </a:lnTo>
                      <a:lnTo>
                        <a:pt x="1661032" y="1420027"/>
                      </a:lnTo>
                      <a:lnTo>
                        <a:pt x="1664071" y="1419724"/>
                      </a:lnTo>
                      <a:lnTo>
                        <a:pt x="1666598" y="1419003"/>
                      </a:lnTo>
                      <a:lnTo>
                        <a:pt x="1667660" y="1415515"/>
                      </a:lnTo>
                      <a:lnTo>
                        <a:pt x="1666238" y="1412118"/>
                      </a:lnTo>
                      <a:lnTo>
                        <a:pt x="1659908" y="1416250"/>
                      </a:lnTo>
                      <a:lnTo>
                        <a:pt x="1658491" y="1411932"/>
                      </a:lnTo>
                      <a:lnTo>
                        <a:pt x="1657800" y="1410467"/>
                      </a:lnTo>
                      <a:lnTo>
                        <a:pt x="1656103" y="1410699"/>
                      </a:lnTo>
                      <a:lnTo>
                        <a:pt x="1654035" y="1411237"/>
                      </a:lnTo>
                      <a:lnTo>
                        <a:pt x="1652246" y="1410693"/>
                      </a:lnTo>
                      <a:lnTo>
                        <a:pt x="1651264" y="1410223"/>
                      </a:lnTo>
                      <a:lnTo>
                        <a:pt x="1648980" y="1410322"/>
                      </a:lnTo>
                      <a:lnTo>
                        <a:pt x="1648173" y="1410021"/>
                      </a:lnTo>
                      <a:lnTo>
                        <a:pt x="1647373" y="1408739"/>
                      </a:lnTo>
                      <a:lnTo>
                        <a:pt x="1647242" y="1407583"/>
                      </a:lnTo>
                      <a:lnTo>
                        <a:pt x="1647303" y="1406412"/>
                      </a:lnTo>
                      <a:lnTo>
                        <a:pt x="1647050" y="1404993"/>
                      </a:lnTo>
                      <a:lnTo>
                        <a:pt x="1646345" y="1402512"/>
                      </a:lnTo>
                      <a:lnTo>
                        <a:pt x="1646106" y="1401143"/>
                      </a:lnTo>
                      <a:lnTo>
                        <a:pt x="1645619" y="1400046"/>
                      </a:lnTo>
                      <a:lnTo>
                        <a:pt x="1644228" y="1398346"/>
                      </a:lnTo>
                      <a:lnTo>
                        <a:pt x="1642232" y="1396850"/>
                      </a:lnTo>
                      <a:lnTo>
                        <a:pt x="1639988" y="1396247"/>
                      </a:lnTo>
                      <a:lnTo>
                        <a:pt x="1637690" y="1396535"/>
                      </a:lnTo>
                      <a:lnTo>
                        <a:pt x="1635523" y="1397716"/>
                      </a:lnTo>
                      <a:lnTo>
                        <a:pt x="1634831" y="1396749"/>
                      </a:lnTo>
                      <a:lnTo>
                        <a:pt x="1634055" y="1396149"/>
                      </a:lnTo>
                      <a:lnTo>
                        <a:pt x="1632092" y="1395150"/>
                      </a:lnTo>
                      <a:lnTo>
                        <a:pt x="1632245" y="1399627"/>
                      </a:lnTo>
                      <a:lnTo>
                        <a:pt x="1632924" y="1402818"/>
                      </a:lnTo>
                      <a:lnTo>
                        <a:pt x="1634330" y="1405600"/>
                      </a:lnTo>
                      <a:lnTo>
                        <a:pt x="1639069" y="1411695"/>
                      </a:lnTo>
                      <a:lnTo>
                        <a:pt x="1639719" y="1412991"/>
                      </a:lnTo>
                      <a:lnTo>
                        <a:pt x="1640120" y="1414799"/>
                      </a:lnTo>
                      <a:lnTo>
                        <a:pt x="1640001" y="1416657"/>
                      </a:lnTo>
                      <a:lnTo>
                        <a:pt x="1639067" y="1420971"/>
                      </a:lnTo>
                      <a:lnTo>
                        <a:pt x="1639039" y="1422274"/>
                      </a:lnTo>
                      <a:lnTo>
                        <a:pt x="1640506" y="1424179"/>
                      </a:lnTo>
                      <a:lnTo>
                        <a:pt x="1641842" y="1423947"/>
                      </a:lnTo>
                      <a:lnTo>
                        <a:pt x="1643528" y="1422282"/>
                      </a:lnTo>
                      <a:lnTo>
                        <a:pt x="1645501" y="1422922"/>
                      </a:lnTo>
                      <a:lnTo>
                        <a:pt x="1650391" y="1426091"/>
                      </a:lnTo>
                      <a:lnTo>
                        <a:pt x="1653853" y="1427640"/>
                      </a:lnTo>
                      <a:lnTo>
                        <a:pt x="1654978" y="1428557"/>
                      </a:lnTo>
                      <a:lnTo>
                        <a:pt x="1656162" y="1429868"/>
                      </a:lnTo>
                      <a:lnTo>
                        <a:pt x="1657046" y="1431260"/>
                      </a:lnTo>
                      <a:lnTo>
                        <a:pt x="1658386" y="1434584"/>
                      </a:lnTo>
                      <a:lnTo>
                        <a:pt x="1649569" y="1438691"/>
                      </a:lnTo>
                      <a:lnTo>
                        <a:pt x="1648027" y="1438988"/>
                      </a:lnTo>
                      <a:lnTo>
                        <a:pt x="1649203" y="1442005"/>
                      </a:lnTo>
                      <a:lnTo>
                        <a:pt x="1651902" y="1441980"/>
                      </a:lnTo>
                      <a:lnTo>
                        <a:pt x="1654826" y="1440456"/>
                      </a:lnTo>
                      <a:lnTo>
                        <a:pt x="1656641" y="1439002"/>
                      </a:lnTo>
                      <a:lnTo>
                        <a:pt x="1661692" y="1437663"/>
                      </a:lnTo>
                      <a:lnTo>
                        <a:pt x="1668049" y="1439867"/>
                      </a:lnTo>
                      <a:lnTo>
                        <a:pt x="1672888" y="1443943"/>
                      </a:lnTo>
                      <a:lnTo>
                        <a:pt x="1673376" y="1448232"/>
                      </a:lnTo>
                      <a:lnTo>
                        <a:pt x="1661226" y="1454349"/>
                      </a:lnTo>
                      <a:lnTo>
                        <a:pt x="1657976" y="1455120"/>
                      </a:lnTo>
                      <a:lnTo>
                        <a:pt x="1652225" y="1458478"/>
                      </a:lnTo>
                      <a:lnTo>
                        <a:pt x="1649598" y="1459243"/>
                      </a:lnTo>
                      <a:lnTo>
                        <a:pt x="1631193" y="1468925"/>
                      </a:lnTo>
                      <a:lnTo>
                        <a:pt x="1628230" y="1466694"/>
                      </a:lnTo>
                      <a:lnTo>
                        <a:pt x="1625471" y="1467494"/>
                      </a:lnTo>
                      <a:lnTo>
                        <a:pt x="1623698" y="1465961"/>
                      </a:lnTo>
                      <a:lnTo>
                        <a:pt x="1622783" y="1463096"/>
                      </a:lnTo>
                      <a:lnTo>
                        <a:pt x="1622473" y="1456493"/>
                      </a:lnTo>
                      <a:lnTo>
                        <a:pt x="1621930" y="1454450"/>
                      </a:lnTo>
                      <a:lnTo>
                        <a:pt x="1620375" y="1453437"/>
                      </a:lnTo>
                      <a:lnTo>
                        <a:pt x="1617349" y="1453167"/>
                      </a:lnTo>
                      <a:lnTo>
                        <a:pt x="1616463" y="1452506"/>
                      </a:lnTo>
                      <a:lnTo>
                        <a:pt x="1616171" y="1450976"/>
                      </a:lnTo>
                      <a:lnTo>
                        <a:pt x="1616044" y="1449292"/>
                      </a:lnTo>
                      <a:lnTo>
                        <a:pt x="1615702" y="1448135"/>
                      </a:lnTo>
                      <a:lnTo>
                        <a:pt x="1614892" y="1447453"/>
                      </a:lnTo>
                      <a:lnTo>
                        <a:pt x="1613050" y="1446432"/>
                      </a:lnTo>
                      <a:lnTo>
                        <a:pt x="1612265" y="1445778"/>
                      </a:lnTo>
                      <a:lnTo>
                        <a:pt x="1609315" y="1441337"/>
                      </a:lnTo>
                      <a:lnTo>
                        <a:pt x="1607866" y="1440053"/>
                      </a:lnTo>
                      <a:lnTo>
                        <a:pt x="1606457" y="1440855"/>
                      </a:lnTo>
                      <a:lnTo>
                        <a:pt x="1605024" y="1442184"/>
                      </a:lnTo>
                      <a:lnTo>
                        <a:pt x="1604478" y="1443954"/>
                      </a:lnTo>
                      <a:lnTo>
                        <a:pt x="1604915" y="1445060"/>
                      </a:lnTo>
                      <a:lnTo>
                        <a:pt x="1606433" y="1444427"/>
                      </a:lnTo>
                      <a:lnTo>
                        <a:pt x="1610486" y="1447671"/>
                      </a:lnTo>
                      <a:lnTo>
                        <a:pt x="1611767" y="1449686"/>
                      </a:lnTo>
                      <a:lnTo>
                        <a:pt x="1612222" y="1452476"/>
                      </a:lnTo>
                      <a:lnTo>
                        <a:pt x="1610833" y="1454317"/>
                      </a:lnTo>
                      <a:lnTo>
                        <a:pt x="1607691" y="1452919"/>
                      </a:lnTo>
                      <a:lnTo>
                        <a:pt x="1604228" y="1450482"/>
                      </a:lnTo>
                      <a:lnTo>
                        <a:pt x="1601908" y="1449218"/>
                      </a:lnTo>
                      <a:lnTo>
                        <a:pt x="1599179" y="1451569"/>
                      </a:lnTo>
                      <a:lnTo>
                        <a:pt x="1602406" y="1456553"/>
                      </a:lnTo>
                      <a:lnTo>
                        <a:pt x="1607342" y="1462216"/>
                      </a:lnTo>
                      <a:lnTo>
                        <a:pt x="1609739" y="1466657"/>
                      </a:lnTo>
                      <a:lnTo>
                        <a:pt x="1608655" y="1469817"/>
                      </a:lnTo>
                      <a:lnTo>
                        <a:pt x="1607010" y="1472933"/>
                      </a:lnTo>
                      <a:lnTo>
                        <a:pt x="1606290" y="1476138"/>
                      </a:lnTo>
                      <a:lnTo>
                        <a:pt x="1609434" y="1482896"/>
                      </a:lnTo>
                      <a:lnTo>
                        <a:pt x="1607725" y="1485221"/>
                      </a:lnTo>
                      <a:lnTo>
                        <a:pt x="1601637" y="1488751"/>
                      </a:lnTo>
                      <a:lnTo>
                        <a:pt x="1598792" y="1491572"/>
                      </a:lnTo>
                      <a:lnTo>
                        <a:pt x="1592815" y="1499233"/>
                      </a:lnTo>
                      <a:lnTo>
                        <a:pt x="1590161" y="1500992"/>
                      </a:lnTo>
                      <a:lnTo>
                        <a:pt x="1584701" y="1502341"/>
                      </a:lnTo>
                      <a:lnTo>
                        <a:pt x="1581850" y="1503557"/>
                      </a:lnTo>
                      <a:lnTo>
                        <a:pt x="1583856" y="1497000"/>
                      </a:lnTo>
                      <a:lnTo>
                        <a:pt x="1585380" y="1494074"/>
                      </a:lnTo>
                      <a:lnTo>
                        <a:pt x="1587803" y="1491187"/>
                      </a:lnTo>
                      <a:lnTo>
                        <a:pt x="1585400" y="1487791"/>
                      </a:lnTo>
                      <a:lnTo>
                        <a:pt x="1586398" y="1484549"/>
                      </a:lnTo>
                      <a:lnTo>
                        <a:pt x="1588127" y="1481558"/>
                      </a:lnTo>
                      <a:lnTo>
                        <a:pt x="1587894" y="1478886"/>
                      </a:lnTo>
                      <a:lnTo>
                        <a:pt x="1585933" y="1478932"/>
                      </a:lnTo>
                      <a:lnTo>
                        <a:pt x="1583580" y="1481635"/>
                      </a:lnTo>
                      <a:lnTo>
                        <a:pt x="1579564" y="1487476"/>
                      </a:lnTo>
                      <a:lnTo>
                        <a:pt x="1581780" y="1489393"/>
                      </a:lnTo>
                      <a:lnTo>
                        <a:pt x="1582214" y="1491877"/>
                      </a:lnTo>
                      <a:lnTo>
                        <a:pt x="1581298" y="1494958"/>
                      </a:lnTo>
                      <a:lnTo>
                        <a:pt x="1579478" y="1498637"/>
                      </a:lnTo>
                      <a:lnTo>
                        <a:pt x="1577145" y="1502198"/>
                      </a:lnTo>
                      <a:lnTo>
                        <a:pt x="1575224" y="1502984"/>
                      </a:lnTo>
                      <a:lnTo>
                        <a:pt x="1569200" y="1501072"/>
                      </a:lnTo>
                      <a:lnTo>
                        <a:pt x="1569861" y="1500678"/>
                      </a:lnTo>
                      <a:lnTo>
                        <a:pt x="1570428" y="1500196"/>
                      </a:lnTo>
                      <a:lnTo>
                        <a:pt x="1570968" y="1499530"/>
                      </a:lnTo>
                      <a:lnTo>
                        <a:pt x="1571525" y="1498617"/>
                      </a:lnTo>
                      <a:lnTo>
                        <a:pt x="1570435" y="1496768"/>
                      </a:lnTo>
                      <a:lnTo>
                        <a:pt x="1571426" y="1491278"/>
                      </a:lnTo>
                      <a:lnTo>
                        <a:pt x="1570343" y="1488675"/>
                      </a:lnTo>
                      <a:lnTo>
                        <a:pt x="1569300" y="1488673"/>
                      </a:lnTo>
                      <a:lnTo>
                        <a:pt x="1566566" y="1492503"/>
                      </a:lnTo>
                      <a:lnTo>
                        <a:pt x="1560609" y="1496002"/>
                      </a:lnTo>
                      <a:lnTo>
                        <a:pt x="1554032" y="1498591"/>
                      </a:lnTo>
                      <a:lnTo>
                        <a:pt x="1549419" y="1499676"/>
                      </a:lnTo>
                      <a:lnTo>
                        <a:pt x="1550560" y="1497834"/>
                      </a:lnTo>
                      <a:lnTo>
                        <a:pt x="1549269" y="1496424"/>
                      </a:lnTo>
                      <a:lnTo>
                        <a:pt x="1546900" y="1495758"/>
                      </a:lnTo>
                      <a:lnTo>
                        <a:pt x="1544852" y="1496089"/>
                      </a:lnTo>
                      <a:lnTo>
                        <a:pt x="1543412" y="1497593"/>
                      </a:lnTo>
                      <a:lnTo>
                        <a:pt x="1542708" y="1499569"/>
                      </a:lnTo>
                      <a:lnTo>
                        <a:pt x="1543384" y="1501306"/>
                      </a:lnTo>
                      <a:lnTo>
                        <a:pt x="1546053" y="1502127"/>
                      </a:lnTo>
                      <a:lnTo>
                        <a:pt x="1539032" y="1508772"/>
                      </a:lnTo>
                      <a:lnTo>
                        <a:pt x="1535802" y="1512733"/>
                      </a:lnTo>
                      <a:lnTo>
                        <a:pt x="1537249" y="1514495"/>
                      </a:lnTo>
                      <a:lnTo>
                        <a:pt x="1540987" y="1514960"/>
                      </a:lnTo>
                      <a:lnTo>
                        <a:pt x="1544052" y="1516207"/>
                      </a:lnTo>
                      <a:lnTo>
                        <a:pt x="1546424" y="1518192"/>
                      </a:lnTo>
                      <a:lnTo>
                        <a:pt x="1548090" y="1520791"/>
                      </a:lnTo>
                      <a:lnTo>
                        <a:pt x="1548053" y="1522673"/>
                      </a:lnTo>
                      <a:lnTo>
                        <a:pt x="1547317" y="1524393"/>
                      </a:lnTo>
                      <a:lnTo>
                        <a:pt x="1547241" y="1525235"/>
                      </a:lnTo>
                      <a:lnTo>
                        <a:pt x="1549199" y="1524486"/>
                      </a:lnTo>
                      <a:lnTo>
                        <a:pt x="1550501" y="1523223"/>
                      </a:lnTo>
                      <a:lnTo>
                        <a:pt x="1551660" y="1521145"/>
                      </a:lnTo>
                      <a:lnTo>
                        <a:pt x="1552505" y="1518730"/>
                      </a:lnTo>
                      <a:lnTo>
                        <a:pt x="1552840" y="1516453"/>
                      </a:lnTo>
                      <a:lnTo>
                        <a:pt x="1554597" y="1513476"/>
                      </a:lnTo>
                      <a:lnTo>
                        <a:pt x="1562836" y="1510283"/>
                      </a:lnTo>
                      <a:lnTo>
                        <a:pt x="1565593" y="1507214"/>
                      </a:lnTo>
                      <a:lnTo>
                        <a:pt x="1564982" y="1506400"/>
                      </a:lnTo>
                      <a:lnTo>
                        <a:pt x="1564727" y="1505806"/>
                      </a:lnTo>
                      <a:lnTo>
                        <a:pt x="1564906" y="1505609"/>
                      </a:lnTo>
                      <a:lnTo>
                        <a:pt x="1565541" y="1505288"/>
                      </a:lnTo>
                      <a:lnTo>
                        <a:pt x="1566767" y="1504756"/>
                      </a:lnTo>
                      <a:lnTo>
                        <a:pt x="1568499" y="1506160"/>
                      </a:lnTo>
                      <a:lnTo>
                        <a:pt x="1568991" y="1508227"/>
                      </a:lnTo>
                      <a:lnTo>
                        <a:pt x="1567822" y="1515197"/>
                      </a:lnTo>
                      <a:lnTo>
                        <a:pt x="1568035" y="1517703"/>
                      </a:lnTo>
                      <a:lnTo>
                        <a:pt x="1568246" y="1518824"/>
                      </a:lnTo>
                      <a:lnTo>
                        <a:pt x="1567813" y="1519681"/>
                      </a:lnTo>
                      <a:lnTo>
                        <a:pt x="1566041" y="1521404"/>
                      </a:lnTo>
                      <a:lnTo>
                        <a:pt x="1564903" y="1522837"/>
                      </a:lnTo>
                      <a:lnTo>
                        <a:pt x="1562062" y="1528207"/>
                      </a:lnTo>
                      <a:lnTo>
                        <a:pt x="1561230" y="1528308"/>
                      </a:lnTo>
                      <a:lnTo>
                        <a:pt x="1560999" y="1528043"/>
                      </a:lnTo>
                      <a:lnTo>
                        <a:pt x="1560989" y="1527560"/>
                      </a:lnTo>
                      <a:lnTo>
                        <a:pt x="1560814" y="1526980"/>
                      </a:lnTo>
                      <a:lnTo>
                        <a:pt x="1554519" y="1537595"/>
                      </a:lnTo>
                      <a:lnTo>
                        <a:pt x="1541056" y="1555635"/>
                      </a:lnTo>
                      <a:lnTo>
                        <a:pt x="1537276" y="1558306"/>
                      </a:lnTo>
                      <a:lnTo>
                        <a:pt x="1532852" y="1557743"/>
                      </a:lnTo>
                      <a:lnTo>
                        <a:pt x="1532865" y="1556402"/>
                      </a:lnTo>
                      <a:lnTo>
                        <a:pt x="1536331" y="1556412"/>
                      </a:lnTo>
                      <a:lnTo>
                        <a:pt x="1534453" y="1553372"/>
                      </a:lnTo>
                      <a:lnTo>
                        <a:pt x="1532340" y="1550705"/>
                      </a:lnTo>
                      <a:lnTo>
                        <a:pt x="1529924" y="1548763"/>
                      </a:lnTo>
                      <a:lnTo>
                        <a:pt x="1527078" y="1547889"/>
                      </a:lnTo>
                      <a:lnTo>
                        <a:pt x="1523079" y="1548368"/>
                      </a:lnTo>
                      <a:lnTo>
                        <a:pt x="1516203" y="1551152"/>
                      </a:lnTo>
                      <a:lnTo>
                        <a:pt x="1512046" y="1551410"/>
                      </a:lnTo>
                      <a:lnTo>
                        <a:pt x="1513232" y="1550446"/>
                      </a:lnTo>
                      <a:lnTo>
                        <a:pt x="1513659" y="1549766"/>
                      </a:lnTo>
                      <a:lnTo>
                        <a:pt x="1513865" y="1549041"/>
                      </a:lnTo>
                      <a:lnTo>
                        <a:pt x="1514393" y="1547848"/>
                      </a:lnTo>
                      <a:lnTo>
                        <a:pt x="1510009" y="1548940"/>
                      </a:lnTo>
                      <a:lnTo>
                        <a:pt x="1500511" y="1548556"/>
                      </a:lnTo>
                      <a:lnTo>
                        <a:pt x="1495816" y="1548898"/>
                      </a:lnTo>
                      <a:lnTo>
                        <a:pt x="1494889" y="1549504"/>
                      </a:lnTo>
                      <a:lnTo>
                        <a:pt x="1494430" y="1551151"/>
                      </a:lnTo>
                      <a:lnTo>
                        <a:pt x="1493479" y="1551345"/>
                      </a:lnTo>
                      <a:lnTo>
                        <a:pt x="1492203" y="1551077"/>
                      </a:lnTo>
                      <a:lnTo>
                        <a:pt x="1490890" y="1550435"/>
                      </a:lnTo>
                      <a:lnTo>
                        <a:pt x="1489924" y="1550109"/>
                      </a:lnTo>
                      <a:lnTo>
                        <a:pt x="1489702" y="1549697"/>
                      </a:lnTo>
                      <a:lnTo>
                        <a:pt x="1489566" y="1548920"/>
                      </a:lnTo>
                      <a:lnTo>
                        <a:pt x="1489038" y="1548156"/>
                      </a:lnTo>
                      <a:lnTo>
                        <a:pt x="1487640" y="1547755"/>
                      </a:lnTo>
                      <a:lnTo>
                        <a:pt x="1486972" y="1547848"/>
                      </a:lnTo>
                      <a:lnTo>
                        <a:pt x="1484170" y="1548856"/>
                      </a:lnTo>
                      <a:lnTo>
                        <a:pt x="1486857" y="1553220"/>
                      </a:lnTo>
                      <a:lnTo>
                        <a:pt x="1489841" y="1555708"/>
                      </a:lnTo>
                      <a:lnTo>
                        <a:pt x="1493734" y="1556360"/>
                      </a:lnTo>
                      <a:lnTo>
                        <a:pt x="1499202" y="1555169"/>
                      </a:lnTo>
                      <a:lnTo>
                        <a:pt x="1500800" y="1556209"/>
                      </a:lnTo>
                      <a:lnTo>
                        <a:pt x="1502890" y="1556282"/>
                      </a:lnTo>
                      <a:lnTo>
                        <a:pt x="1504865" y="1555467"/>
                      </a:lnTo>
                      <a:lnTo>
                        <a:pt x="1506141" y="1553852"/>
                      </a:lnTo>
                      <a:lnTo>
                        <a:pt x="1506978" y="1556706"/>
                      </a:lnTo>
                      <a:lnTo>
                        <a:pt x="1505501" y="1561810"/>
                      </a:lnTo>
                      <a:lnTo>
                        <a:pt x="1506038" y="1563695"/>
                      </a:lnTo>
                      <a:lnTo>
                        <a:pt x="1509171" y="1570179"/>
                      </a:lnTo>
                      <a:lnTo>
                        <a:pt x="1511809" y="1572629"/>
                      </a:lnTo>
                      <a:lnTo>
                        <a:pt x="1526782" y="1578747"/>
                      </a:lnTo>
                      <a:lnTo>
                        <a:pt x="1528048" y="1581097"/>
                      </a:lnTo>
                      <a:lnTo>
                        <a:pt x="1527476" y="1583940"/>
                      </a:lnTo>
                      <a:lnTo>
                        <a:pt x="1525804" y="1586794"/>
                      </a:lnTo>
                      <a:lnTo>
                        <a:pt x="1523790" y="1589193"/>
                      </a:lnTo>
                      <a:lnTo>
                        <a:pt x="1522928" y="1590642"/>
                      </a:lnTo>
                      <a:lnTo>
                        <a:pt x="1522351" y="1592634"/>
                      </a:lnTo>
                      <a:lnTo>
                        <a:pt x="1521878" y="1596622"/>
                      </a:lnTo>
                      <a:lnTo>
                        <a:pt x="1521244" y="1598101"/>
                      </a:lnTo>
                      <a:lnTo>
                        <a:pt x="1515986" y="1607265"/>
                      </a:lnTo>
                      <a:lnTo>
                        <a:pt x="1513012" y="1615162"/>
                      </a:lnTo>
                      <a:lnTo>
                        <a:pt x="1512411" y="1618754"/>
                      </a:lnTo>
                      <a:lnTo>
                        <a:pt x="1511855" y="1620571"/>
                      </a:lnTo>
                      <a:lnTo>
                        <a:pt x="1509435" y="1623263"/>
                      </a:lnTo>
                      <a:lnTo>
                        <a:pt x="1502249" y="1641879"/>
                      </a:lnTo>
                      <a:lnTo>
                        <a:pt x="1501718" y="1645905"/>
                      </a:lnTo>
                      <a:lnTo>
                        <a:pt x="1499812" y="1647205"/>
                      </a:lnTo>
                      <a:lnTo>
                        <a:pt x="1488812" y="1651452"/>
                      </a:lnTo>
                      <a:lnTo>
                        <a:pt x="1485124" y="1655335"/>
                      </a:lnTo>
                      <a:lnTo>
                        <a:pt x="1482714" y="1656031"/>
                      </a:lnTo>
                      <a:lnTo>
                        <a:pt x="1479514" y="1653884"/>
                      </a:lnTo>
                      <a:lnTo>
                        <a:pt x="1485706" y="1650795"/>
                      </a:lnTo>
                      <a:lnTo>
                        <a:pt x="1487783" y="1648983"/>
                      </a:lnTo>
                      <a:lnTo>
                        <a:pt x="1486851" y="1648422"/>
                      </a:lnTo>
                      <a:lnTo>
                        <a:pt x="1486415" y="1647855"/>
                      </a:lnTo>
                      <a:lnTo>
                        <a:pt x="1486091" y="1647230"/>
                      </a:lnTo>
                      <a:lnTo>
                        <a:pt x="1485505" y="1646524"/>
                      </a:lnTo>
                      <a:lnTo>
                        <a:pt x="1488884" y="1646727"/>
                      </a:lnTo>
                      <a:lnTo>
                        <a:pt x="1490654" y="1646506"/>
                      </a:lnTo>
                      <a:lnTo>
                        <a:pt x="1491875" y="1645872"/>
                      </a:lnTo>
                      <a:lnTo>
                        <a:pt x="1493237" y="1644321"/>
                      </a:lnTo>
                      <a:lnTo>
                        <a:pt x="1493304" y="1643940"/>
                      </a:lnTo>
                      <a:lnTo>
                        <a:pt x="1492533" y="1643761"/>
                      </a:lnTo>
                      <a:lnTo>
                        <a:pt x="1491328" y="1642854"/>
                      </a:lnTo>
                      <a:lnTo>
                        <a:pt x="1491060" y="1643462"/>
                      </a:lnTo>
                      <a:lnTo>
                        <a:pt x="1489842" y="1643693"/>
                      </a:lnTo>
                      <a:lnTo>
                        <a:pt x="1488489" y="1643042"/>
                      </a:lnTo>
                      <a:lnTo>
                        <a:pt x="1487870" y="1640985"/>
                      </a:lnTo>
                      <a:lnTo>
                        <a:pt x="1488239" y="1637480"/>
                      </a:lnTo>
                      <a:lnTo>
                        <a:pt x="1489001" y="1634108"/>
                      </a:lnTo>
                      <a:lnTo>
                        <a:pt x="1485723" y="1635483"/>
                      </a:lnTo>
                      <a:lnTo>
                        <a:pt x="1481777" y="1639144"/>
                      </a:lnTo>
                      <a:lnTo>
                        <a:pt x="1479666" y="1640339"/>
                      </a:lnTo>
                      <a:lnTo>
                        <a:pt x="1480908" y="1642816"/>
                      </a:lnTo>
                      <a:lnTo>
                        <a:pt x="1479064" y="1643470"/>
                      </a:lnTo>
                      <a:lnTo>
                        <a:pt x="1477669" y="1644236"/>
                      </a:lnTo>
                      <a:lnTo>
                        <a:pt x="1474972" y="1646485"/>
                      </a:lnTo>
                      <a:lnTo>
                        <a:pt x="1473939" y="1643892"/>
                      </a:lnTo>
                      <a:lnTo>
                        <a:pt x="1472302" y="1644582"/>
                      </a:lnTo>
                      <a:lnTo>
                        <a:pt x="1469146" y="1648914"/>
                      </a:lnTo>
                      <a:lnTo>
                        <a:pt x="1469691" y="1650134"/>
                      </a:lnTo>
                      <a:lnTo>
                        <a:pt x="1469520" y="1651293"/>
                      </a:lnTo>
                      <a:lnTo>
                        <a:pt x="1468570" y="1652155"/>
                      </a:lnTo>
                      <a:lnTo>
                        <a:pt x="1466744" y="1652493"/>
                      </a:lnTo>
                      <a:lnTo>
                        <a:pt x="1464492" y="1652045"/>
                      </a:lnTo>
                      <a:lnTo>
                        <a:pt x="1463850" y="1650905"/>
                      </a:lnTo>
                      <a:lnTo>
                        <a:pt x="1463798" y="1649356"/>
                      </a:lnTo>
                      <a:lnTo>
                        <a:pt x="1463267" y="1647673"/>
                      </a:lnTo>
                      <a:lnTo>
                        <a:pt x="1449948" y="1629051"/>
                      </a:lnTo>
                      <a:lnTo>
                        <a:pt x="1445715" y="1625021"/>
                      </a:lnTo>
                      <a:lnTo>
                        <a:pt x="1440441" y="1621610"/>
                      </a:lnTo>
                      <a:lnTo>
                        <a:pt x="1441028" y="1625926"/>
                      </a:lnTo>
                      <a:lnTo>
                        <a:pt x="1446731" y="1631437"/>
                      </a:lnTo>
                      <a:lnTo>
                        <a:pt x="1448472" y="1635186"/>
                      </a:lnTo>
                      <a:lnTo>
                        <a:pt x="1446057" y="1635176"/>
                      </a:lnTo>
                      <a:lnTo>
                        <a:pt x="1452152" y="1641026"/>
                      </a:lnTo>
                      <a:lnTo>
                        <a:pt x="1454142" y="1644747"/>
                      </a:lnTo>
                      <a:lnTo>
                        <a:pt x="1450651" y="1646391"/>
                      </a:lnTo>
                      <a:lnTo>
                        <a:pt x="1450918" y="1647676"/>
                      </a:lnTo>
                      <a:lnTo>
                        <a:pt x="1451160" y="1648184"/>
                      </a:lnTo>
                      <a:lnTo>
                        <a:pt x="1451566" y="1648846"/>
                      </a:lnTo>
                      <a:lnTo>
                        <a:pt x="1454903" y="1647516"/>
                      </a:lnTo>
                      <a:lnTo>
                        <a:pt x="1457413" y="1648209"/>
                      </a:lnTo>
                      <a:lnTo>
                        <a:pt x="1458171" y="1650105"/>
                      </a:lnTo>
                      <a:lnTo>
                        <a:pt x="1456265" y="1652453"/>
                      </a:lnTo>
                      <a:lnTo>
                        <a:pt x="1452507" y="1654575"/>
                      </a:lnTo>
                      <a:lnTo>
                        <a:pt x="1448434" y="1654248"/>
                      </a:lnTo>
                      <a:lnTo>
                        <a:pt x="1444169" y="1652492"/>
                      </a:lnTo>
                      <a:lnTo>
                        <a:pt x="1440049" y="1652387"/>
                      </a:lnTo>
                      <a:lnTo>
                        <a:pt x="1442334" y="1655764"/>
                      </a:lnTo>
                      <a:lnTo>
                        <a:pt x="1450004" y="1657917"/>
                      </a:lnTo>
                      <a:lnTo>
                        <a:pt x="1456211" y="1656740"/>
                      </a:lnTo>
                      <a:lnTo>
                        <a:pt x="1459576" y="1656735"/>
                      </a:lnTo>
                      <a:lnTo>
                        <a:pt x="1462399" y="1658066"/>
                      </a:lnTo>
                      <a:lnTo>
                        <a:pt x="1464495" y="1662068"/>
                      </a:lnTo>
                      <a:lnTo>
                        <a:pt x="1469802" y="1662395"/>
                      </a:lnTo>
                      <a:lnTo>
                        <a:pt x="1476332" y="1663890"/>
                      </a:lnTo>
                      <a:lnTo>
                        <a:pt x="1482868" y="1664385"/>
                      </a:lnTo>
                      <a:lnTo>
                        <a:pt x="1486238" y="1662382"/>
                      </a:lnTo>
                      <a:lnTo>
                        <a:pt x="1490493" y="1660047"/>
                      </a:lnTo>
                      <a:lnTo>
                        <a:pt x="1496694" y="1657212"/>
                      </a:lnTo>
                      <a:lnTo>
                        <a:pt x="1499057" y="1658767"/>
                      </a:lnTo>
                      <a:lnTo>
                        <a:pt x="1498851" y="1661232"/>
                      </a:lnTo>
                      <a:lnTo>
                        <a:pt x="1497657" y="1663165"/>
                      </a:lnTo>
                      <a:lnTo>
                        <a:pt x="1495633" y="1663907"/>
                      </a:lnTo>
                      <a:lnTo>
                        <a:pt x="1495971" y="1665875"/>
                      </a:lnTo>
                      <a:lnTo>
                        <a:pt x="1495998" y="1669207"/>
                      </a:lnTo>
                      <a:lnTo>
                        <a:pt x="1495695" y="1672362"/>
                      </a:lnTo>
                      <a:lnTo>
                        <a:pt x="1494996" y="1673754"/>
                      </a:lnTo>
                      <a:lnTo>
                        <a:pt x="1493410" y="1674776"/>
                      </a:lnTo>
                      <a:lnTo>
                        <a:pt x="1493882" y="1677207"/>
                      </a:lnTo>
                      <a:lnTo>
                        <a:pt x="1495013" y="1680066"/>
                      </a:lnTo>
                      <a:lnTo>
                        <a:pt x="1495438" y="1682373"/>
                      </a:lnTo>
                      <a:lnTo>
                        <a:pt x="1494199" y="1684526"/>
                      </a:lnTo>
                      <a:lnTo>
                        <a:pt x="1492026" y="1686031"/>
                      </a:lnTo>
                      <a:lnTo>
                        <a:pt x="1489383" y="1686888"/>
                      </a:lnTo>
                      <a:lnTo>
                        <a:pt x="1486734" y="1687158"/>
                      </a:lnTo>
                      <a:lnTo>
                        <a:pt x="1486501" y="1688111"/>
                      </a:lnTo>
                      <a:lnTo>
                        <a:pt x="1488178" y="1690356"/>
                      </a:lnTo>
                      <a:lnTo>
                        <a:pt x="1489277" y="1692893"/>
                      </a:lnTo>
                      <a:lnTo>
                        <a:pt x="1487286" y="1694780"/>
                      </a:lnTo>
                      <a:lnTo>
                        <a:pt x="1489312" y="1699309"/>
                      </a:lnTo>
                      <a:lnTo>
                        <a:pt x="1489321" y="1702334"/>
                      </a:lnTo>
                      <a:lnTo>
                        <a:pt x="1486958" y="1704007"/>
                      </a:lnTo>
                      <a:lnTo>
                        <a:pt x="1477483" y="1704598"/>
                      </a:lnTo>
                      <a:lnTo>
                        <a:pt x="1475648" y="1705369"/>
                      </a:lnTo>
                      <a:lnTo>
                        <a:pt x="1475308" y="1707380"/>
                      </a:lnTo>
                      <a:lnTo>
                        <a:pt x="1475705" y="1715136"/>
                      </a:lnTo>
                      <a:lnTo>
                        <a:pt x="1476631" y="1718334"/>
                      </a:lnTo>
                      <a:lnTo>
                        <a:pt x="1478097" y="1720938"/>
                      </a:lnTo>
                      <a:lnTo>
                        <a:pt x="1480019" y="1723082"/>
                      </a:lnTo>
                      <a:lnTo>
                        <a:pt x="1486715" y="1726044"/>
                      </a:lnTo>
                      <a:lnTo>
                        <a:pt x="1488940" y="1728380"/>
                      </a:lnTo>
                      <a:lnTo>
                        <a:pt x="1486888" y="1731854"/>
                      </a:lnTo>
                      <a:lnTo>
                        <a:pt x="1479380" y="1725107"/>
                      </a:lnTo>
                      <a:lnTo>
                        <a:pt x="1477569" y="1724322"/>
                      </a:lnTo>
                      <a:lnTo>
                        <a:pt x="1476386" y="1726066"/>
                      </a:lnTo>
                      <a:lnTo>
                        <a:pt x="1475531" y="1729455"/>
                      </a:lnTo>
                      <a:lnTo>
                        <a:pt x="1475075" y="1733068"/>
                      </a:lnTo>
                      <a:lnTo>
                        <a:pt x="1475131" y="1735506"/>
                      </a:lnTo>
                      <a:lnTo>
                        <a:pt x="1476339" y="1737809"/>
                      </a:lnTo>
                      <a:lnTo>
                        <a:pt x="1478216" y="1738345"/>
                      </a:lnTo>
                      <a:lnTo>
                        <a:pt x="1480605" y="1738390"/>
                      </a:lnTo>
                      <a:lnTo>
                        <a:pt x="1483318" y="1739237"/>
                      </a:lnTo>
                      <a:lnTo>
                        <a:pt x="1485404" y="1741184"/>
                      </a:lnTo>
                      <a:lnTo>
                        <a:pt x="1486780" y="1743877"/>
                      </a:lnTo>
                      <a:lnTo>
                        <a:pt x="1487538" y="1746884"/>
                      </a:lnTo>
                      <a:lnTo>
                        <a:pt x="1488626" y="1754785"/>
                      </a:lnTo>
                      <a:lnTo>
                        <a:pt x="1492573" y="1766378"/>
                      </a:lnTo>
                      <a:lnTo>
                        <a:pt x="1494218" y="1778287"/>
                      </a:lnTo>
                      <a:lnTo>
                        <a:pt x="1497904" y="1790293"/>
                      </a:lnTo>
                      <a:lnTo>
                        <a:pt x="1498920" y="1796235"/>
                      </a:lnTo>
                      <a:lnTo>
                        <a:pt x="1498309" y="1794977"/>
                      </a:lnTo>
                      <a:lnTo>
                        <a:pt x="1497200" y="1793393"/>
                      </a:lnTo>
                      <a:lnTo>
                        <a:pt x="1496725" y="1792406"/>
                      </a:lnTo>
                      <a:lnTo>
                        <a:pt x="1495826" y="1794799"/>
                      </a:lnTo>
                      <a:lnTo>
                        <a:pt x="1494243" y="1796066"/>
                      </a:lnTo>
                      <a:lnTo>
                        <a:pt x="1489691" y="1797321"/>
                      </a:lnTo>
                      <a:lnTo>
                        <a:pt x="1495489" y="1799245"/>
                      </a:lnTo>
                      <a:lnTo>
                        <a:pt x="1495278" y="1800839"/>
                      </a:lnTo>
                      <a:lnTo>
                        <a:pt x="1494375" y="1803563"/>
                      </a:lnTo>
                      <a:lnTo>
                        <a:pt x="1493782" y="1808626"/>
                      </a:lnTo>
                      <a:lnTo>
                        <a:pt x="1493348" y="1810330"/>
                      </a:lnTo>
                      <a:lnTo>
                        <a:pt x="1493778" y="1811007"/>
                      </a:lnTo>
                      <a:lnTo>
                        <a:pt x="1495951" y="1811133"/>
                      </a:lnTo>
                      <a:lnTo>
                        <a:pt x="1499027" y="1811922"/>
                      </a:lnTo>
                      <a:lnTo>
                        <a:pt x="1499883" y="1813851"/>
                      </a:lnTo>
                      <a:lnTo>
                        <a:pt x="1500053" y="1816262"/>
                      </a:lnTo>
                      <a:lnTo>
                        <a:pt x="1501016" y="1818545"/>
                      </a:lnTo>
                      <a:lnTo>
                        <a:pt x="1502200" y="1818960"/>
                      </a:lnTo>
                      <a:lnTo>
                        <a:pt x="1505899" y="1819310"/>
                      </a:lnTo>
                      <a:lnTo>
                        <a:pt x="1506944" y="1819696"/>
                      </a:lnTo>
                      <a:lnTo>
                        <a:pt x="1506992" y="1821182"/>
                      </a:lnTo>
                      <a:lnTo>
                        <a:pt x="1505429" y="1824808"/>
                      </a:lnTo>
                      <a:lnTo>
                        <a:pt x="1505716" y="1825964"/>
                      </a:lnTo>
                      <a:lnTo>
                        <a:pt x="1506903" y="1826107"/>
                      </a:lnTo>
                      <a:lnTo>
                        <a:pt x="1508076" y="1825508"/>
                      </a:lnTo>
                      <a:lnTo>
                        <a:pt x="1508974" y="1824643"/>
                      </a:lnTo>
                      <a:lnTo>
                        <a:pt x="1509341" y="1824012"/>
                      </a:lnTo>
                      <a:lnTo>
                        <a:pt x="1510038" y="1823044"/>
                      </a:lnTo>
                      <a:lnTo>
                        <a:pt x="1511316" y="1823856"/>
                      </a:lnTo>
                      <a:lnTo>
                        <a:pt x="1512018" y="1825256"/>
                      </a:lnTo>
                      <a:lnTo>
                        <a:pt x="1511010" y="1825980"/>
                      </a:lnTo>
                      <a:lnTo>
                        <a:pt x="1509418" y="1827718"/>
                      </a:lnTo>
                      <a:lnTo>
                        <a:pt x="1508393" y="1831523"/>
                      </a:lnTo>
                      <a:lnTo>
                        <a:pt x="1508356" y="1835332"/>
                      </a:lnTo>
                      <a:lnTo>
                        <a:pt x="1509736" y="1837086"/>
                      </a:lnTo>
                      <a:lnTo>
                        <a:pt x="1511304" y="1836753"/>
                      </a:lnTo>
                      <a:lnTo>
                        <a:pt x="1512540" y="1836183"/>
                      </a:lnTo>
                      <a:lnTo>
                        <a:pt x="1513688" y="1836084"/>
                      </a:lnTo>
                      <a:lnTo>
                        <a:pt x="1515041" y="1837103"/>
                      </a:lnTo>
                      <a:lnTo>
                        <a:pt x="1516057" y="1839135"/>
                      </a:lnTo>
                      <a:lnTo>
                        <a:pt x="1515468" y="1840531"/>
                      </a:lnTo>
                      <a:lnTo>
                        <a:pt x="1514343" y="1841748"/>
                      </a:lnTo>
                      <a:lnTo>
                        <a:pt x="1513718" y="1843261"/>
                      </a:lnTo>
                      <a:lnTo>
                        <a:pt x="1513976" y="1845358"/>
                      </a:lnTo>
                      <a:lnTo>
                        <a:pt x="1514768" y="1846971"/>
                      </a:lnTo>
                      <a:lnTo>
                        <a:pt x="1517153" y="1850670"/>
                      </a:lnTo>
                      <a:lnTo>
                        <a:pt x="1516228" y="1854455"/>
                      </a:lnTo>
                      <a:lnTo>
                        <a:pt x="1515955" y="1859874"/>
                      </a:lnTo>
                      <a:lnTo>
                        <a:pt x="1516716" y="1864731"/>
                      </a:lnTo>
                      <a:lnTo>
                        <a:pt x="1518799" y="1866842"/>
                      </a:lnTo>
                      <a:lnTo>
                        <a:pt x="1519742" y="1867212"/>
                      </a:lnTo>
                      <a:lnTo>
                        <a:pt x="1520945" y="1868017"/>
                      </a:lnTo>
                      <a:lnTo>
                        <a:pt x="1522545" y="1868839"/>
                      </a:lnTo>
                      <a:lnTo>
                        <a:pt x="1524672" y="1869212"/>
                      </a:lnTo>
                      <a:lnTo>
                        <a:pt x="1529347" y="1869322"/>
                      </a:lnTo>
                      <a:lnTo>
                        <a:pt x="1531494" y="1869725"/>
                      </a:lnTo>
                      <a:lnTo>
                        <a:pt x="1533520" y="1870577"/>
                      </a:lnTo>
                      <a:lnTo>
                        <a:pt x="1532912" y="1873267"/>
                      </a:lnTo>
                      <a:lnTo>
                        <a:pt x="1531741" y="1874934"/>
                      </a:lnTo>
                      <a:lnTo>
                        <a:pt x="1529963" y="1875348"/>
                      </a:lnTo>
                      <a:lnTo>
                        <a:pt x="1527550" y="1874267"/>
                      </a:lnTo>
                      <a:lnTo>
                        <a:pt x="1527292" y="1877437"/>
                      </a:lnTo>
                      <a:lnTo>
                        <a:pt x="1525236" y="1881779"/>
                      </a:lnTo>
                      <a:lnTo>
                        <a:pt x="1525122" y="1884251"/>
                      </a:lnTo>
                      <a:lnTo>
                        <a:pt x="1525910" y="1887240"/>
                      </a:lnTo>
                      <a:lnTo>
                        <a:pt x="1526515" y="1888316"/>
                      </a:lnTo>
                      <a:lnTo>
                        <a:pt x="1527419" y="1889084"/>
                      </a:lnTo>
                      <a:lnTo>
                        <a:pt x="1529202" y="1889913"/>
                      </a:lnTo>
                      <a:lnTo>
                        <a:pt x="1529720" y="1889672"/>
                      </a:lnTo>
                      <a:lnTo>
                        <a:pt x="1529978" y="1888870"/>
                      </a:lnTo>
                      <a:lnTo>
                        <a:pt x="1530932" y="1887961"/>
                      </a:lnTo>
                      <a:lnTo>
                        <a:pt x="1535141" y="1886155"/>
                      </a:lnTo>
                      <a:lnTo>
                        <a:pt x="1536710" y="1884990"/>
                      </a:lnTo>
                      <a:lnTo>
                        <a:pt x="1537980" y="1883051"/>
                      </a:lnTo>
                      <a:lnTo>
                        <a:pt x="1538659" y="1880206"/>
                      </a:lnTo>
                      <a:lnTo>
                        <a:pt x="1539013" y="1876948"/>
                      </a:lnTo>
                      <a:lnTo>
                        <a:pt x="1539753" y="1874272"/>
                      </a:lnTo>
                      <a:lnTo>
                        <a:pt x="1541571" y="1873188"/>
                      </a:lnTo>
                      <a:lnTo>
                        <a:pt x="1543782" y="1873533"/>
                      </a:lnTo>
                      <a:lnTo>
                        <a:pt x="1545224" y="1878466"/>
                      </a:lnTo>
                      <a:lnTo>
                        <a:pt x="1545599" y="1883631"/>
                      </a:lnTo>
                      <a:lnTo>
                        <a:pt x="1546085" y="1891711"/>
                      </a:lnTo>
                      <a:lnTo>
                        <a:pt x="1545773" y="1893281"/>
                      </a:lnTo>
                      <a:lnTo>
                        <a:pt x="1534523" y="1894188"/>
                      </a:lnTo>
                      <a:lnTo>
                        <a:pt x="1526291" y="1893651"/>
                      </a:lnTo>
                      <a:lnTo>
                        <a:pt x="1524008" y="1894158"/>
                      </a:lnTo>
                      <a:lnTo>
                        <a:pt x="1523495" y="1897100"/>
                      </a:lnTo>
                      <a:lnTo>
                        <a:pt x="1520311" y="1899931"/>
                      </a:lnTo>
                      <a:lnTo>
                        <a:pt x="1516305" y="1901106"/>
                      </a:lnTo>
                      <a:lnTo>
                        <a:pt x="1513334" y="1899069"/>
                      </a:lnTo>
                      <a:lnTo>
                        <a:pt x="1509429" y="1901749"/>
                      </a:lnTo>
                      <a:lnTo>
                        <a:pt x="1508733" y="1902766"/>
                      </a:lnTo>
                      <a:lnTo>
                        <a:pt x="1509188" y="1906075"/>
                      </a:lnTo>
                      <a:lnTo>
                        <a:pt x="1510367" y="1910200"/>
                      </a:lnTo>
                      <a:lnTo>
                        <a:pt x="1510236" y="1913724"/>
                      </a:lnTo>
                      <a:lnTo>
                        <a:pt x="1506752" y="1915218"/>
                      </a:lnTo>
                      <a:lnTo>
                        <a:pt x="1505039" y="1914698"/>
                      </a:lnTo>
                      <a:lnTo>
                        <a:pt x="1504346" y="1913528"/>
                      </a:lnTo>
                      <a:lnTo>
                        <a:pt x="1503847" y="1912199"/>
                      </a:lnTo>
                      <a:lnTo>
                        <a:pt x="1502695" y="1911270"/>
                      </a:lnTo>
                      <a:lnTo>
                        <a:pt x="1501337" y="1911238"/>
                      </a:lnTo>
                      <a:lnTo>
                        <a:pt x="1501046" y="1912078"/>
                      </a:lnTo>
                      <a:lnTo>
                        <a:pt x="1500965" y="1913172"/>
                      </a:lnTo>
                      <a:lnTo>
                        <a:pt x="1500222" y="1913842"/>
                      </a:lnTo>
                      <a:lnTo>
                        <a:pt x="1496591" y="1913204"/>
                      </a:lnTo>
                      <a:lnTo>
                        <a:pt x="1494850" y="1910591"/>
                      </a:lnTo>
                      <a:lnTo>
                        <a:pt x="1493923" y="1907756"/>
                      </a:lnTo>
                      <a:lnTo>
                        <a:pt x="1492746" y="1906415"/>
                      </a:lnTo>
                      <a:lnTo>
                        <a:pt x="1489123" y="1906291"/>
                      </a:lnTo>
                      <a:lnTo>
                        <a:pt x="1486234" y="1905777"/>
                      </a:lnTo>
                      <a:lnTo>
                        <a:pt x="1483523" y="1904656"/>
                      </a:lnTo>
                      <a:lnTo>
                        <a:pt x="1480451" y="1902673"/>
                      </a:lnTo>
                      <a:lnTo>
                        <a:pt x="1472843" y="1895058"/>
                      </a:lnTo>
                      <a:lnTo>
                        <a:pt x="1467877" y="1892938"/>
                      </a:lnTo>
                      <a:lnTo>
                        <a:pt x="1466113" y="1890474"/>
                      </a:lnTo>
                      <a:lnTo>
                        <a:pt x="1464730" y="1887572"/>
                      </a:lnTo>
                      <a:lnTo>
                        <a:pt x="1463115" y="1885202"/>
                      </a:lnTo>
                      <a:lnTo>
                        <a:pt x="1459924" y="1882761"/>
                      </a:lnTo>
                      <a:lnTo>
                        <a:pt x="1456789" y="1881273"/>
                      </a:lnTo>
                      <a:lnTo>
                        <a:pt x="1453420" y="1880541"/>
                      </a:lnTo>
                      <a:lnTo>
                        <a:pt x="1438489" y="1879577"/>
                      </a:lnTo>
                      <a:lnTo>
                        <a:pt x="1436211" y="1878923"/>
                      </a:lnTo>
                      <a:lnTo>
                        <a:pt x="1435900" y="1876138"/>
                      </a:lnTo>
                      <a:lnTo>
                        <a:pt x="1432543" y="1875199"/>
                      </a:lnTo>
                      <a:lnTo>
                        <a:pt x="1419513" y="1875146"/>
                      </a:lnTo>
                      <a:lnTo>
                        <a:pt x="1408637" y="1876352"/>
                      </a:lnTo>
                      <a:lnTo>
                        <a:pt x="1398808" y="1874954"/>
                      </a:lnTo>
                      <a:lnTo>
                        <a:pt x="1396442" y="1875056"/>
                      </a:lnTo>
                      <a:lnTo>
                        <a:pt x="1391083" y="1877723"/>
                      </a:lnTo>
                      <a:lnTo>
                        <a:pt x="1387424" y="1878902"/>
                      </a:lnTo>
                      <a:lnTo>
                        <a:pt x="1385777" y="1878091"/>
                      </a:lnTo>
                      <a:lnTo>
                        <a:pt x="1384442" y="1873693"/>
                      </a:lnTo>
                      <a:lnTo>
                        <a:pt x="1381068" y="1872949"/>
                      </a:lnTo>
                      <a:lnTo>
                        <a:pt x="1372978" y="1874948"/>
                      </a:lnTo>
                      <a:lnTo>
                        <a:pt x="1367025" y="1874640"/>
                      </a:lnTo>
                      <a:lnTo>
                        <a:pt x="1360621" y="1872768"/>
                      </a:lnTo>
                      <a:lnTo>
                        <a:pt x="1347419" y="1866190"/>
                      </a:lnTo>
                      <a:lnTo>
                        <a:pt x="1345843" y="1864435"/>
                      </a:lnTo>
                      <a:lnTo>
                        <a:pt x="1341961" y="1858641"/>
                      </a:lnTo>
                      <a:lnTo>
                        <a:pt x="1340916" y="1857403"/>
                      </a:lnTo>
                      <a:lnTo>
                        <a:pt x="1336385" y="1857323"/>
                      </a:lnTo>
                      <a:lnTo>
                        <a:pt x="1334429" y="1856696"/>
                      </a:lnTo>
                      <a:lnTo>
                        <a:pt x="1334458" y="1854875"/>
                      </a:lnTo>
                      <a:lnTo>
                        <a:pt x="1335873" y="1851201"/>
                      </a:lnTo>
                      <a:lnTo>
                        <a:pt x="1331133" y="1849887"/>
                      </a:lnTo>
                      <a:lnTo>
                        <a:pt x="1325773" y="1846860"/>
                      </a:lnTo>
                      <a:lnTo>
                        <a:pt x="1321065" y="1845349"/>
                      </a:lnTo>
                      <a:lnTo>
                        <a:pt x="1318304" y="1848642"/>
                      </a:lnTo>
                      <a:lnTo>
                        <a:pt x="1314858" y="1844475"/>
                      </a:lnTo>
                      <a:lnTo>
                        <a:pt x="1310007" y="1842580"/>
                      </a:lnTo>
                      <a:lnTo>
                        <a:pt x="1304690" y="1841215"/>
                      </a:lnTo>
                      <a:lnTo>
                        <a:pt x="1299807" y="1838666"/>
                      </a:lnTo>
                      <a:lnTo>
                        <a:pt x="1289675" y="1842307"/>
                      </a:lnTo>
                      <a:lnTo>
                        <a:pt x="1287445" y="1841846"/>
                      </a:lnTo>
                      <a:lnTo>
                        <a:pt x="1285581" y="1840686"/>
                      </a:lnTo>
                      <a:lnTo>
                        <a:pt x="1282121" y="1837443"/>
                      </a:lnTo>
                      <a:lnTo>
                        <a:pt x="1280754" y="1837062"/>
                      </a:lnTo>
                      <a:lnTo>
                        <a:pt x="1279236" y="1836856"/>
                      </a:lnTo>
                      <a:lnTo>
                        <a:pt x="1278908" y="1835948"/>
                      </a:lnTo>
                      <a:lnTo>
                        <a:pt x="1281136" y="1833505"/>
                      </a:lnTo>
                      <a:lnTo>
                        <a:pt x="1279466" y="1831888"/>
                      </a:lnTo>
                      <a:lnTo>
                        <a:pt x="1277473" y="1831111"/>
                      </a:lnTo>
                      <a:lnTo>
                        <a:pt x="1275247" y="1830911"/>
                      </a:lnTo>
                      <a:lnTo>
                        <a:pt x="1272905" y="1831102"/>
                      </a:lnTo>
                      <a:lnTo>
                        <a:pt x="1273640" y="1828071"/>
                      </a:lnTo>
                      <a:lnTo>
                        <a:pt x="1271893" y="1825875"/>
                      </a:lnTo>
                      <a:lnTo>
                        <a:pt x="1266079" y="1822309"/>
                      </a:lnTo>
                      <a:lnTo>
                        <a:pt x="1263572" y="1819286"/>
                      </a:lnTo>
                      <a:lnTo>
                        <a:pt x="1262650" y="1818589"/>
                      </a:lnTo>
                      <a:lnTo>
                        <a:pt x="1261121" y="1818524"/>
                      </a:lnTo>
                      <a:lnTo>
                        <a:pt x="1259908" y="1819227"/>
                      </a:lnTo>
                      <a:lnTo>
                        <a:pt x="1258587" y="1819592"/>
                      </a:lnTo>
                      <a:lnTo>
                        <a:pt x="1256719" y="1818553"/>
                      </a:lnTo>
                      <a:lnTo>
                        <a:pt x="1255631" y="1819686"/>
                      </a:lnTo>
                      <a:lnTo>
                        <a:pt x="1254173" y="1819994"/>
                      </a:lnTo>
                      <a:lnTo>
                        <a:pt x="1252527" y="1819582"/>
                      </a:lnTo>
                      <a:lnTo>
                        <a:pt x="1250893" y="1818517"/>
                      </a:lnTo>
                      <a:lnTo>
                        <a:pt x="1246985" y="1819267"/>
                      </a:lnTo>
                      <a:lnTo>
                        <a:pt x="1240777" y="1814820"/>
                      </a:lnTo>
                      <a:lnTo>
                        <a:pt x="1238088" y="1817324"/>
                      </a:lnTo>
                      <a:lnTo>
                        <a:pt x="1236647" y="1814485"/>
                      </a:lnTo>
                      <a:lnTo>
                        <a:pt x="1235181" y="1813467"/>
                      </a:lnTo>
                      <a:lnTo>
                        <a:pt x="1231069" y="1813338"/>
                      </a:lnTo>
                      <a:lnTo>
                        <a:pt x="1228128" y="1814449"/>
                      </a:lnTo>
                      <a:lnTo>
                        <a:pt x="1227022" y="1814665"/>
                      </a:lnTo>
                      <a:lnTo>
                        <a:pt x="1226019" y="1814323"/>
                      </a:lnTo>
                      <a:lnTo>
                        <a:pt x="1224931" y="1812709"/>
                      </a:lnTo>
                      <a:lnTo>
                        <a:pt x="1224109" y="1812181"/>
                      </a:lnTo>
                      <a:lnTo>
                        <a:pt x="1220739" y="1812028"/>
                      </a:lnTo>
                      <a:lnTo>
                        <a:pt x="1217538" y="1812408"/>
                      </a:lnTo>
                      <a:lnTo>
                        <a:pt x="1214283" y="1811863"/>
                      </a:lnTo>
                      <a:lnTo>
                        <a:pt x="1210768" y="1809056"/>
                      </a:lnTo>
                      <a:lnTo>
                        <a:pt x="1210387" y="1807027"/>
                      </a:lnTo>
                      <a:lnTo>
                        <a:pt x="1211524" y="1804738"/>
                      </a:lnTo>
                      <a:lnTo>
                        <a:pt x="1213069" y="1802432"/>
                      </a:lnTo>
                      <a:lnTo>
                        <a:pt x="1213857" y="1800383"/>
                      </a:lnTo>
                      <a:lnTo>
                        <a:pt x="1213543" y="1798055"/>
                      </a:lnTo>
                      <a:lnTo>
                        <a:pt x="1211687" y="1792972"/>
                      </a:lnTo>
                      <a:lnTo>
                        <a:pt x="1209672" y="1790512"/>
                      </a:lnTo>
                      <a:lnTo>
                        <a:pt x="1205288" y="1789437"/>
                      </a:lnTo>
                      <a:lnTo>
                        <a:pt x="1201244" y="1787774"/>
                      </a:lnTo>
                      <a:lnTo>
                        <a:pt x="1200241" y="1783519"/>
                      </a:lnTo>
                      <a:lnTo>
                        <a:pt x="1199221" y="1774530"/>
                      </a:lnTo>
                      <a:lnTo>
                        <a:pt x="1198817" y="1771596"/>
                      </a:lnTo>
                      <a:lnTo>
                        <a:pt x="1192375" y="1752434"/>
                      </a:lnTo>
                      <a:lnTo>
                        <a:pt x="1190394" y="1743768"/>
                      </a:lnTo>
                      <a:lnTo>
                        <a:pt x="1188151" y="1735903"/>
                      </a:lnTo>
                      <a:lnTo>
                        <a:pt x="1185747" y="1732825"/>
                      </a:lnTo>
                      <a:lnTo>
                        <a:pt x="1182939" y="1729986"/>
                      </a:lnTo>
                      <a:lnTo>
                        <a:pt x="1180575" y="1726964"/>
                      </a:lnTo>
                      <a:lnTo>
                        <a:pt x="1175273" y="1720562"/>
                      </a:lnTo>
                      <a:lnTo>
                        <a:pt x="1173455" y="1718160"/>
                      </a:lnTo>
                      <a:lnTo>
                        <a:pt x="1166797" y="1712876"/>
                      </a:lnTo>
                      <a:lnTo>
                        <a:pt x="1165245" y="1711335"/>
                      </a:lnTo>
                      <a:lnTo>
                        <a:pt x="1164578" y="1709361"/>
                      </a:lnTo>
                      <a:lnTo>
                        <a:pt x="1164698" y="1705668"/>
                      </a:lnTo>
                      <a:lnTo>
                        <a:pt x="1164297" y="1703650"/>
                      </a:lnTo>
                      <a:lnTo>
                        <a:pt x="1163218" y="1702214"/>
                      </a:lnTo>
                      <a:lnTo>
                        <a:pt x="1161871" y="1701868"/>
                      </a:lnTo>
                      <a:lnTo>
                        <a:pt x="1160388" y="1701792"/>
                      </a:lnTo>
                      <a:lnTo>
                        <a:pt x="1158938" y="1701240"/>
                      </a:lnTo>
                      <a:lnTo>
                        <a:pt x="1156400" y="1699224"/>
                      </a:lnTo>
                      <a:lnTo>
                        <a:pt x="1155765" y="1698202"/>
                      </a:lnTo>
                      <a:lnTo>
                        <a:pt x="1152803" y="1694140"/>
                      </a:lnTo>
                      <a:lnTo>
                        <a:pt x="1156285" y="1688272"/>
                      </a:lnTo>
                      <a:lnTo>
                        <a:pt x="1156769" y="1686699"/>
                      </a:lnTo>
                      <a:lnTo>
                        <a:pt x="1156465" y="1685046"/>
                      </a:lnTo>
                      <a:lnTo>
                        <a:pt x="1155764" y="1683735"/>
                      </a:lnTo>
                      <a:lnTo>
                        <a:pt x="1155033" y="1682694"/>
                      </a:lnTo>
                      <a:lnTo>
                        <a:pt x="1154666" y="1681870"/>
                      </a:lnTo>
                      <a:lnTo>
                        <a:pt x="1155111" y="1678236"/>
                      </a:lnTo>
                      <a:lnTo>
                        <a:pt x="1157763" y="1670450"/>
                      </a:lnTo>
                      <a:lnTo>
                        <a:pt x="1158488" y="1666997"/>
                      </a:lnTo>
                      <a:lnTo>
                        <a:pt x="1158224" y="1663498"/>
                      </a:lnTo>
                      <a:lnTo>
                        <a:pt x="1157133" y="1660272"/>
                      </a:lnTo>
                      <a:lnTo>
                        <a:pt x="1155348" y="1657303"/>
                      </a:lnTo>
                      <a:lnTo>
                        <a:pt x="1152991" y="1654515"/>
                      </a:lnTo>
                      <a:lnTo>
                        <a:pt x="1152515" y="1654204"/>
                      </a:lnTo>
                      <a:lnTo>
                        <a:pt x="1150596" y="1653275"/>
                      </a:lnTo>
                      <a:lnTo>
                        <a:pt x="1150181" y="1652657"/>
                      </a:lnTo>
                      <a:lnTo>
                        <a:pt x="1149888" y="1651190"/>
                      </a:lnTo>
                      <a:lnTo>
                        <a:pt x="1149610" y="1650685"/>
                      </a:lnTo>
                      <a:lnTo>
                        <a:pt x="1148503" y="1650014"/>
                      </a:lnTo>
                      <a:lnTo>
                        <a:pt x="1143772" y="1648177"/>
                      </a:lnTo>
                      <a:lnTo>
                        <a:pt x="1144930" y="1646285"/>
                      </a:lnTo>
                      <a:lnTo>
                        <a:pt x="1147921" y="1643241"/>
                      </a:lnTo>
                      <a:lnTo>
                        <a:pt x="1148566" y="1641549"/>
                      </a:lnTo>
                      <a:lnTo>
                        <a:pt x="1148805" y="1639631"/>
                      </a:lnTo>
                      <a:lnTo>
                        <a:pt x="1149736" y="1637289"/>
                      </a:lnTo>
                      <a:lnTo>
                        <a:pt x="1150348" y="1633705"/>
                      </a:lnTo>
                      <a:lnTo>
                        <a:pt x="1151957" y="1629569"/>
                      </a:lnTo>
                      <a:lnTo>
                        <a:pt x="1152481" y="1627429"/>
                      </a:lnTo>
                      <a:lnTo>
                        <a:pt x="1152518" y="1620728"/>
                      </a:lnTo>
                      <a:lnTo>
                        <a:pt x="1152661" y="1619919"/>
                      </a:lnTo>
                      <a:lnTo>
                        <a:pt x="1152126" y="1617351"/>
                      </a:lnTo>
                      <a:lnTo>
                        <a:pt x="1151489" y="1615855"/>
                      </a:lnTo>
                      <a:lnTo>
                        <a:pt x="1150170" y="1615146"/>
                      </a:lnTo>
                      <a:lnTo>
                        <a:pt x="1147566" y="1614957"/>
                      </a:lnTo>
                      <a:lnTo>
                        <a:pt x="1146601" y="1614148"/>
                      </a:lnTo>
                      <a:lnTo>
                        <a:pt x="1146551" y="1612256"/>
                      </a:lnTo>
                      <a:lnTo>
                        <a:pt x="1147159" y="1608127"/>
                      </a:lnTo>
                      <a:lnTo>
                        <a:pt x="1147312" y="1600856"/>
                      </a:lnTo>
                      <a:lnTo>
                        <a:pt x="1146056" y="1598171"/>
                      </a:lnTo>
                      <a:lnTo>
                        <a:pt x="1142738" y="1595219"/>
                      </a:lnTo>
                      <a:lnTo>
                        <a:pt x="1139393" y="1593627"/>
                      </a:lnTo>
                      <a:lnTo>
                        <a:pt x="1136499" y="1592709"/>
                      </a:lnTo>
                      <a:lnTo>
                        <a:pt x="1135509" y="1591919"/>
                      </a:lnTo>
                      <a:lnTo>
                        <a:pt x="1133562" y="1588433"/>
                      </a:lnTo>
                      <a:lnTo>
                        <a:pt x="1131904" y="1587632"/>
                      </a:lnTo>
                      <a:lnTo>
                        <a:pt x="1129814" y="1588118"/>
                      </a:lnTo>
                      <a:lnTo>
                        <a:pt x="1126199" y="1589994"/>
                      </a:lnTo>
                      <a:lnTo>
                        <a:pt x="1124280" y="1590039"/>
                      </a:lnTo>
                      <a:lnTo>
                        <a:pt x="1123660" y="1589278"/>
                      </a:lnTo>
                      <a:lnTo>
                        <a:pt x="1122038" y="1586181"/>
                      </a:lnTo>
                      <a:lnTo>
                        <a:pt x="1121039" y="1585204"/>
                      </a:lnTo>
                      <a:lnTo>
                        <a:pt x="1115012" y="1585191"/>
                      </a:lnTo>
                      <a:lnTo>
                        <a:pt x="1114130" y="1584466"/>
                      </a:lnTo>
                      <a:lnTo>
                        <a:pt x="1113320" y="1583207"/>
                      </a:lnTo>
                      <a:lnTo>
                        <a:pt x="1111306" y="1580077"/>
                      </a:lnTo>
                      <a:lnTo>
                        <a:pt x="1110042" y="1579266"/>
                      </a:lnTo>
                      <a:lnTo>
                        <a:pt x="1109516" y="1577421"/>
                      </a:lnTo>
                      <a:lnTo>
                        <a:pt x="1109186" y="1575332"/>
                      </a:lnTo>
                      <a:lnTo>
                        <a:pt x="1108526" y="1573784"/>
                      </a:lnTo>
                      <a:lnTo>
                        <a:pt x="1107378" y="1573080"/>
                      </a:lnTo>
                      <a:lnTo>
                        <a:pt x="1104385" y="1572123"/>
                      </a:lnTo>
                      <a:lnTo>
                        <a:pt x="1102821" y="1571272"/>
                      </a:lnTo>
                      <a:lnTo>
                        <a:pt x="1100806" y="1568972"/>
                      </a:lnTo>
                      <a:lnTo>
                        <a:pt x="1099420" y="1566538"/>
                      </a:lnTo>
                      <a:lnTo>
                        <a:pt x="1097516" y="1564810"/>
                      </a:lnTo>
                      <a:lnTo>
                        <a:pt x="1097317" y="1564629"/>
                      </a:lnTo>
                      <a:lnTo>
                        <a:pt x="1093155" y="1563810"/>
                      </a:lnTo>
                      <a:lnTo>
                        <a:pt x="1093172" y="1562833"/>
                      </a:lnTo>
                      <a:lnTo>
                        <a:pt x="1091231" y="1560762"/>
                      </a:lnTo>
                      <a:lnTo>
                        <a:pt x="1089004" y="1558949"/>
                      </a:lnTo>
                      <a:lnTo>
                        <a:pt x="1088145" y="1558737"/>
                      </a:lnTo>
                      <a:lnTo>
                        <a:pt x="1087961" y="1556993"/>
                      </a:lnTo>
                      <a:lnTo>
                        <a:pt x="1088549" y="1553077"/>
                      </a:lnTo>
                      <a:lnTo>
                        <a:pt x="1088343" y="1551348"/>
                      </a:lnTo>
                      <a:lnTo>
                        <a:pt x="1087107" y="1549748"/>
                      </a:lnTo>
                      <a:lnTo>
                        <a:pt x="1085564" y="1548878"/>
                      </a:lnTo>
                      <a:lnTo>
                        <a:pt x="1084273" y="1547861"/>
                      </a:lnTo>
                      <a:lnTo>
                        <a:pt x="1083773" y="1545836"/>
                      </a:lnTo>
                      <a:lnTo>
                        <a:pt x="1085302" y="1543046"/>
                      </a:lnTo>
                      <a:lnTo>
                        <a:pt x="1086006" y="1541203"/>
                      </a:lnTo>
                      <a:lnTo>
                        <a:pt x="1085601" y="1540366"/>
                      </a:lnTo>
                      <a:lnTo>
                        <a:pt x="1083028" y="1539179"/>
                      </a:lnTo>
                      <a:lnTo>
                        <a:pt x="1080137" y="1536392"/>
                      </a:lnTo>
                      <a:lnTo>
                        <a:pt x="1077596" y="1533110"/>
                      </a:lnTo>
                      <a:lnTo>
                        <a:pt x="1076021" y="1530438"/>
                      </a:lnTo>
                      <a:lnTo>
                        <a:pt x="1078016" y="1527811"/>
                      </a:lnTo>
                      <a:lnTo>
                        <a:pt x="1075955" y="1526443"/>
                      </a:lnTo>
                      <a:lnTo>
                        <a:pt x="1072410" y="1525647"/>
                      </a:lnTo>
                      <a:lnTo>
                        <a:pt x="1069946" y="1524731"/>
                      </a:lnTo>
                      <a:lnTo>
                        <a:pt x="1067572" y="1521944"/>
                      </a:lnTo>
                      <a:lnTo>
                        <a:pt x="1066040" y="1519658"/>
                      </a:lnTo>
                      <a:lnTo>
                        <a:pt x="1064948" y="1517278"/>
                      </a:lnTo>
                      <a:lnTo>
                        <a:pt x="1063908" y="1514225"/>
                      </a:lnTo>
                      <a:lnTo>
                        <a:pt x="1064045" y="1513053"/>
                      </a:lnTo>
                      <a:lnTo>
                        <a:pt x="1064585" y="1511861"/>
                      </a:lnTo>
                      <a:lnTo>
                        <a:pt x="1064664" y="1510912"/>
                      </a:lnTo>
                      <a:lnTo>
                        <a:pt x="1063428" y="1510528"/>
                      </a:lnTo>
                      <a:lnTo>
                        <a:pt x="1061130" y="1508553"/>
                      </a:lnTo>
                      <a:lnTo>
                        <a:pt x="1058916" y="1506102"/>
                      </a:lnTo>
                      <a:lnTo>
                        <a:pt x="1058457" y="1504794"/>
                      </a:lnTo>
                      <a:lnTo>
                        <a:pt x="1058376" y="1502373"/>
                      </a:lnTo>
                      <a:lnTo>
                        <a:pt x="1057209" y="1498406"/>
                      </a:lnTo>
                      <a:lnTo>
                        <a:pt x="1054192" y="1495408"/>
                      </a:lnTo>
                      <a:lnTo>
                        <a:pt x="1037913" y="1487305"/>
                      </a:lnTo>
                      <a:lnTo>
                        <a:pt x="1035177" y="1486777"/>
                      </a:lnTo>
                      <a:lnTo>
                        <a:pt x="1033789" y="1485711"/>
                      </a:lnTo>
                      <a:lnTo>
                        <a:pt x="1033258" y="1483332"/>
                      </a:lnTo>
                      <a:lnTo>
                        <a:pt x="1033037" y="1480794"/>
                      </a:lnTo>
                      <a:lnTo>
                        <a:pt x="1032577" y="1479268"/>
                      </a:lnTo>
                      <a:lnTo>
                        <a:pt x="1031431" y="1478862"/>
                      </a:lnTo>
                      <a:lnTo>
                        <a:pt x="1026757" y="1477983"/>
                      </a:lnTo>
                      <a:lnTo>
                        <a:pt x="1023917" y="1476006"/>
                      </a:lnTo>
                      <a:lnTo>
                        <a:pt x="1021119" y="1472968"/>
                      </a:lnTo>
                      <a:lnTo>
                        <a:pt x="1019666" y="1469482"/>
                      </a:lnTo>
                      <a:lnTo>
                        <a:pt x="1020844" y="1466185"/>
                      </a:lnTo>
                      <a:lnTo>
                        <a:pt x="1020828" y="1463268"/>
                      </a:lnTo>
                      <a:lnTo>
                        <a:pt x="1018366" y="1459223"/>
                      </a:lnTo>
                      <a:lnTo>
                        <a:pt x="1013715" y="1453148"/>
                      </a:lnTo>
                      <a:lnTo>
                        <a:pt x="1012387" y="1446812"/>
                      </a:lnTo>
                      <a:lnTo>
                        <a:pt x="1011806" y="1440224"/>
                      </a:lnTo>
                      <a:lnTo>
                        <a:pt x="1011186" y="1439194"/>
                      </a:lnTo>
                      <a:lnTo>
                        <a:pt x="1009855" y="1438102"/>
                      </a:lnTo>
                      <a:lnTo>
                        <a:pt x="1008682" y="1436662"/>
                      </a:lnTo>
                      <a:lnTo>
                        <a:pt x="1008536" y="1434656"/>
                      </a:lnTo>
                      <a:lnTo>
                        <a:pt x="1009445" y="1433335"/>
                      </a:lnTo>
                      <a:lnTo>
                        <a:pt x="1014394" y="1430919"/>
                      </a:lnTo>
                      <a:lnTo>
                        <a:pt x="1007518" y="1428260"/>
                      </a:lnTo>
                      <a:lnTo>
                        <a:pt x="1004190" y="1425998"/>
                      </a:lnTo>
                      <a:lnTo>
                        <a:pt x="1002031" y="1422302"/>
                      </a:lnTo>
                      <a:lnTo>
                        <a:pt x="1001927" y="1420310"/>
                      </a:lnTo>
                      <a:lnTo>
                        <a:pt x="1002341" y="1415980"/>
                      </a:lnTo>
                      <a:lnTo>
                        <a:pt x="1001665" y="1414258"/>
                      </a:lnTo>
                      <a:lnTo>
                        <a:pt x="1000021" y="1412972"/>
                      </a:lnTo>
                      <a:lnTo>
                        <a:pt x="996153" y="1411164"/>
                      </a:lnTo>
                      <a:lnTo>
                        <a:pt x="994286" y="1409820"/>
                      </a:lnTo>
                      <a:lnTo>
                        <a:pt x="994601" y="1406713"/>
                      </a:lnTo>
                      <a:lnTo>
                        <a:pt x="988718" y="1399044"/>
                      </a:lnTo>
                      <a:lnTo>
                        <a:pt x="986739" y="1395006"/>
                      </a:lnTo>
                      <a:lnTo>
                        <a:pt x="983085" y="1377590"/>
                      </a:lnTo>
                      <a:lnTo>
                        <a:pt x="982146" y="1375805"/>
                      </a:lnTo>
                      <a:lnTo>
                        <a:pt x="981456" y="1374877"/>
                      </a:lnTo>
                      <a:lnTo>
                        <a:pt x="980649" y="1373019"/>
                      </a:lnTo>
                      <a:lnTo>
                        <a:pt x="979980" y="1372040"/>
                      </a:lnTo>
                      <a:lnTo>
                        <a:pt x="978907" y="1371424"/>
                      </a:lnTo>
                      <a:lnTo>
                        <a:pt x="976475" y="1371329"/>
                      </a:lnTo>
                      <a:lnTo>
                        <a:pt x="975394" y="1370755"/>
                      </a:lnTo>
                      <a:lnTo>
                        <a:pt x="974855" y="1369471"/>
                      </a:lnTo>
                      <a:lnTo>
                        <a:pt x="975993" y="1367238"/>
                      </a:lnTo>
                      <a:lnTo>
                        <a:pt x="975554" y="1365848"/>
                      </a:lnTo>
                      <a:lnTo>
                        <a:pt x="974647" y="1365225"/>
                      </a:lnTo>
                      <a:lnTo>
                        <a:pt x="972209" y="1364014"/>
                      </a:lnTo>
                      <a:lnTo>
                        <a:pt x="971728" y="1363349"/>
                      </a:lnTo>
                      <a:lnTo>
                        <a:pt x="970913" y="1360486"/>
                      </a:lnTo>
                      <a:lnTo>
                        <a:pt x="968968" y="1358523"/>
                      </a:lnTo>
                      <a:lnTo>
                        <a:pt x="967022" y="1357098"/>
                      </a:lnTo>
                      <a:lnTo>
                        <a:pt x="966145" y="1355866"/>
                      </a:lnTo>
                      <a:lnTo>
                        <a:pt x="966145" y="1353520"/>
                      </a:lnTo>
                      <a:lnTo>
                        <a:pt x="965888" y="1351616"/>
                      </a:lnTo>
                      <a:lnTo>
                        <a:pt x="965255" y="1350108"/>
                      </a:lnTo>
                      <a:lnTo>
                        <a:pt x="964097" y="1348980"/>
                      </a:lnTo>
                      <a:lnTo>
                        <a:pt x="965732" y="1345141"/>
                      </a:lnTo>
                      <a:lnTo>
                        <a:pt x="965208" y="1341390"/>
                      </a:lnTo>
                      <a:lnTo>
                        <a:pt x="962193" y="1334225"/>
                      </a:lnTo>
                      <a:lnTo>
                        <a:pt x="961098" y="1323811"/>
                      </a:lnTo>
                      <a:lnTo>
                        <a:pt x="959822" y="1321362"/>
                      </a:lnTo>
                      <a:lnTo>
                        <a:pt x="958303" y="1320770"/>
                      </a:lnTo>
                      <a:lnTo>
                        <a:pt x="956194" y="1320459"/>
                      </a:lnTo>
                      <a:lnTo>
                        <a:pt x="954334" y="1319964"/>
                      </a:lnTo>
                      <a:lnTo>
                        <a:pt x="953570" y="1318780"/>
                      </a:lnTo>
                      <a:lnTo>
                        <a:pt x="953119" y="1317809"/>
                      </a:lnTo>
                      <a:lnTo>
                        <a:pt x="944530" y="1310843"/>
                      </a:lnTo>
                      <a:lnTo>
                        <a:pt x="943344" y="1308400"/>
                      </a:lnTo>
                      <a:lnTo>
                        <a:pt x="944816" y="1304575"/>
                      </a:lnTo>
                      <a:lnTo>
                        <a:pt x="941505" y="1298351"/>
                      </a:lnTo>
                      <a:lnTo>
                        <a:pt x="939428" y="1295703"/>
                      </a:lnTo>
                      <a:lnTo>
                        <a:pt x="936177" y="1293312"/>
                      </a:lnTo>
                      <a:lnTo>
                        <a:pt x="928315" y="1289655"/>
                      </a:lnTo>
                      <a:lnTo>
                        <a:pt x="927032" y="1288591"/>
                      </a:lnTo>
                      <a:lnTo>
                        <a:pt x="923927" y="1284584"/>
                      </a:lnTo>
                      <a:lnTo>
                        <a:pt x="920118" y="1281215"/>
                      </a:lnTo>
                      <a:lnTo>
                        <a:pt x="908175" y="1275813"/>
                      </a:lnTo>
                      <a:lnTo>
                        <a:pt x="906395" y="1274687"/>
                      </a:lnTo>
                      <a:lnTo>
                        <a:pt x="904818" y="1273210"/>
                      </a:lnTo>
                      <a:lnTo>
                        <a:pt x="903516" y="1271490"/>
                      </a:lnTo>
                      <a:lnTo>
                        <a:pt x="902592" y="1269608"/>
                      </a:lnTo>
                      <a:lnTo>
                        <a:pt x="902054" y="1267108"/>
                      </a:lnTo>
                      <a:lnTo>
                        <a:pt x="901631" y="1261959"/>
                      </a:lnTo>
                      <a:lnTo>
                        <a:pt x="900381" y="1258875"/>
                      </a:lnTo>
                      <a:lnTo>
                        <a:pt x="895408" y="1257120"/>
                      </a:lnTo>
                      <a:lnTo>
                        <a:pt x="884384" y="1253722"/>
                      </a:lnTo>
                      <a:lnTo>
                        <a:pt x="879676" y="1251213"/>
                      </a:lnTo>
                      <a:lnTo>
                        <a:pt x="876625" y="1247392"/>
                      </a:lnTo>
                      <a:lnTo>
                        <a:pt x="875213" y="1246335"/>
                      </a:lnTo>
                      <a:lnTo>
                        <a:pt x="873502" y="1245863"/>
                      </a:lnTo>
                      <a:lnTo>
                        <a:pt x="871660" y="1245673"/>
                      </a:lnTo>
                      <a:lnTo>
                        <a:pt x="870069" y="1244000"/>
                      </a:lnTo>
                      <a:lnTo>
                        <a:pt x="869546" y="1241538"/>
                      </a:lnTo>
                      <a:lnTo>
                        <a:pt x="871202" y="1236216"/>
                      </a:lnTo>
                      <a:lnTo>
                        <a:pt x="871175" y="1231528"/>
                      </a:lnTo>
                      <a:lnTo>
                        <a:pt x="868776" y="1229274"/>
                      </a:lnTo>
                      <a:lnTo>
                        <a:pt x="864617" y="1229672"/>
                      </a:lnTo>
                      <a:lnTo>
                        <a:pt x="860399" y="1231838"/>
                      </a:lnTo>
                      <a:lnTo>
                        <a:pt x="857405" y="1234256"/>
                      </a:lnTo>
                      <a:lnTo>
                        <a:pt x="855567" y="1233564"/>
                      </a:lnTo>
                      <a:lnTo>
                        <a:pt x="855886" y="1230890"/>
                      </a:lnTo>
                      <a:lnTo>
                        <a:pt x="857389" y="1227121"/>
                      </a:lnTo>
                      <a:lnTo>
                        <a:pt x="857774" y="1224313"/>
                      </a:lnTo>
                      <a:lnTo>
                        <a:pt x="856358" y="1223390"/>
                      </a:lnTo>
                      <a:lnTo>
                        <a:pt x="851951" y="1223375"/>
                      </a:lnTo>
                      <a:lnTo>
                        <a:pt x="849860" y="1222310"/>
                      </a:lnTo>
                      <a:lnTo>
                        <a:pt x="848471" y="1220974"/>
                      </a:lnTo>
                      <a:lnTo>
                        <a:pt x="847426" y="1219304"/>
                      </a:lnTo>
                      <a:lnTo>
                        <a:pt x="845551" y="1214972"/>
                      </a:lnTo>
                      <a:lnTo>
                        <a:pt x="844555" y="1211752"/>
                      </a:lnTo>
                      <a:lnTo>
                        <a:pt x="842008" y="1207729"/>
                      </a:lnTo>
                      <a:lnTo>
                        <a:pt x="840942" y="1205529"/>
                      </a:lnTo>
                      <a:lnTo>
                        <a:pt x="840574" y="1203208"/>
                      </a:lnTo>
                      <a:lnTo>
                        <a:pt x="841366" y="1200946"/>
                      </a:lnTo>
                      <a:lnTo>
                        <a:pt x="839854" y="1201650"/>
                      </a:lnTo>
                      <a:lnTo>
                        <a:pt x="838134" y="1202165"/>
                      </a:lnTo>
                      <a:lnTo>
                        <a:pt x="836314" y="1202373"/>
                      </a:lnTo>
                      <a:lnTo>
                        <a:pt x="834489" y="1202182"/>
                      </a:lnTo>
                      <a:lnTo>
                        <a:pt x="832929" y="1201290"/>
                      </a:lnTo>
                      <a:lnTo>
                        <a:pt x="831901" y="1198937"/>
                      </a:lnTo>
                      <a:lnTo>
                        <a:pt x="830509" y="1198455"/>
                      </a:lnTo>
                      <a:lnTo>
                        <a:pt x="827241" y="1199484"/>
                      </a:lnTo>
                      <a:lnTo>
                        <a:pt x="824582" y="1201541"/>
                      </a:lnTo>
                      <a:lnTo>
                        <a:pt x="821853" y="1202935"/>
                      </a:lnTo>
                      <a:lnTo>
                        <a:pt x="818383" y="1201970"/>
                      </a:lnTo>
                      <a:lnTo>
                        <a:pt x="818975" y="1200516"/>
                      </a:lnTo>
                      <a:lnTo>
                        <a:pt x="820627" y="1197434"/>
                      </a:lnTo>
                      <a:lnTo>
                        <a:pt x="820982" y="1196547"/>
                      </a:lnTo>
                      <a:lnTo>
                        <a:pt x="820502" y="1194805"/>
                      </a:lnTo>
                      <a:lnTo>
                        <a:pt x="819346" y="1193556"/>
                      </a:lnTo>
                      <a:lnTo>
                        <a:pt x="818149" y="1193150"/>
                      </a:lnTo>
                      <a:lnTo>
                        <a:pt x="817566" y="1193940"/>
                      </a:lnTo>
                      <a:lnTo>
                        <a:pt x="816726" y="1197344"/>
                      </a:lnTo>
                      <a:lnTo>
                        <a:pt x="814833" y="1199152"/>
                      </a:lnTo>
                      <a:lnTo>
                        <a:pt x="812238" y="1199999"/>
                      </a:lnTo>
                      <a:lnTo>
                        <a:pt x="803553" y="1200944"/>
                      </a:lnTo>
                      <a:lnTo>
                        <a:pt x="776701" y="1196946"/>
                      </a:lnTo>
                      <a:lnTo>
                        <a:pt x="775339" y="1195925"/>
                      </a:lnTo>
                      <a:lnTo>
                        <a:pt x="774920" y="1194035"/>
                      </a:lnTo>
                      <a:lnTo>
                        <a:pt x="773804" y="1194001"/>
                      </a:lnTo>
                      <a:lnTo>
                        <a:pt x="771856" y="1195203"/>
                      </a:lnTo>
                      <a:lnTo>
                        <a:pt x="766281" y="1195125"/>
                      </a:lnTo>
                      <a:lnTo>
                        <a:pt x="763012" y="1194062"/>
                      </a:lnTo>
                      <a:lnTo>
                        <a:pt x="761378" y="1193779"/>
                      </a:lnTo>
                      <a:lnTo>
                        <a:pt x="760012" y="1194419"/>
                      </a:lnTo>
                      <a:lnTo>
                        <a:pt x="758818" y="1195367"/>
                      </a:lnTo>
                      <a:lnTo>
                        <a:pt x="757379" y="1195950"/>
                      </a:lnTo>
                      <a:lnTo>
                        <a:pt x="755822" y="1196235"/>
                      </a:lnTo>
                      <a:lnTo>
                        <a:pt x="754246" y="1196296"/>
                      </a:lnTo>
                      <a:lnTo>
                        <a:pt x="752121" y="1195207"/>
                      </a:lnTo>
                      <a:lnTo>
                        <a:pt x="749810" y="1193299"/>
                      </a:lnTo>
                      <a:lnTo>
                        <a:pt x="747316" y="1192521"/>
                      </a:lnTo>
                      <a:lnTo>
                        <a:pt x="744605" y="1194816"/>
                      </a:lnTo>
                      <a:lnTo>
                        <a:pt x="740216" y="1193708"/>
                      </a:lnTo>
                      <a:lnTo>
                        <a:pt x="724388" y="1195074"/>
                      </a:lnTo>
                      <a:lnTo>
                        <a:pt x="718460" y="1192546"/>
                      </a:lnTo>
                      <a:lnTo>
                        <a:pt x="716602" y="1190931"/>
                      </a:lnTo>
                      <a:lnTo>
                        <a:pt x="709059" y="1186939"/>
                      </a:lnTo>
                      <a:lnTo>
                        <a:pt x="703083" y="1186311"/>
                      </a:lnTo>
                      <a:lnTo>
                        <a:pt x="700862" y="1185173"/>
                      </a:lnTo>
                      <a:lnTo>
                        <a:pt x="700208" y="1181895"/>
                      </a:lnTo>
                      <a:lnTo>
                        <a:pt x="697200" y="1182555"/>
                      </a:lnTo>
                      <a:lnTo>
                        <a:pt x="695137" y="1180983"/>
                      </a:lnTo>
                      <a:lnTo>
                        <a:pt x="693044" y="1178928"/>
                      </a:lnTo>
                      <a:lnTo>
                        <a:pt x="689952" y="1178064"/>
                      </a:lnTo>
                      <a:lnTo>
                        <a:pt x="688377" y="1178940"/>
                      </a:lnTo>
                      <a:lnTo>
                        <a:pt x="686641" y="1182200"/>
                      </a:lnTo>
                      <a:lnTo>
                        <a:pt x="684730" y="1182895"/>
                      </a:lnTo>
                      <a:lnTo>
                        <a:pt x="682689" y="1183282"/>
                      </a:lnTo>
                      <a:lnTo>
                        <a:pt x="681388" y="1184431"/>
                      </a:lnTo>
                      <a:lnTo>
                        <a:pt x="680670" y="1186156"/>
                      </a:lnTo>
                      <a:lnTo>
                        <a:pt x="680108" y="1190929"/>
                      </a:lnTo>
                      <a:lnTo>
                        <a:pt x="679448" y="1192734"/>
                      </a:lnTo>
                      <a:lnTo>
                        <a:pt x="675186" y="1198166"/>
                      </a:lnTo>
                      <a:lnTo>
                        <a:pt x="674829" y="1198791"/>
                      </a:lnTo>
                      <a:lnTo>
                        <a:pt x="656733" y="1197174"/>
                      </a:lnTo>
                      <a:lnTo>
                        <a:pt x="655420" y="1197585"/>
                      </a:lnTo>
                      <a:lnTo>
                        <a:pt x="653972" y="1199791"/>
                      </a:lnTo>
                      <a:lnTo>
                        <a:pt x="652176" y="1201100"/>
                      </a:lnTo>
                      <a:lnTo>
                        <a:pt x="651856" y="1201518"/>
                      </a:lnTo>
                      <a:lnTo>
                        <a:pt x="651299" y="1201913"/>
                      </a:lnTo>
                      <a:lnTo>
                        <a:pt x="650198" y="1202100"/>
                      </a:lnTo>
                      <a:lnTo>
                        <a:pt x="649358" y="1201664"/>
                      </a:lnTo>
                      <a:lnTo>
                        <a:pt x="648687" y="1199811"/>
                      </a:lnTo>
                      <a:lnTo>
                        <a:pt x="648057" y="1199494"/>
                      </a:lnTo>
                      <a:lnTo>
                        <a:pt x="644916" y="1200587"/>
                      </a:lnTo>
                      <a:lnTo>
                        <a:pt x="638792" y="1203620"/>
                      </a:lnTo>
                      <a:lnTo>
                        <a:pt x="635848" y="1204213"/>
                      </a:lnTo>
                      <a:lnTo>
                        <a:pt x="629648" y="1203976"/>
                      </a:lnTo>
                      <a:lnTo>
                        <a:pt x="628407" y="1204095"/>
                      </a:lnTo>
                      <a:lnTo>
                        <a:pt x="627088" y="1205314"/>
                      </a:lnTo>
                      <a:lnTo>
                        <a:pt x="626593" y="1206638"/>
                      </a:lnTo>
                      <a:lnTo>
                        <a:pt x="626335" y="1208214"/>
                      </a:lnTo>
                      <a:lnTo>
                        <a:pt x="625730" y="1210192"/>
                      </a:lnTo>
                      <a:lnTo>
                        <a:pt x="620511" y="1218208"/>
                      </a:lnTo>
                      <a:lnTo>
                        <a:pt x="619636" y="1220693"/>
                      </a:lnTo>
                      <a:lnTo>
                        <a:pt x="618922" y="1220877"/>
                      </a:lnTo>
                      <a:lnTo>
                        <a:pt x="615995" y="1225693"/>
                      </a:lnTo>
                      <a:lnTo>
                        <a:pt x="615957" y="1226106"/>
                      </a:lnTo>
                      <a:lnTo>
                        <a:pt x="614214" y="1229088"/>
                      </a:lnTo>
                      <a:lnTo>
                        <a:pt x="613118" y="1230171"/>
                      </a:lnTo>
                      <a:lnTo>
                        <a:pt x="611065" y="1231035"/>
                      </a:lnTo>
                      <a:lnTo>
                        <a:pt x="611882" y="1233329"/>
                      </a:lnTo>
                      <a:lnTo>
                        <a:pt x="611454" y="1233982"/>
                      </a:lnTo>
                      <a:lnTo>
                        <a:pt x="609847" y="1234699"/>
                      </a:lnTo>
                      <a:lnTo>
                        <a:pt x="610584" y="1237150"/>
                      </a:lnTo>
                      <a:lnTo>
                        <a:pt x="609555" y="1238528"/>
                      </a:lnTo>
                      <a:lnTo>
                        <a:pt x="608006" y="1239623"/>
                      </a:lnTo>
                      <a:lnTo>
                        <a:pt x="602049" y="1252793"/>
                      </a:lnTo>
                      <a:lnTo>
                        <a:pt x="600861" y="1254419"/>
                      </a:lnTo>
                      <a:lnTo>
                        <a:pt x="599925" y="1256095"/>
                      </a:lnTo>
                      <a:lnTo>
                        <a:pt x="599459" y="1258541"/>
                      </a:lnTo>
                      <a:lnTo>
                        <a:pt x="599763" y="1260592"/>
                      </a:lnTo>
                      <a:lnTo>
                        <a:pt x="600284" y="1262622"/>
                      </a:lnTo>
                      <a:lnTo>
                        <a:pt x="600144" y="1264753"/>
                      </a:lnTo>
                      <a:lnTo>
                        <a:pt x="598467" y="1267119"/>
                      </a:lnTo>
                      <a:lnTo>
                        <a:pt x="598242" y="1268161"/>
                      </a:lnTo>
                      <a:lnTo>
                        <a:pt x="599375" y="1270732"/>
                      </a:lnTo>
                      <a:lnTo>
                        <a:pt x="599399" y="1271490"/>
                      </a:lnTo>
                      <a:lnTo>
                        <a:pt x="597876" y="1272288"/>
                      </a:lnTo>
                      <a:lnTo>
                        <a:pt x="596649" y="1272403"/>
                      </a:lnTo>
                      <a:lnTo>
                        <a:pt x="595651" y="1272359"/>
                      </a:lnTo>
                      <a:lnTo>
                        <a:pt x="594787" y="1272638"/>
                      </a:lnTo>
                      <a:lnTo>
                        <a:pt x="592707" y="1274161"/>
                      </a:lnTo>
                      <a:lnTo>
                        <a:pt x="591625" y="1275422"/>
                      </a:lnTo>
                      <a:lnTo>
                        <a:pt x="591180" y="1277284"/>
                      </a:lnTo>
                      <a:lnTo>
                        <a:pt x="590963" y="1280623"/>
                      </a:lnTo>
                      <a:lnTo>
                        <a:pt x="588299" y="1287544"/>
                      </a:lnTo>
                      <a:lnTo>
                        <a:pt x="588138" y="1289736"/>
                      </a:lnTo>
                      <a:lnTo>
                        <a:pt x="589318" y="1291467"/>
                      </a:lnTo>
                      <a:lnTo>
                        <a:pt x="593231" y="1294050"/>
                      </a:lnTo>
                      <a:lnTo>
                        <a:pt x="594663" y="1296095"/>
                      </a:lnTo>
                      <a:lnTo>
                        <a:pt x="592773" y="1296851"/>
                      </a:lnTo>
                      <a:lnTo>
                        <a:pt x="588220" y="1297586"/>
                      </a:lnTo>
                      <a:lnTo>
                        <a:pt x="580376" y="1302872"/>
                      </a:lnTo>
                      <a:lnTo>
                        <a:pt x="579424" y="1304331"/>
                      </a:lnTo>
                      <a:lnTo>
                        <a:pt x="575809" y="1302322"/>
                      </a:lnTo>
                      <a:lnTo>
                        <a:pt x="572556" y="1305097"/>
                      </a:lnTo>
                      <a:lnTo>
                        <a:pt x="567521" y="1314080"/>
                      </a:lnTo>
                      <a:lnTo>
                        <a:pt x="566013" y="1315967"/>
                      </a:lnTo>
                      <a:lnTo>
                        <a:pt x="564565" y="1317013"/>
                      </a:lnTo>
                      <a:lnTo>
                        <a:pt x="557725" y="1320286"/>
                      </a:lnTo>
                      <a:lnTo>
                        <a:pt x="556295" y="1321379"/>
                      </a:lnTo>
                      <a:lnTo>
                        <a:pt x="555402" y="1323072"/>
                      </a:lnTo>
                      <a:lnTo>
                        <a:pt x="554247" y="1326268"/>
                      </a:lnTo>
                      <a:lnTo>
                        <a:pt x="553629" y="1325819"/>
                      </a:lnTo>
                      <a:lnTo>
                        <a:pt x="552048" y="1326231"/>
                      </a:lnTo>
                      <a:lnTo>
                        <a:pt x="550979" y="1332425"/>
                      </a:lnTo>
                      <a:lnTo>
                        <a:pt x="548466" y="1337227"/>
                      </a:lnTo>
                      <a:lnTo>
                        <a:pt x="544146" y="1339202"/>
                      </a:lnTo>
                      <a:lnTo>
                        <a:pt x="537650" y="1338173"/>
                      </a:lnTo>
                      <a:lnTo>
                        <a:pt x="528636" y="1335629"/>
                      </a:lnTo>
                      <a:lnTo>
                        <a:pt x="518628" y="1335664"/>
                      </a:lnTo>
                      <a:lnTo>
                        <a:pt x="516242" y="1334237"/>
                      </a:lnTo>
                      <a:lnTo>
                        <a:pt x="517182" y="1331376"/>
                      </a:lnTo>
                      <a:lnTo>
                        <a:pt x="517483" y="1330456"/>
                      </a:lnTo>
                      <a:lnTo>
                        <a:pt x="514969" y="1331200"/>
                      </a:lnTo>
                      <a:lnTo>
                        <a:pt x="513990" y="1331737"/>
                      </a:lnTo>
                      <a:lnTo>
                        <a:pt x="512127" y="1328555"/>
                      </a:lnTo>
                      <a:lnTo>
                        <a:pt x="510595" y="1328854"/>
                      </a:lnTo>
                      <a:lnTo>
                        <a:pt x="509023" y="1330554"/>
                      </a:lnTo>
                      <a:lnTo>
                        <a:pt x="507035" y="1331618"/>
                      </a:lnTo>
                      <a:lnTo>
                        <a:pt x="504652" y="1330665"/>
                      </a:lnTo>
                      <a:lnTo>
                        <a:pt x="500193" y="1326335"/>
                      </a:lnTo>
                      <a:lnTo>
                        <a:pt x="498747" y="1325328"/>
                      </a:lnTo>
                      <a:lnTo>
                        <a:pt x="496757" y="1324707"/>
                      </a:lnTo>
                      <a:lnTo>
                        <a:pt x="489798" y="1320817"/>
                      </a:lnTo>
                      <a:lnTo>
                        <a:pt x="481674" y="1312619"/>
                      </a:lnTo>
                      <a:lnTo>
                        <a:pt x="480778" y="1311101"/>
                      </a:lnTo>
                      <a:lnTo>
                        <a:pt x="480409" y="1309782"/>
                      </a:lnTo>
                      <a:lnTo>
                        <a:pt x="479889" y="1308619"/>
                      </a:lnTo>
                      <a:lnTo>
                        <a:pt x="478521" y="1307543"/>
                      </a:lnTo>
                      <a:lnTo>
                        <a:pt x="477238" y="1307241"/>
                      </a:lnTo>
                      <a:lnTo>
                        <a:pt x="472718" y="1307441"/>
                      </a:lnTo>
                      <a:lnTo>
                        <a:pt x="458189" y="1303775"/>
                      </a:lnTo>
                      <a:lnTo>
                        <a:pt x="453430" y="1301117"/>
                      </a:lnTo>
                      <a:lnTo>
                        <a:pt x="445935" y="1294657"/>
                      </a:lnTo>
                      <a:lnTo>
                        <a:pt x="444374" y="1293932"/>
                      </a:lnTo>
                      <a:lnTo>
                        <a:pt x="442450" y="1293357"/>
                      </a:lnTo>
                      <a:lnTo>
                        <a:pt x="441345" y="1292355"/>
                      </a:lnTo>
                      <a:lnTo>
                        <a:pt x="442951" y="1288378"/>
                      </a:lnTo>
                      <a:lnTo>
                        <a:pt x="442249" y="1286569"/>
                      </a:lnTo>
                      <a:lnTo>
                        <a:pt x="440749" y="1285231"/>
                      </a:lnTo>
                      <a:lnTo>
                        <a:pt x="439024" y="1284696"/>
                      </a:lnTo>
                      <a:lnTo>
                        <a:pt x="427395" y="1283803"/>
                      </a:lnTo>
                      <a:lnTo>
                        <a:pt x="416840" y="1281509"/>
                      </a:lnTo>
                      <a:lnTo>
                        <a:pt x="401943" y="1276312"/>
                      </a:lnTo>
                      <a:lnTo>
                        <a:pt x="395775" y="1272827"/>
                      </a:lnTo>
                      <a:lnTo>
                        <a:pt x="388244" y="1264285"/>
                      </a:lnTo>
                      <a:lnTo>
                        <a:pt x="382675" y="1261494"/>
                      </a:lnTo>
                      <a:lnTo>
                        <a:pt x="379204" y="1258515"/>
                      </a:lnTo>
                      <a:lnTo>
                        <a:pt x="374070" y="1252625"/>
                      </a:lnTo>
                      <a:lnTo>
                        <a:pt x="371489" y="1246141"/>
                      </a:lnTo>
                      <a:lnTo>
                        <a:pt x="370477" y="1245191"/>
                      </a:lnTo>
                      <a:lnTo>
                        <a:pt x="369104" y="1244588"/>
                      </a:lnTo>
                      <a:lnTo>
                        <a:pt x="365297" y="1241713"/>
                      </a:lnTo>
                      <a:lnTo>
                        <a:pt x="362801" y="1238427"/>
                      </a:lnTo>
                      <a:lnTo>
                        <a:pt x="358612" y="1237219"/>
                      </a:lnTo>
                      <a:lnTo>
                        <a:pt x="353971" y="1237230"/>
                      </a:lnTo>
                      <a:lnTo>
                        <a:pt x="350906" y="1238654"/>
                      </a:lnTo>
                      <a:lnTo>
                        <a:pt x="349298" y="1236180"/>
                      </a:lnTo>
                      <a:lnTo>
                        <a:pt x="336246" y="1227780"/>
                      </a:lnTo>
                      <a:lnTo>
                        <a:pt x="335046" y="1227281"/>
                      </a:lnTo>
                      <a:lnTo>
                        <a:pt x="334061" y="1226583"/>
                      </a:lnTo>
                      <a:lnTo>
                        <a:pt x="333397" y="1225044"/>
                      </a:lnTo>
                      <a:lnTo>
                        <a:pt x="332916" y="1223336"/>
                      </a:lnTo>
                      <a:lnTo>
                        <a:pt x="332461" y="1222197"/>
                      </a:lnTo>
                      <a:lnTo>
                        <a:pt x="330239" y="1219990"/>
                      </a:lnTo>
                      <a:lnTo>
                        <a:pt x="322702" y="1214632"/>
                      </a:lnTo>
                      <a:lnTo>
                        <a:pt x="320495" y="1212142"/>
                      </a:lnTo>
                      <a:lnTo>
                        <a:pt x="319905" y="1210348"/>
                      </a:lnTo>
                      <a:lnTo>
                        <a:pt x="319990" y="1208541"/>
                      </a:lnTo>
                      <a:lnTo>
                        <a:pt x="319832" y="1205971"/>
                      </a:lnTo>
                      <a:lnTo>
                        <a:pt x="318901" y="1203375"/>
                      </a:lnTo>
                      <a:lnTo>
                        <a:pt x="316279" y="1198104"/>
                      </a:lnTo>
                      <a:lnTo>
                        <a:pt x="315274" y="1190509"/>
                      </a:lnTo>
                      <a:lnTo>
                        <a:pt x="313233" y="1187756"/>
                      </a:lnTo>
                      <a:lnTo>
                        <a:pt x="310446" y="1185504"/>
                      </a:lnTo>
                      <a:lnTo>
                        <a:pt x="307585" y="1182154"/>
                      </a:lnTo>
                      <a:lnTo>
                        <a:pt x="307002" y="1180625"/>
                      </a:lnTo>
                      <a:lnTo>
                        <a:pt x="305234" y="1172220"/>
                      </a:lnTo>
                      <a:lnTo>
                        <a:pt x="302351" y="1168525"/>
                      </a:lnTo>
                      <a:lnTo>
                        <a:pt x="301756" y="1166671"/>
                      </a:lnTo>
                      <a:lnTo>
                        <a:pt x="301338" y="1165826"/>
                      </a:lnTo>
                      <a:lnTo>
                        <a:pt x="299330" y="1163312"/>
                      </a:lnTo>
                      <a:lnTo>
                        <a:pt x="298737" y="1162314"/>
                      </a:lnTo>
                      <a:lnTo>
                        <a:pt x="298518" y="1160543"/>
                      </a:lnTo>
                      <a:lnTo>
                        <a:pt x="299088" y="1157738"/>
                      </a:lnTo>
                      <a:lnTo>
                        <a:pt x="299126" y="1156177"/>
                      </a:lnTo>
                      <a:lnTo>
                        <a:pt x="296667" y="1146235"/>
                      </a:lnTo>
                      <a:lnTo>
                        <a:pt x="296530" y="1141937"/>
                      </a:lnTo>
                      <a:lnTo>
                        <a:pt x="297256" y="1138365"/>
                      </a:lnTo>
                      <a:lnTo>
                        <a:pt x="299978" y="1131972"/>
                      </a:lnTo>
                      <a:lnTo>
                        <a:pt x="300931" y="1127857"/>
                      </a:lnTo>
                      <a:lnTo>
                        <a:pt x="301646" y="1121358"/>
                      </a:lnTo>
                      <a:lnTo>
                        <a:pt x="301427" y="1117293"/>
                      </a:lnTo>
                      <a:lnTo>
                        <a:pt x="299241" y="1114459"/>
                      </a:lnTo>
                      <a:lnTo>
                        <a:pt x="296445" y="1108007"/>
                      </a:lnTo>
                      <a:lnTo>
                        <a:pt x="294992" y="1106500"/>
                      </a:lnTo>
                      <a:lnTo>
                        <a:pt x="292175" y="1105064"/>
                      </a:lnTo>
                      <a:lnTo>
                        <a:pt x="291032" y="1104213"/>
                      </a:lnTo>
                      <a:lnTo>
                        <a:pt x="289227" y="1100626"/>
                      </a:lnTo>
                      <a:lnTo>
                        <a:pt x="287487" y="1095665"/>
                      </a:lnTo>
                      <a:lnTo>
                        <a:pt x="285354" y="1091244"/>
                      </a:lnTo>
                      <a:lnTo>
                        <a:pt x="282342" y="1089293"/>
                      </a:lnTo>
                      <a:lnTo>
                        <a:pt x="281538" y="1088506"/>
                      </a:lnTo>
                      <a:lnTo>
                        <a:pt x="281312" y="1086726"/>
                      </a:lnTo>
                      <a:lnTo>
                        <a:pt x="281275" y="1084673"/>
                      </a:lnTo>
                      <a:lnTo>
                        <a:pt x="280999" y="1083134"/>
                      </a:lnTo>
                      <a:lnTo>
                        <a:pt x="280087" y="1081917"/>
                      </a:lnTo>
                      <a:lnTo>
                        <a:pt x="277974" y="1080635"/>
                      </a:lnTo>
                      <a:lnTo>
                        <a:pt x="276835" y="1079357"/>
                      </a:lnTo>
                      <a:lnTo>
                        <a:pt x="275592" y="1077333"/>
                      </a:lnTo>
                      <a:lnTo>
                        <a:pt x="275364" y="1076372"/>
                      </a:lnTo>
                      <a:lnTo>
                        <a:pt x="275672" y="1075208"/>
                      </a:lnTo>
                      <a:lnTo>
                        <a:pt x="276044" y="1072541"/>
                      </a:lnTo>
                      <a:lnTo>
                        <a:pt x="275794" y="1070761"/>
                      </a:lnTo>
                      <a:lnTo>
                        <a:pt x="274330" y="1068343"/>
                      </a:lnTo>
                      <a:lnTo>
                        <a:pt x="274094" y="1066360"/>
                      </a:lnTo>
                      <a:lnTo>
                        <a:pt x="274413" y="1065131"/>
                      </a:lnTo>
                      <a:lnTo>
                        <a:pt x="275476" y="1063139"/>
                      </a:lnTo>
                      <a:lnTo>
                        <a:pt x="275609" y="1062037"/>
                      </a:lnTo>
                      <a:lnTo>
                        <a:pt x="275046" y="1061105"/>
                      </a:lnTo>
                      <a:lnTo>
                        <a:pt x="272393" y="1059524"/>
                      </a:lnTo>
                      <a:lnTo>
                        <a:pt x="272111" y="1057708"/>
                      </a:lnTo>
                      <a:lnTo>
                        <a:pt x="272053" y="1053945"/>
                      </a:lnTo>
                      <a:lnTo>
                        <a:pt x="271747" y="1052137"/>
                      </a:lnTo>
                      <a:lnTo>
                        <a:pt x="270046" y="1048953"/>
                      </a:lnTo>
                      <a:lnTo>
                        <a:pt x="265443" y="1043439"/>
                      </a:lnTo>
                      <a:lnTo>
                        <a:pt x="264570" y="1041442"/>
                      </a:lnTo>
                      <a:lnTo>
                        <a:pt x="263505" y="1040787"/>
                      </a:lnTo>
                      <a:lnTo>
                        <a:pt x="258329" y="1039958"/>
                      </a:lnTo>
                      <a:lnTo>
                        <a:pt x="256708" y="1039440"/>
                      </a:lnTo>
                      <a:lnTo>
                        <a:pt x="255767" y="1037831"/>
                      </a:lnTo>
                      <a:lnTo>
                        <a:pt x="255479" y="1035894"/>
                      </a:lnTo>
                      <a:lnTo>
                        <a:pt x="255400" y="1033886"/>
                      </a:lnTo>
                      <a:lnTo>
                        <a:pt x="255056" y="1032031"/>
                      </a:lnTo>
                      <a:lnTo>
                        <a:pt x="253146" y="1029250"/>
                      </a:lnTo>
                      <a:lnTo>
                        <a:pt x="250093" y="1026825"/>
                      </a:lnTo>
                      <a:lnTo>
                        <a:pt x="246662" y="1025105"/>
                      </a:lnTo>
                      <a:lnTo>
                        <a:pt x="243629" y="1024424"/>
                      </a:lnTo>
                      <a:lnTo>
                        <a:pt x="240600" y="1023075"/>
                      </a:lnTo>
                      <a:lnTo>
                        <a:pt x="233520" y="1014273"/>
                      </a:lnTo>
                      <a:lnTo>
                        <a:pt x="232305" y="1015582"/>
                      </a:lnTo>
                      <a:lnTo>
                        <a:pt x="230351" y="1013254"/>
                      </a:lnTo>
                      <a:lnTo>
                        <a:pt x="229633" y="1012783"/>
                      </a:lnTo>
                      <a:lnTo>
                        <a:pt x="229103" y="1013059"/>
                      </a:lnTo>
                      <a:lnTo>
                        <a:pt x="228939" y="1011115"/>
                      </a:lnTo>
                      <a:lnTo>
                        <a:pt x="228259" y="1009977"/>
                      </a:lnTo>
                      <a:lnTo>
                        <a:pt x="227060" y="1009448"/>
                      </a:lnTo>
                      <a:lnTo>
                        <a:pt x="225366" y="1009289"/>
                      </a:lnTo>
                      <a:lnTo>
                        <a:pt x="223731" y="1008657"/>
                      </a:lnTo>
                      <a:lnTo>
                        <a:pt x="222328" y="1006026"/>
                      </a:lnTo>
                      <a:lnTo>
                        <a:pt x="221187" y="1005406"/>
                      </a:lnTo>
                      <a:lnTo>
                        <a:pt x="220188" y="1005189"/>
                      </a:lnTo>
                      <a:lnTo>
                        <a:pt x="218418" y="1004536"/>
                      </a:lnTo>
                      <a:lnTo>
                        <a:pt x="217810" y="1004717"/>
                      </a:lnTo>
                      <a:lnTo>
                        <a:pt x="216566" y="1006052"/>
                      </a:lnTo>
                      <a:lnTo>
                        <a:pt x="215855" y="1006473"/>
                      </a:lnTo>
                      <a:lnTo>
                        <a:pt x="215019" y="1006500"/>
                      </a:lnTo>
                      <a:lnTo>
                        <a:pt x="213351" y="1005719"/>
                      </a:lnTo>
                      <a:lnTo>
                        <a:pt x="212372" y="1004722"/>
                      </a:lnTo>
                      <a:lnTo>
                        <a:pt x="211639" y="1003637"/>
                      </a:lnTo>
                      <a:lnTo>
                        <a:pt x="210673" y="1002706"/>
                      </a:lnTo>
                      <a:lnTo>
                        <a:pt x="201549" y="998114"/>
                      </a:lnTo>
                      <a:lnTo>
                        <a:pt x="196784" y="996825"/>
                      </a:lnTo>
                      <a:lnTo>
                        <a:pt x="194860" y="995128"/>
                      </a:lnTo>
                      <a:lnTo>
                        <a:pt x="188928" y="987285"/>
                      </a:lnTo>
                      <a:lnTo>
                        <a:pt x="176281" y="977279"/>
                      </a:lnTo>
                      <a:lnTo>
                        <a:pt x="171129" y="970836"/>
                      </a:lnTo>
                      <a:lnTo>
                        <a:pt x="167136" y="968782"/>
                      </a:lnTo>
                      <a:lnTo>
                        <a:pt x="165714" y="966224"/>
                      </a:lnTo>
                      <a:lnTo>
                        <a:pt x="164053" y="959809"/>
                      </a:lnTo>
                      <a:lnTo>
                        <a:pt x="162285" y="956305"/>
                      </a:lnTo>
                      <a:lnTo>
                        <a:pt x="159970" y="954365"/>
                      </a:lnTo>
                      <a:lnTo>
                        <a:pt x="157186" y="952786"/>
                      </a:lnTo>
                      <a:lnTo>
                        <a:pt x="154027" y="950316"/>
                      </a:lnTo>
                      <a:lnTo>
                        <a:pt x="150367" y="945885"/>
                      </a:lnTo>
                      <a:lnTo>
                        <a:pt x="149242" y="945125"/>
                      </a:lnTo>
                      <a:lnTo>
                        <a:pt x="146519" y="944038"/>
                      </a:lnTo>
                      <a:lnTo>
                        <a:pt x="134626" y="936139"/>
                      </a:lnTo>
                      <a:lnTo>
                        <a:pt x="133210" y="933821"/>
                      </a:lnTo>
                      <a:lnTo>
                        <a:pt x="132311" y="930515"/>
                      </a:lnTo>
                      <a:lnTo>
                        <a:pt x="120703" y="916339"/>
                      </a:lnTo>
                      <a:lnTo>
                        <a:pt x="117895" y="914024"/>
                      </a:lnTo>
                      <a:lnTo>
                        <a:pt x="115204" y="913038"/>
                      </a:lnTo>
                      <a:lnTo>
                        <a:pt x="115227" y="912408"/>
                      </a:lnTo>
                      <a:lnTo>
                        <a:pt x="113419" y="911018"/>
                      </a:lnTo>
                      <a:lnTo>
                        <a:pt x="110394" y="909244"/>
                      </a:lnTo>
                      <a:lnTo>
                        <a:pt x="109451" y="907597"/>
                      </a:lnTo>
                      <a:lnTo>
                        <a:pt x="108500" y="904549"/>
                      </a:lnTo>
                      <a:lnTo>
                        <a:pt x="107517" y="902929"/>
                      </a:lnTo>
                      <a:lnTo>
                        <a:pt x="105573" y="901127"/>
                      </a:lnTo>
                      <a:lnTo>
                        <a:pt x="98801" y="896299"/>
                      </a:lnTo>
                      <a:lnTo>
                        <a:pt x="96186" y="895296"/>
                      </a:lnTo>
                      <a:lnTo>
                        <a:pt x="92109" y="894747"/>
                      </a:lnTo>
                      <a:lnTo>
                        <a:pt x="89079" y="893539"/>
                      </a:lnTo>
                      <a:lnTo>
                        <a:pt x="83749" y="890184"/>
                      </a:lnTo>
                      <a:lnTo>
                        <a:pt x="77065" y="888167"/>
                      </a:lnTo>
                      <a:lnTo>
                        <a:pt x="73389" y="886523"/>
                      </a:lnTo>
                      <a:lnTo>
                        <a:pt x="71902" y="884250"/>
                      </a:lnTo>
                      <a:lnTo>
                        <a:pt x="66452" y="881048"/>
                      </a:lnTo>
                      <a:lnTo>
                        <a:pt x="65535" y="879837"/>
                      </a:lnTo>
                      <a:lnTo>
                        <a:pt x="65273" y="878967"/>
                      </a:lnTo>
                      <a:lnTo>
                        <a:pt x="65144" y="877907"/>
                      </a:lnTo>
                      <a:lnTo>
                        <a:pt x="64605" y="876102"/>
                      </a:lnTo>
                      <a:lnTo>
                        <a:pt x="63225" y="873311"/>
                      </a:lnTo>
                      <a:lnTo>
                        <a:pt x="56948" y="865486"/>
                      </a:lnTo>
                      <a:lnTo>
                        <a:pt x="55309" y="862299"/>
                      </a:lnTo>
                      <a:lnTo>
                        <a:pt x="52039" y="849925"/>
                      </a:lnTo>
                      <a:lnTo>
                        <a:pt x="49415" y="843838"/>
                      </a:lnTo>
                      <a:lnTo>
                        <a:pt x="45485" y="837382"/>
                      </a:lnTo>
                      <a:lnTo>
                        <a:pt x="40463" y="832159"/>
                      </a:lnTo>
                      <a:lnTo>
                        <a:pt x="34579" y="829749"/>
                      </a:lnTo>
                      <a:lnTo>
                        <a:pt x="27319" y="830167"/>
                      </a:lnTo>
                      <a:lnTo>
                        <a:pt x="24170" y="829368"/>
                      </a:lnTo>
                      <a:lnTo>
                        <a:pt x="22869" y="828024"/>
                      </a:lnTo>
                      <a:lnTo>
                        <a:pt x="22171" y="827303"/>
                      </a:lnTo>
                      <a:lnTo>
                        <a:pt x="15117" y="819589"/>
                      </a:lnTo>
                      <a:lnTo>
                        <a:pt x="13073" y="818202"/>
                      </a:lnTo>
                      <a:lnTo>
                        <a:pt x="13089" y="818202"/>
                      </a:lnTo>
                      <a:lnTo>
                        <a:pt x="10862" y="817779"/>
                      </a:lnTo>
                      <a:lnTo>
                        <a:pt x="9073" y="816732"/>
                      </a:lnTo>
                      <a:lnTo>
                        <a:pt x="7698" y="815126"/>
                      </a:lnTo>
                      <a:lnTo>
                        <a:pt x="6719" y="813018"/>
                      </a:lnTo>
                      <a:lnTo>
                        <a:pt x="8043" y="811719"/>
                      </a:lnTo>
                      <a:lnTo>
                        <a:pt x="4481" y="806137"/>
                      </a:lnTo>
                      <a:lnTo>
                        <a:pt x="3536" y="802958"/>
                      </a:lnTo>
                      <a:lnTo>
                        <a:pt x="3435" y="798842"/>
                      </a:lnTo>
                      <a:lnTo>
                        <a:pt x="2877" y="795017"/>
                      </a:lnTo>
                      <a:lnTo>
                        <a:pt x="0" y="788461"/>
                      </a:lnTo>
                      <a:lnTo>
                        <a:pt x="129" y="785434"/>
                      </a:lnTo>
                      <a:lnTo>
                        <a:pt x="2824" y="785508"/>
                      </a:lnTo>
                      <a:lnTo>
                        <a:pt x="7034" y="785614"/>
                      </a:lnTo>
                      <a:lnTo>
                        <a:pt x="43201" y="786577"/>
                      </a:lnTo>
                      <a:lnTo>
                        <a:pt x="79375" y="787518"/>
                      </a:lnTo>
                      <a:lnTo>
                        <a:pt x="115559" y="788447"/>
                      </a:lnTo>
                      <a:lnTo>
                        <a:pt x="151751" y="789347"/>
                      </a:lnTo>
                      <a:lnTo>
                        <a:pt x="187958" y="790232"/>
                      </a:lnTo>
                      <a:lnTo>
                        <a:pt x="224156" y="791094"/>
                      </a:lnTo>
                      <a:lnTo>
                        <a:pt x="260375" y="791938"/>
                      </a:lnTo>
                      <a:lnTo>
                        <a:pt x="296588" y="792760"/>
                      </a:lnTo>
                      <a:lnTo>
                        <a:pt x="332821" y="793557"/>
                      </a:lnTo>
                      <a:lnTo>
                        <a:pt x="369047" y="794339"/>
                      </a:lnTo>
                      <a:lnTo>
                        <a:pt x="405288" y="795100"/>
                      </a:lnTo>
                      <a:lnTo>
                        <a:pt x="441532" y="795832"/>
                      </a:lnTo>
                      <a:lnTo>
                        <a:pt x="477786" y="796543"/>
                      </a:lnTo>
                      <a:lnTo>
                        <a:pt x="514043" y="797243"/>
                      </a:lnTo>
                      <a:lnTo>
                        <a:pt x="550309" y="797923"/>
                      </a:lnTo>
                      <a:lnTo>
                        <a:pt x="586579" y="798581"/>
                      </a:lnTo>
                      <a:lnTo>
                        <a:pt x="588095" y="773752"/>
                      </a:lnTo>
                      <a:lnTo>
                        <a:pt x="589618" y="748935"/>
                      </a:lnTo>
                      <a:lnTo>
                        <a:pt x="591136" y="724136"/>
                      </a:lnTo>
                      <a:lnTo>
                        <a:pt x="592668" y="699329"/>
                      </a:lnTo>
                      <a:lnTo>
                        <a:pt x="594206" y="674539"/>
                      </a:lnTo>
                      <a:lnTo>
                        <a:pt x="595742" y="649763"/>
                      </a:lnTo>
                      <a:lnTo>
                        <a:pt x="597288" y="624991"/>
                      </a:lnTo>
                      <a:lnTo>
                        <a:pt x="598843" y="600223"/>
                      </a:lnTo>
                      <a:lnTo>
                        <a:pt x="600401" y="575466"/>
                      </a:lnTo>
                      <a:lnTo>
                        <a:pt x="601964" y="550725"/>
                      </a:lnTo>
                      <a:lnTo>
                        <a:pt x="603542" y="525995"/>
                      </a:lnTo>
                      <a:lnTo>
                        <a:pt x="605118" y="501264"/>
                      </a:lnTo>
                      <a:lnTo>
                        <a:pt x="606699" y="476547"/>
                      </a:lnTo>
                      <a:lnTo>
                        <a:pt x="608294" y="451831"/>
                      </a:lnTo>
                      <a:lnTo>
                        <a:pt x="609888" y="427132"/>
                      </a:lnTo>
                      <a:lnTo>
                        <a:pt x="611487" y="402443"/>
                      </a:lnTo>
                      <a:lnTo>
                        <a:pt x="613095" y="377763"/>
                      </a:lnTo>
                      <a:lnTo>
                        <a:pt x="614702" y="353097"/>
                      </a:lnTo>
                      <a:lnTo>
                        <a:pt x="616327" y="328427"/>
                      </a:lnTo>
                      <a:lnTo>
                        <a:pt x="617955" y="303776"/>
                      </a:lnTo>
                      <a:lnTo>
                        <a:pt x="619580" y="279126"/>
                      </a:lnTo>
                      <a:lnTo>
                        <a:pt x="621223" y="254498"/>
                      </a:lnTo>
                      <a:lnTo>
                        <a:pt x="622867" y="229879"/>
                      </a:lnTo>
                      <a:lnTo>
                        <a:pt x="624517" y="205262"/>
                      </a:lnTo>
                      <a:lnTo>
                        <a:pt x="626166" y="180658"/>
                      </a:lnTo>
                      <a:lnTo>
                        <a:pt x="627825" y="156065"/>
                      </a:lnTo>
                      <a:lnTo>
                        <a:pt x="629496" y="131485"/>
                      </a:lnTo>
                      <a:lnTo>
                        <a:pt x="631167" y="106907"/>
                      </a:lnTo>
                      <a:lnTo>
                        <a:pt x="632848" y="82338"/>
                      </a:lnTo>
                      <a:lnTo>
                        <a:pt x="634538" y="57788"/>
                      </a:lnTo>
                      <a:lnTo>
                        <a:pt x="636226" y="33243"/>
                      </a:lnTo>
                      <a:lnTo>
                        <a:pt x="637920" y="8708"/>
                      </a:lnTo>
                      <a:lnTo>
                        <a:pt x="638309" y="3169"/>
                      </a:lnTo>
                      <a:close/>
                    </a:path>
                  </a:pathLst>
                </a:custGeom>
                <a:grpFill/>
                <a:ln w="3175" cap="rnd">
                  <a:solidFill>
                    <a:srgbClr val="E7001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96" name="Freeform 53">
                <a:extLst>
                  <a:ext uri="{FF2B5EF4-FFF2-40B4-BE49-F238E27FC236}">
                    <a16:creationId xmlns:a16="http://schemas.microsoft.com/office/drawing/2014/main" id="{85A34D3D-CD5A-447E-A746-D006830E3278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>
              <a:xfrm>
                <a:off x="12042775" y="4763809"/>
                <a:ext cx="2201078" cy="1395691"/>
              </a:xfrm>
              <a:custGeom>
                <a:avLst/>
                <a:gdLst/>
                <a:ahLst/>
                <a:cxnLst/>
                <a:rect l="l" t="t" r="r" b="b"/>
                <a:pathLst>
                  <a:path w="7042547" h="4465637">
                    <a:moveTo>
                      <a:pt x="5708884" y="2642848"/>
                    </a:moveTo>
                    <a:lnTo>
                      <a:pt x="5793548" y="2661754"/>
                    </a:lnTo>
                    <a:lnTo>
                      <a:pt x="5830077" y="2668860"/>
                    </a:lnTo>
                    <a:lnTo>
                      <a:pt x="5837110" y="2675502"/>
                    </a:lnTo>
                    <a:lnTo>
                      <a:pt x="5841635" y="2685539"/>
                    </a:lnTo>
                    <a:lnTo>
                      <a:pt x="5843292" y="2698586"/>
                    </a:lnTo>
                    <a:lnTo>
                      <a:pt x="5864814" y="2732714"/>
                    </a:lnTo>
                    <a:lnTo>
                      <a:pt x="5914763" y="2752007"/>
                    </a:lnTo>
                    <a:lnTo>
                      <a:pt x="5947697" y="2770247"/>
                    </a:lnTo>
                    <a:lnTo>
                      <a:pt x="5970636" y="2796750"/>
                    </a:lnTo>
                    <a:lnTo>
                      <a:pt x="6002129" y="2810424"/>
                    </a:lnTo>
                    <a:lnTo>
                      <a:pt x="6028508" y="2830504"/>
                    </a:lnTo>
                    <a:lnTo>
                      <a:pt x="6058682" y="2823077"/>
                    </a:lnTo>
                    <a:lnTo>
                      <a:pt x="6105370" y="2825797"/>
                    </a:lnTo>
                    <a:lnTo>
                      <a:pt x="6152479" y="2843428"/>
                    </a:lnTo>
                    <a:lnTo>
                      <a:pt x="6244225" y="2873793"/>
                    </a:lnTo>
                    <a:lnTo>
                      <a:pt x="6359740" y="2931756"/>
                    </a:lnTo>
                    <a:lnTo>
                      <a:pt x="6513141" y="3026651"/>
                    </a:lnTo>
                    <a:lnTo>
                      <a:pt x="6574763" y="3065124"/>
                    </a:lnTo>
                    <a:lnTo>
                      <a:pt x="6643393" y="3132141"/>
                    </a:lnTo>
                    <a:lnTo>
                      <a:pt x="6681304" y="3180819"/>
                    </a:lnTo>
                    <a:lnTo>
                      <a:pt x="6682875" y="3233662"/>
                    </a:lnTo>
                    <a:lnTo>
                      <a:pt x="6681503" y="3304027"/>
                    </a:lnTo>
                    <a:lnTo>
                      <a:pt x="6685622" y="3359398"/>
                    </a:lnTo>
                    <a:lnTo>
                      <a:pt x="6721902" y="3357754"/>
                    </a:lnTo>
                    <a:lnTo>
                      <a:pt x="6772352" y="3334319"/>
                    </a:lnTo>
                    <a:lnTo>
                      <a:pt x="6809899" y="3359870"/>
                    </a:lnTo>
                    <a:lnTo>
                      <a:pt x="6827493" y="3387944"/>
                    </a:lnTo>
                    <a:lnTo>
                      <a:pt x="6823777" y="3445659"/>
                    </a:lnTo>
                    <a:lnTo>
                      <a:pt x="6841226" y="3481265"/>
                    </a:lnTo>
                    <a:lnTo>
                      <a:pt x="6863840" y="3514501"/>
                    </a:lnTo>
                    <a:lnTo>
                      <a:pt x="6930051" y="3573936"/>
                    </a:lnTo>
                    <a:lnTo>
                      <a:pt x="6999480" y="3603326"/>
                    </a:lnTo>
                    <a:lnTo>
                      <a:pt x="7027526" y="3626656"/>
                    </a:lnTo>
                    <a:lnTo>
                      <a:pt x="7042547" y="3654693"/>
                    </a:lnTo>
                    <a:lnTo>
                      <a:pt x="7038875" y="3690797"/>
                    </a:lnTo>
                    <a:lnTo>
                      <a:pt x="7022586" y="3711917"/>
                    </a:lnTo>
                    <a:lnTo>
                      <a:pt x="6964974" y="3780918"/>
                    </a:lnTo>
                    <a:lnTo>
                      <a:pt x="6907605" y="3802072"/>
                    </a:lnTo>
                    <a:lnTo>
                      <a:pt x="6825869" y="3880430"/>
                    </a:lnTo>
                    <a:lnTo>
                      <a:pt x="6770219" y="3896315"/>
                    </a:lnTo>
                    <a:lnTo>
                      <a:pt x="6768362" y="3911657"/>
                    </a:lnTo>
                    <a:lnTo>
                      <a:pt x="6721590" y="3923055"/>
                    </a:lnTo>
                    <a:lnTo>
                      <a:pt x="6682216" y="3952246"/>
                    </a:lnTo>
                    <a:lnTo>
                      <a:pt x="6604162" y="3975380"/>
                    </a:lnTo>
                    <a:lnTo>
                      <a:pt x="6539228" y="3993923"/>
                    </a:lnTo>
                    <a:lnTo>
                      <a:pt x="6484156" y="3980723"/>
                    </a:lnTo>
                    <a:lnTo>
                      <a:pt x="6452530" y="3979965"/>
                    </a:lnTo>
                    <a:lnTo>
                      <a:pt x="6424128" y="3989009"/>
                    </a:lnTo>
                    <a:lnTo>
                      <a:pt x="6393888" y="4007745"/>
                    </a:lnTo>
                    <a:lnTo>
                      <a:pt x="6353382" y="4035910"/>
                    </a:lnTo>
                    <a:lnTo>
                      <a:pt x="6329581" y="4064522"/>
                    </a:lnTo>
                    <a:lnTo>
                      <a:pt x="6302833" y="4068700"/>
                    </a:lnTo>
                    <a:lnTo>
                      <a:pt x="6282705" y="4077966"/>
                    </a:lnTo>
                    <a:lnTo>
                      <a:pt x="6253578" y="4096290"/>
                    </a:lnTo>
                    <a:lnTo>
                      <a:pt x="6235103" y="4110132"/>
                    </a:lnTo>
                    <a:lnTo>
                      <a:pt x="6168945" y="4147092"/>
                    </a:lnTo>
                    <a:lnTo>
                      <a:pt x="6149400" y="4153658"/>
                    </a:lnTo>
                    <a:lnTo>
                      <a:pt x="6093287" y="4206886"/>
                    </a:lnTo>
                    <a:lnTo>
                      <a:pt x="6083535" y="4228761"/>
                    </a:lnTo>
                    <a:lnTo>
                      <a:pt x="6085897" y="4277615"/>
                    </a:lnTo>
                    <a:lnTo>
                      <a:pt x="6062119" y="4303025"/>
                    </a:lnTo>
                    <a:lnTo>
                      <a:pt x="6021394" y="4342659"/>
                    </a:lnTo>
                    <a:lnTo>
                      <a:pt x="6000378" y="4398971"/>
                    </a:lnTo>
                    <a:lnTo>
                      <a:pt x="5981668" y="4419653"/>
                    </a:lnTo>
                    <a:lnTo>
                      <a:pt x="5957934" y="4438675"/>
                    </a:lnTo>
                    <a:lnTo>
                      <a:pt x="5927422" y="4465637"/>
                    </a:lnTo>
                    <a:lnTo>
                      <a:pt x="5915880" y="4458887"/>
                    </a:lnTo>
                    <a:lnTo>
                      <a:pt x="5916439" y="4429668"/>
                    </a:lnTo>
                    <a:lnTo>
                      <a:pt x="5888524" y="4407959"/>
                    </a:lnTo>
                    <a:lnTo>
                      <a:pt x="5835705" y="4380861"/>
                    </a:lnTo>
                    <a:lnTo>
                      <a:pt x="5773011" y="4343870"/>
                    </a:lnTo>
                    <a:lnTo>
                      <a:pt x="5740069" y="4322094"/>
                    </a:lnTo>
                    <a:lnTo>
                      <a:pt x="5685261" y="4308003"/>
                    </a:lnTo>
                    <a:lnTo>
                      <a:pt x="5660390" y="4300993"/>
                    </a:lnTo>
                    <a:lnTo>
                      <a:pt x="5652477" y="4276512"/>
                    </a:lnTo>
                    <a:lnTo>
                      <a:pt x="5643149" y="4251853"/>
                    </a:lnTo>
                    <a:lnTo>
                      <a:pt x="5626331" y="4246776"/>
                    </a:lnTo>
                    <a:lnTo>
                      <a:pt x="5615310" y="4210870"/>
                    </a:lnTo>
                    <a:lnTo>
                      <a:pt x="5604717" y="4153881"/>
                    </a:lnTo>
                    <a:lnTo>
                      <a:pt x="5619309" y="4086119"/>
                    </a:lnTo>
                    <a:lnTo>
                      <a:pt x="5647709" y="3890943"/>
                    </a:lnTo>
                    <a:lnTo>
                      <a:pt x="5645048" y="3856801"/>
                    </a:lnTo>
                    <a:lnTo>
                      <a:pt x="5627184" y="3825691"/>
                    </a:lnTo>
                    <a:lnTo>
                      <a:pt x="5611131" y="3783317"/>
                    </a:lnTo>
                    <a:lnTo>
                      <a:pt x="5589118" y="3719544"/>
                    </a:lnTo>
                    <a:lnTo>
                      <a:pt x="5579678" y="3693376"/>
                    </a:lnTo>
                    <a:lnTo>
                      <a:pt x="5566709" y="3676881"/>
                    </a:lnTo>
                    <a:lnTo>
                      <a:pt x="5553541" y="3649200"/>
                    </a:lnTo>
                    <a:lnTo>
                      <a:pt x="5556493" y="3619851"/>
                    </a:lnTo>
                    <a:lnTo>
                      <a:pt x="5541082" y="3592275"/>
                    </a:lnTo>
                    <a:lnTo>
                      <a:pt x="5533404" y="3561305"/>
                    </a:lnTo>
                    <a:lnTo>
                      <a:pt x="5519022" y="3523758"/>
                    </a:lnTo>
                    <a:lnTo>
                      <a:pt x="5496206" y="3490896"/>
                    </a:lnTo>
                    <a:lnTo>
                      <a:pt x="5476223" y="3475928"/>
                    </a:lnTo>
                    <a:lnTo>
                      <a:pt x="5448029" y="3442978"/>
                    </a:lnTo>
                    <a:lnTo>
                      <a:pt x="5416310" y="3358053"/>
                    </a:lnTo>
                    <a:lnTo>
                      <a:pt x="5429086" y="3320033"/>
                    </a:lnTo>
                    <a:lnTo>
                      <a:pt x="5443649" y="3288253"/>
                    </a:lnTo>
                    <a:lnTo>
                      <a:pt x="5471291" y="3264092"/>
                    </a:lnTo>
                    <a:lnTo>
                      <a:pt x="5498059" y="3246107"/>
                    </a:lnTo>
                    <a:lnTo>
                      <a:pt x="5510039" y="3232747"/>
                    </a:lnTo>
                    <a:lnTo>
                      <a:pt x="5516967" y="3207268"/>
                    </a:lnTo>
                    <a:lnTo>
                      <a:pt x="5535170" y="3192580"/>
                    </a:lnTo>
                    <a:lnTo>
                      <a:pt x="5589634" y="3172889"/>
                    </a:lnTo>
                    <a:lnTo>
                      <a:pt x="5615547" y="3128189"/>
                    </a:lnTo>
                    <a:lnTo>
                      <a:pt x="5628414" y="3112803"/>
                    </a:lnTo>
                    <a:lnTo>
                      <a:pt x="5657245" y="3061924"/>
                    </a:lnTo>
                    <a:lnTo>
                      <a:pt x="5686249" y="3029672"/>
                    </a:lnTo>
                    <a:lnTo>
                      <a:pt x="5706330" y="3029059"/>
                    </a:lnTo>
                    <a:lnTo>
                      <a:pt x="5715284" y="2987074"/>
                    </a:lnTo>
                    <a:lnTo>
                      <a:pt x="5720660" y="2969429"/>
                    </a:lnTo>
                    <a:lnTo>
                      <a:pt x="5711366" y="2943573"/>
                    </a:lnTo>
                    <a:lnTo>
                      <a:pt x="5689562" y="2923294"/>
                    </a:lnTo>
                    <a:lnTo>
                      <a:pt x="5643748" y="2855729"/>
                    </a:lnTo>
                    <a:lnTo>
                      <a:pt x="5624534" y="2796848"/>
                    </a:lnTo>
                    <a:lnTo>
                      <a:pt x="5621077" y="2749582"/>
                    </a:lnTo>
                    <a:lnTo>
                      <a:pt x="5620860" y="2705802"/>
                    </a:lnTo>
                    <a:lnTo>
                      <a:pt x="5644912" y="2658328"/>
                    </a:lnTo>
                    <a:lnTo>
                      <a:pt x="5661978" y="2643371"/>
                    </a:lnTo>
                    <a:close/>
                    <a:moveTo>
                      <a:pt x="4730756" y="2193416"/>
                    </a:moveTo>
                    <a:lnTo>
                      <a:pt x="4757817" y="2195990"/>
                    </a:lnTo>
                    <a:lnTo>
                      <a:pt x="4790659" y="2232239"/>
                    </a:lnTo>
                    <a:lnTo>
                      <a:pt x="4773727" y="2271790"/>
                    </a:lnTo>
                    <a:lnTo>
                      <a:pt x="4794077" y="2284749"/>
                    </a:lnTo>
                    <a:lnTo>
                      <a:pt x="4780676" y="2309679"/>
                    </a:lnTo>
                    <a:lnTo>
                      <a:pt x="4743877" y="2310049"/>
                    </a:lnTo>
                    <a:lnTo>
                      <a:pt x="4709347" y="2304172"/>
                    </a:lnTo>
                    <a:lnTo>
                      <a:pt x="4684268" y="2309030"/>
                    </a:lnTo>
                    <a:lnTo>
                      <a:pt x="4648451" y="2316759"/>
                    </a:lnTo>
                    <a:lnTo>
                      <a:pt x="4605968" y="2321340"/>
                    </a:lnTo>
                    <a:lnTo>
                      <a:pt x="4578221" y="2293592"/>
                    </a:lnTo>
                    <a:lnTo>
                      <a:pt x="4593839" y="2273885"/>
                    </a:lnTo>
                    <a:lnTo>
                      <a:pt x="4621372" y="2250226"/>
                    </a:lnTo>
                    <a:lnTo>
                      <a:pt x="4657608" y="2226806"/>
                    </a:lnTo>
                    <a:lnTo>
                      <a:pt x="4696855" y="2205419"/>
                    </a:lnTo>
                    <a:close/>
                    <a:moveTo>
                      <a:pt x="4200792" y="1754873"/>
                    </a:moveTo>
                    <a:lnTo>
                      <a:pt x="4327339" y="1772671"/>
                    </a:lnTo>
                    <a:lnTo>
                      <a:pt x="4384917" y="1822640"/>
                    </a:lnTo>
                    <a:lnTo>
                      <a:pt x="4384956" y="1822699"/>
                    </a:lnTo>
                    <a:lnTo>
                      <a:pt x="4405323" y="1844167"/>
                    </a:lnTo>
                    <a:lnTo>
                      <a:pt x="4426557" y="1869667"/>
                    </a:lnTo>
                    <a:lnTo>
                      <a:pt x="4440292" y="1891899"/>
                    </a:lnTo>
                    <a:lnTo>
                      <a:pt x="4443276" y="1908713"/>
                    </a:lnTo>
                    <a:lnTo>
                      <a:pt x="4435332" y="1931630"/>
                    </a:lnTo>
                    <a:lnTo>
                      <a:pt x="4407603" y="1974123"/>
                    </a:lnTo>
                    <a:lnTo>
                      <a:pt x="4348709" y="2000391"/>
                    </a:lnTo>
                    <a:lnTo>
                      <a:pt x="4300837" y="2013231"/>
                    </a:lnTo>
                    <a:lnTo>
                      <a:pt x="4237944" y="2016422"/>
                    </a:lnTo>
                    <a:lnTo>
                      <a:pt x="4211786" y="1980209"/>
                    </a:lnTo>
                    <a:lnTo>
                      <a:pt x="4205633" y="1948763"/>
                    </a:lnTo>
                    <a:lnTo>
                      <a:pt x="4203907" y="1923847"/>
                    </a:lnTo>
                    <a:lnTo>
                      <a:pt x="4203507" y="1892369"/>
                    </a:lnTo>
                    <a:lnTo>
                      <a:pt x="4198846" y="1863681"/>
                    </a:lnTo>
                    <a:lnTo>
                      <a:pt x="4176679" y="1850910"/>
                    </a:lnTo>
                    <a:lnTo>
                      <a:pt x="4122779" y="1830140"/>
                    </a:lnTo>
                    <a:lnTo>
                      <a:pt x="4106754" y="1804709"/>
                    </a:lnTo>
                    <a:lnTo>
                      <a:pt x="4116963" y="1776572"/>
                    </a:lnTo>
                    <a:lnTo>
                      <a:pt x="4147549" y="1761339"/>
                    </a:lnTo>
                    <a:close/>
                    <a:moveTo>
                      <a:pt x="4708278" y="1613341"/>
                    </a:moveTo>
                    <a:lnTo>
                      <a:pt x="4719089" y="1619914"/>
                    </a:lnTo>
                    <a:lnTo>
                      <a:pt x="4729771" y="1632747"/>
                    </a:lnTo>
                    <a:lnTo>
                      <a:pt x="4742695" y="1634996"/>
                    </a:lnTo>
                    <a:lnTo>
                      <a:pt x="4763125" y="1645849"/>
                    </a:lnTo>
                    <a:lnTo>
                      <a:pt x="4780356" y="1652452"/>
                    </a:lnTo>
                    <a:lnTo>
                      <a:pt x="4786718" y="1669513"/>
                    </a:lnTo>
                    <a:lnTo>
                      <a:pt x="4801788" y="1673951"/>
                    </a:lnTo>
                    <a:lnTo>
                      <a:pt x="4805786" y="1691740"/>
                    </a:lnTo>
                    <a:lnTo>
                      <a:pt x="4805648" y="1707621"/>
                    </a:lnTo>
                    <a:lnTo>
                      <a:pt x="4823721" y="1723543"/>
                    </a:lnTo>
                    <a:lnTo>
                      <a:pt x="4835401" y="1740564"/>
                    </a:lnTo>
                    <a:lnTo>
                      <a:pt x="4844812" y="1761707"/>
                    </a:lnTo>
                    <a:lnTo>
                      <a:pt x="4859590" y="1785007"/>
                    </a:lnTo>
                    <a:lnTo>
                      <a:pt x="4882380" y="1783325"/>
                    </a:lnTo>
                    <a:lnTo>
                      <a:pt x="4896716" y="1766823"/>
                    </a:lnTo>
                    <a:lnTo>
                      <a:pt x="4921608" y="1767055"/>
                    </a:lnTo>
                    <a:lnTo>
                      <a:pt x="4940872" y="1763804"/>
                    </a:lnTo>
                    <a:lnTo>
                      <a:pt x="4978632" y="1761826"/>
                    </a:lnTo>
                    <a:lnTo>
                      <a:pt x="4993035" y="1758527"/>
                    </a:lnTo>
                    <a:lnTo>
                      <a:pt x="5034389" y="1729105"/>
                    </a:lnTo>
                    <a:lnTo>
                      <a:pt x="5054731" y="1721867"/>
                    </a:lnTo>
                    <a:lnTo>
                      <a:pt x="5074469" y="1719537"/>
                    </a:lnTo>
                    <a:lnTo>
                      <a:pt x="5096592" y="1719821"/>
                    </a:lnTo>
                    <a:lnTo>
                      <a:pt x="5117825" y="1723050"/>
                    </a:lnTo>
                    <a:lnTo>
                      <a:pt x="5135092" y="1729995"/>
                    </a:lnTo>
                    <a:lnTo>
                      <a:pt x="5140587" y="1730695"/>
                    </a:lnTo>
                    <a:lnTo>
                      <a:pt x="5145018" y="1731831"/>
                    </a:lnTo>
                    <a:lnTo>
                      <a:pt x="5148710" y="1734605"/>
                    </a:lnTo>
                    <a:lnTo>
                      <a:pt x="5152061" y="1739889"/>
                    </a:lnTo>
                    <a:lnTo>
                      <a:pt x="5168423" y="1734619"/>
                    </a:lnTo>
                    <a:lnTo>
                      <a:pt x="5189245" y="1747448"/>
                    </a:lnTo>
                    <a:lnTo>
                      <a:pt x="5195863" y="1763003"/>
                    </a:lnTo>
                    <a:lnTo>
                      <a:pt x="5204406" y="1770505"/>
                    </a:lnTo>
                    <a:lnTo>
                      <a:pt x="5214905" y="1780992"/>
                    </a:lnTo>
                    <a:lnTo>
                      <a:pt x="5227929" y="1796891"/>
                    </a:lnTo>
                    <a:lnTo>
                      <a:pt x="5251403" y="1812288"/>
                    </a:lnTo>
                    <a:lnTo>
                      <a:pt x="5268482" y="1828340"/>
                    </a:lnTo>
                    <a:lnTo>
                      <a:pt x="5270279" y="1839992"/>
                    </a:lnTo>
                    <a:lnTo>
                      <a:pt x="5285543" y="1841290"/>
                    </a:lnTo>
                    <a:lnTo>
                      <a:pt x="5292084" y="1841398"/>
                    </a:lnTo>
                    <a:lnTo>
                      <a:pt x="5296580" y="1834129"/>
                    </a:lnTo>
                    <a:lnTo>
                      <a:pt x="5313701" y="1847049"/>
                    </a:lnTo>
                    <a:lnTo>
                      <a:pt x="5320997" y="1865010"/>
                    </a:lnTo>
                    <a:lnTo>
                      <a:pt x="5329430" y="1875679"/>
                    </a:lnTo>
                    <a:lnTo>
                      <a:pt x="5373880" y="1881770"/>
                    </a:lnTo>
                    <a:lnTo>
                      <a:pt x="5418042" y="1902567"/>
                    </a:lnTo>
                    <a:lnTo>
                      <a:pt x="5482075" y="1923088"/>
                    </a:lnTo>
                    <a:lnTo>
                      <a:pt x="5511190" y="1980763"/>
                    </a:lnTo>
                    <a:lnTo>
                      <a:pt x="5504927" y="2034126"/>
                    </a:lnTo>
                    <a:lnTo>
                      <a:pt x="5481354" y="2076683"/>
                    </a:lnTo>
                    <a:lnTo>
                      <a:pt x="5449517" y="2085519"/>
                    </a:lnTo>
                    <a:lnTo>
                      <a:pt x="5422991" y="2123773"/>
                    </a:lnTo>
                    <a:lnTo>
                      <a:pt x="5388001" y="2124148"/>
                    </a:lnTo>
                    <a:lnTo>
                      <a:pt x="5318114" y="2159440"/>
                    </a:lnTo>
                    <a:lnTo>
                      <a:pt x="5271517" y="2158520"/>
                    </a:lnTo>
                    <a:lnTo>
                      <a:pt x="5245583" y="2155916"/>
                    </a:lnTo>
                    <a:lnTo>
                      <a:pt x="5221734" y="2157543"/>
                    </a:lnTo>
                    <a:lnTo>
                      <a:pt x="5157260" y="2186676"/>
                    </a:lnTo>
                    <a:lnTo>
                      <a:pt x="5116924" y="2207923"/>
                    </a:lnTo>
                    <a:lnTo>
                      <a:pt x="5094030" y="2217974"/>
                    </a:lnTo>
                    <a:lnTo>
                      <a:pt x="5062698" y="2209997"/>
                    </a:lnTo>
                    <a:lnTo>
                      <a:pt x="5050798" y="2208706"/>
                    </a:lnTo>
                    <a:lnTo>
                      <a:pt x="5029217" y="2203010"/>
                    </a:lnTo>
                    <a:lnTo>
                      <a:pt x="5012445" y="2207944"/>
                    </a:lnTo>
                    <a:lnTo>
                      <a:pt x="4957743" y="2210144"/>
                    </a:lnTo>
                    <a:lnTo>
                      <a:pt x="4921475" y="2176987"/>
                    </a:lnTo>
                    <a:lnTo>
                      <a:pt x="4917387" y="2163285"/>
                    </a:lnTo>
                    <a:lnTo>
                      <a:pt x="4900337" y="2145156"/>
                    </a:lnTo>
                    <a:lnTo>
                      <a:pt x="4911328" y="2135934"/>
                    </a:lnTo>
                    <a:lnTo>
                      <a:pt x="4911716" y="2111836"/>
                    </a:lnTo>
                    <a:lnTo>
                      <a:pt x="4901226" y="2023603"/>
                    </a:lnTo>
                    <a:lnTo>
                      <a:pt x="4890798" y="1999304"/>
                    </a:lnTo>
                    <a:lnTo>
                      <a:pt x="4891229" y="1972060"/>
                    </a:lnTo>
                    <a:lnTo>
                      <a:pt x="4882910" y="1949887"/>
                    </a:lnTo>
                    <a:lnTo>
                      <a:pt x="4877570" y="1945599"/>
                    </a:lnTo>
                    <a:lnTo>
                      <a:pt x="4868591" y="1937234"/>
                    </a:lnTo>
                    <a:lnTo>
                      <a:pt x="4855070" y="1929449"/>
                    </a:lnTo>
                    <a:lnTo>
                      <a:pt x="4834475" y="1930112"/>
                    </a:lnTo>
                    <a:lnTo>
                      <a:pt x="4816053" y="1938328"/>
                    </a:lnTo>
                    <a:lnTo>
                      <a:pt x="4809127" y="1956904"/>
                    </a:lnTo>
                    <a:lnTo>
                      <a:pt x="4792811" y="1959748"/>
                    </a:lnTo>
                    <a:lnTo>
                      <a:pt x="4773682" y="1949090"/>
                    </a:lnTo>
                    <a:lnTo>
                      <a:pt x="4755354" y="1936078"/>
                    </a:lnTo>
                    <a:lnTo>
                      <a:pt x="4727143" y="1931276"/>
                    </a:lnTo>
                    <a:lnTo>
                      <a:pt x="4699232" y="1913990"/>
                    </a:lnTo>
                    <a:lnTo>
                      <a:pt x="4680758" y="1915742"/>
                    </a:lnTo>
                    <a:lnTo>
                      <a:pt x="4663800" y="1893445"/>
                    </a:lnTo>
                    <a:lnTo>
                      <a:pt x="4632831" y="1861419"/>
                    </a:lnTo>
                    <a:lnTo>
                      <a:pt x="4596575" y="1815586"/>
                    </a:lnTo>
                    <a:lnTo>
                      <a:pt x="4594873" y="1786185"/>
                    </a:lnTo>
                    <a:lnTo>
                      <a:pt x="4582005" y="1770142"/>
                    </a:lnTo>
                    <a:lnTo>
                      <a:pt x="4586753" y="1742926"/>
                    </a:lnTo>
                    <a:lnTo>
                      <a:pt x="4594854" y="1705205"/>
                    </a:lnTo>
                    <a:lnTo>
                      <a:pt x="4606433" y="1673376"/>
                    </a:lnTo>
                    <a:lnTo>
                      <a:pt x="4619754" y="1652624"/>
                    </a:lnTo>
                    <a:lnTo>
                      <a:pt x="4636077" y="1650839"/>
                    </a:lnTo>
                    <a:lnTo>
                      <a:pt x="4647007" y="1639274"/>
                    </a:lnTo>
                    <a:lnTo>
                      <a:pt x="4647632" y="1628803"/>
                    </a:lnTo>
                    <a:lnTo>
                      <a:pt x="4659326" y="1620824"/>
                    </a:lnTo>
                    <a:lnTo>
                      <a:pt x="4671238" y="1622099"/>
                    </a:lnTo>
                    <a:lnTo>
                      <a:pt x="4685361" y="1623433"/>
                    </a:lnTo>
                    <a:lnTo>
                      <a:pt x="4696247" y="1620477"/>
                    </a:lnTo>
                    <a:lnTo>
                      <a:pt x="4700661" y="1614239"/>
                    </a:lnTo>
                    <a:close/>
                    <a:moveTo>
                      <a:pt x="3851550" y="1360622"/>
                    </a:moveTo>
                    <a:lnTo>
                      <a:pt x="3865674" y="1360843"/>
                    </a:lnTo>
                    <a:lnTo>
                      <a:pt x="3886253" y="1364309"/>
                    </a:lnTo>
                    <a:lnTo>
                      <a:pt x="3916647" y="1362675"/>
                    </a:lnTo>
                    <a:lnTo>
                      <a:pt x="3932830" y="1367100"/>
                    </a:lnTo>
                    <a:lnTo>
                      <a:pt x="3943469" y="1383001"/>
                    </a:lnTo>
                    <a:lnTo>
                      <a:pt x="3963019" y="1382985"/>
                    </a:lnTo>
                    <a:lnTo>
                      <a:pt x="4085209" y="1400899"/>
                    </a:lnTo>
                    <a:lnTo>
                      <a:pt x="4151185" y="1410361"/>
                    </a:lnTo>
                    <a:lnTo>
                      <a:pt x="4200770" y="1412686"/>
                    </a:lnTo>
                    <a:lnTo>
                      <a:pt x="4210968" y="1397671"/>
                    </a:lnTo>
                    <a:lnTo>
                      <a:pt x="4212256" y="1385110"/>
                    </a:lnTo>
                    <a:lnTo>
                      <a:pt x="4218915" y="1374750"/>
                    </a:lnTo>
                    <a:lnTo>
                      <a:pt x="4231630" y="1371824"/>
                    </a:lnTo>
                    <a:lnTo>
                      <a:pt x="4248974" y="1394073"/>
                    </a:lnTo>
                    <a:lnTo>
                      <a:pt x="4255064" y="1419331"/>
                    </a:lnTo>
                    <a:lnTo>
                      <a:pt x="4284212" y="1428152"/>
                    </a:lnTo>
                    <a:lnTo>
                      <a:pt x="4320679" y="1436226"/>
                    </a:lnTo>
                    <a:lnTo>
                      <a:pt x="4385804" y="1434096"/>
                    </a:lnTo>
                    <a:lnTo>
                      <a:pt x="4414262" y="1430289"/>
                    </a:lnTo>
                    <a:lnTo>
                      <a:pt x="4432374" y="1424467"/>
                    </a:lnTo>
                    <a:lnTo>
                      <a:pt x="4445712" y="1419359"/>
                    </a:lnTo>
                    <a:lnTo>
                      <a:pt x="4456729" y="1421556"/>
                    </a:lnTo>
                    <a:lnTo>
                      <a:pt x="4480360" y="1419950"/>
                    </a:lnTo>
                    <a:lnTo>
                      <a:pt x="4498513" y="1425547"/>
                    </a:lnTo>
                    <a:lnTo>
                      <a:pt x="4512078" y="1428271"/>
                    </a:lnTo>
                    <a:lnTo>
                      <a:pt x="4525011" y="1425845"/>
                    </a:lnTo>
                    <a:lnTo>
                      <a:pt x="4532510" y="1431210"/>
                    </a:lnTo>
                    <a:lnTo>
                      <a:pt x="4529042" y="1437471"/>
                    </a:lnTo>
                    <a:lnTo>
                      <a:pt x="4537800" y="1441772"/>
                    </a:lnTo>
                    <a:lnTo>
                      <a:pt x="4558456" y="1441070"/>
                    </a:lnTo>
                    <a:lnTo>
                      <a:pt x="4568131" y="1447521"/>
                    </a:lnTo>
                    <a:lnTo>
                      <a:pt x="4543582" y="1491529"/>
                    </a:lnTo>
                    <a:lnTo>
                      <a:pt x="4503941" y="1529367"/>
                    </a:lnTo>
                    <a:lnTo>
                      <a:pt x="4455127" y="1555766"/>
                    </a:lnTo>
                    <a:lnTo>
                      <a:pt x="4406556" y="1575615"/>
                    </a:lnTo>
                    <a:lnTo>
                      <a:pt x="4356684" y="1586030"/>
                    </a:lnTo>
                    <a:lnTo>
                      <a:pt x="4306247" y="1581175"/>
                    </a:lnTo>
                    <a:lnTo>
                      <a:pt x="4255956" y="1571162"/>
                    </a:lnTo>
                    <a:lnTo>
                      <a:pt x="4155606" y="1545474"/>
                    </a:lnTo>
                    <a:lnTo>
                      <a:pt x="4094170" y="1524612"/>
                    </a:lnTo>
                    <a:lnTo>
                      <a:pt x="4006291" y="1531627"/>
                    </a:lnTo>
                    <a:lnTo>
                      <a:pt x="3945562" y="1534893"/>
                    </a:lnTo>
                    <a:lnTo>
                      <a:pt x="3899917" y="1541540"/>
                    </a:lnTo>
                    <a:lnTo>
                      <a:pt x="3863179" y="1539406"/>
                    </a:lnTo>
                    <a:lnTo>
                      <a:pt x="3834599" y="1540889"/>
                    </a:lnTo>
                    <a:lnTo>
                      <a:pt x="3809322" y="1531029"/>
                    </a:lnTo>
                    <a:lnTo>
                      <a:pt x="3794614" y="1511134"/>
                    </a:lnTo>
                    <a:lnTo>
                      <a:pt x="3794152" y="1486109"/>
                    </a:lnTo>
                    <a:lnTo>
                      <a:pt x="3804232" y="1465059"/>
                    </a:lnTo>
                    <a:lnTo>
                      <a:pt x="3818538" y="1448806"/>
                    </a:lnTo>
                    <a:lnTo>
                      <a:pt x="3841791" y="1440127"/>
                    </a:lnTo>
                    <a:lnTo>
                      <a:pt x="3862753" y="1416347"/>
                    </a:lnTo>
                    <a:lnTo>
                      <a:pt x="3868575" y="1390253"/>
                    </a:lnTo>
                    <a:lnTo>
                      <a:pt x="3852509" y="1370067"/>
                    </a:lnTo>
                    <a:close/>
                    <a:moveTo>
                      <a:pt x="2918538" y="706982"/>
                    </a:moveTo>
                    <a:lnTo>
                      <a:pt x="2935299" y="708052"/>
                    </a:lnTo>
                    <a:lnTo>
                      <a:pt x="2944594" y="713478"/>
                    </a:lnTo>
                    <a:lnTo>
                      <a:pt x="2951935" y="721638"/>
                    </a:lnTo>
                    <a:lnTo>
                      <a:pt x="2960353" y="732759"/>
                    </a:lnTo>
                    <a:lnTo>
                      <a:pt x="2981294" y="749803"/>
                    </a:lnTo>
                    <a:lnTo>
                      <a:pt x="2982032" y="764173"/>
                    </a:lnTo>
                    <a:lnTo>
                      <a:pt x="2993160" y="769661"/>
                    </a:lnTo>
                    <a:lnTo>
                      <a:pt x="2993904" y="781350"/>
                    </a:lnTo>
                    <a:lnTo>
                      <a:pt x="3004922" y="793138"/>
                    </a:lnTo>
                    <a:lnTo>
                      <a:pt x="2998872" y="817354"/>
                    </a:lnTo>
                    <a:lnTo>
                      <a:pt x="3015422" y="839935"/>
                    </a:lnTo>
                    <a:lnTo>
                      <a:pt x="3032873" y="856295"/>
                    </a:lnTo>
                    <a:lnTo>
                      <a:pt x="3040922" y="879730"/>
                    </a:lnTo>
                    <a:lnTo>
                      <a:pt x="3054809" y="887069"/>
                    </a:lnTo>
                    <a:lnTo>
                      <a:pt x="3058399" y="895194"/>
                    </a:lnTo>
                    <a:lnTo>
                      <a:pt x="3061916" y="910493"/>
                    </a:lnTo>
                    <a:lnTo>
                      <a:pt x="3071727" y="907984"/>
                    </a:lnTo>
                    <a:lnTo>
                      <a:pt x="3084735" y="912618"/>
                    </a:lnTo>
                    <a:lnTo>
                      <a:pt x="3094484" y="923736"/>
                    </a:lnTo>
                    <a:lnTo>
                      <a:pt x="3106684" y="942477"/>
                    </a:lnTo>
                    <a:lnTo>
                      <a:pt x="3106829" y="963106"/>
                    </a:lnTo>
                    <a:lnTo>
                      <a:pt x="3106716" y="972979"/>
                    </a:lnTo>
                    <a:lnTo>
                      <a:pt x="3096415" y="972855"/>
                    </a:lnTo>
                    <a:lnTo>
                      <a:pt x="3089765" y="980853"/>
                    </a:lnTo>
                    <a:lnTo>
                      <a:pt x="3092250" y="1003329"/>
                    </a:lnTo>
                    <a:lnTo>
                      <a:pt x="3094867" y="1017729"/>
                    </a:lnTo>
                    <a:lnTo>
                      <a:pt x="3099205" y="1040232"/>
                    </a:lnTo>
                    <a:lnTo>
                      <a:pt x="3111296" y="1043977"/>
                    </a:lnTo>
                    <a:lnTo>
                      <a:pt x="3127087" y="1050466"/>
                    </a:lnTo>
                    <a:lnTo>
                      <a:pt x="3139024" y="1065890"/>
                    </a:lnTo>
                    <a:lnTo>
                      <a:pt x="3149010" y="1083078"/>
                    </a:lnTo>
                    <a:lnTo>
                      <a:pt x="3168568" y="1089633"/>
                    </a:lnTo>
                    <a:lnTo>
                      <a:pt x="3171196" y="1099543"/>
                    </a:lnTo>
                    <a:lnTo>
                      <a:pt x="3184215" y="1104212"/>
                    </a:lnTo>
                    <a:lnTo>
                      <a:pt x="3192759" y="1094444"/>
                    </a:lnTo>
                    <a:lnTo>
                      <a:pt x="3205134" y="1077530"/>
                    </a:lnTo>
                    <a:lnTo>
                      <a:pt x="3185702" y="1064696"/>
                    </a:lnTo>
                    <a:lnTo>
                      <a:pt x="3187770" y="1049446"/>
                    </a:lnTo>
                    <a:lnTo>
                      <a:pt x="3201863" y="1043336"/>
                    </a:lnTo>
                    <a:lnTo>
                      <a:pt x="3233579" y="1047342"/>
                    </a:lnTo>
                    <a:lnTo>
                      <a:pt x="3249521" y="1043060"/>
                    </a:lnTo>
                    <a:lnTo>
                      <a:pt x="3253117" y="1052991"/>
                    </a:lnTo>
                    <a:lnTo>
                      <a:pt x="3234105" y="1071574"/>
                    </a:lnTo>
                    <a:lnTo>
                      <a:pt x="3230297" y="1095824"/>
                    </a:lnTo>
                    <a:lnTo>
                      <a:pt x="3232661" y="1114751"/>
                    </a:lnTo>
                    <a:lnTo>
                      <a:pt x="3253991" y="1127631"/>
                    </a:lnTo>
                    <a:lnTo>
                      <a:pt x="3270610" y="1144047"/>
                    </a:lnTo>
                    <a:lnTo>
                      <a:pt x="3275133" y="1155677"/>
                    </a:lnTo>
                    <a:lnTo>
                      <a:pt x="3269285" y="1171004"/>
                    </a:lnTo>
                    <a:lnTo>
                      <a:pt x="3273785" y="1186363"/>
                    </a:lnTo>
                    <a:lnTo>
                      <a:pt x="3287547" y="1207259"/>
                    </a:lnTo>
                    <a:lnTo>
                      <a:pt x="3315528" y="1225288"/>
                    </a:lnTo>
                    <a:lnTo>
                      <a:pt x="3342509" y="1239195"/>
                    </a:lnTo>
                    <a:lnTo>
                      <a:pt x="3350805" y="1247415"/>
                    </a:lnTo>
                    <a:lnTo>
                      <a:pt x="3335652" y="1264287"/>
                    </a:lnTo>
                    <a:lnTo>
                      <a:pt x="3303568" y="1292611"/>
                    </a:lnTo>
                    <a:lnTo>
                      <a:pt x="3291272" y="1305926"/>
                    </a:lnTo>
                    <a:lnTo>
                      <a:pt x="3277227" y="1310225"/>
                    </a:lnTo>
                    <a:lnTo>
                      <a:pt x="3272678" y="1302074"/>
                    </a:lnTo>
                    <a:lnTo>
                      <a:pt x="3273774" y="1289494"/>
                    </a:lnTo>
                    <a:lnTo>
                      <a:pt x="3262680" y="1280335"/>
                    </a:lnTo>
                    <a:lnTo>
                      <a:pt x="3228103" y="1288856"/>
                    </a:lnTo>
                    <a:lnTo>
                      <a:pt x="3200038" y="1292017"/>
                    </a:lnTo>
                    <a:lnTo>
                      <a:pt x="3176655" y="1303438"/>
                    </a:lnTo>
                    <a:lnTo>
                      <a:pt x="3159737" y="1316705"/>
                    </a:lnTo>
                    <a:lnTo>
                      <a:pt x="3139244" y="1317329"/>
                    </a:lnTo>
                    <a:lnTo>
                      <a:pt x="3130001" y="1312711"/>
                    </a:lnTo>
                    <a:lnTo>
                      <a:pt x="3123628" y="1300931"/>
                    </a:lnTo>
                    <a:lnTo>
                      <a:pt x="3113573" y="1286415"/>
                    </a:lnTo>
                    <a:lnTo>
                      <a:pt x="3071007" y="1268796"/>
                    </a:lnTo>
                    <a:lnTo>
                      <a:pt x="3049748" y="1258646"/>
                    </a:lnTo>
                    <a:lnTo>
                      <a:pt x="3036061" y="1238706"/>
                    </a:lnTo>
                    <a:lnTo>
                      <a:pt x="3030642" y="1226054"/>
                    </a:lnTo>
                    <a:lnTo>
                      <a:pt x="3030783" y="1213462"/>
                    </a:lnTo>
                    <a:lnTo>
                      <a:pt x="3021470" y="1217868"/>
                    </a:lnTo>
                    <a:lnTo>
                      <a:pt x="3004524" y="1233830"/>
                    </a:lnTo>
                    <a:lnTo>
                      <a:pt x="3017332" y="1248351"/>
                    </a:lnTo>
                    <a:lnTo>
                      <a:pt x="2963359" y="1252187"/>
                    </a:lnTo>
                    <a:lnTo>
                      <a:pt x="2964378" y="1245910"/>
                    </a:lnTo>
                    <a:lnTo>
                      <a:pt x="2971879" y="1241511"/>
                    </a:lnTo>
                    <a:lnTo>
                      <a:pt x="2961762" y="1233311"/>
                    </a:lnTo>
                    <a:lnTo>
                      <a:pt x="2941295" y="1233965"/>
                    </a:lnTo>
                    <a:lnTo>
                      <a:pt x="2940556" y="1220482"/>
                    </a:lnTo>
                    <a:lnTo>
                      <a:pt x="2936971" y="1209663"/>
                    </a:lnTo>
                    <a:lnTo>
                      <a:pt x="2939889" y="1200719"/>
                    </a:lnTo>
                    <a:lnTo>
                      <a:pt x="2936281" y="1191695"/>
                    </a:lnTo>
                    <a:lnTo>
                      <a:pt x="2950310" y="1185581"/>
                    </a:lnTo>
                    <a:lnTo>
                      <a:pt x="2963411" y="1179453"/>
                    </a:lnTo>
                    <a:lnTo>
                      <a:pt x="2977462" y="1171542"/>
                    </a:lnTo>
                    <a:lnTo>
                      <a:pt x="2983143" y="1159881"/>
                    </a:lnTo>
                    <a:lnTo>
                      <a:pt x="2967517" y="1148050"/>
                    </a:lnTo>
                    <a:lnTo>
                      <a:pt x="2954599" y="1142532"/>
                    </a:lnTo>
                    <a:lnTo>
                      <a:pt x="2945624" y="1136874"/>
                    </a:lnTo>
                    <a:lnTo>
                      <a:pt x="2939740" y="1142352"/>
                    </a:lnTo>
                    <a:lnTo>
                      <a:pt x="2934874" y="1159369"/>
                    </a:lnTo>
                    <a:lnTo>
                      <a:pt x="2923789" y="1153855"/>
                    </a:lnTo>
                    <a:lnTo>
                      <a:pt x="2913705" y="1142031"/>
                    </a:lnTo>
                    <a:lnTo>
                      <a:pt x="2906353" y="1133827"/>
                    </a:lnTo>
                    <a:lnTo>
                      <a:pt x="2907100" y="1151858"/>
                    </a:lnTo>
                    <a:lnTo>
                      <a:pt x="2915173" y="1172603"/>
                    </a:lnTo>
                    <a:lnTo>
                      <a:pt x="2908619" y="1177016"/>
                    </a:lnTo>
                    <a:lnTo>
                      <a:pt x="2880114" y="1153320"/>
                    </a:lnTo>
                    <a:lnTo>
                      <a:pt x="2869079" y="1144194"/>
                    </a:lnTo>
                    <a:lnTo>
                      <a:pt x="2878093" y="1165890"/>
                    </a:lnTo>
                    <a:lnTo>
                      <a:pt x="2899172" y="1187669"/>
                    </a:lnTo>
                    <a:lnTo>
                      <a:pt x="2914795" y="1200423"/>
                    </a:lnTo>
                    <a:lnTo>
                      <a:pt x="2926738" y="1210441"/>
                    </a:lnTo>
                    <a:lnTo>
                      <a:pt x="2919969" y="1231018"/>
                    </a:lnTo>
                    <a:lnTo>
                      <a:pt x="2896604" y="1240624"/>
                    </a:lnTo>
                    <a:lnTo>
                      <a:pt x="2865854" y="1245658"/>
                    </a:lnTo>
                    <a:lnTo>
                      <a:pt x="2818329" y="1255899"/>
                    </a:lnTo>
                    <a:lnTo>
                      <a:pt x="2794130" y="1258324"/>
                    </a:lnTo>
                    <a:lnTo>
                      <a:pt x="2772976" y="1264273"/>
                    </a:lnTo>
                    <a:lnTo>
                      <a:pt x="2767107" y="1261869"/>
                    </a:lnTo>
                    <a:lnTo>
                      <a:pt x="2761285" y="1256686"/>
                    </a:lnTo>
                    <a:lnTo>
                      <a:pt x="2745948" y="1248823"/>
                    </a:lnTo>
                    <a:lnTo>
                      <a:pt x="2734488" y="1203777"/>
                    </a:lnTo>
                    <a:lnTo>
                      <a:pt x="2721054" y="1167711"/>
                    </a:lnTo>
                    <a:lnTo>
                      <a:pt x="2703654" y="1146919"/>
                    </a:lnTo>
                    <a:lnTo>
                      <a:pt x="2691826" y="1128841"/>
                    </a:lnTo>
                    <a:lnTo>
                      <a:pt x="2667821" y="1116927"/>
                    </a:lnTo>
                    <a:lnTo>
                      <a:pt x="2661810" y="1080972"/>
                    </a:lnTo>
                    <a:lnTo>
                      <a:pt x="2653714" y="1062040"/>
                    </a:lnTo>
                    <a:lnTo>
                      <a:pt x="2630747" y="1042960"/>
                    </a:lnTo>
                    <a:lnTo>
                      <a:pt x="2616928" y="1033843"/>
                    </a:lnTo>
                    <a:lnTo>
                      <a:pt x="2601624" y="1010356"/>
                    </a:lnTo>
                    <a:lnTo>
                      <a:pt x="2601052" y="982566"/>
                    </a:lnTo>
                    <a:lnTo>
                      <a:pt x="2599632" y="943990"/>
                    </a:lnTo>
                    <a:lnTo>
                      <a:pt x="2591127" y="931973"/>
                    </a:lnTo>
                    <a:lnTo>
                      <a:pt x="2535824" y="886790"/>
                    </a:lnTo>
                    <a:lnTo>
                      <a:pt x="2544248" y="882386"/>
                    </a:lnTo>
                    <a:lnTo>
                      <a:pt x="2590822" y="873900"/>
                    </a:lnTo>
                    <a:lnTo>
                      <a:pt x="2645703" y="870888"/>
                    </a:lnTo>
                    <a:lnTo>
                      <a:pt x="2681922" y="873062"/>
                    </a:lnTo>
                    <a:lnTo>
                      <a:pt x="2703305" y="872392"/>
                    </a:lnTo>
                    <a:lnTo>
                      <a:pt x="2719560" y="868202"/>
                    </a:lnTo>
                    <a:lnTo>
                      <a:pt x="2739549" y="872780"/>
                    </a:lnTo>
                    <a:lnTo>
                      <a:pt x="2744047" y="856458"/>
                    </a:lnTo>
                    <a:lnTo>
                      <a:pt x="2750114" y="848675"/>
                    </a:lnTo>
                    <a:lnTo>
                      <a:pt x="2773538" y="835471"/>
                    </a:lnTo>
                    <a:lnTo>
                      <a:pt x="2800720" y="815182"/>
                    </a:lnTo>
                    <a:lnTo>
                      <a:pt x="2811078" y="806333"/>
                    </a:lnTo>
                    <a:lnTo>
                      <a:pt x="2809249" y="798499"/>
                    </a:lnTo>
                    <a:lnTo>
                      <a:pt x="2818540" y="783689"/>
                    </a:lnTo>
                    <a:lnTo>
                      <a:pt x="2830769" y="758531"/>
                    </a:lnTo>
                    <a:lnTo>
                      <a:pt x="2850490" y="742315"/>
                    </a:lnTo>
                    <a:lnTo>
                      <a:pt x="2877508" y="718133"/>
                    </a:lnTo>
                    <a:close/>
                    <a:moveTo>
                      <a:pt x="199209" y="301317"/>
                    </a:moveTo>
                    <a:lnTo>
                      <a:pt x="221037" y="302187"/>
                    </a:lnTo>
                    <a:lnTo>
                      <a:pt x="245274" y="311146"/>
                    </a:lnTo>
                    <a:lnTo>
                      <a:pt x="255948" y="334630"/>
                    </a:lnTo>
                    <a:lnTo>
                      <a:pt x="244928" y="346731"/>
                    </a:lnTo>
                    <a:lnTo>
                      <a:pt x="228764" y="366095"/>
                    </a:lnTo>
                    <a:lnTo>
                      <a:pt x="218977" y="394912"/>
                    </a:lnTo>
                    <a:lnTo>
                      <a:pt x="227934" y="431172"/>
                    </a:lnTo>
                    <a:lnTo>
                      <a:pt x="210851" y="454251"/>
                    </a:lnTo>
                    <a:lnTo>
                      <a:pt x="188458" y="463864"/>
                    </a:lnTo>
                    <a:lnTo>
                      <a:pt x="169060" y="474335"/>
                    </a:lnTo>
                    <a:lnTo>
                      <a:pt x="144692" y="481564"/>
                    </a:lnTo>
                    <a:lnTo>
                      <a:pt x="115699" y="499314"/>
                    </a:lnTo>
                    <a:lnTo>
                      <a:pt x="98737" y="513851"/>
                    </a:lnTo>
                    <a:lnTo>
                      <a:pt x="88438" y="534066"/>
                    </a:lnTo>
                    <a:lnTo>
                      <a:pt x="73014" y="572609"/>
                    </a:lnTo>
                    <a:lnTo>
                      <a:pt x="63336" y="600401"/>
                    </a:lnTo>
                    <a:lnTo>
                      <a:pt x="46458" y="605247"/>
                    </a:lnTo>
                    <a:lnTo>
                      <a:pt x="29774" y="593074"/>
                    </a:lnTo>
                    <a:lnTo>
                      <a:pt x="15527" y="588219"/>
                    </a:lnTo>
                    <a:lnTo>
                      <a:pt x="0" y="541011"/>
                    </a:lnTo>
                    <a:lnTo>
                      <a:pt x="3726" y="510488"/>
                    </a:lnTo>
                    <a:lnTo>
                      <a:pt x="18393" y="478939"/>
                    </a:lnTo>
                    <a:lnTo>
                      <a:pt x="69351" y="428851"/>
                    </a:lnTo>
                    <a:lnTo>
                      <a:pt x="110135" y="399020"/>
                    </a:lnTo>
                    <a:lnTo>
                      <a:pt x="162547" y="370036"/>
                    </a:lnTo>
                    <a:lnTo>
                      <a:pt x="170976" y="352210"/>
                    </a:lnTo>
                    <a:lnTo>
                      <a:pt x="177025" y="336045"/>
                    </a:lnTo>
                    <a:lnTo>
                      <a:pt x="176039" y="311288"/>
                    </a:lnTo>
                    <a:lnTo>
                      <a:pt x="176039" y="311234"/>
                    </a:lnTo>
                    <a:close/>
                    <a:moveTo>
                      <a:pt x="1098183" y="0"/>
                    </a:moveTo>
                    <a:lnTo>
                      <a:pt x="1112927" y="9017"/>
                    </a:lnTo>
                    <a:lnTo>
                      <a:pt x="1131399" y="18040"/>
                    </a:lnTo>
                    <a:lnTo>
                      <a:pt x="1151831" y="17247"/>
                    </a:lnTo>
                    <a:lnTo>
                      <a:pt x="1176311" y="30283"/>
                    </a:lnTo>
                    <a:lnTo>
                      <a:pt x="1185775" y="50511"/>
                    </a:lnTo>
                    <a:lnTo>
                      <a:pt x="1201752" y="66831"/>
                    </a:lnTo>
                    <a:lnTo>
                      <a:pt x="1210567" y="68563"/>
                    </a:lnTo>
                    <a:lnTo>
                      <a:pt x="1215856" y="86520"/>
                    </a:lnTo>
                    <a:lnTo>
                      <a:pt x="1219481" y="99896"/>
                    </a:lnTo>
                    <a:lnTo>
                      <a:pt x="1223617" y="113332"/>
                    </a:lnTo>
                    <a:lnTo>
                      <a:pt x="1223734" y="113388"/>
                    </a:lnTo>
                    <a:lnTo>
                      <a:pt x="1234551" y="119572"/>
                    </a:lnTo>
                    <a:lnTo>
                      <a:pt x="1234693" y="134107"/>
                    </a:lnTo>
                    <a:lnTo>
                      <a:pt x="1231623" y="171475"/>
                    </a:lnTo>
                    <a:lnTo>
                      <a:pt x="1219343" y="187514"/>
                    </a:lnTo>
                    <a:lnTo>
                      <a:pt x="1200143" y="238372"/>
                    </a:lnTo>
                    <a:lnTo>
                      <a:pt x="1181409" y="249009"/>
                    </a:lnTo>
                    <a:lnTo>
                      <a:pt x="1179135" y="286491"/>
                    </a:lnTo>
                    <a:lnTo>
                      <a:pt x="1182807" y="309914"/>
                    </a:lnTo>
                    <a:lnTo>
                      <a:pt x="1183864" y="335729"/>
                    </a:lnTo>
                    <a:lnTo>
                      <a:pt x="1182218" y="360665"/>
                    </a:lnTo>
                    <a:lnTo>
                      <a:pt x="1179053" y="371460"/>
                    </a:lnTo>
                    <a:lnTo>
                      <a:pt x="1161313" y="371339"/>
                    </a:lnTo>
                    <a:lnTo>
                      <a:pt x="1146807" y="378263"/>
                    </a:lnTo>
                    <a:lnTo>
                      <a:pt x="1156380" y="388258"/>
                    </a:lnTo>
                    <a:lnTo>
                      <a:pt x="1161085" y="399974"/>
                    </a:lnTo>
                    <a:lnTo>
                      <a:pt x="1153574" y="408872"/>
                    </a:lnTo>
                    <a:lnTo>
                      <a:pt x="1138434" y="407769"/>
                    </a:lnTo>
                    <a:lnTo>
                      <a:pt x="1116256" y="425653"/>
                    </a:lnTo>
                    <a:lnTo>
                      <a:pt x="1106788" y="441697"/>
                    </a:lnTo>
                    <a:lnTo>
                      <a:pt x="1095551" y="451477"/>
                    </a:lnTo>
                    <a:lnTo>
                      <a:pt x="1074060" y="464765"/>
                    </a:lnTo>
                    <a:lnTo>
                      <a:pt x="1072098" y="474596"/>
                    </a:lnTo>
                    <a:lnTo>
                      <a:pt x="1058146" y="476295"/>
                    </a:lnTo>
                    <a:lnTo>
                      <a:pt x="1049723" y="483401"/>
                    </a:lnTo>
                    <a:lnTo>
                      <a:pt x="1045014" y="490544"/>
                    </a:lnTo>
                    <a:lnTo>
                      <a:pt x="987758" y="470579"/>
                    </a:lnTo>
                    <a:lnTo>
                      <a:pt x="952575" y="466841"/>
                    </a:lnTo>
                    <a:lnTo>
                      <a:pt x="926348" y="467558"/>
                    </a:lnTo>
                    <a:lnTo>
                      <a:pt x="877592" y="457514"/>
                    </a:lnTo>
                    <a:lnTo>
                      <a:pt x="859059" y="455680"/>
                    </a:lnTo>
                    <a:lnTo>
                      <a:pt x="848059" y="445789"/>
                    </a:lnTo>
                    <a:lnTo>
                      <a:pt x="842479" y="447546"/>
                    </a:lnTo>
                    <a:lnTo>
                      <a:pt x="840517" y="456488"/>
                    </a:lnTo>
                    <a:lnTo>
                      <a:pt x="829365" y="459123"/>
                    </a:lnTo>
                    <a:lnTo>
                      <a:pt x="822994" y="448370"/>
                    </a:lnTo>
                    <a:lnTo>
                      <a:pt x="806386" y="441166"/>
                    </a:lnTo>
                    <a:lnTo>
                      <a:pt x="791694" y="429482"/>
                    </a:lnTo>
                    <a:lnTo>
                      <a:pt x="782575" y="416923"/>
                    </a:lnTo>
                    <a:lnTo>
                      <a:pt x="777160" y="405274"/>
                    </a:lnTo>
                    <a:lnTo>
                      <a:pt x="771716" y="394533"/>
                    </a:lnTo>
                    <a:lnTo>
                      <a:pt x="756902" y="390904"/>
                    </a:lnTo>
                    <a:lnTo>
                      <a:pt x="751479" y="380153"/>
                    </a:lnTo>
                    <a:lnTo>
                      <a:pt x="738561" y="373851"/>
                    </a:lnTo>
                    <a:lnTo>
                      <a:pt x="712968" y="369761"/>
                    </a:lnTo>
                    <a:lnTo>
                      <a:pt x="693231" y="362069"/>
                    </a:lnTo>
                    <a:lnTo>
                      <a:pt x="677566" y="353967"/>
                    </a:lnTo>
                    <a:lnTo>
                      <a:pt x="652571" y="349410"/>
                    </a:lnTo>
                    <a:lnTo>
                      <a:pt x="631300" y="342187"/>
                    </a:lnTo>
                    <a:lnTo>
                      <a:pt x="620420" y="319799"/>
                    </a:lnTo>
                    <a:lnTo>
                      <a:pt x="616862" y="306377"/>
                    </a:lnTo>
                    <a:lnTo>
                      <a:pt x="605788" y="300977"/>
                    </a:lnTo>
                    <a:lnTo>
                      <a:pt x="596635" y="287536"/>
                    </a:lnTo>
                    <a:lnTo>
                      <a:pt x="596853" y="268762"/>
                    </a:lnTo>
                    <a:lnTo>
                      <a:pt x="598876" y="253570"/>
                    </a:lnTo>
                    <a:lnTo>
                      <a:pt x="599997" y="236589"/>
                    </a:lnTo>
                    <a:lnTo>
                      <a:pt x="598267" y="224961"/>
                    </a:lnTo>
                    <a:lnTo>
                      <a:pt x="611123" y="220341"/>
                    </a:lnTo>
                    <a:lnTo>
                      <a:pt x="646077" y="182228"/>
                    </a:lnTo>
                    <a:lnTo>
                      <a:pt x="664419" y="159363"/>
                    </a:lnTo>
                    <a:lnTo>
                      <a:pt x="666315" y="146336"/>
                    </a:lnTo>
                    <a:lnTo>
                      <a:pt x="666605" y="134634"/>
                    </a:lnTo>
                    <a:lnTo>
                      <a:pt x="668754" y="125223"/>
                    </a:lnTo>
                    <a:lnTo>
                      <a:pt x="677433" y="121446"/>
                    </a:lnTo>
                    <a:lnTo>
                      <a:pt x="680618" y="117538"/>
                    </a:lnTo>
                    <a:lnTo>
                      <a:pt x="689694" y="102903"/>
                    </a:lnTo>
                    <a:lnTo>
                      <a:pt x="718534" y="94980"/>
                    </a:lnTo>
                    <a:lnTo>
                      <a:pt x="752062" y="87129"/>
                    </a:lnTo>
                    <a:lnTo>
                      <a:pt x="789347" y="65749"/>
                    </a:lnTo>
                    <a:lnTo>
                      <a:pt x="812734" y="46124"/>
                    </a:lnTo>
                    <a:lnTo>
                      <a:pt x="842612" y="32084"/>
                    </a:lnTo>
                    <a:lnTo>
                      <a:pt x="853880" y="18629"/>
                    </a:lnTo>
                    <a:lnTo>
                      <a:pt x="870642" y="12389"/>
                    </a:lnTo>
                    <a:lnTo>
                      <a:pt x="884571" y="12457"/>
                    </a:lnTo>
                    <a:lnTo>
                      <a:pt x="893954" y="2660"/>
                    </a:lnTo>
                    <a:lnTo>
                      <a:pt x="906912" y="5402"/>
                    </a:lnTo>
                    <a:lnTo>
                      <a:pt x="916107" y="13492"/>
                    </a:lnTo>
                    <a:lnTo>
                      <a:pt x="920643" y="22465"/>
                    </a:lnTo>
                    <a:lnTo>
                      <a:pt x="930835" y="23403"/>
                    </a:lnTo>
                    <a:lnTo>
                      <a:pt x="947475" y="28835"/>
                    </a:lnTo>
                    <a:lnTo>
                      <a:pt x="958526" y="36046"/>
                    </a:lnTo>
                    <a:lnTo>
                      <a:pt x="969659" y="35224"/>
                    </a:lnTo>
                    <a:lnTo>
                      <a:pt x="966072" y="25346"/>
                    </a:lnTo>
                    <a:lnTo>
                      <a:pt x="969900" y="15524"/>
                    </a:lnTo>
                    <a:lnTo>
                      <a:pt x="993199" y="6689"/>
                    </a:lnTo>
                    <a:lnTo>
                      <a:pt x="1017272" y="10429"/>
                    </a:lnTo>
                    <a:lnTo>
                      <a:pt x="1046052" y="10502"/>
                    </a:lnTo>
                    <a:lnTo>
                      <a:pt x="1060794" y="19535"/>
                    </a:lnTo>
                    <a:lnTo>
                      <a:pt x="1072877" y="17789"/>
                    </a:lnTo>
                    <a:lnTo>
                      <a:pt x="1087855" y="8900"/>
                    </a:lnTo>
                    <a:close/>
                  </a:path>
                </a:pathLst>
              </a:custGeom>
              <a:solidFill>
                <a:srgbClr val="E7001D"/>
              </a:solidFill>
              <a:ln w="3175" cap="rnd">
                <a:solidFill>
                  <a:srgbClr val="E7001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7" name="Freeform 54">
                <a:extLst>
                  <a:ext uri="{FF2B5EF4-FFF2-40B4-BE49-F238E27FC236}">
                    <a16:creationId xmlns:a16="http://schemas.microsoft.com/office/drawing/2014/main" id="{AAF5852B-1A0F-4432-B184-0D7A22A7A17B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>
              <a:xfrm>
                <a:off x="10159999" y="3602897"/>
                <a:ext cx="3063835" cy="1381425"/>
              </a:xfrm>
              <a:custGeom>
                <a:avLst/>
                <a:gdLst/>
                <a:ahLst/>
                <a:cxnLst/>
                <a:rect l="l" t="t" r="r" b="b"/>
                <a:pathLst>
                  <a:path w="8353425" h="3766400">
                    <a:moveTo>
                      <a:pt x="1132617" y="3750407"/>
                    </a:moveTo>
                    <a:lnTo>
                      <a:pt x="1133103" y="3752459"/>
                    </a:lnTo>
                    <a:lnTo>
                      <a:pt x="1133617" y="3757420"/>
                    </a:lnTo>
                    <a:lnTo>
                      <a:pt x="1134346" y="3759214"/>
                    </a:lnTo>
                    <a:lnTo>
                      <a:pt x="1133966" y="3760604"/>
                    </a:lnTo>
                    <a:lnTo>
                      <a:pt x="1130119" y="3761263"/>
                    </a:lnTo>
                    <a:lnTo>
                      <a:pt x="1126476" y="3764364"/>
                    </a:lnTo>
                    <a:lnTo>
                      <a:pt x="1123442" y="3766400"/>
                    </a:lnTo>
                    <a:lnTo>
                      <a:pt x="1121418" y="3763753"/>
                    </a:lnTo>
                    <a:lnTo>
                      <a:pt x="1123389" y="3760520"/>
                    </a:lnTo>
                    <a:lnTo>
                      <a:pt x="1123345" y="3757982"/>
                    </a:lnTo>
                    <a:lnTo>
                      <a:pt x="1122744" y="3755885"/>
                    </a:lnTo>
                    <a:lnTo>
                      <a:pt x="1123059" y="3753939"/>
                    </a:lnTo>
                    <a:lnTo>
                      <a:pt x="1123052" y="3753938"/>
                    </a:lnTo>
                    <a:lnTo>
                      <a:pt x="1124961" y="3752294"/>
                    </a:lnTo>
                    <a:lnTo>
                      <a:pt x="1127678" y="3751197"/>
                    </a:lnTo>
                    <a:close/>
                    <a:moveTo>
                      <a:pt x="1155806" y="3731549"/>
                    </a:moveTo>
                    <a:lnTo>
                      <a:pt x="1158433" y="3732060"/>
                    </a:lnTo>
                    <a:lnTo>
                      <a:pt x="1163035" y="3736168"/>
                    </a:lnTo>
                    <a:lnTo>
                      <a:pt x="1163746" y="3741141"/>
                    </a:lnTo>
                    <a:lnTo>
                      <a:pt x="1161836" y="3742650"/>
                    </a:lnTo>
                    <a:lnTo>
                      <a:pt x="1158841" y="3742717"/>
                    </a:lnTo>
                    <a:lnTo>
                      <a:pt x="1156284" y="3743398"/>
                    </a:lnTo>
                    <a:lnTo>
                      <a:pt x="1150925" y="3748624"/>
                    </a:lnTo>
                    <a:lnTo>
                      <a:pt x="1148637" y="3749447"/>
                    </a:lnTo>
                    <a:lnTo>
                      <a:pt x="1148802" y="3745564"/>
                    </a:lnTo>
                    <a:lnTo>
                      <a:pt x="1149576" y="3743981"/>
                    </a:lnTo>
                    <a:lnTo>
                      <a:pt x="1152501" y="3740149"/>
                    </a:lnTo>
                    <a:lnTo>
                      <a:pt x="1152712" y="3738287"/>
                    </a:lnTo>
                    <a:lnTo>
                      <a:pt x="1152500" y="3735321"/>
                    </a:lnTo>
                    <a:lnTo>
                      <a:pt x="1153062" y="3733871"/>
                    </a:lnTo>
                    <a:close/>
                    <a:moveTo>
                      <a:pt x="1578024" y="3668405"/>
                    </a:moveTo>
                    <a:lnTo>
                      <a:pt x="1584624" y="3669115"/>
                    </a:lnTo>
                    <a:lnTo>
                      <a:pt x="1587710" y="3671787"/>
                    </a:lnTo>
                    <a:lnTo>
                      <a:pt x="1584988" y="3674349"/>
                    </a:lnTo>
                    <a:lnTo>
                      <a:pt x="1581895" y="3674926"/>
                    </a:lnTo>
                    <a:lnTo>
                      <a:pt x="1578617" y="3674766"/>
                    </a:lnTo>
                    <a:lnTo>
                      <a:pt x="1575349" y="3675052"/>
                    </a:lnTo>
                    <a:lnTo>
                      <a:pt x="1575015" y="3676437"/>
                    </a:lnTo>
                    <a:lnTo>
                      <a:pt x="1576318" y="3676420"/>
                    </a:lnTo>
                    <a:lnTo>
                      <a:pt x="1578878" y="3676885"/>
                    </a:lnTo>
                    <a:lnTo>
                      <a:pt x="1580189" y="3676835"/>
                    </a:lnTo>
                    <a:lnTo>
                      <a:pt x="1578620" y="3679915"/>
                    </a:lnTo>
                    <a:lnTo>
                      <a:pt x="1578092" y="3680781"/>
                    </a:lnTo>
                    <a:lnTo>
                      <a:pt x="1583054" y="3678794"/>
                    </a:lnTo>
                    <a:lnTo>
                      <a:pt x="1585418" y="3678748"/>
                    </a:lnTo>
                    <a:lnTo>
                      <a:pt x="1587882" y="3680247"/>
                    </a:lnTo>
                    <a:lnTo>
                      <a:pt x="1587580" y="3681509"/>
                    </a:lnTo>
                    <a:lnTo>
                      <a:pt x="1586552" y="3682161"/>
                    </a:lnTo>
                    <a:lnTo>
                      <a:pt x="1585807" y="3682994"/>
                    </a:lnTo>
                    <a:lnTo>
                      <a:pt x="1585136" y="3684143"/>
                    </a:lnTo>
                    <a:lnTo>
                      <a:pt x="1584361" y="3685746"/>
                    </a:lnTo>
                    <a:lnTo>
                      <a:pt x="1586400" y="3686961"/>
                    </a:lnTo>
                    <a:lnTo>
                      <a:pt x="1587165" y="3687230"/>
                    </a:lnTo>
                    <a:lnTo>
                      <a:pt x="1586833" y="3688615"/>
                    </a:lnTo>
                    <a:lnTo>
                      <a:pt x="1584420" y="3688465"/>
                    </a:lnTo>
                    <a:lnTo>
                      <a:pt x="1582327" y="3689673"/>
                    </a:lnTo>
                    <a:lnTo>
                      <a:pt x="1580775" y="3691982"/>
                    </a:lnTo>
                    <a:lnTo>
                      <a:pt x="1579999" y="3695140"/>
                    </a:lnTo>
                    <a:lnTo>
                      <a:pt x="1578870" y="3695053"/>
                    </a:lnTo>
                    <a:lnTo>
                      <a:pt x="1578231" y="3692686"/>
                    </a:lnTo>
                    <a:lnTo>
                      <a:pt x="1576892" y="3693163"/>
                    </a:lnTo>
                    <a:lnTo>
                      <a:pt x="1573732" y="3696902"/>
                    </a:lnTo>
                    <a:lnTo>
                      <a:pt x="1571973" y="3697692"/>
                    </a:lnTo>
                    <a:lnTo>
                      <a:pt x="1571027" y="3694510"/>
                    </a:lnTo>
                    <a:lnTo>
                      <a:pt x="1569285" y="3695855"/>
                    </a:lnTo>
                    <a:lnTo>
                      <a:pt x="1567748" y="3695115"/>
                    </a:lnTo>
                    <a:lnTo>
                      <a:pt x="1565713" y="3694874"/>
                    </a:lnTo>
                    <a:lnTo>
                      <a:pt x="1564211" y="3693775"/>
                    </a:lnTo>
                    <a:lnTo>
                      <a:pt x="1564268" y="3690410"/>
                    </a:lnTo>
                    <a:lnTo>
                      <a:pt x="1566345" y="3677054"/>
                    </a:lnTo>
                    <a:lnTo>
                      <a:pt x="1567045" y="3677662"/>
                    </a:lnTo>
                    <a:lnTo>
                      <a:pt x="1568422" y="3678331"/>
                    </a:lnTo>
                    <a:lnTo>
                      <a:pt x="1569085" y="3678802"/>
                    </a:lnTo>
                    <a:lnTo>
                      <a:pt x="1568526" y="3676676"/>
                    </a:lnTo>
                    <a:lnTo>
                      <a:pt x="1565617" y="3671352"/>
                    </a:lnTo>
                    <a:lnTo>
                      <a:pt x="1570765" y="3669256"/>
                    </a:lnTo>
                    <a:close/>
                    <a:moveTo>
                      <a:pt x="1602589" y="3666831"/>
                    </a:moveTo>
                    <a:lnTo>
                      <a:pt x="1604978" y="3667298"/>
                    </a:lnTo>
                    <a:lnTo>
                      <a:pt x="1606358" y="3668982"/>
                    </a:lnTo>
                    <a:lnTo>
                      <a:pt x="1609743" y="3671111"/>
                    </a:lnTo>
                    <a:lnTo>
                      <a:pt x="1610869" y="3672145"/>
                    </a:lnTo>
                    <a:lnTo>
                      <a:pt x="1610653" y="3673052"/>
                    </a:lnTo>
                    <a:lnTo>
                      <a:pt x="1611157" y="3675701"/>
                    </a:lnTo>
                    <a:lnTo>
                      <a:pt x="1612101" y="3677485"/>
                    </a:lnTo>
                    <a:lnTo>
                      <a:pt x="1613156" y="3675761"/>
                    </a:lnTo>
                    <a:lnTo>
                      <a:pt x="1615800" y="3673636"/>
                    </a:lnTo>
                    <a:lnTo>
                      <a:pt x="1620320" y="3674725"/>
                    </a:lnTo>
                    <a:lnTo>
                      <a:pt x="1624693" y="3677490"/>
                    </a:lnTo>
                    <a:lnTo>
                      <a:pt x="1626901" y="3680392"/>
                    </a:lnTo>
                    <a:lnTo>
                      <a:pt x="1625474" y="3681569"/>
                    </a:lnTo>
                    <a:lnTo>
                      <a:pt x="1627872" y="3684166"/>
                    </a:lnTo>
                    <a:lnTo>
                      <a:pt x="1629055" y="3684659"/>
                    </a:lnTo>
                    <a:lnTo>
                      <a:pt x="1627557" y="3686081"/>
                    </a:lnTo>
                    <a:lnTo>
                      <a:pt x="1624300" y="3681757"/>
                    </a:lnTo>
                    <a:lnTo>
                      <a:pt x="1623794" y="3680157"/>
                    </a:lnTo>
                    <a:lnTo>
                      <a:pt x="1620875" y="3680978"/>
                    </a:lnTo>
                    <a:lnTo>
                      <a:pt x="1618437" y="3680684"/>
                    </a:lnTo>
                    <a:lnTo>
                      <a:pt x="1613870" y="3679407"/>
                    </a:lnTo>
                    <a:lnTo>
                      <a:pt x="1612356" y="3679997"/>
                    </a:lnTo>
                    <a:lnTo>
                      <a:pt x="1612160" y="3681770"/>
                    </a:lnTo>
                    <a:lnTo>
                      <a:pt x="1612743" y="3686372"/>
                    </a:lnTo>
                    <a:lnTo>
                      <a:pt x="1610606" y="3685539"/>
                    </a:lnTo>
                    <a:lnTo>
                      <a:pt x="1609022" y="3684043"/>
                    </a:lnTo>
                    <a:lnTo>
                      <a:pt x="1608143" y="3681860"/>
                    </a:lnTo>
                    <a:lnTo>
                      <a:pt x="1608097" y="3678969"/>
                    </a:lnTo>
                    <a:lnTo>
                      <a:pt x="1605583" y="3681246"/>
                    </a:lnTo>
                    <a:lnTo>
                      <a:pt x="1604325" y="3683920"/>
                    </a:lnTo>
                    <a:lnTo>
                      <a:pt x="1604057" y="3686847"/>
                    </a:lnTo>
                    <a:lnTo>
                      <a:pt x="1604521" y="3689964"/>
                    </a:lnTo>
                    <a:lnTo>
                      <a:pt x="1603485" y="3689885"/>
                    </a:lnTo>
                    <a:lnTo>
                      <a:pt x="1603201" y="3689099"/>
                    </a:lnTo>
                    <a:lnTo>
                      <a:pt x="1602696" y="3686491"/>
                    </a:lnTo>
                    <a:lnTo>
                      <a:pt x="1602398" y="3685587"/>
                    </a:lnTo>
                    <a:lnTo>
                      <a:pt x="1602441" y="3685011"/>
                    </a:lnTo>
                    <a:lnTo>
                      <a:pt x="1603055" y="3683244"/>
                    </a:lnTo>
                    <a:lnTo>
                      <a:pt x="1603088" y="3682693"/>
                    </a:lnTo>
                    <a:lnTo>
                      <a:pt x="1602524" y="3682390"/>
                    </a:lnTo>
                    <a:lnTo>
                      <a:pt x="1601165" y="3682387"/>
                    </a:lnTo>
                    <a:lnTo>
                      <a:pt x="1598748" y="3680306"/>
                    </a:lnTo>
                    <a:lnTo>
                      <a:pt x="1596606" y="3680134"/>
                    </a:lnTo>
                    <a:lnTo>
                      <a:pt x="1595190" y="3679127"/>
                    </a:lnTo>
                    <a:lnTo>
                      <a:pt x="1595414" y="3675181"/>
                    </a:lnTo>
                    <a:lnTo>
                      <a:pt x="1598689" y="3675985"/>
                    </a:lnTo>
                    <a:lnTo>
                      <a:pt x="1599408" y="3674395"/>
                    </a:lnTo>
                    <a:lnTo>
                      <a:pt x="1598534" y="3670558"/>
                    </a:lnTo>
                    <a:lnTo>
                      <a:pt x="1600134" y="3667818"/>
                    </a:lnTo>
                    <a:close/>
                    <a:moveTo>
                      <a:pt x="1629438" y="3663492"/>
                    </a:moveTo>
                    <a:lnTo>
                      <a:pt x="1631027" y="3663687"/>
                    </a:lnTo>
                    <a:lnTo>
                      <a:pt x="1632443" y="3664273"/>
                    </a:lnTo>
                    <a:lnTo>
                      <a:pt x="1633630" y="3665293"/>
                    </a:lnTo>
                    <a:lnTo>
                      <a:pt x="1632345" y="3665423"/>
                    </a:lnTo>
                    <a:lnTo>
                      <a:pt x="1629044" y="3666482"/>
                    </a:lnTo>
                    <a:lnTo>
                      <a:pt x="1628749" y="3667727"/>
                    </a:lnTo>
                    <a:lnTo>
                      <a:pt x="1632621" y="3669563"/>
                    </a:lnTo>
                    <a:lnTo>
                      <a:pt x="1633348" y="3669132"/>
                    </a:lnTo>
                    <a:lnTo>
                      <a:pt x="1635641" y="3667206"/>
                    </a:lnTo>
                    <a:lnTo>
                      <a:pt x="1636362" y="3667034"/>
                    </a:lnTo>
                    <a:lnTo>
                      <a:pt x="1637108" y="3669053"/>
                    </a:lnTo>
                    <a:lnTo>
                      <a:pt x="1637091" y="3671914"/>
                    </a:lnTo>
                    <a:lnTo>
                      <a:pt x="1636662" y="3674751"/>
                    </a:lnTo>
                    <a:lnTo>
                      <a:pt x="1636180" y="3676736"/>
                    </a:lnTo>
                    <a:lnTo>
                      <a:pt x="1633194" y="3676234"/>
                    </a:lnTo>
                    <a:lnTo>
                      <a:pt x="1614948" y="3668225"/>
                    </a:lnTo>
                    <a:lnTo>
                      <a:pt x="1617755" y="3666382"/>
                    </a:lnTo>
                    <a:lnTo>
                      <a:pt x="1621084" y="3664714"/>
                    </a:lnTo>
                    <a:lnTo>
                      <a:pt x="1624539" y="3663625"/>
                    </a:lnTo>
                    <a:close/>
                    <a:moveTo>
                      <a:pt x="1677234" y="3654489"/>
                    </a:moveTo>
                    <a:lnTo>
                      <a:pt x="1679725" y="3654674"/>
                    </a:lnTo>
                    <a:lnTo>
                      <a:pt x="1683812" y="3656393"/>
                    </a:lnTo>
                    <a:lnTo>
                      <a:pt x="1686293" y="3656569"/>
                    </a:lnTo>
                    <a:lnTo>
                      <a:pt x="1685944" y="3658068"/>
                    </a:lnTo>
                    <a:lnTo>
                      <a:pt x="1679270" y="3659066"/>
                    </a:lnTo>
                    <a:lnTo>
                      <a:pt x="1678176" y="3659470"/>
                    </a:lnTo>
                    <a:lnTo>
                      <a:pt x="1676894" y="3661991"/>
                    </a:lnTo>
                    <a:lnTo>
                      <a:pt x="1675011" y="3662731"/>
                    </a:lnTo>
                    <a:lnTo>
                      <a:pt x="1673019" y="3662273"/>
                    </a:lnTo>
                    <a:lnTo>
                      <a:pt x="1671371" y="3661203"/>
                    </a:lnTo>
                    <a:lnTo>
                      <a:pt x="1672733" y="3659392"/>
                    </a:lnTo>
                    <a:close/>
                    <a:moveTo>
                      <a:pt x="1655410" y="3648634"/>
                    </a:moveTo>
                    <a:lnTo>
                      <a:pt x="1656207" y="3650109"/>
                    </a:lnTo>
                    <a:lnTo>
                      <a:pt x="1658775" y="3650026"/>
                    </a:lnTo>
                    <a:lnTo>
                      <a:pt x="1661414" y="3649418"/>
                    </a:lnTo>
                    <a:lnTo>
                      <a:pt x="1663759" y="3649342"/>
                    </a:lnTo>
                    <a:lnTo>
                      <a:pt x="1665499" y="3650805"/>
                    </a:lnTo>
                    <a:lnTo>
                      <a:pt x="1653976" y="3653765"/>
                    </a:lnTo>
                    <a:lnTo>
                      <a:pt x="1648766" y="3653726"/>
                    </a:lnTo>
                    <a:lnTo>
                      <a:pt x="1643087" y="3651932"/>
                    </a:lnTo>
                    <a:lnTo>
                      <a:pt x="1645332" y="3649502"/>
                    </a:lnTo>
                    <a:lnTo>
                      <a:pt x="1648443" y="3649123"/>
                    </a:lnTo>
                    <a:lnTo>
                      <a:pt x="1651556" y="3650012"/>
                    </a:lnTo>
                    <a:lnTo>
                      <a:pt x="1653790" y="3651446"/>
                    </a:lnTo>
                    <a:lnTo>
                      <a:pt x="1654124" y="3650506"/>
                    </a:lnTo>
                    <a:lnTo>
                      <a:pt x="1654519" y="3649924"/>
                    </a:lnTo>
                    <a:lnTo>
                      <a:pt x="1654942" y="3649403"/>
                    </a:lnTo>
                    <a:close/>
                    <a:moveTo>
                      <a:pt x="1456530" y="3645236"/>
                    </a:moveTo>
                    <a:lnTo>
                      <a:pt x="1464123" y="3646406"/>
                    </a:lnTo>
                    <a:lnTo>
                      <a:pt x="1467365" y="3647198"/>
                    </a:lnTo>
                    <a:lnTo>
                      <a:pt x="1470739" y="3649077"/>
                    </a:lnTo>
                    <a:lnTo>
                      <a:pt x="1473127" y="3651909"/>
                    </a:lnTo>
                    <a:lnTo>
                      <a:pt x="1473405" y="3655616"/>
                    </a:lnTo>
                    <a:lnTo>
                      <a:pt x="1471033" y="3656283"/>
                    </a:lnTo>
                    <a:lnTo>
                      <a:pt x="1469834" y="3657482"/>
                    </a:lnTo>
                    <a:lnTo>
                      <a:pt x="1469346" y="3658957"/>
                    </a:lnTo>
                    <a:lnTo>
                      <a:pt x="1469058" y="3660406"/>
                    </a:lnTo>
                    <a:lnTo>
                      <a:pt x="1467567" y="3662001"/>
                    </a:lnTo>
                    <a:lnTo>
                      <a:pt x="1459604" y="3664515"/>
                    </a:lnTo>
                    <a:lnTo>
                      <a:pt x="1456273" y="3668538"/>
                    </a:lnTo>
                    <a:lnTo>
                      <a:pt x="1455477" y="3676587"/>
                    </a:lnTo>
                    <a:lnTo>
                      <a:pt x="1452327" y="3680878"/>
                    </a:lnTo>
                    <a:lnTo>
                      <a:pt x="1453822" y="3683927"/>
                    </a:lnTo>
                    <a:lnTo>
                      <a:pt x="1452278" y="3687279"/>
                    </a:lnTo>
                    <a:lnTo>
                      <a:pt x="1447033" y="3693170"/>
                    </a:lnTo>
                    <a:lnTo>
                      <a:pt x="1442055" y="3690900"/>
                    </a:lnTo>
                    <a:lnTo>
                      <a:pt x="1440592" y="3689822"/>
                    </a:lnTo>
                    <a:lnTo>
                      <a:pt x="1440512" y="3691205"/>
                    </a:lnTo>
                    <a:lnTo>
                      <a:pt x="1440199" y="3692224"/>
                    </a:lnTo>
                    <a:lnTo>
                      <a:pt x="1439804" y="3693118"/>
                    </a:lnTo>
                    <a:lnTo>
                      <a:pt x="1439513" y="3694105"/>
                    </a:lnTo>
                    <a:lnTo>
                      <a:pt x="1436711" y="3692969"/>
                    </a:lnTo>
                    <a:lnTo>
                      <a:pt x="1432361" y="3694664"/>
                    </a:lnTo>
                    <a:lnTo>
                      <a:pt x="1427691" y="3695750"/>
                    </a:lnTo>
                    <a:lnTo>
                      <a:pt x="1423914" y="3692842"/>
                    </a:lnTo>
                    <a:lnTo>
                      <a:pt x="1422400" y="3693830"/>
                    </a:lnTo>
                    <a:lnTo>
                      <a:pt x="1421697" y="3693849"/>
                    </a:lnTo>
                    <a:lnTo>
                      <a:pt x="1420814" y="3692590"/>
                    </a:lnTo>
                    <a:lnTo>
                      <a:pt x="1420745" y="3692264"/>
                    </a:lnTo>
                    <a:lnTo>
                      <a:pt x="1419447" y="3689648"/>
                    </a:lnTo>
                    <a:lnTo>
                      <a:pt x="1417651" y="3687144"/>
                    </a:lnTo>
                    <a:lnTo>
                      <a:pt x="1415841" y="3685733"/>
                    </a:lnTo>
                    <a:lnTo>
                      <a:pt x="1413756" y="3685040"/>
                    </a:lnTo>
                    <a:lnTo>
                      <a:pt x="1406063" y="3684512"/>
                    </a:lnTo>
                    <a:lnTo>
                      <a:pt x="1403160" y="3684881"/>
                    </a:lnTo>
                    <a:lnTo>
                      <a:pt x="1400836" y="3685937"/>
                    </a:lnTo>
                    <a:lnTo>
                      <a:pt x="1397663" y="3687968"/>
                    </a:lnTo>
                    <a:lnTo>
                      <a:pt x="1395406" y="3688313"/>
                    </a:lnTo>
                    <a:lnTo>
                      <a:pt x="1390431" y="3687272"/>
                    </a:lnTo>
                    <a:lnTo>
                      <a:pt x="1380288" y="3687195"/>
                    </a:lnTo>
                    <a:lnTo>
                      <a:pt x="1375020" y="3689052"/>
                    </a:lnTo>
                    <a:lnTo>
                      <a:pt x="1371853" y="3693510"/>
                    </a:lnTo>
                    <a:lnTo>
                      <a:pt x="1370298" y="3696307"/>
                    </a:lnTo>
                    <a:lnTo>
                      <a:pt x="1368396" y="3696513"/>
                    </a:lnTo>
                    <a:lnTo>
                      <a:pt x="1366907" y="3695116"/>
                    </a:lnTo>
                    <a:lnTo>
                      <a:pt x="1366589" y="3693074"/>
                    </a:lnTo>
                    <a:lnTo>
                      <a:pt x="1366893" y="3691093"/>
                    </a:lnTo>
                    <a:lnTo>
                      <a:pt x="1366609" y="3689468"/>
                    </a:lnTo>
                    <a:lnTo>
                      <a:pt x="1365704" y="3687934"/>
                    </a:lnTo>
                    <a:lnTo>
                      <a:pt x="1364106" y="3686385"/>
                    </a:lnTo>
                    <a:lnTo>
                      <a:pt x="1364432" y="3685122"/>
                    </a:lnTo>
                    <a:lnTo>
                      <a:pt x="1367229" y="3684166"/>
                    </a:lnTo>
                    <a:lnTo>
                      <a:pt x="1372569" y="3680917"/>
                    </a:lnTo>
                    <a:lnTo>
                      <a:pt x="1374686" y="3680308"/>
                    </a:lnTo>
                    <a:lnTo>
                      <a:pt x="1377601" y="3680989"/>
                    </a:lnTo>
                    <a:lnTo>
                      <a:pt x="1382779" y="3683372"/>
                    </a:lnTo>
                    <a:lnTo>
                      <a:pt x="1385414" y="3684027"/>
                    </a:lnTo>
                    <a:lnTo>
                      <a:pt x="1392637" y="3684623"/>
                    </a:lnTo>
                    <a:lnTo>
                      <a:pt x="1393399" y="3684003"/>
                    </a:lnTo>
                    <a:lnTo>
                      <a:pt x="1393759" y="3682525"/>
                    </a:lnTo>
                    <a:lnTo>
                      <a:pt x="1394371" y="3681075"/>
                    </a:lnTo>
                    <a:lnTo>
                      <a:pt x="1395852" y="3680514"/>
                    </a:lnTo>
                    <a:lnTo>
                      <a:pt x="1401020" y="3680939"/>
                    </a:lnTo>
                    <a:lnTo>
                      <a:pt x="1401542" y="3680536"/>
                    </a:lnTo>
                    <a:lnTo>
                      <a:pt x="1402226" y="3679631"/>
                    </a:lnTo>
                    <a:lnTo>
                      <a:pt x="1403257" y="3678748"/>
                    </a:lnTo>
                    <a:lnTo>
                      <a:pt x="1404813" y="3678429"/>
                    </a:lnTo>
                    <a:lnTo>
                      <a:pt x="1415226" y="3677857"/>
                    </a:lnTo>
                    <a:lnTo>
                      <a:pt x="1430721" y="3674751"/>
                    </a:lnTo>
                    <a:lnTo>
                      <a:pt x="1444194" y="3668394"/>
                    </a:lnTo>
                    <a:lnTo>
                      <a:pt x="1448592" y="3658122"/>
                    </a:lnTo>
                    <a:lnTo>
                      <a:pt x="1449710" y="3656470"/>
                    </a:lnTo>
                    <a:lnTo>
                      <a:pt x="1451426" y="3651991"/>
                    </a:lnTo>
                    <a:lnTo>
                      <a:pt x="1452788" y="3649854"/>
                    </a:lnTo>
                    <a:lnTo>
                      <a:pt x="1453081" y="3646118"/>
                    </a:lnTo>
                    <a:close/>
                    <a:moveTo>
                      <a:pt x="817895" y="3644863"/>
                    </a:moveTo>
                    <a:lnTo>
                      <a:pt x="822666" y="3648733"/>
                    </a:lnTo>
                    <a:lnTo>
                      <a:pt x="829669" y="3650080"/>
                    </a:lnTo>
                    <a:lnTo>
                      <a:pt x="831369" y="3653572"/>
                    </a:lnTo>
                    <a:lnTo>
                      <a:pt x="834065" y="3651414"/>
                    </a:lnTo>
                    <a:lnTo>
                      <a:pt x="836267" y="3651531"/>
                    </a:lnTo>
                    <a:lnTo>
                      <a:pt x="837984" y="3653235"/>
                    </a:lnTo>
                    <a:lnTo>
                      <a:pt x="839148" y="3655778"/>
                    </a:lnTo>
                    <a:lnTo>
                      <a:pt x="841169" y="3655213"/>
                    </a:lnTo>
                    <a:lnTo>
                      <a:pt x="843656" y="3655222"/>
                    </a:lnTo>
                    <a:lnTo>
                      <a:pt x="846201" y="3655739"/>
                    </a:lnTo>
                    <a:lnTo>
                      <a:pt x="850582" y="3658005"/>
                    </a:lnTo>
                    <a:lnTo>
                      <a:pt x="851455" y="3659061"/>
                    </a:lnTo>
                    <a:lnTo>
                      <a:pt x="851522" y="3660506"/>
                    </a:lnTo>
                    <a:lnTo>
                      <a:pt x="851278" y="3662926"/>
                    </a:lnTo>
                    <a:lnTo>
                      <a:pt x="852189" y="3663782"/>
                    </a:lnTo>
                    <a:lnTo>
                      <a:pt x="853608" y="3664161"/>
                    </a:lnTo>
                    <a:lnTo>
                      <a:pt x="854840" y="3665125"/>
                    </a:lnTo>
                    <a:lnTo>
                      <a:pt x="855532" y="3665372"/>
                    </a:lnTo>
                    <a:lnTo>
                      <a:pt x="858423" y="3665888"/>
                    </a:lnTo>
                    <a:lnTo>
                      <a:pt x="859303" y="3666222"/>
                    </a:lnTo>
                    <a:lnTo>
                      <a:pt x="859662" y="3667159"/>
                    </a:lnTo>
                    <a:lnTo>
                      <a:pt x="860208" y="3670099"/>
                    </a:lnTo>
                    <a:lnTo>
                      <a:pt x="860503" y="3670749"/>
                    </a:lnTo>
                    <a:lnTo>
                      <a:pt x="861883" y="3672060"/>
                    </a:lnTo>
                    <a:lnTo>
                      <a:pt x="865662" y="3679829"/>
                    </a:lnTo>
                    <a:lnTo>
                      <a:pt x="872989" y="3687699"/>
                    </a:lnTo>
                    <a:lnTo>
                      <a:pt x="875341" y="3688687"/>
                    </a:lnTo>
                    <a:lnTo>
                      <a:pt x="881665" y="3690053"/>
                    </a:lnTo>
                    <a:lnTo>
                      <a:pt x="883292" y="3690773"/>
                    </a:lnTo>
                    <a:lnTo>
                      <a:pt x="884186" y="3692418"/>
                    </a:lnTo>
                    <a:lnTo>
                      <a:pt x="886318" y="3697622"/>
                    </a:lnTo>
                    <a:lnTo>
                      <a:pt x="886769" y="3702371"/>
                    </a:lnTo>
                    <a:lnTo>
                      <a:pt x="889223" y="3703248"/>
                    </a:lnTo>
                    <a:lnTo>
                      <a:pt x="895080" y="3702692"/>
                    </a:lnTo>
                    <a:lnTo>
                      <a:pt x="894346" y="3703464"/>
                    </a:lnTo>
                    <a:lnTo>
                      <a:pt x="893780" y="3704175"/>
                    </a:lnTo>
                    <a:lnTo>
                      <a:pt x="893116" y="3704800"/>
                    </a:lnTo>
                    <a:lnTo>
                      <a:pt x="892070" y="3705387"/>
                    </a:lnTo>
                    <a:lnTo>
                      <a:pt x="891694" y="3706654"/>
                    </a:lnTo>
                    <a:lnTo>
                      <a:pt x="906861" y="3707406"/>
                    </a:lnTo>
                    <a:lnTo>
                      <a:pt x="910394" y="3706385"/>
                    </a:lnTo>
                    <a:lnTo>
                      <a:pt x="917583" y="3712751"/>
                    </a:lnTo>
                    <a:lnTo>
                      <a:pt x="919026" y="3715135"/>
                    </a:lnTo>
                    <a:lnTo>
                      <a:pt x="916287" y="3714915"/>
                    </a:lnTo>
                    <a:lnTo>
                      <a:pt x="910918" y="3715691"/>
                    </a:lnTo>
                    <a:lnTo>
                      <a:pt x="908279" y="3715387"/>
                    </a:lnTo>
                    <a:lnTo>
                      <a:pt x="908850" y="3714608"/>
                    </a:lnTo>
                    <a:lnTo>
                      <a:pt x="909035" y="3714575"/>
                    </a:lnTo>
                    <a:lnTo>
                      <a:pt x="909680" y="3714237"/>
                    </a:lnTo>
                    <a:lnTo>
                      <a:pt x="907984" y="3712746"/>
                    </a:lnTo>
                    <a:lnTo>
                      <a:pt x="905924" y="3712454"/>
                    </a:lnTo>
                    <a:lnTo>
                      <a:pt x="901338" y="3713433"/>
                    </a:lnTo>
                    <a:lnTo>
                      <a:pt x="900169" y="3713975"/>
                    </a:lnTo>
                    <a:lnTo>
                      <a:pt x="898475" y="3715514"/>
                    </a:lnTo>
                    <a:lnTo>
                      <a:pt x="897549" y="3715782"/>
                    </a:lnTo>
                    <a:lnTo>
                      <a:pt x="896369" y="3715455"/>
                    </a:lnTo>
                    <a:lnTo>
                      <a:pt x="894194" y="3714266"/>
                    </a:lnTo>
                    <a:lnTo>
                      <a:pt x="892814" y="3713895"/>
                    </a:lnTo>
                    <a:lnTo>
                      <a:pt x="890610" y="3714387"/>
                    </a:lnTo>
                    <a:lnTo>
                      <a:pt x="887700" y="3715459"/>
                    </a:lnTo>
                    <a:lnTo>
                      <a:pt x="884987" y="3716089"/>
                    </a:lnTo>
                    <a:lnTo>
                      <a:pt x="883407" y="3715195"/>
                    </a:lnTo>
                    <a:lnTo>
                      <a:pt x="882911" y="3713130"/>
                    </a:lnTo>
                    <a:lnTo>
                      <a:pt x="883181" y="3711369"/>
                    </a:lnTo>
                    <a:lnTo>
                      <a:pt x="884251" y="3709642"/>
                    </a:lnTo>
                    <a:lnTo>
                      <a:pt x="886175" y="3707676"/>
                    </a:lnTo>
                    <a:lnTo>
                      <a:pt x="864431" y="3692479"/>
                    </a:lnTo>
                    <a:lnTo>
                      <a:pt x="862507" y="3689352"/>
                    </a:lnTo>
                    <a:lnTo>
                      <a:pt x="860463" y="3687177"/>
                    </a:lnTo>
                    <a:lnTo>
                      <a:pt x="860528" y="3685958"/>
                    </a:lnTo>
                    <a:lnTo>
                      <a:pt x="860315" y="3684318"/>
                    </a:lnTo>
                    <a:lnTo>
                      <a:pt x="859795" y="3682113"/>
                    </a:lnTo>
                    <a:lnTo>
                      <a:pt x="858382" y="3680280"/>
                    </a:lnTo>
                    <a:lnTo>
                      <a:pt x="855272" y="3677223"/>
                    </a:lnTo>
                    <a:lnTo>
                      <a:pt x="852291" y="3672749"/>
                    </a:lnTo>
                    <a:lnTo>
                      <a:pt x="849986" y="3670801"/>
                    </a:lnTo>
                    <a:lnTo>
                      <a:pt x="840904" y="3665507"/>
                    </a:lnTo>
                    <a:lnTo>
                      <a:pt x="836136" y="3663926"/>
                    </a:lnTo>
                    <a:lnTo>
                      <a:pt x="830026" y="3664475"/>
                    </a:lnTo>
                    <a:lnTo>
                      <a:pt x="827540" y="3664007"/>
                    </a:lnTo>
                    <a:lnTo>
                      <a:pt x="827700" y="3661791"/>
                    </a:lnTo>
                    <a:lnTo>
                      <a:pt x="823792" y="3661400"/>
                    </a:lnTo>
                    <a:lnTo>
                      <a:pt x="821150" y="3660702"/>
                    </a:lnTo>
                    <a:lnTo>
                      <a:pt x="819240" y="3659003"/>
                    </a:lnTo>
                    <a:lnTo>
                      <a:pt x="817567" y="3655641"/>
                    </a:lnTo>
                    <a:lnTo>
                      <a:pt x="816200" y="3653826"/>
                    </a:lnTo>
                    <a:lnTo>
                      <a:pt x="809621" y="3648548"/>
                    </a:lnTo>
                    <a:lnTo>
                      <a:pt x="815255" y="3645434"/>
                    </a:lnTo>
                    <a:close/>
                    <a:moveTo>
                      <a:pt x="1204390" y="3643828"/>
                    </a:moveTo>
                    <a:lnTo>
                      <a:pt x="1207943" y="3646069"/>
                    </a:lnTo>
                    <a:lnTo>
                      <a:pt x="1212981" y="3649075"/>
                    </a:lnTo>
                    <a:lnTo>
                      <a:pt x="1212350" y="3656066"/>
                    </a:lnTo>
                    <a:lnTo>
                      <a:pt x="1207554" y="3662160"/>
                    </a:lnTo>
                    <a:lnTo>
                      <a:pt x="1200074" y="3662531"/>
                    </a:lnTo>
                    <a:lnTo>
                      <a:pt x="1198397" y="3660539"/>
                    </a:lnTo>
                    <a:lnTo>
                      <a:pt x="1196299" y="3656930"/>
                    </a:lnTo>
                    <a:lnTo>
                      <a:pt x="1194870" y="3653480"/>
                    </a:lnTo>
                    <a:lnTo>
                      <a:pt x="1195155" y="3652035"/>
                    </a:lnTo>
                    <a:lnTo>
                      <a:pt x="1197651" y="3650144"/>
                    </a:lnTo>
                    <a:lnTo>
                      <a:pt x="1200837" y="3646302"/>
                    </a:lnTo>
                    <a:close/>
                    <a:moveTo>
                      <a:pt x="1548189" y="3641372"/>
                    </a:moveTo>
                    <a:lnTo>
                      <a:pt x="1551270" y="3641992"/>
                    </a:lnTo>
                    <a:lnTo>
                      <a:pt x="1553423" y="3643755"/>
                    </a:lnTo>
                    <a:lnTo>
                      <a:pt x="1551990" y="3644937"/>
                    </a:lnTo>
                    <a:lnTo>
                      <a:pt x="1550334" y="3647579"/>
                    </a:lnTo>
                    <a:lnTo>
                      <a:pt x="1549629" y="3650211"/>
                    </a:lnTo>
                    <a:lnTo>
                      <a:pt x="1550111" y="3652331"/>
                    </a:lnTo>
                    <a:lnTo>
                      <a:pt x="1552027" y="3653388"/>
                    </a:lnTo>
                    <a:lnTo>
                      <a:pt x="1549622" y="3657082"/>
                    </a:lnTo>
                    <a:lnTo>
                      <a:pt x="1547185" y="3657924"/>
                    </a:lnTo>
                    <a:lnTo>
                      <a:pt x="1544531" y="3657709"/>
                    </a:lnTo>
                    <a:lnTo>
                      <a:pt x="1541477" y="3658209"/>
                    </a:lnTo>
                    <a:lnTo>
                      <a:pt x="1539333" y="3660132"/>
                    </a:lnTo>
                    <a:lnTo>
                      <a:pt x="1537562" y="3662893"/>
                    </a:lnTo>
                    <a:lnTo>
                      <a:pt x="1535677" y="3665291"/>
                    </a:lnTo>
                    <a:lnTo>
                      <a:pt x="1533228" y="3666150"/>
                    </a:lnTo>
                    <a:lnTo>
                      <a:pt x="1532889" y="3667535"/>
                    </a:lnTo>
                    <a:lnTo>
                      <a:pt x="1540954" y="3668166"/>
                    </a:lnTo>
                    <a:lnTo>
                      <a:pt x="1539423" y="3669660"/>
                    </a:lnTo>
                    <a:lnTo>
                      <a:pt x="1538804" y="3670729"/>
                    </a:lnTo>
                    <a:lnTo>
                      <a:pt x="1538692" y="3671880"/>
                    </a:lnTo>
                    <a:lnTo>
                      <a:pt x="1538668" y="3673617"/>
                    </a:lnTo>
                    <a:lnTo>
                      <a:pt x="1542938" y="3672060"/>
                    </a:lnTo>
                    <a:lnTo>
                      <a:pt x="1545741" y="3673009"/>
                    </a:lnTo>
                    <a:lnTo>
                      <a:pt x="1548310" y="3674823"/>
                    </a:lnTo>
                    <a:lnTo>
                      <a:pt x="1551880" y="3675933"/>
                    </a:lnTo>
                    <a:lnTo>
                      <a:pt x="1552186" y="3674671"/>
                    </a:lnTo>
                    <a:lnTo>
                      <a:pt x="1551152" y="3674590"/>
                    </a:lnTo>
                    <a:lnTo>
                      <a:pt x="1552774" y="3672851"/>
                    </a:lnTo>
                    <a:lnTo>
                      <a:pt x="1554876" y="3672024"/>
                    </a:lnTo>
                    <a:lnTo>
                      <a:pt x="1559426" y="3670873"/>
                    </a:lnTo>
                    <a:lnTo>
                      <a:pt x="1562485" y="3673000"/>
                    </a:lnTo>
                    <a:lnTo>
                      <a:pt x="1564095" y="3674687"/>
                    </a:lnTo>
                    <a:lnTo>
                      <a:pt x="1563926" y="3676220"/>
                    </a:lnTo>
                    <a:lnTo>
                      <a:pt x="1562571" y="3678551"/>
                    </a:lnTo>
                    <a:lnTo>
                      <a:pt x="1562567" y="3680844"/>
                    </a:lnTo>
                    <a:lnTo>
                      <a:pt x="1562368" y="3682737"/>
                    </a:lnTo>
                    <a:lnTo>
                      <a:pt x="1560392" y="3683902"/>
                    </a:lnTo>
                    <a:lnTo>
                      <a:pt x="1560390" y="3686012"/>
                    </a:lnTo>
                    <a:lnTo>
                      <a:pt x="1560569" y="3687923"/>
                    </a:lnTo>
                    <a:lnTo>
                      <a:pt x="1561070" y="3689593"/>
                    </a:lnTo>
                    <a:lnTo>
                      <a:pt x="1562029" y="3690943"/>
                    </a:lnTo>
                    <a:lnTo>
                      <a:pt x="1559614" y="3693513"/>
                    </a:lnTo>
                    <a:lnTo>
                      <a:pt x="1554898" y="3695419"/>
                    </a:lnTo>
                    <a:lnTo>
                      <a:pt x="1551958" y="3697342"/>
                    </a:lnTo>
                    <a:lnTo>
                      <a:pt x="1550607" y="3690177"/>
                    </a:lnTo>
                    <a:lnTo>
                      <a:pt x="1545113" y="3692373"/>
                    </a:lnTo>
                    <a:lnTo>
                      <a:pt x="1532487" y="3702892"/>
                    </a:lnTo>
                    <a:lnTo>
                      <a:pt x="1532160" y="3700747"/>
                    </a:lnTo>
                    <a:lnTo>
                      <a:pt x="1531317" y="3699345"/>
                    </a:lnTo>
                    <a:lnTo>
                      <a:pt x="1529972" y="3698887"/>
                    </a:lnTo>
                    <a:lnTo>
                      <a:pt x="1528106" y="3699599"/>
                    </a:lnTo>
                    <a:lnTo>
                      <a:pt x="1528774" y="3701190"/>
                    </a:lnTo>
                    <a:lnTo>
                      <a:pt x="1526494" y="3701163"/>
                    </a:lnTo>
                    <a:lnTo>
                      <a:pt x="1524356" y="3702056"/>
                    </a:lnTo>
                    <a:lnTo>
                      <a:pt x="1522568" y="3703102"/>
                    </a:lnTo>
                    <a:lnTo>
                      <a:pt x="1521292" y="3703557"/>
                    </a:lnTo>
                    <a:lnTo>
                      <a:pt x="1519631" y="3702923"/>
                    </a:lnTo>
                    <a:lnTo>
                      <a:pt x="1517954" y="3701833"/>
                    </a:lnTo>
                    <a:lnTo>
                      <a:pt x="1516121" y="3701075"/>
                    </a:lnTo>
                    <a:lnTo>
                      <a:pt x="1513942" y="3701442"/>
                    </a:lnTo>
                    <a:lnTo>
                      <a:pt x="1511679" y="3704747"/>
                    </a:lnTo>
                    <a:lnTo>
                      <a:pt x="1510406" y="3707096"/>
                    </a:lnTo>
                    <a:lnTo>
                      <a:pt x="1510600" y="3708230"/>
                    </a:lnTo>
                    <a:lnTo>
                      <a:pt x="1511934" y="3709158"/>
                    </a:lnTo>
                    <a:lnTo>
                      <a:pt x="1512114" y="3711124"/>
                    </a:lnTo>
                    <a:lnTo>
                      <a:pt x="1511512" y="3713449"/>
                    </a:lnTo>
                    <a:lnTo>
                      <a:pt x="1510524" y="3715407"/>
                    </a:lnTo>
                    <a:lnTo>
                      <a:pt x="1505327" y="3710777"/>
                    </a:lnTo>
                    <a:lnTo>
                      <a:pt x="1501401" y="3714154"/>
                    </a:lnTo>
                    <a:lnTo>
                      <a:pt x="1499068" y="3715366"/>
                    </a:lnTo>
                    <a:lnTo>
                      <a:pt x="1496648" y="3715605"/>
                    </a:lnTo>
                    <a:lnTo>
                      <a:pt x="1494658" y="3714464"/>
                    </a:lnTo>
                    <a:lnTo>
                      <a:pt x="1493550" y="3712458"/>
                    </a:lnTo>
                    <a:lnTo>
                      <a:pt x="1494083" y="3710657"/>
                    </a:lnTo>
                    <a:lnTo>
                      <a:pt x="1496940" y="3710117"/>
                    </a:lnTo>
                    <a:lnTo>
                      <a:pt x="1497316" y="3708590"/>
                    </a:lnTo>
                    <a:lnTo>
                      <a:pt x="1496117" y="3705408"/>
                    </a:lnTo>
                    <a:lnTo>
                      <a:pt x="1495461" y="3702478"/>
                    </a:lnTo>
                    <a:lnTo>
                      <a:pt x="1496091" y="3699062"/>
                    </a:lnTo>
                    <a:lnTo>
                      <a:pt x="1498682" y="3694463"/>
                    </a:lnTo>
                    <a:lnTo>
                      <a:pt x="1497958" y="3693119"/>
                    </a:lnTo>
                    <a:lnTo>
                      <a:pt x="1483379" y="3709046"/>
                    </a:lnTo>
                    <a:lnTo>
                      <a:pt x="1481820" y="3711094"/>
                    </a:lnTo>
                    <a:lnTo>
                      <a:pt x="1480120" y="3713770"/>
                    </a:lnTo>
                    <a:lnTo>
                      <a:pt x="1478379" y="3716073"/>
                    </a:lnTo>
                    <a:lnTo>
                      <a:pt x="1476713" y="3716985"/>
                    </a:lnTo>
                    <a:lnTo>
                      <a:pt x="1472586" y="3717550"/>
                    </a:lnTo>
                    <a:lnTo>
                      <a:pt x="1469924" y="3717237"/>
                    </a:lnTo>
                    <a:lnTo>
                      <a:pt x="1469084" y="3715596"/>
                    </a:lnTo>
                    <a:lnTo>
                      <a:pt x="1471794" y="3706122"/>
                    </a:lnTo>
                    <a:lnTo>
                      <a:pt x="1474259" y="3701765"/>
                    </a:lnTo>
                    <a:lnTo>
                      <a:pt x="1485586" y="3696252"/>
                    </a:lnTo>
                    <a:lnTo>
                      <a:pt x="1487939" y="3694370"/>
                    </a:lnTo>
                    <a:lnTo>
                      <a:pt x="1489635" y="3692393"/>
                    </a:lnTo>
                    <a:lnTo>
                      <a:pt x="1490663" y="3689992"/>
                    </a:lnTo>
                    <a:lnTo>
                      <a:pt x="1490964" y="3686929"/>
                    </a:lnTo>
                    <a:lnTo>
                      <a:pt x="1494120" y="3687045"/>
                    </a:lnTo>
                    <a:lnTo>
                      <a:pt x="1495104" y="3687258"/>
                    </a:lnTo>
                    <a:lnTo>
                      <a:pt x="1494885" y="3686314"/>
                    </a:lnTo>
                    <a:lnTo>
                      <a:pt x="1494537" y="3685664"/>
                    </a:lnTo>
                    <a:lnTo>
                      <a:pt x="1501419" y="3683374"/>
                    </a:lnTo>
                    <a:lnTo>
                      <a:pt x="1501759" y="3681998"/>
                    </a:lnTo>
                    <a:lnTo>
                      <a:pt x="1498356" y="3682031"/>
                    </a:lnTo>
                    <a:lnTo>
                      <a:pt x="1494431" y="3682746"/>
                    </a:lnTo>
                    <a:lnTo>
                      <a:pt x="1490816" y="3682812"/>
                    </a:lnTo>
                    <a:lnTo>
                      <a:pt x="1488330" y="3680932"/>
                    </a:lnTo>
                    <a:lnTo>
                      <a:pt x="1488244" y="3677485"/>
                    </a:lnTo>
                    <a:lnTo>
                      <a:pt x="1490596" y="3674442"/>
                    </a:lnTo>
                    <a:lnTo>
                      <a:pt x="1494082" y="3672323"/>
                    </a:lnTo>
                    <a:lnTo>
                      <a:pt x="1497428" y="3671655"/>
                    </a:lnTo>
                    <a:lnTo>
                      <a:pt x="1498661" y="3672888"/>
                    </a:lnTo>
                    <a:lnTo>
                      <a:pt x="1499322" y="3675463"/>
                    </a:lnTo>
                    <a:lnTo>
                      <a:pt x="1500657" y="3678076"/>
                    </a:lnTo>
                    <a:lnTo>
                      <a:pt x="1503920" y="3679486"/>
                    </a:lnTo>
                    <a:lnTo>
                      <a:pt x="1516277" y="3681764"/>
                    </a:lnTo>
                    <a:lnTo>
                      <a:pt x="1519977" y="3680752"/>
                    </a:lnTo>
                    <a:lnTo>
                      <a:pt x="1517694" y="3679067"/>
                    </a:lnTo>
                    <a:lnTo>
                      <a:pt x="1512999" y="3676646"/>
                    </a:lnTo>
                    <a:lnTo>
                      <a:pt x="1511407" y="3674931"/>
                    </a:lnTo>
                    <a:lnTo>
                      <a:pt x="1510562" y="3671586"/>
                    </a:lnTo>
                    <a:lnTo>
                      <a:pt x="1511472" y="3668740"/>
                    </a:lnTo>
                    <a:lnTo>
                      <a:pt x="1513692" y="3666813"/>
                    </a:lnTo>
                    <a:lnTo>
                      <a:pt x="1516747" y="3666265"/>
                    </a:lnTo>
                    <a:lnTo>
                      <a:pt x="1523257" y="3666257"/>
                    </a:lnTo>
                    <a:lnTo>
                      <a:pt x="1516502" y="3660706"/>
                    </a:lnTo>
                    <a:lnTo>
                      <a:pt x="1514637" y="3655458"/>
                    </a:lnTo>
                    <a:lnTo>
                      <a:pt x="1515647" y="3649797"/>
                    </a:lnTo>
                    <a:lnTo>
                      <a:pt x="1516878" y="3648239"/>
                    </a:lnTo>
                    <a:lnTo>
                      <a:pt x="1519974" y="3646635"/>
                    </a:lnTo>
                    <a:lnTo>
                      <a:pt x="1522802" y="3645850"/>
                    </a:lnTo>
                    <a:lnTo>
                      <a:pt x="1525821" y="3645635"/>
                    </a:lnTo>
                    <a:lnTo>
                      <a:pt x="1531707" y="3646284"/>
                    </a:lnTo>
                    <a:lnTo>
                      <a:pt x="1534790" y="3647854"/>
                    </a:lnTo>
                    <a:lnTo>
                      <a:pt x="1536508" y="3648275"/>
                    </a:lnTo>
                    <a:lnTo>
                      <a:pt x="1538293" y="3647450"/>
                    </a:lnTo>
                    <a:lnTo>
                      <a:pt x="1540972" y="3643804"/>
                    </a:lnTo>
                    <a:lnTo>
                      <a:pt x="1541992" y="3642860"/>
                    </a:lnTo>
                    <a:lnTo>
                      <a:pt x="1544863" y="3641716"/>
                    </a:lnTo>
                    <a:close/>
                    <a:moveTo>
                      <a:pt x="1937515" y="3639050"/>
                    </a:moveTo>
                    <a:lnTo>
                      <a:pt x="1938370" y="3640302"/>
                    </a:lnTo>
                    <a:lnTo>
                      <a:pt x="1941395" y="3641255"/>
                    </a:lnTo>
                    <a:lnTo>
                      <a:pt x="1943133" y="3642230"/>
                    </a:lnTo>
                    <a:lnTo>
                      <a:pt x="1950948" y="3643100"/>
                    </a:lnTo>
                    <a:lnTo>
                      <a:pt x="1953556" y="3642923"/>
                    </a:lnTo>
                    <a:lnTo>
                      <a:pt x="1960135" y="3640731"/>
                    </a:lnTo>
                    <a:lnTo>
                      <a:pt x="1962407" y="3640705"/>
                    </a:lnTo>
                    <a:lnTo>
                      <a:pt x="1961023" y="3643493"/>
                    </a:lnTo>
                    <a:lnTo>
                      <a:pt x="1960275" y="3644745"/>
                    </a:lnTo>
                    <a:lnTo>
                      <a:pt x="1959210" y="3645960"/>
                    </a:lnTo>
                    <a:lnTo>
                      <a:pt x="1961580" y="3645849"/>
                    </a:lnTo>
                    <a:lnTo>
                      <a:pt x="1966322" y="3644042"/>
                    </a:lnTo>
                    <a:lnTo>
                      <a:pt x="1968023" y="3643880"/>
                    </a:lnTo>
                    <a:lnTo>
                      <a:pt x="1968971" y="3644993"/>
                    </a:lnTo>
                    <a:lnTo>
                      <a:pt x="1972766" y="3651326"/>
                    </a:lnTo>
                    <a:lnTo>
                      <a:pt x="1976147" y="3646341"/>
                    </a:lnTo>
                    <a:lnTo>
                      <a:pt x="1980443" y="3644145"/>
                    </a:lnTo>
                    <a:lnTo>
                      <a:pt x="1985369" y="3643760"/>
                    </a:lnTo>
                    <a:lnTo>
                      <a:pt x="1990645" y="3644087"/>
                    </a:lnTo>
                    <a:lnTo>
                      <a:pt x="1992805" y="3643602"/>
                    </a:lnTo>
                    <a:lnTo>
                      <a:pt x="1997192" y="3641011"/>
                    </a:lnTo>
                    <a:lnTo>
                      <a:pt x="1999323" y="3640324"/>
                    </a:lnTo>
                    <a:lnTo>
                      <a:pt x="2001780" y="3640643"/>
                    </a:lnTo>
                    <a:lnTo>
                      <a:pt x="2003492" y="3641446"/>
                    </a:lnTo>
                    <a:lnTo>
                      <a:pt x="2005229" y="3641809"/>
                    </a:lnTo>
                    <a:lnTo>
                      <a:pt x="2007688" y="3640867"/>
                    </a:lnTo>
                    <a:lnTo>
                      <a:pt x="2009881" y="3642710"/>
                    </a:lnTo>
                    <a:lnTo>
                      <a:pt x="2014154" y="3642211"/>
                    </a:lnTo>
                    <a:lnTo>
                      <a:pt x="2016603" y="3642894"/>
                    </a:lnTo>
                    <a:lnTo>
                      <a:pt x="2013415" y="3648234"/>
                    </a:lnTo>
                    <a:lnTo>
                      <a:pt x="2015762" y="3646993"/>
                    </a:lnTo>
                    <a:lnTo>
                      <a:pt x="2016946" y="3648994"/>
                    </a:lnTo>
                    <a:lnTo>
                      <a:pt x="2018738" y="3649877"/>
                    </a:lnTo>
                    <a:lnTo>
                      <a:pt x="2030561" y="3650502"/>
                    </a:lnTo>
                    <a:lnTo>
                      <a:pt x="2031950" y="3649658"/>
                    </a:lnTo>
                    <a:lnTo>
                      <a:pt x="2033162" y="3649502"/>
                    </a:lnTo>
                    <a:lnTo>
                      <a:pt x="2034005" y="3649989"/>
                    </a:lnTo>
                    <a:lnTo>
                      <a:pt x="2033978" y="3650955"/>
                    </a:lnTo>
                    <a:lnTo>
                      <a:pt x="2034046" y="3651918"/>
                    </a:lnTo>
                    <a:lnTo>
                      <a:pt x="2035193" y="3652433"/>
                    </a:lnTo>
                    <a:lnTo>
                      <a:pt x="2039515" y="3651816"/>
                    </a:lnTo>
                    <a:lnTo>
                      <a:pt x="2040874" y="3652603"/>
                    </a:lnTo>
                    <a:lnTo>
                      <a:pt x="2041330" y="3655758"/>
                    </a:lnTo>
                    <a:lnTo>
                      <a:pt x="2045136" y="3653983"/>
                    </a:lnTo>
                    <a:lnTo>
                      <a:pt x="2049490" y="3652626"/>
                    </a:lnTo>
                    <a:lnTo>
                      <a:pt x="2053892" y="3651979"/>
                    </a:lnTo>
                    <a:lnTo>
                      <a:pt x="2057835" y="3652337"/>
                    </a:lnTo>
                    <a:lnTo>
                      <a:pt x="2057855" y="3652772"/>
                    </a:lnTo>
                    <a:lnTo>
                      <a:pt x="2058203" y="3653777"/>
                    </a:lnTo>
                    <a:lnTo>
                      <a:pt x="2058736" y="3654836"/>
                    </a:lnTo>
                    <a:lnTo>
                      <a:pt x="2059328" y="3655365"/>
                    </a:lnTo>
                    <a:lnTo>
                      <a:pt x="2060608" y="3655312"/>
                    </a:lnTo>
                    <a:lnTo>
                      <a:pt x="2062606" y="3654505"/>
                    </a:lnTo>
                    <a:lnTo>
                      <a:pt x="2063750" y="3654244"/>
                    </a:lnTo>
                    <a:lnTo>
                      <a:pt x="2071519" y="3654733"/>
                    </a:lnTo>
                    <a:lnTo>
                      <a:pt x="2074362" y="3653843"/>
                    </a:lnTo>
                    <a:lnTo>
                      <a:pt x="2075888" y="3653589"/>
                    </a:lnTo>
                    <a:lnTo>
                      <a:pt x="2076889" y="3654302"/>
                    </a:lnTo>
                    <a:lnTo>
                      <a:pt x="2078047" y="3655742"/>
                    </a:lnTo>
                    <a:lnTo>
                      <a:pt x="2079797" y="3656467"/>
                    </a:lnTo>
                    <a:lnTo>
                      <a:pt x="2101592" y="3659538"/>
                    </a:lnTo>
                    <a:lnTo>
                      <a:pt x="2098519" y="3660581"/>
                    </a:lnTo>
                    <a:lnTo>
                      <a:pt x="2091982" y="3660641"/>
                    </a:lnTo>
                    <a:lnTo>
                      <a:pt x="2089054" y="3662185"/>
                    </a:lnTo>
                    <a:lnTo>
                      <a:pt x="2086164" y="3662955"/>
                    </a:lnTo>
                    <a:lnTo>
                      <a:pt x="2078667" y="3661230"/>
                    </a:lnTo>
                    <a:lnTo>
                      <a:pt x="2072430" y="3664122"/>
                    </a:lnTo>
                    <a:lnTo>
                      <a:pt x="2068521" y="3664352"/>
                    </a:lnTo>
                    <a:lnTo>
                      <a:pt x="2064823" y="3663612"/>
                    </a:lnTo>
                    <a:lnTo>
                      <a:pt x="2061644" y="3661044"/>
                    </a:lnTo>
                    <a:lnTo>
                      <a:pt x="2059854" y="3660149"/>
                    </a:lnTo>
                    <a:lnTo>
                      <a:pt x="2058120" y="3659722"/>
                    </a:lnTo>
                    <a:lnTo>
                      <a:pt x="2057220" y="3660191"/>
                    </a:lnTo>
                    <a:lnTo>
                      <a:pt x="2056247" y="3662155"/>
                    </a:lnTo>
                    <a:lnTo>
                      <a:pt x="2054899" y="3662120"/>
                    </a:lnTo>
                    <a:lnTo>
                      <a:pt x="2052511" y="3660652"/>
                    </a:lnTo>
                    <a:lnTo>
                      <a:pt x="2047230" y="3661552"/>
                    </a:lnTo>
                    <a:lnTo>
                      <a:pt x="2035691" y="3665879"/>
                    </a:lnTo>
                    <a:lnTo>
                      <a:pt x="2029786" y="3666203"/>
                    </a:lnTo>
                    <a:lnTo>
                      <a:pt x="2024821" y="3664035"/>
                    </a:lnTo>
                    <a:lnTo>
                      <a:pt x="2022742" y="3664226"/>
                    </a:lnTo>
                    <a:lnTo>
                      <a:pt x="2021069" y="3665238"/>
                    </a:lnTo>
                    <a:lnTo>
                      <a:pt x="2018773" y="3667676"/>
                    </a:lnTo>
                    <a:lnTo>
                      <a:pt x="2017740" y="3668235"/>
                    </a:lnTo>
                    <a:lnTo>
                      <a:pt x="2016219" y="3667895"/>
                    </a:lnTo>
                    <a:lnTo>
                      <a:pt x="2014310" y="3665813"/>
                    </a:lnTo>
                    <a:lnTo>
                      <a:pt x="2013209" y="3665141"/>
                    </a:lnTo>
                    <a:lnTo>
                      <a:pt x="2011021" y="3665126"/>
                    </a:lnTo>
                    <a:lnTo>
                      <a:pt x="2009114" y="3665528"/>
                    </a:lnTo>
                    <a:lnTo>
                      <a:pt x="2007405" y="3665627"/>
                    </a:lnTo>
                    <a:lnTo>
                      <a:pt x="2005861" y="3664668"/>
                    </a:lnTo>
                    <a:lnTo>
                      <a:pt x="2008429" y="3662932"/>
                    </a:lnTo>
                    <a:lnTo>
                      <a:pt x="2006642" y="3662016"/>
                    </a:lnTo>
                    <a:lnTo>
                      <a:pt x="1989765" y="3660822"/>
                    </a:lnTo>
                    <a:lnTo>
                      <a:pt x="1990748" y="3659484"/>
                    </a:lnTo>
                    <a:lnTo>
                      <a:pt x="1991463" y="3658129"/>
                    </a:lnTo>
                    <a:lnTo>
                      <a:pt x="1989595" y="3656615"/>
                    </a:lnTo>
                    <a:lnTo>
                      <a:pt x="1984961" y="3659282"/>
                    </a:lnTo>
                    <a:lnTo>
                      <a:pt x="1979548" y="3660406"/>
                    </a:lnTo>
                    <a:lnTo>
                      <a:pt x="1966190" y="3660440"/>
                    </a:lnTo>
                    <a:lnTo>
                      <a:pt x="1958947" y="3657275"/>
                    </a:lnTo>
                    <a:lnTo>
                      <a:pt x="1953822" y="3656335"/>
                    </a:lnTo>
                    <a:lnTo>
                      <a:pt x="1952931" y="3654858"/>
                    </a:lnTo>
                    <a:lnTo>
                      <a:pt x="1954921" y="3651418"/>
                    </a:lnTo>
                    <a:lnTo>
                      <a:pt x="1953669" y="3650592"/>
                    </a:lnTo>
                    <a:lnTo>
                      <a:pt x="1949919" y="3649817"/>
                    </a:lnTo>
                    <a:lnTo>
                      <a:pt x="1948725" y="3649054"/>
                    </a:lnTo>
                    <a:lnTo>
                      <a:pt x="1946595" y="3647260"/>
                    </a:lnTo>
                    <a:lnTo>
                      <a:pt x="1945352" y="3646576"/>
                    </a:lnTo>
                    <a:lnTo>
                      <a:pt x="1944324" y="3646474"/>
                    </a:lnTo>
                    <a:lnTo>
                      <a:pt x="1941592" y="3646634"/>
                    </a:lnTo>
                    <a:lnTo>
                      <a:pt x="1940192" y="3646233"/>
                    </a:lnTo>
                    <a:lnTo>
                      <a:pt x="1939060" y="3645288"/>
                    </a:lnTo>
                    <a:lnTo>
                      <a:pt x="1936963" y="3642728"/>
                    </a:lnTo>
                    <a:lnTo>
                      <a:pt x="1935800" y="3641740"/>
                    </a:lnTo>
                    <a:lnTo>
                      <a:pt x="1936103" y="3640859"/>
                    </a:lnTo>
                    <a:lnTo>
                      <a:pt x="1936414" y="3640253"/>
                    </a:lnTo>
                    <a:lnTo>
                      <a:pt x="1936852" y="3639707"/>
                    </a:lnTo>
                    <a:close/>
                    <a:moveTo>
                      <a:pt x="1308678" y="3637246"/>
                    </a:moveTo>
                    <a:lnTo>
                      <a:pt x="1338644" y="3637715"/>
                    </a:lnTo>
                    <a:lnTo>
                      <a:pt x="1341478" y="3639219"/>
                    </a:lnTo>
                    <a:lnTo>
                      <a:pt x="1341114" y="3640605"/>
                    </a:lnTo>
                    <a:lnTo>
                      <a:pt x="1345297" y="3645636"/>
                    </a:lnTo>
                    <a:lnTo>
                      <a:pt x="1346945" y="3646753"/>
                    </a:lnTo>
                    <a:lnTo>
                      <a:pt x="1346582" y="3648139"/>
                    </a:lnTo>
                    <a:lnTo>
                      <a:pt x="1344539" y="3650175"/>
                    </a:lnTo>
                    <a:lnTo>
                      <a:pt x="1350856" y="3653842"/>
                    </a:lnTo>
                    <a:lnTo>
                      <a:pt x="1350776" y="3656971"/>
                    </a:lnTo>
                    <a:lnTo>
                      <a:pt x="1370666" y="3658518"/>
                    </a:lnTo>
                    <a:lnTo>
                      <a:pt x="1380376" y="3657194"/>
                    </a:lnTo>
                    <a:lnTo>
                      <a:pt x="1384799" y="3655583"/>
                    </a:lnTo>
                    <a:lnTo>
                      <a:pt x="1382830" y="3660507"/>
                    </a:lnTo>
                    <a:lnTo>
                      <a:pt x="1379070" y="3662697"/>
                    </a:lnTo>
                    <a:lnTo>
                      <a:pt x="1374677" y="3663150"/>
                    </a:lnTo>
                    <a:lnTo>
                      <a:pt x="1370759" y="3662890"/>
                    </a:lnTo>
                    <a:lnTo>
                      <a:pt x="1366656" y="3663383"/>
                    </a:lnTo>
                    <a:lnTo>
                      <a:pt x="1358521" y="3665949"/>
                    </a:lnTo>
                    <a:lnTo>
                      <a:pt x="1354697" y="3665797"/>
                    </a:lnTo>
                    <a:lnTo>
                      <a:pt x="1354666" y="3667742"/>
                    </a:lnTo>
                    <a:lnTo>
                      <a:pt x="1355182" y="3669159"/>
                    </a:lnTo>
                    <a:lnTo>
                      <a:pt x="1356219" y="3670021"/>
                    </a:lnTo>
                    <a:lnTo>
                      <a:pt x="1357733" y="3670283"/>
                    </a:lnTo>
                    <a:lnTo>
                      <a:pt x="1353323" y="3673243"/>
                    </a:lnTo>
                    <a:lnTo>
                      <a:pt x="1351170" y="3675889"/>
                    </a:lnTo>
                    <a:lnTo>
                      <a:pt x="1350087" y="3679255"/>
                    </a:lnTo>
                    <a:lnTo>
                      <a:pt x="1348880" y="3684457"/>
                    </a:lnTo>
                    <a:lnTo>
                      <a:pt x="1347875" y="3686019"/>
                    </a:lnTo>
                    <a:lnTo>
                      <a:pt x="1342717" y="3689736"/>
                    </a:lnTo>
                    <a:lnTo>
                      <a:pt x="1340967" y="3690315"/>
                    </a:lnTo>
                    <a:lnTo>
                      <a:pt x="1339196" y="3689509"/>
                    </a:lnTo>
                    <a:lnTo>
                      <a:pt x="1336409" y="3687031"/>
                    </a:lnTo>
                    <a:lnTo>
                      <a:pt x="1335458" y="3689305"/>
                    </a:lnTo>
                    <a:lnTo>
                      <a:pt x="1334001" y="3690550"/>
                    </a:lnTo>
                    <a:lnTo>
                      <a:pt x="1332186" y="3690979"/>
                    </a:lnTo>
                    <a:lnTo>
                      <a:pt x="1330173" y="3690742"/>
                    </a:lnTo>
                    <a:lnTo>
                      <a:pt x="1330971" y="3692091"/>
                    </a:lnTo>
                    <a:lnTo>
                      <a:pt x="1329237" y="3694831"/>
                    </a:lnTo>
                    <a:lnTo>
                      <a:pt x="1328940" y="3697793"/>
                    </a:lnTo>
                    <a:lnTo>
                      <a:pt x="1330114" y="3703486"/>
                    </a:lnTo>
                    <a:lnTo>
                      <a:pt x="1328159" y="3704537"/>
                    </a:lnTo>
                    <a:lnTo>
                      <a:pt x="1326046" y="3704689"/>
                    </a:lnTo>
                    <a:lnTo>
                      <a:pt x="1324143" y="3704073"/>
                    </a:lnTo>
                    <a:lnTo>
                      <a:pt x="1322777" y="3702870"/>
                    </a:lnTo>
                    <a:lnTo>
                      <a:pt x="1322455" y="3701425"/>
                    </a:lnTo>
                    <a:lnTo>
                      <a:pt x="1322727" y="3697440"/>
                    </a:lnTo>
                    <a:lnTo>
                      <a:pt x="1322484" y="3695901"/>
                    </a:lnTo>
                    <a:lnTo>
                      <a:pt x="1320531" y="3694132"/>
                    </a:lnTo>
                    <a:lnTo>
                      <a:pt x="1315006" y="3693051"/>
                    </a:lnTo>
                    <a:lnTo>
                      <a:pt x="1312381" y="3690524"/>
                    </a:lnTo>
                    <a:lnTo>
                      <a:pt x="1310879" y="3689081"/>
                    </a:lnTo>
                    <a:lnTo>
                      <a:pt x="1304988" y="3689223"/>
                    </a:lnTo>
                    <a:lnTo>
                      <a:pt x="1302289" y="3688387"/>
                    </a:lnTo>
                    <a:lnTo>
                      <a:pt x="1305069" y="3683407"/>
                    </a:lnTo>
                    <a:lnTo>
                      <a:pt x="1307399" y="3681579"/>
                    </a:lnTo>
                    <a:lnTo>
                      <a:pt x="1315028" y="3682268"/>
                    </a:lnTo>
                    <a:lnTo>
                      <a:pt x="1316708" y="3681954"/>
                    </a:lnTo>
                    <a:lnTo>
                      <a:pt x="1319759" y="3680263"/>
                    </a:lnTo>
                    <a:lnTo>
                      <a:pt x="1324126" y="3679856"/>
                    </a:lnTo>
                    <a:lnTo>
                      <a:pt x="1326128" y="3678979"/>
                    </a:lnTo>
                    <a:lnTo>
                      <a:pt x="1327832" y="3677352"/>
                    </a:lnTo>
                    <a:lnTo>
                      <a:pt x="1329124" y="3674955"/>
                    </a:lnTo>
                    <a:lnTo>
                      <a:pt x="1329588" y="3670313"/>
                    </a:lnTo>
                    <a:lnTo>
                      <a:pt x="1327557" y="3667131"/>
                    </a:lnTo>
                    <a:lnTo>
                      <a:pt x="1324214" y="3665237"/>
                    </a:lnTo>
                    <a:lnTo>
                      <a:pt x="1317358" y="3663534"/>
                    </a:lnTo>
                    <a:lnTo>
                      <a:pt x="1315407" y="3661673"/>
                    </a:lnTo>
                    <a:lnTo>
                      <a:pt x="1311709" y="3656372"/>
                    </a:lnTo>
                    <a:lnTo>
                      <a:pt x="1299171" y="3648815"/>
                    </a:lnTo>
                    <a:lnTo>
                      <a:pt x="1296657" y="3644228"/>
                    </a:lnTo>
                    <a:lnTo>
                      <a:pt x="1303783" y="3638715"/>
                    </a:lnTo>
                    <a:close/>
                    <a:moveTo>
                      <a:pt x="1626231" y="3622445"/>
                    </a:moveTo>
                    <a:lnTo>
                      <a:pt x="1631613" y="3623492"/>
                    </a:lnTo>
                    <a:lnTo>
                      <a:pt x="1634503" y="3625825"/>
                    </a:lnTo>
                    <a:lnTo>
                      <a:pt x="1639248" y="3632280"/>
                    </a:lnTo>
                    <a:lnTo>
                      <a:pt x="1639882" y="3634030"/>
                    </a:lnTo>
                    <a:lnTo>
                      <a:pt x="1639264" y="3636633"/>
                    </a:lnTo>
                    <a:lnTo>
                      <a:pt x="1639040" y="3639451"/>
                    </a:lnTo>
                    <a:lnTo>
                      <a:pt x="1640243" y="3640883"/>
                    </a:lnTo>
                    <a:lnTo>
                      <a:pt x="1643969" y="3639328"/>
                    </a:lnTo>
                    <a:lnTo>
                      <a:pt x="1641606" y="3641916"/>
                    </a:lnTo>
                    <a:lnTo>
                      <a:pt x="1632840" y="3643123"/>
                    </a:lnTo>
                    <a:lnTo>
                      <a:pt x="1629536" y="3646681"/>
                    </a:lnTo>
                    <a:lnTo>
                      <a:pt x="1632237" y="3646550"/>
                    </a:lnTo>
                    <a:lnTo>
                      <a:pt x="1633126" y="3647708"/>
                    </a:lnTo>
                    <a:lnTo>
                      <a:pt x="1632598" y="3649596"/>
                    </a:lnTo>
                    <a:lnTo>
                      <a:pt x="1631008" y="3651724"/>
                    </a:lnTo>
                    <a:lnTo>
                      <a:pt x="1628528" y="3652996"/>
                    </a:lnTo>
                    <a:lnTo>
                      <a:pt x="1626483" y="3652102"/>
                    </a:lnTo>
                    <a:lnTo>
                      <a:pt x="1623693" y="3649173"/>
                    </a:lnTo>
                    <a:lnTo>
                      <a:pt x="1617881" y="3646154"/>
                    </a:lnTo>
                    <a:lnTo>
                      <a:pt x="1615576" y="3645618"/>
                    </a:lnTo>
                    <a:lnTo>
                      <a:pt x="1615569" y="3645618"/>
                    </a:lnTo>
                    <a:lnTo>
                      <a:pt x="1613092" y="3645227"/>
                    </a:lnTo>
                    <a:lnTo>
                      <a:pt x="1611831" y="3644459"/>
                    </a:lnTo>
                    <a:lnTo>
                      <a:pt x="1611277" y="3643092"/>
                    </a:lnTo>
                    <a:lnTo>
                      <a:pt x="1609974" y="3636087"/>
                    </a:lnTo>
                    <a:lnTo>
                      <a:pt x="1609904" y="3633490"/>
                    </a:lnTo>
                    <a:lnTo>
                      <a:pt x="1610495" y="3631791"/>
                    </a:lnTo>
                    <a:lnTo>
                      <a:pt x="1611833" y="3630141"/>
                    </a:lnTo>
                    <a:lnTo>
                      <a:pt x="1614645" y="3625902"/>
                    </a:lnTo>
                    <a:lnTo>
                      <a:pt x="1615982" y="3624411"/>
                    </a:lnTo>
                    <a:lnTo>
                      <a:pt x="1620354" y="3622741"/>
                    </a:lnTo>
                    <a:close/>
                    <a:moveTo>
                      <a:pt x="760703" y="3601823"/>
                    </a:moveTo>
                    <a:lnTo>
                      <a:pt x="761344" y="3602930"/>
                    </a:lnTo>
                    <a:lnTo>
                      <a:pt x="762137" y="3603275"/>
                    </a:lnTo>
                    <a:lnTo>
                      <a:pt x="763144" y="3603337"/>
                    </a:lnTo>
                    <a:lnTo>
                      <a:pt x="764344" y="3603630"/>
                    </a:lnTo>
                    <a:lnTo>
                      <a:pt x="766957" y="3604922"/>
                    </a:lnTo>
                    <a:lnTo>
                      <a:pt x="772999" y="3606191"/>
                    </a:lnTo>
                    <a:lnTo>
                      <a:pt x="775674" y="3607658"/>
                    </a:lnTo>
                    <a:lnTo>
                      <a:pt x="777525" y="3609791"/>
                    </a:lnTo>
                    <a:lnTo>
                      <a:pt x="781926" y="3618294"/>
                    </a:lnTo>
                    <a:lnTo>
                      <a:pt x="779923" y="3617280"/>
                    </a:lnTo>
                    <a:lnTo>
                      <a:pt x="775926" y="3617911"/>
                    </a:lnTo>
                    <a:lnTo>
                      <a:pt x="773758" y="3617459"/>
                    </a:lnTo>
                    <a:lnTo>
                      <a:pt x="772591" y="3616138"/>
                    </a:lnTo>
                    <a:lnTo>
                      <a:pt x="770807" y="3612221"/>
                    </a:lnTo>
                    <a:lnTo>
                      <a:pt x="769852" y="3611356"/>
                    </a:lnTo>
                    <a:lnTo>
                      <a:pt x="767459" y="3610267"/>
                    </a:lnTo>
                    <a:lnTo>
                      <a:pt x="764253" y="3607866"/>
                    </a:lnTo>
                    <a:lnTo>
                      <a:pt x="761569" y="3604803"/>
                    </a:lnTo>
                    <a:close/>
                    <a:moveTo>
                      <a:pt x="2191544" y="3601792"/>
                    </a:moveTo>
                    <a:lnTo>
                      <a:pt x="2192207" y="3602912"/>
                    </a:lnTo>
                    <a:lnTo>
                      <a:pt x="2193319" y="3603635"/>
                    </a:lnTo>
                    <a:lnTo>
                      <a:pt x="2196169" y="3604853"/>
                    </a:lnTo>
                    <a:lnTo>
                      <a:pt x="2199105" y="3608427"/>
                    </a:lnTo>
                    <a:lnTo>
                      <a:pt x="2205723" y="3610949"/>
                    </a:lnTo>
                    <a:lnTo>
                      <a:pt x="2210557" y="3614110"/>
                    </a:lnTo>
                    <a:lnTo>
                      <a:pt x="2208092" y="3619650"/>
                    </a:lnTo>
                    <a:lnTo>
                      <a:pt x="2205540" y="3620929"/>
                    </a:lnTo>
                    <a:lnTo>
                      <a:pt x="2195757" y="3623091"/>
                    </a:lnTo>
                    <a:lnTo>
                      <a:pt x="2191227" y="3626397"/>
                    </a:lnTo>
                    <a:lnTo>
                      <a:pt x="2189192" y="3626657"/>
                    </a:lnTo>
                    <a:lnTo>
                      <a:pt x="2187326" y="3623985"/>
                    </a:lnTo>
                    <a:lnTo>
                      <a:pt x="2180611" y="3628573"/>
                    </a:lnTo>
                    <a:lnTo>
                      <a:pt x="2172487" y="3631063"/>
                    </a:lnTo>
                    <a:lnTo>
                      <a:pt x="2164259" y="3630975"/>
                    </a:lnTo>
                    <a:lnTo>
                      <a:pt x="2157227" y="3627880"/>
                    </a:lnTo>
                    <a:lnTo>
                      <a:pt x="2164427" y="3617660"/>
                    </a:lnTo>
                    <a:lnTo>
                      <a:pt x="2168286" y="3613312"/>
                    </a:lnTo>
                    <a:lnTo>
                      <a:pt x="2172047" y="3610511"/>
                    </a:lnTo>
                    <a:lnTo>
                      <a:pt x="2182121" y="3606928"/>
                    </a:lnTo>
                    <a:close/>
                    <a:moveTo>
                      <a:pt x="2375241" y="3585721"/>
                    </a:moveTo>
                    <a:lnTo>
                      <a:pt x="2379834" y="3589769"/>
                    </a:lnTo>
                    <a:lnTo>
                      <a:pt x="2381530" y="3592323"/>
                    </a:lnTo>
                    <a:lnTo>
                      <a:pt x="2380421" y="3595173"/>
                    </a:lnTo>
                    <a:lnTo>
                      <a:pt x="2379509" y="3596590"/>
                    </a:lnTo>
                    <a:lnTo>
                      <a:pt x="2378921" y="3598159"/>
                    </a:lnTo>
                    <a:lnTo>
                      <a:pt x="2378086" y="3599398"/>
                    </a:lnTo>
                    <a:lnTo>
                      <a:pt x="2369489" y="3600845"/>
                    </a:lnTo>
                    <a:lnTo>
                      <a:pt x="2364604" y="3598422"/>
                    </a:lnTo>
                    <a:lnTo>
                      <a:pt x="2365001" y="3593517"/>
                    </a:lnTo>
                    <a:lnTo>
                      <a:pt x="2369093" y="3588510"/>
                    </a:lnTo>
                    <a:close/>
                    <a:moveTo>
                      <a:pt x="983652" y="3582576"/>
                    </a:moveTo>
                    <a:lnTo>
                      <a:pt x="984309" y="3583683"/>
                    </a:lnTo>
                    <a:lnTo>
                      <a:pt x="985105" y="3584031"/>
                    </a:lnTo>
                    <a:lnTo>
                      <a:pt x="987307" y="3584354"/>
                    </a:lnTo>
                    <a:lnTo>
                      <a:pt x="987661" y="3586194"/>
                    </a:lnTo>
                    <a:lnTo>
                      <a:pt x="988372" y="3587128"/>
                    </a:lnTo>
                    <a:lnTo>
                      <a:pt x="989280" y="3587809"/>
                    </a:lnTo>
                    <a:lnTo>
                      <a:pt x="990245" y="3588903"/>
                    </a:lnTo>
                    <a:lnTo>
                      <a:pt x="993009" y="3593451"/>
                    </a:lnTo>
                    <a:lnTo>
                      <a:pt x="994823" y="3595432"/>
                    </a:lnTo>
                    <a:lnTo>
                      <a:pt x="996712" y="3596707"/>
                    </a:lnTo>
                    <a:lnTo>
                      <a:pt x="1001049" y="3598489"/>
                    </a:lnTo>
                    <a:lnTo>
                      <a:pt x="999482" y="3600747"/>
                    </a:lnTo>
                    <a:lnTo>
                      <a:pt x="997250" y="3602467"/>
                    </a:lnTo>
                    <a:lnTo>
                      <a:pt x="995302" y="3603645"/>
                    </a:lnTo>
                    <a:lnTo>
                      <a:pt x="994549" y="3604329"/>
                    </a:lnTo>
                    <a:lnTo>
                      <a:pt x="994580" y="3607114"/>
                    </a:lnTo>
                    <a:lnTo>
                      <a:pt x="992716" y="3608852"/>
                    </a:lnTo>
                    <a:lnTo>
                      <a:pt x="988446" y="3610853"/>
                    </a:lnTo>
                    <a:lnTo>
                      <a:pt x="984091" y="3613642"/>
                    </a:lnTo>
                    <a:lnTo>
                      <a:pt x="979293" y="3615133"/>
                    </a:lnTo>
                    <a:lnTo>
                      <a:pt x="974728" y="3615322"/>
                    </a:lnTo>
                    <a:lnTo>
                      <a:pt x="964118" y="3611991"/>
                    </a:lnTo>
                    <a:lnTo>
                      <a:pt x="962960" y="3611251"/>
                    </a:lnTo>
                    <a:lnTo>
                      <a:pt x="962098" y="3609776"/>
                    </a:lnTo>
                    <a:lnTo>
                      <a:pt x="958976" y="3606511"/>
                    </a:lnTo>
                    <a:lnTo>
                      <a:pt x="955753" y="3604679"/>
                    </a:lnTo>
                    <a:lnTo>
                      <a:pt x="956214" y="3602678"/>
                    </a:lnTo>
                    <a:lnTo>
                      <a:pt x="957571" y="3600849"/>
                    </a:lnTo>
                    <a:lnTo>
                      <a:pt x="958382" y="3600188"/>
                    </a:lnTo>
                    <a:lnTo>
                      <a:pt x="958607" y="3597928"/>
                    </a:lnTo>
                    <a:lnTo>
                      <a:pt x="958496" y="3596075"/>
                    </a:lnTo>
                    <a:lnTo>
                      <a:pt x="958081" y="3594448"/>
                    </a:lnTo>
                    <a:lnTo>
                      <a:pt x="957420" y="3592856"/>
                    </a:lnTo>
                    <a:lnTo>
                      <a:pt x="959189" y="3592162"/>
                    </a:lnTo>
                    <a:lnTo>
                      <a:pt x="962204" y="3592411"/>
                    </a:lnTo>
                    <a:lnTo>
                      <a:pt x="963923" y="3592180"/>
                    </a:lnTo>
                    <a:lnTo>
                      <a:pt x="969888" y="3588227"/>
                    </a:lnTo>
                    <a:lnTo>
                      <a:pt x="972458" y="3587950"/>
                    </a:lnTo>
                    <a:lnTo>
                      <a:pt x="976389" y="3586836"/>
                    </a:lnTo>
                    <a:lnTo>
                      <a:pt x="980513" y="3585021"/>
                    </a:lnTo>
                    <a:close/>
                    <a:moveTo>
                      <a:pt x="1933035" y="3581093"/>
                    </a:moveTo>
                    <a:lnTo>
                      <a:pt x="1935060" y="3583298"/>
                    </a:lnTo>
                    <a:lnTo>
                      <a:pt x="1937885" y="3585491"/>
                    </a:lnTo>
                    <a:lnTo>
                      <a:pt x="1940904" y="3586720"/>
                    </a:lnTo>
                    <a:lnTo>
                      <a:pt x="1943539" y="3586006"/>
                    </a:lnTo>
                    <a:lnTo>
                      <a:pt x="1944975" y="3589596"/>
                    </a:lnTo>
                    <a:lnTo>
                      <a:pt x="1946985" y="3592508"/>
                    </a:lnTo>
                    <a:lnTo>
                      <a:pt x="1949647" y="3594439"/>
                    </a:lnTo>
                    <a:lnTo>
                      <a:pt x="1953100" y="3595045"/>
                    </a:lnTo>
                    <a:lnTo>
                      <a:pt x="1952489" y="3598281"/>
                    </a:lnTo>
                    <a:lnTo>
                      <a:pt x="1953525" y="3601236"/>
                    </a:lnTo>
                    <a:lnTo>
                      <a:pt x="1954028" y="3604439"/>
                    </a:lnTo>
                    <a:lnTo>
                      <a:pt x="1951883" y="3608382"/>
                    </a:lnTo>
                    <a:lnTo>
                      <a:pt x="1950670" y="3609435"/>
                    </a:lnTo>
                    <a:lnTo>
                      <a:pt x="1949086" y="3610480"/>
                    </a:lnTo>
                    <a:lnTo>
                      <a:pt x="1947433" y="3611229"/>
                    </a:lnTo>
                    <a:lnTo>
                      <a:pt x="1946002" y="3611483"/>
                    </a:lnTo>
                    <a:lnTo>
                      <a:pt x="1944061" y="3612246"/>
                    </a:lnTo>
                    <a:lnTo>
                      <a:pt x="1943151" y="3614269"/>
                    </a:lnTo>
                    <a:lnTo>
                      <a:pt x="1942636" y="3616613"/>
                    </a:lnTo>
                    <a:lnTo>
                      <a:pt x="1941903" y="3618341"/>
                    </a:lnTo>
                    <a:lnTo>
                      <a:pt x="1941896" y="3618340"/>
                    </a:lnTo>
                    <a:lnTo>
                      <a:pt x="1935688" y="3620727"/>
                    </a:lnTo>
                    <a:lnTo>
                      <a:pt x="1922018" y="3619072"/>
                    </a:lnTo>
                    <a:lnTo>
                      <a:pt x="1917911" y="3622457"/>
                    </a:lnTo>
                    <a:lnTo>
                      <a:pt x="1918941" y="3624880"/>
                    </a:lnTo>
                    <a:lnTo>
                      <a:pt x="1920291" y="3627234"/>
                    </a:lnTo>
                    <a:lnTo>
                      <a:pt x="1923469" y="3631221"/>
                    </a:lnTo>
                    <a:lnTo>
                      <a:pt x="1928227" y="3635431"/>
                    </a:lnTo>
                    <a:lnTo>
                      <a:pt x="1930327" y="3638042"/>
                    </a:lnTo>
                    <a:lnTo>
                      <a:pt x="1930860" y="3640767"/>
                    </a:lnTo>
                    <a:lnTo>
                      <a:pt x="1929319" y="3643710"/>
                    </a:lnTo>
                    <a:lnTo>
                      <a:pt x="1927095" y="3643661"/>
                    </a:lnTo>
                    <a:lnTo>
                      <a:pt x="1922550" y="3640209"/>
                    </a:lnTo>
                    <a:lnTo>
                      <a:pt x="1921252" y="3639862"/>
                    </a:lnTo>
                    <a:lnTo>
                      <a:pt x="1920041" y="3640532"/>
                    </a:lnTo>
                    <a:lnTo>
                      <a:pt x="1918807" y="3641493"/>
                    </a:lnTo>
                    <a:lnTo>
                      <a:pt x="1917483" y="3641904"/>
                    </a:lnTo>
                    <a:lnTo>
                      <a:pt x="1915868" y="3641503"/>
                    </a:lnTo>
                    <a:lnTo>
                      <a:pt x="1912867" y="3640206"/>
                    </a:lnTo>
                    <a:lnTo>
                      <a:pt x="1911018" y="3640073"/>
                    </a:lnTo>
                    <a:lnTo>
                      <a:pt x="1911688" y="3641780"/>
                    </a:lnTo>
                    <a:lnTo>
                      <a:pt x="1911814" y="3643558"/>
                    </a:lnTo>
                    <a:lnTo>
                      <a:pt x="1911430" y="3645361"/>
                    </a:lnTo>
                    <a:lnTo>
                      <a:pt x="1910550" y="3647181"/>
                    </a:lnTo>
                    <a:lnTo>
                      <a:pt x="1908731" y="3645888"/>
                    </a:lnTo>
                    <a:lnTo>
                      <a:pt x="1902602" y="3645106"/>
                    </a:lnTo>
                    <a:lnTo>
                      <a:pt x="1901511" y="3644339"/>
                    </a:lnTo>
                    <a:lnTo>
                      <a:pt x="1898833" y="3641601"/>
                    </a:lnTo>
                    <a:lnTo>
                      <a:pt x="1898228" y="3640600"/>
                    </a:lnTo>
                    <a:lnTo>
                      <a:pt x="1896171" y="3639341"/>
                    </a:lnTo>
                    <a:lnTo>
                      <a:pt x="1893377" y="3639726"/>
                    </a:lnTo>
                    <a:lnTo>
                      <a:pt x="1890377" y="3640699"/>
                    </a:lnTo>
                    <a:lnTo>
                      <a:pt x="1887689" y="3641151"/>
                    </a:lnTo>
                    <a:lnTo>
                      <a:pt x="1881819" y="3640315"/>
                    </a:lnTo>
                    <a:lnTo>
                      <a:pt x="1879124" y="3640907"/>
                    </a:lnTo>
                    <a:lnTo>
                      <a:pt x="1877721" y="3643410"/>
                    </a:lnTo>
                    <a:lnTo>
                      <a:pt x="1880081" y="3642569"/>
                    </a:lnTo>
                    <a:lnTo>
                      <a:pt x="1882454" y="3642338"/>
                    </a:lnTo>
                    <a:lnTo>
                      <a:pt x="1887307" y="3642662"/>
                    </a:lnTo>
                    <a:lnTo>
                      <a:pt x="1887009" y="3644045"/>
                    </a:lnTo>
                    <a:lnTo>
                      <a:pt x="1883990" y="3644773"/>
                    </a:lnTo>
                    <a:lnTo>
                      <a:pt x="1881423" y="3652853"/>
                    </a:lnTo>
                    <a:lnTo>
                      <a:pt x="1878993" y="3654708"/>
                    </a:lnTo>
                    <a:lnTo>
                      <a:pt x="1875357" y="3654108"/>
                    </a:lnTo>
                    <a:lnTo>
                      <a:pt x="1874336" y="3652735"/>
                    </a:lnTo>
                    <a:lnTo>
                      <a:pt x="1874170" y="3650142"/>
                    </a:lnTo>
                    <a:lnTo>
                      <a:pt x="1873078" y="3645898"/>
                    </a:lnTo>
                    <a:lnTo>
                      <a:pt x="1870397" y="3648755"/>
                    </a:lnTo>
                    <a:lnTo>
                      <a:pt x="1867873" y="3647946"/>
                    </a:lnTo>
                    <a:lnTo>
                      <a:pt x="1865743" y="3645260"/>
                    </a:lnTo>
                    <a:lnTo>
                      <a:pt x="1864192" y="3642479"/>
                    </a:lnTo>
                    <a:lnTo>
                      <a:pt x="1863347" y="3645587"/>
                    </a:lnTo>
                    <a:lnTo>
                      <a:pt x="1866362" y="3651711"/>
                    </a:lnTo>
                    <a:lnTo>
                      <a:pt x="1866731" y="3655397"/>
                    </a:lnTo>
                    <a:lnTo>
                      <a:pt x="1865047" y="3652782"/>
                    </a:lnTo>
                    <a:lnTo>
                      <a:pt x="1862706" y="3650607"/>
                    </a:lnTo>
                    <a:lnTo>
                      <a:pt x="1860005" y="3649577"/>
                    </a:lnTo>
                    <a:lnTo>
                      <a:pt x="1857232" y="3650405"/>
                    </a:lnTo>
                    <a:lnTo>
                      <a:pt x="1858057" y="3651181"/>
                    </a:lnTo>
                    <a:lnTo>
                      <a:pt x="1859092" y="3652739"/>
                    </a:lnTo>
                    <a:lnTo>
                      <a:pt x="1859734" y="3653386"/>
                    </a:lnTo>
                    <a:lnTo>
                      <a:pt x="1859407" y="3654892"/>
                    </a:lnTo>
                    <a:lnTo>
                      <a:pt x="1857640" y="3654479"/>
                    </a:lnTo>
                    <a:lnTo>
                      <a:pt x="1854734" y="3653266"/>
                    </a:lnTo>
                    <a:lnTo>
                      <a:pt x="1853013" y="3652921"/>
                    </a:lnTo>
                    <a:lnTo>
                      <a:pt x="1851494" y="3653242"/>
                    </a:lnTo>
                    <a:lnTo>
                      <a:pt x="1847586" y="3654903"/>
                    </a:lnTo>
                    <a:lnTo>
                      <a:pt x="1845655" y="3655346"/>
                    </a:lnTo>
                    <a:lnTo>
                      <a:pt x="1842305" y="3654260"/>
                    </a:lnTo>
                    <a:lnTo>
                      <a:pt x="1836568" y="3649974"/>
                    </a:lnTo>
                    <a:lnTo>
                      <a:pt x="1834168" y="3650333"/>
                    </a:lnTo>
                    <a:lnTo>
                      <a:pt x="1835390" y="3651748"/>
                    </a:lnTo>
                    <a:lnTo>
                      <a:pt x="1835337" y="3653124"/>
                    </a:lnTo>
                    <a:lnTo>
                      <a:pt x="1834194" y="3654122"/>
                    </a:lnTo>
                    <a:lnTo>
                      <a:pt x="1832129" y="3654405"/>
                    </a:lnTo>
                    <a:lnTo>
                      <a:pt x="1833989" y="3656166"/>
                    </a:lnTo>
                    <a:lnTo>
                      <a:pt x="1831817" y="3656851"/>
                    </a:lnTo>
                    <a:lnTo>
                      <a:pt x="1825843" y="3656775"/>
                    </a:lnTo>
                    <a:lnTo>
                      <a:pt x="1824608" y="3656246"/>
                    </a:lnTo>
                    <a:lnTo>
                      <a:pt x="1821963" y="3654138"/>
                    </a:lnTo>
                    <a:lnTo>
                      <a:pt x="1806848" y="3649696"/>
                    </a:lnTo>
                    <a:lnTo>
                      <a:pt x="1805050" y="3650189"/>
                    </a:lnTo>
                    <a:lnTo>
                      <a:pt x="1801662" y="3651864"/>
                    </a:lnTo>
                    <a:lnTo>
                      <a:pt x="1800004" y="3652148"/>
                    </a:lnTo>
                    <a:lnTo>
                      <a:pt x="1794280" y="3651316"/>
                    </a:lnTo>
                    <a:lnTo>
                      <a:pt x="1791537" y="3651674"/>
                    </a:lnTo>
                    <a:lnTo>
                      <a:pt x="1788658" y="3653452"/>
                    </a:lnTo>
                    <a:lnTo>
                      <a:pt x="1782874" y="3655902"/>
                    </a:lnTo>
                    <a:lnTo>
                      <a:pt x="1739380" y="3652074"/>
                    </a:lnTo>
                    <a:lnTo>
                      <a:pt x="1737142" y="3650454"/>
                    </a:lnTo>
                    <a:lnTo>
                      <a:pt x="1742187" y="3648383"/>
                    </a:lnTo>
                    <a:lnTo>
                      <a:pt x="1757792" y="3647728"/>
                    </a:lnTo>
                    <a:lnTo>
                      <a:pt x="1765782" y="3645591"/>
                    </a:lnTo>
                    <a:lnTo>
                      <a:pt x="1768831" y="3645710"/>
                    </a:lnTo>
                    <a:lnTo>
                      <a:pt x="1771306" y="3646189"/>
                    </a:lnTo>
                    <a:lnTo>
                      <a:pt x="1773332" y="3646936"/>
                    </a:lnTo>
                    <a:lnTo>
                      <a:pt x="1773655" y="3648164"/>
                    </a:lnTo>
                    <a:lnTo>
                      <a:pt x="1770995" y="3650083"/>
                    </a:lnTo>
                    <a:lnTo>
                      <a:pt x="1773581" y="3649992"/>
                    </a:lnTo>
                    <a:lnTo>
                      <a:pt x="1778321" y="3648121"/>
                    </a:lnTo>
                    <a:lnTo>
                      <a:pt x="1780945" y="3647857"/>
                    </a:lnTo>
                    <a:lnTo>
                      <a:pt x="1783308" y="3648862"/>
                    </a:lnTo>
                    <a:lnTo>
                      <a:pt x="1784933" y="3650250"/>
                    </a:lnTo>
                    <a:lnTo>
                      <a:pt x="1786399" y="3650572"/>
                    </a:lnTo>
                    <a:lnTo>
                      <a:pt x="1788260" y="3648379"/>
                    </a:lnTo>
                    <a:lnTo>
                      <a:pt x="1786613" y="3647106"/>
                    </a:lnTo>
                    <a:lnTo>
                      <a:pt x="1786332" y="3645932"/>
                    </a:lnTo>
                    <a:lnTo>
                      <a:pt x="1787250" y="3643513"/>
                    </a:lnTo>
                    <a:lnTo>
                      <a:pt x="1788333" y="3641858"/>
                    </a:lnTo>
                    <a:lnTo>
                      <a:pt x="1789857" y="3641916"/>
                    </a:lnTo>
                    <a:lnTo>
                      <a:pt x="1791142" y="3642686"/>
                    </a:lnTo>
                    <a:lnTo>
                      <a:pt x="1791536" y="3643124"/>
                    </a:lnTo>
                    <a:lnTo>
                      <a:pt x="1791867" y="3643800"/>
                    </a:lnTo>
                    <a:lnTo>
                      <a:pt x="1793045" y="3645071"/>
                    </a:lnTo>
                    <a:lnTo>
                      <a:pt x="1794459" y="3645624"/>
                    </a:lnTo>
                    <a:lnTo>
                      <a:pt x="1795512" y="3644100"/>
                    </a:lnTo>
                    <a:lnTo>
                      <a:pt x="1796738" y="3641386"/>
                    </a:lnTo>
                    <a:lnTo>
                      <a:pt x="1798236" y="3640990"/>
                    </a:lnTo>
                    <a:lnTo>
                      <a:pt x="1800686" y="3642251"/>
                    </a:lnTo>
                    <a:lnTo>
                      <a:pt x="1802436" y="3640376"/>
                    </a:lnTo>
                    <a:lnTo>
                      <a:pt x="1805137" y="3636854"/>
                    </a:lnTo>
                    <a:lnTo>
                      <a:pt x="1807294" y="3634908"/>
                    </a:lnTo>
                    <a:lnTo>
                      <a:pt x="1807392" y="3637808"/>
                    </a:lnTo>
                    <a:lnTo>
                      <a:pt x="1808056" y="3640297"/>
                    </a:lnTo>
                    <a:lnTo>
                      <a:pt x="1814618" y="3637499"/>
                    </a:lnTo>
                    <a:lnTo>
                      <a:pt x="1816200" y="3640671"/>
                    </a:lnTo>
                    <a:lnTo>
                      <a:pt x="1818852" y="3639277"/>
                    </a:lnTo>
                    <a:lnTo>
                      <a:pt x="1821330" y="3639360"/>
                    </a:lnTo>
                    <a:lnTo>
                      <a:pt x="1823161" y="3640910"/>
                    </a:lnTo>
                    <a:lnTo>
                      <a:pt x="1823866" y="3643886"/>
                    </a:lnTo>
                    <a:lnTo>
                      <a:pt x="1829228" y="3640566"/>
                    </a:lnTo>
                    <a:lnTo>
                      <a:pt x="1831348" y="3638942"/>
                    </a:lnTo>
                    <a:lnTo>
                      <a:pt x="1831991" y="3636029"/>
                    </a:lnTo>
                    <a:lnTo>
                      <a:pt x="1835471" y="3634876"/>
                    </a:lnTo>
                    <a:lnTo>
                      <a:pt x="1838660" y="3637916"/>
                    </a:lnTo>
                    <a:lnTo>
                      <a:pt x="1845537" y="3639765"/>
                    </a:lnTo>
                    <a:lnTo>
                      <a:pt x="1852933" y="3640212"/>
                    </a:lnTo>
                    <a:lnTo>
                      <a:pt x="1857694" y="3639088"/>
                    </a:lnTo>
                    <a:lnTo>
                      <a:pt x="1854826" y="3638154"/>
                    </a:lnTo>
                    <a:lnTo>
                      <a:pt x="1854283" y="3636612"/>
                    </a:lnTo>
                    <a:lnTo>
                      <a:pt x="1855744" y="3634983"/>
                    </a:lnTo>
                    <a:lnTo>
                      <a:pt x="1858871" y="3633697"/>
                    </a:lnTo>
                    <a:lnTo>
                      <a:pt x="1862003" y="3633763"/>
                    </a:lnTo>
                    <a:lnTo>
                      <a:pt x="1865314" y="3634401"/>
                    </a:lnTo>
                    <a:lnTo>
                      <a:pt x="1868371" y="3634202"/>
                    </a:lnTo>
                    <a:lnTo>
                      <a:pt x="1870730" y="3631709"/>
                    </a:lnTo>
                    <a:lnTo>
                      <a:pt x="1866303" y="3631554"/>
                    </a:lnTo>
                    <a:lnTo>
                      <a:pt x="1864308" y="3631023"/>
                    </a:lnTo>
                    <a:lnTo>
                      <a:pt x="1862691" y="3629750"/>
                    </a:lnTo>
                    <a:lnTo>
                      <a:pt x="1864117" y="3628445"/>
                    </a:lnTo>
                    <a:lnTo>
                      <a:pt x="1863541" y="3627829"/>
                    </a:lnTo>
                    <a:lnTo>
                      <a:pt x="1863291" y="3627344"/>
                    </a:lnTo>
                    <a:lnTo>
                      <a:pt x="1862655" y="3625545"/>
                    </a:lnTo>
                    <a:lnTo>
                      <a:pt x="1879245" y="3626691"/>
                    </a:lnTo>
                    <a:lnTo>
                      <a:pt x="1882616" y="3628668"/>
                    </a:lnTo>
                    <a:lnTo>
                      <a:pt x="1884407" y="3628715"/>
                    </a:lnTo>
                    <a:lnTo>
                      <a:pt x="1885668" y="3626430"/>
                    </a:lnTo>
                    <a:lnTo>
                      <a:pt x="1885156" y="3624993"/>
                    </a:lnTo>
                    <a:lnTo>
                      <a:pt x="1883568" y="3623430"/>
                    </a:lnTo>
                    <a:lnTo>
                      <a:pt x="1880445" y="3621161"/>
                    </a:lnTo>
                    <a:lnTo>
                      <a:pt x="1880715" y="3619919"/>
                    </a:lnTo>
                    <a:lnTo>
                      <a:pt x="1890099" y="3620538"/>
                    </a:lnTo>
                    <a:lnTo>
                      <a:pt x="1893676" y="3622336"/>
                    </a:lnTo>
                    <a:lnTo>
                      <a:pt x="1896138" y="3626445"/>
                    </a:lnTo>
                    <a:lnTo>
                      <a:pt x="1898119" y="3623266"/>
                    </a:lnTo>
                    <a:lnTo>
                      <a:pt x="1900991" y="3620932"/>
                    </a:lnTo>
                    <a:lnTo>
                      <a:pt x="1903783" y="3620146"/>
                    </a:lnTo>
                    <a:lnTo>
                      <a:pt x="1905542" y="3621618"/>
                    </a:lnTo>
                    <a:lnTo>
                      <a:pt x="1906903" y="3620333"/>
                    </a:lnTo>
                    <a:lnTo>
                      <a:pt x="1908185" y="3618000"/>
                    </a:lnTo>
                    <a:lnTo>
                      <a:pt x="1909202" y="3616767"/>
                    </a:lnTo>
                    <a:lnTo>
                      <a:pt x="1910627" y="3616205"/>
                    </a:lnTo>
                    <a:lnTo>
                      <a:pt x="1914193" y="3615870"/>
                    </a:lnTo>
                    <a:lnTo>
                      <a:pt x="1915421" y="3615027"/>
                    </a:lnTo>
                    <a:lnTo>
                      <a:pt x="1916441" y="3611141"/>
                    </a:lnTo>
                    <a:lnTo>
                      <a:pt x="1914242" y="3609632"/>
                    </a:lnTo>
                    <a:lnTo>
                      <a:pt x="1908270" y="3608933"/>
                    </a:lnTo>
                    <a:lnTo>
                      <a:pt x="1906349" y="3607250"/>
                    </a:lnTo>
                    <a:lnTo>
                      <a:pt x="1905294" y="3605150"/>
                    </a:lnTo>
                    <a:lnTo>
                      <a:pt x="1904569" y="3603122"/>
                    </a:lnTo>
                    <a:lnTo>
                      <a:pt x="1903584" y="3601628"/>
                    </a:lnTo>
                    <a:lnTo>
                      <a:pt x="1900933" y="3600270"/>
                    </a:lnTo>
                    <a:lnTo>
                      <a:pt x="1899186" y="3601010"/>
                    </a:lnTo>
                    <a:lnTo>
                      <a:pt x="1898518" y="3603409"/>
                    </a:lnTo>
                    <a:lnTo>
                      <a:pt x="1899186" y="3607035"/>
                    </a:lnTo>
                    <a:lnTo>
                      <a:pt x="1894752" y="3606314"/>
                    </a:lnTo>
                    <a:lnTo>
                      <a:pt x="1889284" y="3603969"/>
                    </a:lnTo>
                    <a:lnTo>
                      <a:pt x="1885874" y="3600846"/>
                    </a:lnTo>
                    <a:lnTo>
                      <a:pt x="1887604" y="3597852"/>
                    </a:lnTo>
                    <a:lnTo>
                      <a:pt x="1897662" y="3598118"/>
                    </a:lnTo>
                    <a:lnTo>
                      <a:pt x="1902765" y="3596265"/>
                    </a:lnTo>
                    <a:lnTo>
                      <a:pt x="1902794" y="3590358"/>
                    </a:lnTo>
                    <a:lnTo>
                      <a:pt x="1904914" y="3589286"/>
                    </a:lnTo>
                    <a:lnTo>
                      <a:pt x="1906518" y="3589888"/>
                    </a:lnTo>
                    <a:lnTo>
                      <a:pt x="1908084" y="3590838"/>
                    </a:lnTo>
                    <a:lnTo>
                      <a:pt x="1910076" y="3590857"/>
                    </a:lnTo>
                    <a:lnTo>
                      <a:pt x="1911921" y="3589457"/>
                    </a:lnTo>
                    <a:lnTo>
                      <a:pt x="1913552" y="3586157"/>
                    </a:lnTo>
                    <a:lnTo>
                      <a:pt x="1919978" y="3584860"/>
                    </a:lnTo>
                    <a:lnTo>
                      <a:pt x="1928678" y="3581148"/>
                    </a:lnTo>
                    <a:close/>
                    <a:moveTo>
                      <a:pt x="814645" y="3574355"/>
                    </a:moveTo>
                    <a:lnTo>
                      <a:pt x="814889" y="3575180"/>
                    </a:lnTo>
                    <a:lnTo>
                      <a:pt x="815261" y="3575549"/>
                    </a:lnTo>
                    <a:lnTo>
                      <a:pt x="816331" y="3575965"/>
                    </a:lnTo>
                    <a:lnTo>
                      <a:pt x="821456" y="3578963"/>
                    </a:lnTo>
                    <a:lnTo>
                      <a:pt x="823534" y="3580724"/>
                    </a:lnTo>
                    <a:lnTo>
                      <a:pt x="824359" y="3583905"/>
                    </a:lnTo>
                    <a:lnTo>
                      <a:pt x="823658" y="3587128"/>
                    </a:lnTo>
                    <a:lnTo>
                      <a:pt x="821919" y="3588740"/>
                    </a:lnTo>
                    <a:lnTo>
                      <a:pt x="819453" y="3589912"/>
                    </a:lnTo>
                    <a:lnTo>
                      <a:pt x="816629" y="3591829"/>
                    </a:lnTo>
                    <a:lnTo>
                      <a:pt x="817160" y="3593185"/>
                    </a:lnTo>
                    <a:lnTo>
                      <a:pt x="814596" y="3593947"/>
                    </a:lnTo>
                    <a:lnTo>
                      <a:pt x="811175" y="3594442"/>
                    </a:lnTo>
                    <a:lnTo>
                      <a:pt x="808000" y="3594221"/>
                    </a:lnTo>
                    <a:lnTo>
                      <a:pt x="806252" y="3592842"/>
                    </a:lnTo>
                    <a:lnTo>
                      <a:pt x="803135" y="3587433"/>
                    </a:lnTo>
                    <a:lnTo>
                      <a:pt x="802539" y="3585975"/>
                    </a:lnTo>
                    <a:lnTo>
                      <a:pt x="802590" y="3583579"/>
                    </a:lnTo>
                    <a:lnTo>
                      <a:pt x="803558" y="3582077"/>
                    </a:lnTo>
                    <a:lnTo>
                      <a:pt x="804997" y="3580317"/>
                    </a:lnTo>
                    <a:lnTo>
                      <a:pt x="806437" y="3577152"/>
                    </a:lnTo>
                    <a:lnTo>
                      <a:pt x="807801" y="3575426"/>
                    </a:lnTo>
                    <a:lnTo>
                      <a:pt x="809925" y="3575065"/>
                    </a:lnTo>
                    <a:lnTo>
                      <a:pt x="812343" y="3575048"/>
                    </a:lnTo>
                    <a:close/>
                    <a:moveTo>
                      <a:pt x="2469496" y="3555874"/>
                    </a:moveTo>
                    <a:lnTo>
                      <a:pt x="2472966" y="3556393"/>
                    </a:lnTo>
                    <a:lnTo>
                      <a:pt x="2476525" y="3557631"/>
                    </a:lnTo>
                    <a:lnTo>
                      <a:pt x="2478953" y="3559163"/>
                    </a:lnTo>
                    <a:lnTo>
                      <a:pt x="2480576" y="3559629"/>
                    </a:lnTo>
                    <a:lnTo>
                      <a:pt x="2482039" y="3560284"/>
                    </a:lnTo>
                    <a:lnTo>
                      <a:pt x="2483378" y="3561163"/>
                    </a:lnTo>
                    <a:lnTo>
                      <a:pt x="2484645" y="3562363"/>
                    </a:lnTo>
                    <a:lnTo>
                      <a:pt x="2483928" y="3564486"/>
                    </a:lnTo>
                    <a:lnTo>
                      <a:pt x="2483759" y="3565702"/>
                    </a:lnTo>
                    <a:lnTo>
                      <a:pt x="2483375" y="3566791"/>
                    </a:lnTo>
                    <a:lnTo>
                      <a:pt x="2477446" y="3574480"/>
                    </a:lnTo>
                    <a:lnTo>
                      <a:pt x="2473227" y="3577822"/>
                    </a:lnTo>
                    <a:lnTo>
                      <a:pt x="2469448" y="3579007"/>
                    </a:lnTo>
                    <a:lnTo>
                      <a:pt x="2465680" y="3578422"/>
                    </a:lnTo>
                    <a:lnTo>
                      <a:pt x="2461441" y="3576429"/>
                    </a:lnTo>
                    <a:lnTo>
                      <a:pt x="2452815" y="3580747"/>
                    </a:lnTo>
                    <a:lnTo>
                      <a:pt x="2449962" y="3582908"/>
                    </a:lnTo>
                    <a:lnTo>
                      <a:pt x="2446881" y="3585885"/>
                    </a:lnTo>
                    <a:lnTo>
                      <a:pt x="2444861" y="3587253"/>
                    </a:lnTo>
                    <a:lnTo>
                      <a:pt x="2442997" y="3586616"/>
                    </a:lnTo>
                    <a:lnTo>
                      <a:pt x="2440373" y="3583670"/>
                    </a:lnTo>
                    <a:lnTo>
                      <a:pt x="2439194" y="3585124"/>
                    </a:lnTo>
                    <a:lnTo>
                      <a:pt x="2438990" y="3577965"/>
                    </a:lnTo>
                    <a:lnTo>
                      <a:pt x="2443903" y="3571781"/>
                    </a:lnTo>
                    <a:lnTo>
                      <a:pt x="2455282" y="3563612"/>
                    </a:lnTo>
                    <a:lnTo>
                      <a:pt x="2456602" y="3561944"/>
                    </a:lnTo>
                    <a:lnTo>
                      <a:pt x="2457068" y="3560602"/>
                    </a:lnTo>
                    <a:lnTo>
                      <a:pt x="2457715" y="3559759"/>
                    </a:lnTo>
                    <a:lnTo>
                      <a:pt x="2459547" y="3559540"/>
                    </a:lnTo>
                    <a:lnTo>
                      <a:pt x="2462088" y="3559657"/>
                    </a:lnTo>
                    <a:lnTo>
                      <a:pt x="2463887" y="3559437"/>
                    </a:lnTo>
                    <a:lnTo>
                      <a:pt x="2465471" y="3558510"/>
                    </a:lnTo>
                    <a:lnTo>
                      <a:pt x="2467320" y="3556545"/>
                    </a:lnTo>
                    <a:close/>
                    <a:moveTo>
                      <a:pt x="2697038" y="3547068"/>
                    </a:moveTo>
                    <a:lnTo>
                      <a:pt x="2699580" y="3547456"/>
                    </a:lnTo>
                    <a:lnTo>
                      <a:pt x="2698657" y="3547473"/>
                    </a:lnTo>
                    <a:lnTo>
                      <a:pt x="2697566" y="3548140"/>
                    </a:lnTo>
                    <a:lnTo>
                      <a:pt x="2695865" y="3549434"/>
                    </a:lnTo>
                    <a:lnTo>
                      <a:pt x="2691726" y="3551762"/>
                    </a:lnTo>
                    <a:lnTo>
                      <a:pt x="2687425" y="3552828"/>
                    </a:lnTo>
                    <a:lnTo>
                      <a:pt x="2686596" y="3552666"/>
                    </a:lnTo>
                    <a:lnTo>
                      <a:pt x="2686778" y="3552105"/>
                    </a:lnTo>
                    <a:lnTo>
                      <a:pt x="2687800" y="3551839"/>
                    </a:lnTo>
                    <a:lnTo>
                      <a:pt x="2689885" y="3550885"/>
                    </a:lnTo>
                    <a:lnTo>
                      <a:pt x="2693232" y="3549107"/>
                    </a:lnTo>
                    <a:close/>
                    <a:moveTo>
                      <a:pt x="2551347" y="3541729"/>
                    </a:moveTo>
                    <a:lnTo>
                      <a:pt x="2554702" y="3542492"/>
                    </a:lnTo>
                    <a:lnTo>
                      <a:pt x="2557424" y="3543726"/>
                    </a:lnTo>
                    <a:lnTo>
                      <a:pt x="2560041" y="3544576"/>
                    </a:lnTo>
                    <a:lnTo>
                      <a:pt x="2562866" y="3546352"/>
                    </a:lnTo>
                    <a:lnTo>
                      <a:pt x="2563979" y="3548590"/>
                    </a:lnTo>
                    <a:lnTo>
                      <a:pt x="2561467" y="3550871"/>
                    </a:lnTo>
                    <a:lnTo>
                      <a:pt x="2561802" y="3551681"/>
                    </a:lnTo>
                    <a:lnTo>
                      <a:pt x="2561922" y="3552324"/>
                    </a:lnTo>
                    <a:lnTo>
                      <a:pt x="2562043" y="3553785"/>
                    </a:lnTo>
                    <a:lnTo>
                      <a:pt x="2552076" y="3554679"/>
                    </a:lnTo>
                    <a:lnTo>
                      <a:pt x="2542089" y="3554179"/>
                    </a:lnTo>
                    <a:lnTo>
                      <a:pt x="2545494" y="3546355"/>
                    </a:lnTo>
                    <a:lnTo>
                      <a:pt x="2546814" y="3544709"/>
                    </a:lnTo>
                    <a:lnTo>
                      <a:pt x="2546009" y="3543694"/>
                    </a:lnTo>
                    <a:lnTo>
                      <a:pt x="2545638" y="3543378"/>
                    </a:lnTo>
                    <a:lnTo>
                      <a:pt x="2544997" y="3543105"/>
                    </a:lnTo>
                    <a:lnTo>
                      <a:pt x="2547928" y="3541806"/>
                    </a:lnTo>
                    <a:close/>
                    <a:moveTo>
                      <a:pt x="689217" y="3532839"/>
                    </a:moveTo>
                    <a:lnTo>
                      <a:pt x="692888" y="3534357"/>
                    </a:lnTo>
                    <a:lnTo>
                      <a:pt x="696482" y="3537257"/>
                    </a:lnTo>
                    <a:lnTo>
                      <a:pt x="697689" y="3538989"/>
                    </a:lnTo>
                    <a:lnTo>
                      <a:pt x="697684" y="3542162"/>
                    </a:lnTo>
                    <a:lnTo>
                      <a:pt x="695989" y="3543467"/>
                    </a:lnTo>
                    <a:lnTo>
                      <a:pt x="692805" y="3544664"/>
                    </a:lnTo>
                    <a:lnTo>
                      <a:pt x="691276" y="3545764"/>
                    </a:lnTo>
                    <a:lnTo>
                      <a:pt x="689855" y="3547677"/>
                    </a:lnTo>
                    <a:lnTo>
                      <a:pt x="688418" y="3550878"/>
                    </a:lnTo>
                    <a:lnTo>
                      <a:pt x="687003" y="3552468"/>
                    </a:lnTo>
                    <a:lnTo>
                      <a:pt x="684019" y="3554276"/>
                    </a:lnTo>
                    <a:lnTo>
                      <a:pt x="673682" y="3558074"/>
                    </a:lnTo>
                    <a:lnTo>
                      <a:pt x="674216" y="3560846"/>
                    </a:lnTo>
                    <a:lnTo>
                      <a:pt x="671636" y="3562635"/>
                    </a:lnTo>
                    <a:lnTo>
                      <a:pt x="669522" y="3564639"/>
                    </a:lnTo>
                    <a:lnTo>
                      <a:pt x="671504" y="3568001"/>
                    </a:lnTo>
                    <a:lnTo>
                      <a:pt x="676588" y="3568748"/>
                    </a:lnTo>
                    <a:lnTo>
                      <a:pt x="677261" y="3569331"/>
                    </a:lnTo>
                    <a:lnTo>
                      <a:pt x="676349" y="3571984"/>
                    </a:lnTo>
                    <a:lnTo>
                      <a:pt x="675409" y="3573771"/>
                    </a:lnTo>
                    <a:lnTo>
                      <a:pt x="674358" y="3574120"/>
                    </a:lnTo>
                    <a:lnTo>
                      <a:pt x="673091" y="3572474"/>
                    </a:lnTo>
                    <a:lnTo>
                      <a:pt x="670510" y="3573839"/>
                    </a:lnTo>
                    <a:lnTo>
                      <a:pt x="669069" y="3574847"/>
                    </a:lnTo>
                    <a:lnTo>
                      <a:pt x="667748" y="3576336"/>
                    </a:lnTo>
                    <a:lnTo>
                      <a:pt x="666499" y="3574359"/>
                    </a:lnTo>
                    <a:lnTo>
                      <a:pt x="664540" y="3572536"/>
                    </a:lnTo>
                    <a:lnTo>
                      <a:pt x="662249" y="3571318"/>
                    </a:lnTo>
                    <a:lnTo>
                      <a:pt x="659915" y="3571068"/>
                    </a:lnTo>
                    <a:lnTo>
                      <a:pt x="657747" y="3572356"/>
                    </a:lnTo>
                    <a:lnTo>
                      <a:pt x="655908" y="3574201"/>
                    </a:lnTo>
                    <a:lnTo>
                      <a:pt x="654478" y="3574673"/>
                    </a:lnTo>
                    <a:lnTo>
                      <a:pt x="653419" y="3571936"/>
                    </a:lnTo>
                    <a:lnTo>
                      <a:pt x="655252" y="3569262"/>
                    </a:lnTo>
                    <a:lnTo>
                      <a:pt x="646112" y="3570067"/>
                    </a:lnTo>
                    <a:lnTo>
                      <a:pt x="642311" y="3571710"/>
                    </a:lnTo>
                    <a:lnTo>
                      <a:pt x="637813" y="3573072"/>
                    </a:lnTo>
                    <a:lnTo>
                      <a:pt x="635008" y="3576138"/>
                    </a:lnTo>
                    <a:lnTo>
                      <a:pt x="628325" y="3587265"/>
                    </a:lnTo>
                    <a:lnTo>
                      <a:pt x="627403" y="3588397"/>
                    </a:lnTo>
                    <a:lnTo>
                      <a:pt x="625849" y="3589701"/>
                    </a:lnTo>
                    <a:lnTo>
                      <a:pt x="624988" y="3589198"/>
                    </a:lnTo>
                    <a:lnTo>
                      <a:pt x="624032" y="3587368"/>
                    </a:lnTo>
                    <a:lnTo>
                      <a:pt x="623295" y="3585185"/>
                    </a:lnTo>
                    <a:lnTo>
                      <a:pt x="623136" y="3583680"/>
                    </a:lnTo>
                    <a:lnTo>
                      <a:pt x="622245" y="3581814"/>
                    </a:lnTo>
                    <a:lnTo>
                      <a:pt x="616852" y="3576897"/>
                    </a:lnTo>
                    <a:lnTo>
                      <a:pt x="615436" y="3574881"/>
                    </a:lnTo>
                    <a:lnTo>
                      <a:pt x="627756" y="3569869"/>
                    </a:lnTo>
                    <a:lnTo>
                      <a:pt x="631393" y="3569569"/>
                    </a:lnTo>
                    <a:lnTo>
                      <a:pt x="633472" y="3568913"/>
                    </a:lnTo>
                    <a:lnTo>
                      <a:pt x="635797" y="3567044"/>
                    </a:lnTo>
                    <a:lnTo>
                      <a:pt x="640093" y="3562559"/>
                    </a:lnTo>
                    <a:lnTo>
                      <a:pt x="642949" y="3560482"/>
                    </a:lnTo>
                    <a:lnTo>
                      <a:pt x="645501" y="3559937"/>
                    </a:lnTo>
                    <a:lnTo>
                      <a:pt x="650865" y="3560190"/>
                    </a:lnTo>
                    <a:lnTo>
                      <a:pt x="654525" y="3559241"/>
                    </a:lnTo>
                    <a:lnTo>
                      <a:pt x="655916" y="3559186"/>
                    </a:lnTo>
                    <a:lnTo>
                      <a:pt x="659369" y="3559710"/>
                    </a:lnTo>
                    <a:lnTo>
                      <a:pt x="660479" y="3559675"/>
                    </a:lnTo>
                    <a:lnTo>
                      <a:pt x="664423" y="3558612"/>
                    </a:lnTo>
                    <a:lnTo>
                      <a:pt x="666004" y="3557441"/>
                    </a:lnTo>
                    <a:lnTo>
                      <a:pt x="669849" y="3550748"/>
                    </a:lnTo>
                    <a:lnTo>
                      <a:pt x="677440" y="3541052"/>
                    </a:lnTo>
                    <a:lnTo>
                      <a:pt x="678404" y="3537101"/>
                    </a:lnTo>
                    <a:lnTo>
                      <a:pt x="685635" y="3533505"/>
                    </a:lnTo>
                    <a:close/>
                    <a:moveTo>
                      <a:pt x="2609260" y="3523965"/>
                    </a:moveTo>
                    <a:lnTo>
                      <a:pt x="2611327" y="3525651"/>
                    </a:lnTo>
                    <a:lnTo>
                      <a:pt x="2613145" y="3525698"/>
                    </a:lnTo>
                    <a:lnTo>
                      <a:pt x="2615035" y="3525343"/>
                    </a:lnTo>
                    <a:lnTo>
                      <a:pt x="2617338" y="3525867"/>
                    </a:lnTo>
                    <a:lnTo>
                      <a:pt x="2618913" y="3527165"/>
                    </a:lnTo>
                    <a:lnTo>
                      <a:pt x="2620020" y="3528498"/>
                    </a:lnTo>
                    <a:lnTo>
                      <a:pt x="2621217" y="3529249"/>
                    </a:lnTo>
                    <a:lnTo>
                      <a:pt x="2623094" y="3528794"/>
                    </a:lnTo>
                    <a:lnTo>
                      <a:pt x="2622936" y="3529820"/>
                    </a:lnTo>
                    <a:lnTo>
                      <a:pt x="2623126" y="3530423"/>
                    </a:lnTo>
                    <a:lnTo>
                      <a:pt x="2623465" y="3530951"/>
                    </a:lnTo>
                    <a:lnTo>
                      <a:pt x="2623758" y="3531724"/>
                    </a:lnTo>
                    <a:lnTo>
                      <a:pt x="2623011" y="3532853"/>
                    </a:lnTo>
                    <a:lnTo>
                      <a:pt x="2620778" y="3537116"/>
                    </a:lnTo>
                    <a:lnTo>
                      <a:pt x="2622702" y="3538595"/>
                    </a:lnTo>
                    <a:lnTo>
                      <a:pt x="2620394" y="3540483"/>
                    </a:lnTo>
                    <a:lnTo>
                      <a:pt x="2618040" y="3542039"/>
                    </a:lnTo>
                    <a:lnTo>
                      <a:pt x="2616644" y="3543888"/>
                    </a:lnTo>
                    <a:lnTo>
                      <a:pt x="2617238" y="3546651"/>
                    </a:lnTo>
                    <a:lnTo>
                      <a:pt x="2614539" y="3548182"/>
                    </a:lnTo>
                    <a:lnTo>
                      <a:pt x="2612469" y="3547306"/>
                    </a:lnTo>
                    <a:lnTo>
                      <a:pt x="2609413" y="3543623"/>
                    </a:lnTo>
                    <a:lnTo>
                      <a:pt x="2606710" y="3541831"/>
                    </a:lnTo>
                    <a:lnTo>
                      <a:pt x="2594694" y="3537803"/>
                    </a:lnTo>
                    <a:lnTo>
                      <a:pt x="2592774" y="3537982"/>
                    </a:lnTo>
                    <a:lnTo>
                      <a:pt x="2586484" y="3541764"/>
                    </a:lnTo>
                    <a:lnTo>
                      <a:pt x="2585342" y="3542080"/>
                    </a:lnTo>
                    <a:lnTo>
                      <a:pt x="2582597" y="3542317"/>
                    </a:lnTo>
                    <a:lnTo>
                      <a:pt x="2579841" y="3543273"/>
                    </a:lnTo>
                    <a:lnTo>
                      <a:pt x="2578762" y="3543393"/>
                    </a:lnTo>
                    <a:lnTo>
                      <a:pt x="2577916" y="3542914"/>
                    </a:lnTo>
                    <a:lnTo>
                      <a:pt x="2576886" y="3540963"/>
                    </a:lnTo>
                    <a:lnTo>
                      <a:pt x="2573887" y="3539088"/>
                    </a:lnTo>
                    <a:lnTo>
                      <a:pt x="2572776" y="3536166"/>
                    </a:lnTo>
                    <a:lnTo>
                      <a:pt x="2573138" y="3533324"/>
                    </a:lnTo>
                    <a:lnTo>
                      <a:pt x="2579486" y="3529994"/>
                    </a:lnTo>
                    <a:lnTo>
                      <a:pt x="2580929" y="3529644"/>
                    </a:lnTo>
                    <a:lnTo>
                      <a:pt x="2586916" y="3531325"/>
                    </a:lnTo>
                    <a:lnTo>
                      <a:pt x="2590473" y="3531318"/>
                    </a:lnTo>
                    <a:lnTo>
                      <a:pt x="2592377" y="3530701"/>
                    </a:lnTo>
                    <a:lnTo>
                      <a:pt x="2595848" y="3526839"/>
                    </a:lnTo>
                    <a:lnTo>
                      <a:pt x="2598819" y="3525490"/>
                    </a:lnTo>
                    <a:lnTo>
                      <a:pt x="2605925" y="3525884"/>
                    </a:lnTo>
                    <a:close/>
                    <a:moveTo>
                      <a:pt x="2564532" y="3516290"/>
                    </a:moveTo>
                    <a:lnTo>
                      <a:pt x="2566941" y="3516477"/>
                    </a:lnTo>
                    <a:lnTo>
                      <a:pt x="2574923" y="3519582"/>
                    </a:lnTo>
                    <a:lnTo>
                      <a:pt x="2577871" y="3519777"/>
                    </a:lnTo>
                    <a:lnTo>
                      <a:pt x="2574647" y="3524352"/>
                    </a:lnTo>
                    <a:lnTo>
                      <a:pt x="2571151" y="3527772"/>
                    </a:lnTo>
                    <a:lnTo>
                      <a:pt x="2567076" y="3529091"/>
                    </a:lnTo>
                    <a:lnTo>
                      <a:pt x="2562106" y="3527323"/>
                    </a:lnTo>
                    <a:lnTo>
                      <a:pt x="2560208" y="3525890"/>
                    </a:lnTo>
                    <a:lnTo>
                      <a:pt x="2558629" y="3524175"/>
                    </a:lnTo>
                    <a:lnTo>
                      <a:pt x="2557763" y="3522223"/>
                    </a:lnTo>
                    <a:lnTo>
                      <a:pt x="2558013" y="3520055"/>
                    </a:lnTo>
                    <a:lnTo>
                      <a:pt x="2559573" y="3518043"/>
                    </a:lnTo>
                    <a:lnTo>
                      <a:pt x="2561901" y="3516803"/>
                    </a:lnTo>
                    <a:close/>
                    <a:moveTo>
                      <a:pt x="2624786" y="3495501"/>
                    </a:moveTo>
                    <a:lnTo>
                      <a:pt x="2627158" y="3495748"/>
                    </a:lnTo>
                    <a:lnTo>
                      <a:pt x="2628982" y="3496380"/>
                    </a:lnTo>
                    <a:lnTo>
                      <a:pt x="2629865" y="3498039"/>
                    </a:lnTo>
                    <a:lnTo>
                      <a:pt x="2630121" y="3500354"/>
                    </a:lnTo>
                    <a:lnTo>
                      <a:pt x="2630166" y="3502931"/>
                    </a:lnTo>
                    <a:lnTo>
                      <a:pt x="2626766" y="3505237"/>
                    </a:lnTo>
                    <a:lnTo>
                      <a:pt x="2623863" y="3509314"/>
                    </a:lnTo>
                    <a:lnTo>
                      <a:pt x="2620607" y="3512822"/>
                    </a:lnTo>
                    <a:lnTo>
                      <a:pt x="2616173" y="3513343"/>
                    </a:lnTo>
                    <a:lnTo>
                      <a:pt x="2617529" y="3510643"/>
                    </a:lnTo>
                    <a:lnTo>
                      <a:pt x="2615011" y="3508787"/>
                    </a:lnTo>
                    <a:lnTo>
                      <a:pt x="2615821" y="3505978"/>
                    </a:lnTo>
                    <a:lnTo>
                      <a:pt x="2617535" y="3502867"/>
                    </a:lnTo>
                    <a:lnTo>
                      <a:pt x="2617846" y="3497542"/>
                    </a:lnTo>
                    <a:lnTo>
                      <a:pt x="2620954" y="3496050"/>
                    </a:lnTo>
                    <a:close/>
                    <a:moveTo>
                      <a:pt x="451007" y="3454150"/>
                    </a:moveTo>
                    <a:lnTo>
                      <a:pt x="455988" y="3454730"/>
                    </a:lnTo>
                    <a:lnTo>
                      <a:pt x="458566" y="3456367"/>
                    </a:lnTo>
                    <a:lnTo>
                      <a:pt x="463456" y="3458408"/>
                    </a:lnTo>
                    <a:lnTo>
                      <a:pt x="465581" y="3460035"/>
                    </a:lnTo>
                    <a:lnTo>
                      <a:pt x="460471" y="3462400"/>
                    </a:lnTo>
                    <a:lnTo>
                      <a:pt x="455142" y="3462795"/>
                    </a:lnTo>
                    <a:lnTo>
                      <a:pt x="451385" y="3460344"/>
                    </a:lnTo>
                    <a:close/>
                    <a:moveTo>
                      <a:pt x="2894204" y="3399545"/>
                    </a:moveTo>
                    <a:lnTo>
                      <a:pt x="2900536" y="3406368"/>
                    </a:lnTo>
                    <a:lnTo>
                      <a:pt x="2904001" y="3408735"/>
                    </a:lnTo>
                    <a:lnTo>
                      <a:pt x="2908818" y="3409786"/>
                    </a:lnTo>
                    <a:lnTo>
                      <a:pt x="2918449" y="3409584"/>
                    </a:lnTo>
                    <a:lnTo>
                      <a:pt x="2922835" y="3410845"/>
                    </a:lnTo>
                    <a:lnTo>
                      <a:pt x="2924183" y="3414546"/>
                    </a:lnTo>
                    <a:lnTo>
                      <a:pt x="2921574" y="3419305"/>
                    </a:lnTo>
                    <a:lnTo>
                      <a:pt x="2914084" y="3425199"/>
                    </a:lnTo>
                    <a:lnTo>
                      <a:pt x="2910841" y="3429168"/>
                    </a:lnTo>
                    <a:lnTo>
                      <a:pt x="2912113" y="3430329"/>
                    </a:lnTo>
                    <a:lnTo>
                      <a:pt x="2913075" y="3431946"/>
                    </a:lnTo>
                    <a:lnTo>
                      <a:pt x="2913202" y="3433924"/>
                    </a:lnTo>
                    <a:lnTo>
                      <a:pt x="2911988" y="3436119"/>
                    </a:lnTo>
                    <a:lnTo>
                      <a:pt x="2912907" y="3437644"/>
                    </a:lnTo>
                    <a:lnTo>
                      <a:pt x="2908746" y="3440205"/>
                    </a:lnTo>
                    <a:lnTo>
                      <a:pt x="2898849" y="3444539"/>
                    </a:lnTo>
                    <a:lnTo>
                      <a:pt x="2894458" y="3445175"/>
                    </a:lnTo>
                    <a:lnTo>
                      <a:pt x="2891062" y="3446220"/>
                    </a:lnTo>
                    <a:lnTo>
                      <a:pt x="2866896" y="3458427"/>
                    </a:lnTo>
                    <a:lnTo>
                      <a:pt x="2861582" y="3459868"/>
                    </a:lnTo>
                    <a:lnTo>
                      <a:pt x="2853428" y="3460606"/>
                    </a:lnTo>
                    <a:lnTo>
                      <a:pt x="2848586" y="3462304"/>
                    </a:lnTo>
                    <a:lnTo>
                      <a:pt x="2846324" y="3462637"/>
                    </a:lnTo>
                    <a:lnTo>
                      <a:pt x="2843730" y="3463581"/>
                    </a:lnTo>
                    <a:lnTo>
                      <a:pt x="2839493" y="3468043"/>
                    </a:lnTo>
                    <a:lnTo>
                      <a:pt x="2836729" y="3469013"/>
                    </a:lnTo>
                    <a:lnTo>
                      <a:pt x="2837025" y="3471026"/>
                    </a:lnTo>
                    <a:lnTo>
                      <a:pt x="2837287" y="3471802"/>
                    </a:lnTo>
                    <a:lnTo>
                      <a:pt x="2834393" y="3474026"/>
                    </a:lnTo>
                    <a:lnTo>
                      <a:pt x="2832544" y="3477381"/>
                    </a:lnTo>
                    <a:lnTo>
                      <a:pt x="2830784" y="3479603"/>
                    </a:lnTo>
                    <a:lnTo>
                      <a:pt x="2828149" y="3478454"/>
                    </a:lnTo>
                    <a:lnTo>
                      <a:pt x="2827596" y="3483692"/>
                    </a:lnTo>
                    <a:lnTo>
                      <a:pt x="2825052" y="3486721"/>
                    </a:lnTo>
                    <a:lnTo>
                      <a:pt x="2821513" y="3489016"/>
                    </a:lnTo>
                    <a:lnTo>
                      <a:pt x="2817980" y="3491954"/>
                    </a:lnTo>
                    <a:lnTo>
                      <a:pt x="2811874" y="3499939"/>
                    </a:lnTo>
                    <a:lnTo>
                      <a:pt x="2807884" y="3502717"/>
                    </a:lnTo>
                    <a:lnTo>
                      <a:pt x="2804280" y="3500915"/>
                    </a:lnTo>
                    <a:lnTo>
                      <a:pt x="2801483" y="3503950"/>
                    </a:lnTo>
                    <a:lnTo>
                      <a:pt x="2793431" y="3504443"/>
                    </a:lnTo>
                    <a:lnTo>
                      <a:pt x="2789619" y="3506627"/>
                    </a:lnTo>
                    <a:lnTo>
                      <a:pt x="2786387" y="3509305"/>
                    </a:lnTo>
                    <a:lnTo>
                      <a:pt x="2778934" y="3513555"/>
                    </a:lnTo>
                    <a:lnTo>
                      <a:pt x="2776334" y="3516434"/>
                    </a:lnTo>
                    <a:lnTo>
                      <a:pt x="2776904" y="3517374"/>
                    </a:lnTo>
                    <a:lnTo>
                      <a:pt x="2777147" y="3517978"/>
                    </a:lnTo>
                    <a:lnTo>
                      <a:pt x="2766326" y="3517504"/>
                    </a:lnTo>
                    <a:lnTo>
                      <a:pt x="2762728" y="3518113"/>
                    </a:lnTo>
                    <a:lnTo>
                      <a:pt x="2761851" y="3519905"/>
                    </a:lnTo>
                    <a:lnTo>
                      <a:pt x="2762853" y="3522192"/>
                    </a:lnTo>
                    <a:lnTo>
                      <a:pt x="2764912" y="3524228"/>
                    </a:lnTo>
                    <a:lnTo>
                      <a:pt x="2762791" y="3526724"/>
                    </a:lnTo>
                    <a:lnTo>
                      <a:pt x="2760631" y="3526678"/>
                    </a:lnTo>
                    <a:lnTo>
                      <a:pt x="2758605" y="3524931"/>
                    </a:lnTo>
                    <a:lnTo>
                      <a:pt x="2756887" y="3522489"/>
                    </a:lnTo>
                    <a:lnTo>
                      <a:pt x="2755091" y="3525221"/>
                    </a:lnTo>
                    <a:lnTo>
                      <a:pt x="2753039" y="3525354"/>
                    </a:lnTo>
                    <a:lnTo>
                      <a:pt x="2750864" y="3524837"/>
                    </a:lnTo>
                    <a:lnTo>
                      <a:pt x="2748692" y="3525656"/>
                    </a:lnTo>
                    <a:lnTo>
                      <a:pt x="2744282" y="3529493"/>
                    </a:lnTo>
                    <a:lnTo>
                      <a:pt x="2741781" y="3530990"/>
                    </a:lnTo>
                    <a:lnTo>
                      <a:pt x="2736526" y="3531894"/>
                    </a:lnTo>
                    <a:lnTo>
                      <a:pt x="2727919" y="3535172"/>
                    </a:lnTo>
                    <a:lnTo>
                      <a:pt x="2722375" y="3535938"/>
                    </a:lnTo>
                    <a:lnTo>
                      <a:pt x="2719847" y="3537020"/>
                    </a:lnTo>
                    <a:lnTo>
                      <a:pt x="2720217" y="3538968"/>
                    </a:lnTo>
                    <a:lnTo>
                      <a:pt x="2720018" y="3540344"/>
                    </a:lnTo>
                    <a:lnTo>
                      <a:pt x="2708219" y="3542584"/>
                    </a:lnTo>
                    <a:lnTo>
                      <a:pt x="2710954" y="3540422"/>
                    </a:lnTo>
                    <a:lnTo>
                      <a:pt x="2713757" y="3540004"/>
                    </a:lnTo>
                    <a:lnTo>
                      <a:pt x="2716343" y="3539272"/>
                    </a:lnTo>
                    <a:lnTo>
                      <a:pt x="2718463" y="3536133"/>
                    </a:lnTo>
                    <a:lnTo>
                      <a:pt x="2718028" y="3535692"/>
                    </a:lnTo>
                    <a:lnTo>
                      <a:pt x="2717946" y="3535582"/>
                    </a:lnTo>
                    <a:lnTo>
                      <a:pt x="2717938" y="3535384"/>
                    </a:lnTo>
                    <a:lnTo>
                      <a:pt x="2717739" y="3534714"/>
                    </a:lnTo>
                    <a:lnTo>
                      <a:pt x="2726890" y="3533715"/>
                    </a:lnTo>
                    <a:lnTo>
                      <a:pt x="2729436" y="3532468"/>
                    </a:lnTo>
                    <a:lnTo>
                      <a:pt x="2731494" y="3529220"/>
                    </a:lnTo>
                    <a:lnTo>
                      <a:pt x="2732821" y="3522697"/>
                    </a:lnTo>
                    <a:lnTo>
                      <a:pt x="2735440" y="3520151"/>
                    </a:lnTo>
                    <a:lnTo>
                      <a:pt x="2738972" y="3519509"/>
                    </a:lnTo>
                    <a:lnTo>
                      <a:pt x="2741894" y="3520382"/>
                    </a:lnTo>
                    <a:lnTo>
                      <a:pt x="2744763" y="3520567"/>
                    </a:lnTo>
                    <a:lnTo>
                      <a:pt x="2748147" y="3517947"/>
                    </a:lnTo>
                    <a:lnTo>
                      <a:pt x="2749826" y="3514460"/>
                    </a:lnTo>
                    <a:lnTo>
                      <a:pt x="2751029" y="3507357"/>
                    </a:lnTo>
                    <a:lnTo>
                      <a:pt x="2753186" y="3504354"/>
                    </a:lnTo>
                    <a:lnTo>
                      <a:pt x="2756260" y="3505726"/>
                    </a:lnTo>
                    <a:lnTo>
                      <a:pt x="2759745" y="3503391"/>
                    </a:lnTo>
                    <a:lnTo>
                      <a:pt x="2766246" y="3495865"/>
                    </a:lnTo>
                    <a:lnTo>
                      <a:pt x="2767176" y="3492974"/>
                    </a:lnTo>
                    <a:lnTo>
                      <a:pt x="2764271" y="3485940"/>
                    </a:lnTo>
                    <a:lnTo>
                      <a:pt x="2764704" y="3481346"/>
                    </a:lnTo>
                    <a:lnTo>
                      <a:pt x="2766220" y="3478579"/>
                    </a:lnTo>
                    <a:lnTo>
                      <a:pt x="2768722" y="3474950"/>
                    </a:lnTo>
                    <a:lnTo>
                      <a:pt x="2771548" y="3471854"/>
                    </a:lnTo>
                    <a:lnTo>
                      <a:pt x="2776710" y="3469537"/>
                    </a:lnTo>
                    <a:lnTo>
                      <a:pt x="2781829" y="3464822"/>
                    </a:lnTo>
                    <a:lnTo>
                      <a:pt x="2783713" y="3463965"/>
                    </a:lnTo>
                    <a:lnTo>
                      <a:pt x="2791600" y="3459832"/>
                    </a:lnTo>
                    <a:lnTo>
                      <a:pt x="2792837" y="3458214"/>
                    </a:lnTo>
                    <a:lnTo>
                      <a:pt x="2794392" y="3455146"/>
                    </a:lnTo>
                    <a:lnTo>
                      <a:pt x="2797058" y="3455081"/>
                    </a:lnTo>
                    <a:lnTo>
                      <a:pt x="2802101" y="3458000"/>
                    </a:lnTo>
                    <a:lnTo>
                      <a:pt x="2804672" y="3460006"/>
                    </a:lnTo>
                    <a:lnTo>
                      <a:pt x="2805955" y="3460686"/>
                    </a:lnTo>
                    <a:lnTo>
                      <a:pt x="2807889" y="3461000"/>
                    </a:lnTo>
                    <a:lnTo>
                      <a:pt x="2809076" y="3460426"/>
                    </a:lnTo>
                    <a:lnTo>
                      <a:pt x="2812354" y="3457703"/>
                    </a:lnTo>
                    <a:lnTo>
                      <a:pt x="2815355" y="3456811"/>
                    </a:lnTo>
                    <a:lnTo>
                      <a:pt x="2816754" y="3456114"/>
                    </a:lnTo>
                    <a:lnTo>
                      <a:pt x="2818235" y="3455659"/>
                    </a:lnTo>
                    <a:lnTo>
                      <a:pt x="2819835" y="3455999"/>
                    </a:lnTo>
                    <a:lnTo>
                      <a:pt x="2820528" y="3456967"/>
                    </a:lnTo>
                    <a:lnTo>
                      <a:pt x="2821418" y="3460264"/>
                    </a:lnTo>
                    <a:lnTo>
                      <a:pt x="2822146" y="3461613"/>
                    </a:lnTo>
                    <a:lnTo>
                      <a:pt x="2826674" y="3459830"/>
                    </a:lnTo>
                    <a:lnTo>
                      <a:pt x="2830480" y="3459383"/>
                    </a:lnTo>
                    <a:lnTo>
                      <a:pt x="2833557" y="3457424"/>
                    </a:lnTo>
                    <a:lnTo>
                      <a:pt x="2835895" y="3451155"/>
                    </a:lnTo>
                    <a:lnTo>
                      <a:pt x="2834048" y="3452186"/>
                    </a:lnTo>
                    <a:lnTo>
                      <a:pt x="2832694" y="3451924"/>
                    </a:lnTo>
                    <a:lnTo>
                      <a:pt x="2832294" y="3450525"/>
                    </a:lnTo>
                    <a:lnTo>
                      <a:pt x="2833320" y="3448157"/>
                    </a:lnTo>
                    <a:lnTo>
                      <a:pt x="2831187" y="3446956"/>
                    </a:lnTo>
                    <a:lnTo>
                      <a:pt x="2826553" y="3446017"/>
                    </a:lnTo>
                    <a:lnTo>
                      <a:pt x="2824413" y="3445153"/>
                    </a:lnTo>
                    <a:lnTo>
                      <a:pt x="2824621" y="3443639"/>
                    </a:lnTo>
                    <a:lnTo>
                      <a:pt x="2826718" y="3442693"/>
                    </a:lnTo>
                    <a:lnTo>
                      <a:pt x="2829043" y="3440580"/>
                    </a:lnTo>
                    <a:lnTo>
                      <a:pt x="2830974" y="3437996"/>
                    </a:lnTo>
                    <a:lnTo>
                      <a:pt x="2831860" y="3435681"/>
                    </a:lnTo>
                    <a:lnTo>
                      <a:pt x="2831612" y="3431994"/>
                    </a:lnTo>
                    <a:lnTo>
                      <a:pt x="2830737" y="3430633"/>
                    </a:lnTo>
                    <a:lnTo>
                      <a:pt x="2830533" y="3429357"/>
                    </a:lnTo>
                    <a:lnTo>
                      <a:pt x="2832271" y="3425903"/>
                    </a:lnTo>
                    <a:lnTo>
                      <a:pt x="2836845" y="3419389"/>
                    </a:lnTo>
                    <a:lnTo>
                      <a:pt x="2838400" y="3417885"/>
                    </a:lnTo>
                    <a:lnTo>
                      <a:pt x="2840781" y="3416794"/>
                    </a:lnTo>
                    <a:lnTo>
                      <a:pt x="2846241" y="3415374"/>
                    </a:lnTo>
                    <a:lnTo>
                      <a:pt x="2853642" y="3409251"/>
                    </a:lnTo>
                    <a:lnTo>
                      <a:pt x="2859131" y="3406203"/>
                    </a:lnTo>
                    <a:lnTo>
                      <a:pt x="2864909" y="3404399"/>
                    </a:lnTo>
                    <a:lnTo>
                      <a:pt x="2876143" y="3403562"/>
                    </a:lnTo>
                    <a:lnTo>
                      <a:pt x="2879024" y="3402672"/>
                    </a:lnTo>
                    <a:lnTo>
                      <a:pt x="2881269" y="3401138"/>
                    </a:lnTo>
                    <a:lnTo>
                      <a:pt x="2883672" y="3400507"/>
                    </a:lnTo>
                    <a:lnTo>
                      <a:pt x="2890879" y="3401388"/>
                    </a:lnTo>
                    <a:close/>
                    <a:moveTo>
                      <a:pt x="131346" y="3389047"/>
                    </a:moveTo>
                    <a:lnTo>
                      <a:pt x="132279" y="3389227"/>
                    </a:lnTo>
                    <a:lnTo>
                      <a:pt x="148493" y="3389104"/>
                    </a:lnTo>
                    <a:lnTo>
                      <a:pt x="152715" y="3389938"/>
                    </a:lnTo>
                    <a:lnTo>
                      <a:pt x="155573" y="3391979"/>
                    </a:lnTo>
                    <a:lnTo>
                      <a:pt x="144506" y="3396811"/>
                    </a:lnTo>
                    <a:lnTo>
                      <a:pt x="140290" y="3400842"/>
                    </a:lnTo>
                    <a:lnTo>
                      <a:pt x="140040" y="3406687"/>
                    </a:lnTo>
                    <a:lnTo>
                      <a:pt x="140233" y="3409202"/>
                    </a:lnTo>
                    <a:lnTo>
                      <a:pt x="139704" y="3412695"/>
                    </a:lnTo>
                    <a:lnTo>
                      <a:pt x="138822" y="3416412"/>
                    </a:lnTo>
                    <a:lnTo>
                      <a:pt x="137792" y="3419505"/>
                    </a:lnTo>
                    <a:lnTo>
                      <a:pt x="124983" y="3420115"/>
                    </a:lnTo>
                    <a:lnTo>
                      <a:pt x="125795" y="3419060"/>
                    </a:lnTo>
                    <a:lnTo>
                      <a:pt x="126090" y="3418544"/>
                    </a:lnTo>
                    <a:lnTo>
                      <a:pt x="126360" y="3418164"/>
                    </a:lnTo>
                    <a:lnTo>
                      <a:pt x="127140" y="3417486"/>
                    </a:lnTo>
                    <a:lnTo>
                      <a:pt x="127669" y="3416101"/>
                    </a:lnTo>
                    <a:lnTo>
                      <a:pt x="125776" y="3416092"/>
                    </a:lnTo>
                    <a:lnTo>
                      <a:pt x="124194" y="3415656"/>
                    </a:lnTo>
                    <a:lnTo>
                      <a:pt x="122958" y="3414901"/>
                    </a:lnTo>
                    <a:lnTo>
                      <a:pt x="122136" y="3413939"/>
                    </a:lnTo>
                    <a:lnTo>
                      <a:pt x="123552" y="3410592"/>
                    </a:lnTo>
                    <a:lnTo>
                      <a:pt x="120487" y="3409732"/>
                    </a:lnTo>
                    <a:lnTo>
                      <a:pt x="104538" y="3409754"/>
                    </a:lnTo>
                    <a:lnTo>
                      <a:pt x="90935" y="3405945"/>
                    </a:lnTo>
                    <a:lnTo>
                      <a:pt x="89640" y="3404264"/>
                    </a:lnTo>
                    <a:lnTo>
                      <a:pt x="91619" y="3401161"/>
                    </a:lnTo>
                    <a:lnTo>
                      <a:pt x="94532" y="3399298"/>
                    </a:lnTo>
                    <a:lnTo>
                      <a:pt x="98656" y="3397625"/>
                    </a:lnTo>
                    <a:lnTo>
                      <a:pt x="102507" y="3396696"/>
                    </a:lnTo>
                    <a:lnTo>
                      <a:pt x="104625" y="3397049"/>
                    </a:lnTo>
                    <a:lnTo>
                      <a:pt x="107495" y="3398441"/>
                    </a:lnTo>
                    <a:lnTo>
                      <a:pt x="110220" y="3398888"/>
                    </a:lnTo>
                    <a:lnTo>
                      <a:pt x="113038" y="3398421"/>
                    </a:lnTo>
                    <a:lnTo>
                      <a:pt x="116152" y="3397084"/>
                    </a:lnTo>
                    <a:lnTo>
                      <a:pt x="120721" y="3393955"/>
                    </a:lnTo>
                    <a:lnTo>
                      <a:pt x="122136" y="3393627"/>
                    </a:lnTo>
                    <a:lnTo>
                      <a:pt x="124675" y="3393850"/>
                    </a:lnTo>
                    <a:lnTo>
                      <a:pt x="125797" y="3393502"/>
                    </a:lnTo>
                    <a:lnTo>
                      <a:pt x="126646" y="3392488"/>
                    </a:lnTo>
                    <a:lnTo>
                      <a:pt x="128441" y="3390678"/>
                    </a:lnTo>
                    <a:lnTo>
                      <a:pt x="130342" y="3389341"/>
                    </a:lnTo>
                    <a:close/>
                    <a:moveTo>
                      <a:pt x="3183302" y="3354247"/>
                    </a:moveTo>
                    <a:lnTo>
                      <a:pt x="3185713" y="3355006"/>
                    </a:lnTo>
                    <a:lnTo>
                      <a:pt x="3184001" y="3357111"/>
                    </a:lnTo>
                    <a:lnTo>
                      <a:pt x="3183409" y="3357681"/>
                    </a:lnTo>
                    <a:lnTo>
                      <a:pt x="3181892" y="3357771"/>
                    </a:lnTo>
                    <a:lnTo>
                      <a:pt x="3180617" y="3358498"/>
                    </a:lnTo>
                    <a:lnTo>
                      <a:pt x="3179605" y="3359809"/>
                    </a:lnTo>
                    <a:lnTo>
                      <a:pt x="3178918" y="3361661"/>
                    </a:lnTo>
                    <a:lnTo>
                      <a:pt x="3180308" y="3363287"/>
                    </a:lnTo>
                    <a:lnTo>
                      <a:pt x="3180465" y="3365225"/>
                    </a:lnTo>
                    <a:lnTo>
                      <a:pt x="3179668" y="3367091"/>
                    </a:lnTo>
                    <a:lnTo>
                      <a:pt x="3178190" y="3368508"/>
                    </a:lnTo>
                    <a:lnTo>
                      <a:pt x="3175975" y="3369205"/>
                    </a:lnTo>
                    <a:lnTo>
                      <a:pt x="3171635" y="3368300"/>
                    </a:lnTo>
                    <a:lnTo>
                      <a:pt x="3169063" y="3368208"/>
                    </a:lnTo>
                    <a:lnTo>
                      <a:pt x="3170872" y="3372035"/>
                    </a:lnTo>
                    <a:lnTo>
                      <a:pt x="3171424" y="3374018"/>
                    </a:lnTo>
                    <a:lnTo>
                      <a:pt x="3170748" y="3375881"/>
                    </a:lnTo>
                    <a:lnTo>
                      <a:pt x="3169202" y="3376763"/>
                    </a:lnTo>
                    <a:lnTo>
                      <a:pt x="3162869" y="3377742"/>
                    </a:lnTo>
                    <a:lnTo>
                      <a:pt x="3163380" y="3378790"/>
                    </a:lnTo>
                    <a:lnTo>
                      <a:pt x="3164472" y="3381801"/>
                    </a:lnTo>
                    <a:lnTo>
                      <a:pt x="3161649" y="3379955"/>
                    </a:lnTo>
                    <a:lnTo>
                      <a:pt x="3156426" y="3374430"/>
                    </a:lnTo>
                    <a:lnTo>
                      <a:pt x="3153736" y="3373185"/>
                    </a:lnTo>
                    <a:lnTo>
                      <a:pt x="3152945" y="3370922"/>
                    </a:lnTo>
                    <a:lnTo>
                      <a:pt x="3153200" y="3366605"/>
                    </a:lnTo>
                    <a:lnTo>
                      <a:pt x="3154798" y="3363907"/>
                    </a:lnTo>
                    <a:lnTo>
                      <a:pt x="3157978" y="3366471"/>
                    </a:lnTo>
                    <a:lnTo>
                      <a:pt x="3158239" y="3363727"/>
                    </a:lnTo>
                    <a:lnTo>
                      <a:pt x="3159192" y="3362474"/>
                    </a:lnTo>
                    <a:lnTo>
                      <a:pt x="3160585" y="3361693"/>
                    </a:lnTo>
                    <a:lnTo>
                      <a:pt x="3162190" y="3360419"/>
                    </a:lnTo>
                    <a:lnTo>
                      <a:pt x="3163038" y="3360178"/>
                    </a:lnTo>
                    <a:lnTo>
                      <a:pt x="3162999" y="3362011"/>
                    </a:lnTo>
                    <a:lnTo>
                      <a:pt x="3162031" y="3366606"/>
                    </a:lnTo>
                    <a:lnTo>
                      <a:pt x="3163136" y="3366643"/>
                    </a:lnTo>
                    <a:lnTo>
                      <a:pt x="3166988" y="3358761"/>
                    </a:lnTo>
                    <a:lnTo>
                      <a:pt x="3169446" y="3355993"/>
                    </a:lnTo>
                    <a:lnTo>
                      <a:pt x="3172265" y="3357315"/>
                    </a:lnTo>
                    <a:lnTo>
                      <a:pt x="3173734" y="3354956"/>
                    </a:lnTo>
                    <a:lnTo>
                      <a:pt x="3175068" y="3354877"/>
                    </a:lnTo>
                    <a:lnTo>
                      <a:pt x="3176553" y="3355729"/>
                    </a:lnTo>
                    <a:lnTo>
                      <a:pt x="3178488" y="3356144"/>
                    </a:lnTo>
                    <a:lnTo>
                      <a:pt x="3180392" y="3355527"/>
                    </a:lnTo>
                    <a:lnTo>
                      <a:pt x="3181756" y="3354655"/>
                    </a:lnTo>
                    <a:close/>
                    <a:moveTo>
                      <a:pt x="220710" y="3349471"/>
                    </a:moveTo>
                    <a:lnTo>
                      <a:pt x="226520" y="3354465"/>
                    </a:lnTo>
                    <a:lnTo>
                      <a:pt x="227977" y="3357615"/>
                    </a:lnTo>
                    <a:lnTo>
                      <a:pt x="216126" y="3354667"/>
                    </a:lnTo>
                    <a:lnTo>
                      <a:pt x="214062" y="3353578"/>
                    </a:lnTo>
                    <a:lnTo>
                      <a:pt x="215199" y="3351851"/>
                    </a:lnTo>
                    <a:lnTo>
                      <a:pt x="217957" y="3350234"/>
                    </a:lnTo>
                    <a:close/>
                    <a:moveTo>
                      <a:pt x="3178919" y="3324826"/>
                    </a:moveTo>
                    <a:lnTo>
                      <a:pt x="3184840" y="3326011"/>
                    </a:lnTo>
                    <a:lnTo>
                      <a:pt x="3187809" y="3327721"/>
                    </a:lnTo>
                    <a:lnTo>
                      <a:pt x="3188757" y="3328300"/>
                    </a:lnTo>
                    <a:lnTo>
                      <a:pt x="3189821" y="3329751"/>
                    </a:lnTo>
                    <a:lnTo>
                      <a:pt x="3188230" y="3331556"/>
                    </a:lnTo>
                    <a:lnTo>
                      <a:pt x="3184774" y="3332580"/>
                    </a:lnTo>
                    <a:lnTo>
                      <a:pt x="3178490" y="3332513"/>
                    </a:lnTo>
                    <a:lnTo>
                      <a:pt x="3176283" y="3332145"/>
                    </a:lnTo>
                    <a:lnTo>
                      <a:pt x="3173172" y="3330405"/>
                    </a:lnTo>
                    <a:lnTo>
                      <a:pt x="3172803" y="3327152"/>
                    </a:lnTo>
                    <a:lnTo>
                      <a:pt x="3174018" y="3325449"/>
                    </a:lnTo>
                    <a:lnTo>
                      <a:pt x="3175334" y="3325469"/>
                    </a:lnTo>
                    <a:close/>
                    <a:moveTo>
                      <a:pt x="3091187" y="3317295"/>
                    </a:moveTo>
                    <a:lnTo>
                      <a:pt x="3092712" y="3319478"/>
                    </a:lnTo>
                    <a:lnTo>
                      <a:pt x="3091795" y="3321582"/>
                    </a:lnTo>
                    <a:lnTo>
                      <a:pt x="3090603" y="3323627"/>
                    </a:lnTo>
                    <a:lnTo>
                      <a:pt x="3091335" y="3325553"/>
                    </a:lnTo>
                    <a:lnTo>
                      <a:pt x="3093591" y="3325814"/>
                    </a:lnTo>
                    <a:lnTo>
                      <a:pt x="3095560" y="3323779"/>
                    </a:lnTo>
                    <a:lnTo>
                      <a:pt x="3097342" y="3321043"/>
                    </a:lnTo>
                    <a:lnTo>
                      <a:pt x="3099074" y="3319091"/>
                    </a:lnTo>
                    <a:lnTo>
                      <a:pt x="3103765" y="3318234"/>
                    </a:lnTo>
                    <a:lnTo>
                      <a:pt x="3108539" y="3320212"/>
                    </a:lnTo>
                    <a:lnTo>
                      <a:pt x="3112379" y="3324129"/>
                    </a:lnTo>
                    <a:lnTo>
                      <a:pt x="3114227" y="3329106"/>
                    </a:lnTo>
                    <a:lnTo>
                      <a:pt x="3110647" y="3330159"/>
                    </a:lnTo>
                    <a:lnTo>
                      <a:pt x="3108714" y="3331067"/>
                    </a:lnTo>
                    <a:lnTo>
                      <a:pt x="3107767" y="3332376"/>
                    </a:lnTo>
                    <a:lnTo>
                      <a:pt x="3107523" y="3333365"/>
                    </a:lnTo>
                    <a:lnTo>
                      <a:pt x="3106671" y="3335276"/>
                    </a:lnTo>
                    <a:lnTo>
                      <a:pt x="3106392" y="3336454"/>
                    </a:lnTo>
                    <a:lnTo>
                      <a:pt x="3106538" y="3337753"/>
                    </a:lnTo>
                    <a:lnTo>
                      <a:pt x="3107038" y="3339097"/>
                    </a:lnTo>
                    <a:lnTo>
                      <a:pt x="3107606" y="3340001"/>
                    </a:lnTo>
                    <a:lnTo>
                      <a:pt x="3107915" y="3339996"/>
                    </a:lnTo>
                    <a:lnTo>
                      <a:pt x="3105392" y="3345869"/>
                    </a:lnTo>
                    <a:lnTo>
                      <a:pt x="3105672" y="3346797"/>
                    </a:lnTo>
                    <a:lnTo>
                      <a:pt x="3107788" y="3346224"/>
                    </a:lnTo>
                    <a:lnTo>
                      <a:pt x="3109639" y="3345061"/>
                    </a:lnTo>
                    <a:lnTo>
                      <a:pt x="3111447" y="3344477"/>
                    </a:lnTo>
                    <a:lnTo>
                      <a:pt x="3113468" y="3345580"/>
                    </a:lnTo>
                    <a:lnTo>
                      <a:pt x="3109026" y="3352386"/>
                    </a:lnTo>
                    <a:lnTo>
                      <a:pt x="3108229" y="3355135"/>
                    </a:lnTo>
                    <a:lnTo>
                      <a:pt x="3111818" y="3353589"/>
                    </a:lnTo>
                    <a:lnTo>
                      <a:pt x="3127628" y="3341902"/>
                    </a:lnTo>
                    <a:lnTo>
                      <a:pt x="3129701" y="3342179"/>
                    </a:lnTo>
                    <a:lnTo>
                      <a:pt x="3131803" y="3344969"/>
                    </a:lnTo>
                    <a:lnTo>
                      <a:pt x="3132527" y="3342866"/>
                    </a:lnTo>
                    <a:lnTo>
                      <a:pt x="3135752" y="3336851"/>
                    </a:lnTo>
                    <a:lnTo>
                      <a:pt x="3135642" y="3336538"/>
                    </a:lnTo>
                    <a:lnTo>
                      <a:pt x="3135914" y="3333812"/>
                    </a:lnTo>
                    <a:lnTo>
                      <a:pt x="3136209" y="3332741"/>
                    </a:lnTo>
                    <a:lnTo>
                      <a:pt x="3138646" y="3332007"/>
                    </a:lnTo>
                    <a:lnTo>
                      <a:pt x="3139392" y="3331492"/>
                    </a:lnTo>
                    <a:lnTo>
                      <a:pt x="3141190" y="3326257"/>
                    </a:lnTo>
                    <a:lnTo>
                      <a:pt x="3142276" y="3324470"/>
                    </a:lnTo>
                    <a:lnTo>
                      <a:pt x="3147657" y="3320782"/>
                    </a:lnTo>
                    <a:lnTo>
                      <a:pt x="3148813" y="3323972"/>
                    </a:lnTo>
                    <a:lnTo>
                      <a:pt x="3147072" y="3327735"/>
                    </a:lnTo>
                    <a:lnTo>
                      <a:pt x="3146063" y="3331130"/>
                    </a:lnTo>
                    <a:lnTo>
                      <a:pt x="3149424" y="3333193"/>
                    </a:lnTo>
                    <a:lnTo>
                      <a:pt x="3152981" y="3332151"/>
                    </a:lnTo>
                    <a:lnTo>
                      <a:pt x="3157085" y="3329620"/>
                    </a:lnTo>
                    <a:lnTo>
                      <a:pt x="3160756" y="3327976"/>
                    </a:lnTo>
                    <a:lnTo>
                      <a:pt x="3162996" y="3329525"/>
                    </a:lnTo>
                    <a:lnTo>
                      <a:pt x="3163569" y="3332802"/>
                    </a:lnTo>
                    <a:lnTo>
                      <a:pt x="3163730" y="3335786"/>
                    </a:lnTo>
                    <a:lnTo>
                      <a:pt x="3162962" y="3338396"/>
                    </a:lnTo>
                    <a:lnTo>
                      <a:pt x="3160799" y="3340452"/>
                    </a:lnTo>
                    <a:lnTo>
                      <a:pt x="3162886" y="3340399"/>
                    </a:lnTo>
                    <a:lnTo>
                      <a:pt x="3164816" y="3339359"/>
                    </a:lnTo>
                    <a:lnTo>
                      <a:pt x="3168425" y="3336458"/>
                    </a:lnTo>
                    <a:lnTo>
                      <a:pt x="3168109" y="3339551"/>
                    </a:lnTo>
                    <a:lnTo>
                      <a:pt x="3166908" y="3342154"/>
                    </a:lnTo>
                    <a:lnTo>
                      <a:pt x="3165170" y="3344307"/>
                    </a:lnTo>
                    <a:lnTo>
                      <a:pt x="3163237" y="3346035"/>
                    </a:lnTo>
                    <a:lnTo>
                      <a:pt x="3160068" y="3348189"/>
                    </a:lnTo>
                    <a:lnTo>
                      <a:pt x="3157379" y="3349179"/>
                    </a:lnTo>
                    <a:lnTo>
                      <a:pt x="3154733" y="3349189"/>
                    </a:lnTo>
                    <a:lnTo>
                      <a:pt x="3151731" y="3348383"/>
                    </a:lnTo>
                    <a:lnTo>
                      <a:pt x="3151053" y="3347443"/>
                    </a:lnTo>
                    <a:lnTo>
                      <a:pt x="3150653" y="3346005"/>
                    </a:lnTo>
                    <a:lnTo>
                      <a:pt x="3149991" y="3345213"/>
                    </a:lnTo>
                    <a:lnTo>
                      <a:pt x="3148509" y="3346153"/>
                    </a:lnTo>
                    <a:lnTo>
                      <a:pt x="3147822" y="3347457"/>
                    </a:lnTo>
                    <a:lnTo>
                      <a:pt x="3146916" y="3350963"/>
                    </a:lnTo>
                    <a:lnTo>
                      <a:pt x="3146218" y="3352316"/>
                    </a:lnTo>
                    <a:lnTo>
                      <a:pt x="3143393" y="3354112"/>
                    </a:lnTo>
                    <a:lnTo>
                      <a:pt x="3137380" y="3354743"/>
                    </a:lnTo>
                    <a:lnTo>
                      <a:pt x="3134639" y="3356049"/>
                    </a:lnTo>
                    <a:lnTo>
                      <a:pt x="3136270" y="3359242"/>
                    </a:lnTo>
                    <a:lnTo>
                      <a:pt x="3137211" y="3360265"/>
                    </a:lnTo>
                    <a:lnTo>
                      <a:pt x="3135179" y="3361351"/>
                    </a:lnTo>
                    <a:lnTo>
                      <a:pt x="3120380" y="3364012"/>
                    </a:lnTo>
                    <a:lnTo>
                      <a:pt x="3117433" y="3363706"/>
                    </a:lnTo>
                    <a:lnTo>
                      <a:pt x="3120752" y="3365721"/>
                    </a:lnTo>
                    <a:lnTo>
                      <a:pt x="3122340" y="3366317"/>
                    </a:lnTo>
                    <a:lnTo>
                      <a:pt x="3124302" y="3366696"/>
                    </a:lnTo>
                    <a:lnTo>
                      <a:pt x="3124149" y="3368067"/>
                    </a:lnTo>
                    <a:lnTo>
                      <a:pt x="3119963" y="3368913"/>
                    </a:lnTo>
                    <a:lnTo>
                      <a:pt x="3116681" y="3371382"/>
                    </a:lnTo>
                    <a:lnTo>
                      <a:pt x="3110748" y="3378723"/>
                    </a:lnTo>
                    <a:lnTo>
                      <a:pt x="3113099" y="3378534"/>
                    </a:lnTo>
                    <a:lnTo>
                      <a:pt x="3114268" y="3379591"/>
                    </a:lnTo>
                    <a:lnTo>
                      <a:pt x="3114279" y="3381608"/>
                    </a:lnTo>
                    <a:lnTo>
                      <a:pt x="3113175" y="3384307"/>
                    </a:lnTo>
                    <a:lnTo>
                      <a:pt x="3115444" y="3382746"/>
                    </a:lnTo>
                    <a:lnTo>
                      <a:pt x="3118863" y="3377570"/>
                    </a:lnTo>
                    <a:lnTo>
                      <a:pt x="3120175" y="3376296"/>
                    </a:lnTo>
                    <a:lnTo>
                      <a:pt x="3122340" y="3377403"/>
                    </a:lnTo>
                    <a:lnTo>
                      <a:pt x="3123260" y="3383082"/>
                    </a:lnTo>
                    <a:lnTo>
                      <a:pt x="3125041" y="3382585"/>
                    </a:lnTo>
                    <a:lnTo>
                      <a:pt x="3125636" y="3381524"/>
                    </a:lnTo>
                    <a:lnTo>
                      <a:pt x="3125951" y="3380126"/>
                    </a:lnTo>
                    <a:lnTo>
                      <a:pt x="3126190" y="3377191"/>
                    </a:lnTo>
                    <a:lnTo>
                      <a:pt x="3126613" y="3375313"/>
                    </a:lnTo>
                    <a:lnTo>
                      <a:pt x="3127265" y="3374517"/>
                    </a:lnTo>
                    <a:lnTo>
                      <a:pt x="3128137" y="3374038"/>
                    </a:lnTo>
                    <a:lnTo>
                      <a:pt x="3129186" y="3373107"/>
                    </a:lnTo>
                    <a:lnTo>
                      <a:pt x="3131658" y="3371356"/>
                    </a:lnTo>
                    <a:lnTo>
                      <a:pt x="3134738" y="3370601"/>
                    </a:lnTo>
                    <a:lnTo>
                      <a:pt x="3136932" y="3371364"/>
                    </a:lnTo>
                    <a:lnTo>
                      <a:pt x="3136793" y="3374112"/>
                    </a:lnTo>
                    <a:lnTo>
                      <a:pt x="3138257" y="3374367"/>
                    </a:lnTo>
                    <a:lnTo>
                      <a:pt x="3139313" y="3375189"/>
                    </a:lnTo>
                    <a:lnTo>
                      <a:pt x="3140016" y="3376540"/>
                    </a:lnTo>
                    <a:lnTo>
                      <a:pt x="3140402" y="3378364"/>
                    </a:lnTo>
                    <a:lnTo>
                      <a:pt x="3141719" y="3375648"/>
                    </a:lnTo>
                    <a:lnTo>
                      <a:pt x="3142457" y="3370863"/>
                    </a:lnTo>
                    <a:lnTo>
                      <a:pt x="3144024" y="3368058"/>
                    </a:lnTo>
                    <a:lnTo>
                      <a:pt x="3146263" y="3366167"/>
                    </a:lnTo>
                    <a:lnTo>
                      <a:pt x="3148050" y="3366285"/>
                    </a:lnTo>
                    <a:lnTo>
                      <a:pt x="3149426" y="3367879"/>
                    </a:lnTo>
                    <a:lnTo>
                      <a:pt x="3150418" y="3370452"/>
                    </a:lnTo>
                    <a:lnTo>
                      <a:pt x="3150215" y="3373280"/>
                    </a:lnTo>
                    <a:lnTo>
                      <a:pt x="3149188" y="3375409"/>
                    </a:lnTo>
                    <a:lnTo>
                      <a:pt x="3149364" y="3376799"/>
                    </a:lnTo>
                    <a:lnTo>
                      <a:pt x="3152769" y="3377404"/>
                    </a:lnTo>
                    <a:lnTo>
                      <a:pt x="3155078" y="3378310"/>
                    </a:lnTo>
                    <a:lnTo>
                      <a:pt x="3155293" y="3380365"/>
                    </a:lnTo>
                    <a:lnTo>
                      <a:pt x="3154786" y="3383027"/>
                    </a:lnTo>
                    <a:lnTo>
                      <a:pt x="3154967" y="3385729"/>
                    </a:lnTo>
                    <a:lnTo>
                      <a:pt x="3152436" y="3387070"/>
                    </a:lnTo>
                    <a:lnTo>
                      <a:pt x="3146096" y="3388046"/>
                    </a:lnTo>
                    <a:lnTo>
                      <a:pt x="3134690" y="3387930"/>
                    </a:lnTo>
                    <a:lnTo>
                      <a:pt x="3131994" y="3389085"/>
                    </a:lnTo>
                    <a:lnTo>
                      <a:pt x="3134076" y="3391327"/>
                    </a:lnTo>
                    <a:lnTo>
                      <a:pt x="3134833" y="3391936"/>
                    </a:lnTo>
                    <a:lnTo>
                      <a:pt x="3131268" y="3392159"/>
                    </a:lnTo>
                    <a:lnTo>
                      <a:pt x="3127886" y="3393576"/>
                    </a:lnTo>
                    <a:lnTo>
                      <a:pt x="3124625" y="3394424"/>
                    </a:lnTo>
                    <a:lnTo>
                      <a:pt x="3121392" y="3392837"/>
                    </a:lnTo>
                    <a:lnTo>
                      <a:pt x="3112910" y="3396602"/>
                    </a:lnTo>
                    <a:lnTo>
                      <a:pt x="3110519" y="3398094"/>
                    </a:lnTo>
                    <a:lnTo>
                      <a:pt x="3112819" y="3398723"/>
                    </a:lnTo>
                    <a:lnTo>
                      <a:pt x="3114419" y="3400073"/>
                    </a:lnTo>
                    <a:lnTo>
                      <a:pt x="3115395" y="3402157"/>
                    </a:lnTo>
                    <a:lnTo>
                      <a:pt x="3115860" y="3405027"/>
                    </a:lnTo>
                    <a:lnTo>
                      <a:pt x="3112011" y="3401581"/>
                    </a:lnTo>
                    <a:lnTo>
                      <a:pt x="3107934" y="3402924"/>
                    </a:lnTo>
                    <a:lnTo>
                      <a:pt x="3104773" y="3407678"/>
                    </a:lnTo>
                    <a:lnTo>
                      <a:pt x="3103679" y="3414365"/>
                    </a:lnTo>
                    <a:lnTo>
                      <a:pt x="3102173" y="3410498"/>
                    </a:lnTo>
                    <a:lnTo>
                      <a:pt x="3094825" y="3401557"/>
                    </a:lnTo>
                    <a:lnTo>
                      <a:pt x="3094249" y="3404858"/>
                    </a:lnTo>
                    <a:lnTo>
                      <a:pt x="3096952" y="3411342"/>
                    </a:lnTo>
                    <a:lnTo>
                      <a:pt x="3097502" y="3414839"/>
                    </a:lnTo>
                    <a:lnTo>
                      <a:pt x="3095804" y="3415518"/>
                    </a:lnTo>
                    <a:lnTo>
                      <a:pt x="3086506" y="3411024"/>
                    </a:lnTo>
                    <a:lnTo>
                      <a:pt x="3086871" y="3413761"/>
                    </a:lnTo>
                    <a:lnTo>
                      <a:pt x="3088513" y="3415016"/>
                    </a:lnTo>
                    <a:lnTo>
                      <a:pt x="3090647" y="3415854"/>
                    </a:lnTo>
                    <a:lnTo>
                      <a:pt x="3092523" y="3417355"/>
                    </a:lnTo>
                    <a:lnTo>
                      <a:pt x="3093865" y="3420840"/>
                    </a:lnTo>
                    <a:lnTo>
                      <a:pt x="3093185" y="3423130"/>
                    </a:lnTo>
                    <a:lnTo>
                      <a:pt x="3091291" y="3423555"/>
                    </a:lnTo>
                    <a:lnTo>
                      <a:pt x="3087746" y="3420035"/>
                    </a:lnTo>
                    <a:lnTo>
                      <a:pt x="3086339" y="3419394"/>
                    </a:lnTo>
                    <a:lnTo>
                      <a:pt x="3083076" y="3419156"/>
                    </a:lnTo>
                    <a:lnTo>
                      <a:pt x="3082442" y="3418593"/>
                    </a:lnTo>
                    <a:lnTo>
                      <a:pt x="3081511" y="3415901"/>
                    </a:lnTo>
                    <a:lnTo>
                      <a:pt x="3081049" y="3414950"/>
                    </a:lnTo>
                    <a:lnTo>
                      <a:pt x="3077740" y="3411042"/>
                    </a:lnTo>
                    <a:lnTo>
                      <a:pt x="3074778" y="3406475"/>
                    </a:lnTo>
                    <a:lnTo>
                      <a:pt x="3072334" y="3409144"/>
                    </a:lnTo>
                    <a:lnTo>
                      <a:pt x="3073413" y="3411306"/>
                    </a:lnTo>
                    <a:lnTo>
                      <a:pt x="3075391" y="3418884"/>
                    </a:lnTo>
                    <a:lnTo>
                      <a:pt x="3079278" y="3425003"/>
                    </a:lnTo>
                    <a:lnTo>
                      <a:pt x="3079639" y="3427289"/>
                    </a:lnTo>
                    <a:lnTo>
                      <a:pt x="3078391" y="3430683"/>
                    </a:lnTo>
                    <a:lnTo>
                      <a:pt x="3076515" y="3430971"/>
                    </a:lnTo>
                    <a:lnTo>
                      <a:pt x="3072254" y="3428407"/>
                    </a:lnTo>
                    <a:lnTo>
                      <a:pt x="3071533" y="3427642"/>
                    </a:lnTo>
                    <a:lnTo>
                      <a:pt x="3071398" y="3426784"/>
                    </a:lnTo>
                    <a:lnTo>
                      <a:pt x="3070972" y="3426358"/>
                    </a:lnTo>
                    <a:lnTo>
                      <a:pt x="3069352" y="3426925"/>
                    </a:lnTo>
                    <a:lnTo>
                      <a:pt x="3069162" y="3427623"/>
                    </a:lnTo>
                    <a:lnTo>
                      <a:pt x="3067402" y="3431303"/>
                    </a:lnTo>
                    <a:lnTo>
                      <a:pt x="3066663" y="3432475"/>
                    </a:lnTo>
                    <a:lnTo>
                      <a:pt x="3061563" y="3425012"/>
                    </a:lnTo>
                    <a:lnTo>
                      <a:pt x="3060503" y="3423866"/>
                    </a:lnTo>
                    <a:lnTo>
                      <a:pt x="3057952" y="3424891"/>
                    </a:lnTo>
                    <a:lnTo>
                      <a:pt x="3055563" y="3430681"/>
                    </a:lnTo>
                    <a:lnTo>
                      <a:pt x="3053415" y="3432000"/>
                    </a:lnTo>
                    <a:lnTo>
                      <a:pt x="3051656" y="3430885"/>
                    </a:lnTo>
                    <a:lnTo>
                      <a:pt x="3051292" y="3428721"/>
                    </a:lnTo>
                    <a:lnTo>
                      <a:pt x="3050824" y="3427087"/>
                    </a:lnTo>
                    <a:lnTo>
                      <a:pt x="3048734" y="3427562"/>
                    </a:lnTo>
                    <a:lnTo>
                      <a:pt x="3047342" y="3429448"/>
                    </a:lnTo>
                    <a:lnTo>
                      <a:pt x="3046627" y="3431836"/>
                    </a:lnTo>
                    <a:lnTo>
                      <a:pt x="3045502" y="3433782"/>
                    </a:lnTo>
                    <a:lnTo>
                      <a:pt x="3042827" y="3434234"/>
                    </a:lnTo>
                    <a:lnTo>
                      <a:pt x="3043278" y="3433364"/>
                    </a:lnTo>
                    <a:lnTo>
                      <a:pt x="3044422" y="3430164"/>
                    </a:lnTo>
                    <a:lnTo>
                      <a:pt x="3040341" y="3428972"/>
                    </a:lnTo>
                    <a:lnTo>
                      <a:pt x="3030637" y="3433781"/>
                    </a:lnTo>
                    <a:lnTo>
                      <a:pt x="3025738" y="3435110"/>
                    </a:lnTo>
                    <a:lnTo>
                      <a:pt x="3022639" y="3435193"/>
                    </a:lnTo>
                    <a:lnTo>
                      <a:pt x="3020170" y="3435628"/>
                    </a:lnTo>
                    <a:lnTo>
                      <a:pt x="3008200" y="3440913"/>
                    </a:lnTo>
                    <a:lnTo>
                      <a:pt x="3003500" y="3441608"/>
                    </a:lnTo>
                    <a:lnTo>
                      <a:pt x="2998695" y="3443317"/>
                    </a:lnTo>
                    <a:lnTo>
                      <a:pt x="2995938" y="3443657"/>
                    </a:lnTo>
                    <a:lnTo>
                      <a:pt x="2994685" y="3444768"/>
                    </a:lnTo>
                    <a:lnTo>
                      <a:pt x="2991975" y="3450162"/>
                    </a:lnTo>
                    <a:lnTo>
                      <a:pt x="2990417" y="3451845"/>
                    </a:lnTo>
                    <a:lnTo>
                      <a:pt x="2980383" y="3448563"/>
                    </a:lnTo>
                    <a:lnTo>
                      <a:pt x="2977901" y="3449249"/>
                    </a:lnTo>
                    <a:lnTo>
                      <a:pt x="2972777" y="3452142"/>
                    </a:lnTo>
                    <a:lnTo>
                      <a:pt x="2969764" y="3452298"/>
                    </a:lnTo>
                    <a:lnTo>
                      <a:pt x="2970092" y="3454423"/>
                    </a:lnTo>
                    <a:lnTo>
                      <a:pt x="2970326" y="3455204"/>
                    </a:lnTo>
                    <a:lnTo>
                      <a:pt x="2967728" y="3456140"/>
                    </a:lnTo>
                    <a:lnTo>
                      <a:pt x="2965837" y="3457817"/>
                    </a:lnTo>
                    <a:lnTo>
                      <a:pt x="2962328" y="3461800"/>
                    </a:lnTo>
                    <a:lnTo>
                      <a:pt x="2961891" y="3462803"/>
                    </a:lnTo>
                    <a:lnTo>
                      <a:pt x="2961478" y="3464201"/>
                    </a:lnTo>
                    <a:lnTo>
                      <a:pt x="2960792" y="3464882"/>
                    </a:lnTo>
                    <a:lnTo>
                      <a:pt x="2958282" y="3462302"/>
                    </a:lnTo>
                    <a:lnTo>
                      <a:pt x="2956954" y="3461659"/>
                    </a:lnTo>
                    <a:lnTo>
                      <a:pt x="2953546" y="3461460"/>
                    </a:lnTo>
                    <a:lnTo>
                      <a:pt x="2948772" y="3460164"/>
                    </a:lnTo>
                    <a:lnTo>
                      <a:pt x="2946679" y="3460132"/>
                    </a:lnTo>
                    <a:lnTo>
                      <a:pt x="2944364" y="3461793"/>
                    </a:lnTo>
                    <a:lnTo>
                      <a:pt x="2943344" y="3463036"/>
                    </a:lnTo>
                    <a:lnTo>
                      <a:pt x="2942956" y="3463637"/>
                    </a:lnTo>
                    <a:lnTo>
                      <a:pt x="2942506" y="3464113"/>
                    </a:lnTo>
                    <a:lnTo>
                      <a:pt x="2936856" y="3467583"/>
                    </a:lnTo>
                    <a:lnTo>
                      <a:pt x="2936280" y="3463581"/>
                    </a:lnTo>
                    <a:lnTo>
                      <a:pt x="2932806" y="3461561"/>
                    </a:lnTo>
                    <a:lnTo>
                      <a:pt x="2924434" y="3460316"/>
                    </a:lnTo>
                    <a:lnTo>
                      <a:pt x="2920570" y="3459103"/>
                    </a:lnTo>
                    <a:lnTo>
                      <a:pt x="2917552" y="3457281"/>
                    </a:lnTo>
                    <a:lnTo>
                      <a:pt x="2916645" y="3456232"/>
                    </a:lnTo>
                    <a:lnTo>
                      <a:pt x="2916412" y="3455335"/>
                    </a:lnTo>
                    <a:lnTo>
                      <a:pt x="2915944" y="3454700"/>
                    </a:lnTo>
                    <a:lnTo>
                      <a:pt x="2913119" y="3454274"/>
                    </a:lnTo>
                    <a:lnTo>
                      <a:pt x="2912249" y="3454009"/>
                    </a:lnTo>
                    <a:lnTo>
                      <a:pt x="2911573" y="3453563"/>
                    </a:lnTo>
                    <a:lnTo>
                      <a:pt x="2910934" y="3452871"/>
                    </a:lnTo>
                    <a:lnTo>
                      <a:pt x="2932446" y="3439254"/>
                    </a:lnTo>
                    <a:lnTo>
                      <a:pt x="2934866" y="3438520"/>
                    </a:lnTo>
                    <a:lnTo>
                      <a:pt x="2939728" y="3438704"/>
                    </a:lnTo>
                    <a:lnTo>
                      <a:pt x="2942006" y="3439377"/>
                    </a:lnTo>
                    <a:lnTo>
                      <a:pt x="2943783" y="3440959"/>
                    </a:lnTo>
                    <a:lnTo>
                      <a:pt x="2944372" y="3440358"/>
                    </a:lnTo>
                    <a:lnTo>
                      <a:pt x="2950933" y="3440524"/>
                    </a:lnTo>
                    <a:lnTo>
                      <a:pt x="2951336" y="3439792"/>
                    </a:lnTo>
                    <a:lnTo>
                      <a:pt x="2950904" y="3437663"/>
                    </a:lnTo>
                    <a:lnTo>
                      <a:pt x="2954912" y="3437105"/>
                    </a:lnTo>
                    <a:lnTo>
                      <a:pt x="2962597" y="3440411"/>
                    </a:lnTo>
                    <a:lnTo>
                      <a:pt x="2966949" y="3441171"/>
                    </a:lnTo>
                    <a:lnTo>
                      <a:pt x="2965860" y="3439772"/>
                    </a:lnTo>
                    <a:lnTo>
                      <a:pt x="2963663" y="3435399"/>
                    </a:lnTo>
                    <a:lnTo>
                      <a:pt x="2963820" y="3434149"/>
                    </a:lnTo>
                    <a:lnTo>
                      <a:pt x="2965205" y="3433906"/>
                    </a:lnTo>
                    <a:lnTo>
                      <a:pt x="2966106" y="3433251"/>
                    </a:lnTo>
                    <a:lnTo>
                      <a:pt x="2966928" y="3432379"/>
                    </a:lnTo>
                    <a:lnTo>
                      <a:pt x="2970179" y="3430081"/>
                    </a:lnTo>
                    <a:lnTo>
                      <a:pt x="2972504" y="3430229"/>
                    </a:lnTo>
                    <a:lnTo>
                      <a:pt x="2975121" y="3431003"/>
                    </a:lnTo>
                    <a:lnTo>
                      <a:pt x="2979684" y="3433428"/>
                    </a:lnTo>
                    <a:lnTo>
                      <a:pt x="2982332" y="3433480"/>
                    </a:lnTo>
                    <a:lnTo>
                      <a:pt x="2981739" y="3432538"/>
                    </a:lnTo>
                    <a:lnTo>
                      <a:pt x="2981117" y="3431167"/>
                    </a:lnTo>
                    <a:lnTo>
                      <a:pt x="2980645" y="3430541"/>
                    </a:lnTo>
                    <a:lnTo>
                      <a:pt x="2984481" y="3431050"/>
                    </a:lnTo>
                    <a:lnTo>
                      <a:pt x="2989406" y="3433897"/>
                    </a:lnTo>
                    <a:lnTo>
                      <a:pt x="2992588" y="3434487"/>
                    </a:lnTo>
                    <a:lnTo>
                      <a:pt x="2991168" y="3428183"/>
                    </a:lnTo>
                    <a:lnTo>
                      <a:pt x="2994472" y="3429409"/>
                    </a:lnTo>
                    <a:lnTo>
                      <a:pt x="2995973" y="3428800"/>
                    </a:lnTo>
                    <a:lnTo>
                      <a:pt x="2996466" y="3426749"/>
                    </a:lnTo>
                    <a:lnTo>
                      <a:pt x="2996759" y="3423567"/>
                    </a:lnTo>
                    <a:lnTo>
                      <a:pt x="2998512" y="3422688"/>
                    </a:lnTo>
                    <a:lnTo>
                      <a:pt x="3007891" y="3426055"/>
                    </a:lnTo>
                    <a:lnTo>
                      <a:pt x="3009929" y="3425951"/>
                    </a:lnTo>
                    <a:lnTo>
                      <a:pt x="3016560" y="3424540"/>
                    </a:lnTo>
                    <a:lnTo>
                      <a:pt x="3018366" y="3423211"/>
                    </a:lnTo>
                    <a:lnTo>
                      <a:pt x="3018069" y="3422142"/>
                    </a:lnTo>
                    <a:lnTo>
                      <a:pt x="3017670" y="3419115"/>
                    </a:lnTo>
                    <a:lnTo>
                      <a:pt x="3017887" y="3419548"/>
                    </a:lnTo>
                    <a:lnTo>
                      <a:pt x="3017104" y="3416491"/>
                    </a:lnTo>
                    <a:lnTo>
                      <a:pt x="3016507" y="3415229"/>
                    </a:lnTo>
                    <a:lnTo>
                      <a:pt x="3015493" y="3413943"/>
                    </a:lnTo>
                    <a:lnTo>
                      <a:pt x="3017766" y="3413880"/>
                    </a:lnTo>
                    <a:lnTo>
                      <a:pt x="3026921" y="3415994"/>
                    </a:lnTo>
                    <a:lnTo>
                      <a:pt x="3036569" y="3415685"/>
                    </a:lnTo>
                    <a:lnTo>
                      <a:pt x="3046205" y="3413961"/>
                    </a:lnTo>
                    <a:lnTo>
                      <a:pt x="3049380" y="3412435"/>
                    </a:lnTo>
                    <a:lnTo>
                      <a:pt x="3046329" y="3410576"/>
                    </a:lnTo>
                    <a:lnTo>
                      <a:pt x="3042997" y="3410651"/>
                    </a:lnTo>
                    <a:lnTo>
                      <a:pt x="3035699" y="3411934"/>
                    </a:lnTo>
                    <a:lnTo>
                      <a:pt x="3028880" y="3411067"/>
                    </a:lnTo>
                    <a:lnTo>
                      <a:pt x="3025669" y="3409710"/>
                    </a:lnTo>
                    <a:lnTo>
                      <a:pt x="3022413" y="3407324"/>
                    </a:lnTo>
                    <a:lnTo>
                      <a:pt x="3023181" y="3406819"/>
                    </a:lnTo>
                    <a:lnTo>
                      <a:pt x="3023596" y="3406285"/>
                    </a:lnTo>
                    <a:lnTo>
                      <a:pt x="3024026" y="3405595"/>
                    </a:lnTo>
                    <a:lnTo>
                      <a:pt x="3024869" y="3404658"/>
                    </a:lnTo>
                    <a:lnTo>
                      <a:pt x="3021631" y="3402289"/>
                    </a:lnTo>
                    <a:lnTo>
                      <a:pt x="3020884" y="3398043"/>
                    </a:lnTo>
                    <a:lnTo>
                      <a:pt x="3022368" y="3394013"/>
                    </a:lnTo>
                    <a:lnTo>
                      <a:pt x="3025802" y="3392295"/>
                    </a:lnTo>
                    <a:lnTo>
                      <a:pt x="3031830" y="3393151"/>
                    </a:lnTo>
                    <a:lnTo>
                      <a:pt x="3033222" y="3393825"/>
                    </a:lnTo>
                    <a:lnTo>
                      <a:pt x="3034476" y="3395234"/>
                    </a:lnTo>
                    <a:lnTo>
                      <a:pt x="3036129" y="3398387"/>
                    </a:lnTo>
                    <a:lnTo>
                      <a:pt x="3037729" y="3399504"/>
                    </a:lnTo>
                    <a:lnTo>
                      <a:pt x="3037519" y="3398776"/>
                    </a:lnTo>
                    <a:lnTo>
                      <a:pt x="3037321" y="3398636"/>
                    </a:lnTo>
                    <a:lnTo>
                      <a:pt x="3037100" y="3398620"/>
                    </a:lnTo>
                    <a:lnTo>
                      <a:pt x="3036784" y="3398214"/>
                    </a:lnTo>
                    <a:lnTo>
                      <a:pt x="3038041" y="3396883"/>
                    </a:lnTo>
                    <a:lnTo>
                      <a:pt x="3037625" y="3393594"/>
                    </a:lnTo>
                    <a:lnTo>
                      <a:pt x="3040001" y="3393435"/>
                    </a:lnTo>
                    <a:lnTo>
                      <a:pt x="3046334" y="3395809"/>
                    </a:lnTo>
                    <a:lnTo>
                      <a:pt x="3044810" y="3391890"/>
                    </a:lnTo>
                    <a:lnTo>
                      <a:pt x="3039517" y="3388579"/>
                    </a:lnTo>
                    <a:lnTo>
                      <a:pt x="3037252" y="3385723"/>
                    </a:lnTo>
                    <a:lnTo>
                      <a:pt x="3037299" y="3382460"/>
                    </a:lnTo>
                    <a:lnTo>
                      <a:pt x="3039696" y="3379891"/>
                    </a:lnTo>
                    <a:lnTo>
                      <a:pt x="3043267" y="3378227"/>
                    </a:lnTo>
                    <a:lnTo>
                      <a:pt x="3055631" y="3376465"/>
                    </a:lnTo>
                    <a:lnTo>
                      <a:pt x="3060107" y="3376637"/>
                    </a:lnTo>
                    <a:lnTo>
                      <a:pt x="3063138" y="3379043"/>
                    </a:lnTo>
                    <a:lnTo>
                      <a:pt x="3065948" y="3385277"/>
                    </a:lnTo>
                    <a:lnTo>
                      <a:pt x="3066373" y="3388663"/>
                    </a:lnTo>
                    <a:lnTo>
                      <a:pt x="3066047" y="3393769"/>
                    </a:lnTo>
                    <a:lnTo>
                      <a:pt x="3067064" y="3393805"/>
                    </a:lnTo>
                    <a:lnTo>
                      <a:pt x="3067679" y="3392006"/>
                    </a:lnTo>
                    <a:lnTo>
                      <a:pt x="3068351" y="3390612"/>
                    </a:lnTo>
                    <a:lnTo>
                      <a:pt x="3069747" y="3388284"/>
                    </a:lnTo>
                    <a:lnTo>
                      <a:pt x="3071354" y="3389702"/>
                    </a:lnTo>
                    <a:lnTo>
                      <a:pt x="3075184" y="3394096"/>
                    </a:lnTo>
                    <a:lnTo>
                      <a:pt x="3072782" y="3382104"/>
                    </a:lnTo>
                    <a:lnTo>
                      <a:pt x="3072893" y="3378640"/>
                    </a:lnTo>
                    <a:lnTo>
                      <a:pt x="3078807" y="3382098"/>
                    </a:lnTo>
                    <a:lnTo>
                      <a:pt x="3081724" y="3382423"/>
                    </a:lnTo>
                    <a:lnTo>
                      <a:pt x="3084991" y="3380572"/>
                    </a:lnTo>
                    <a:lnTo>
                      <a:pt x="3083306" y="3380701"/>
                    </a:lnTo>
                    <a:lnTo>
                      <a:pt x="3081733" y="3380407"/>
                    </a:lnTo>
                    <a:lnTo>
                      <a:pt x="3080299" y="3379774"/>
                    </a:lnTo>
                    <a:lnTo>
                      <a:pt x="3079071" y="3378861"/>
                    </a:lnTo>
                    <a:lnTo>
                      <a:pt x="3082090" y="3377665"/>
                    </a:lnTo>
                    <a:lnTo>
                      <a:pt x="3088515" y="3377984"/>
                    </a:lnTo>
                    <a:lnTo>
                      <a:pt x="3091541" y="3376673"/>
                    </a:lnTo>
                    <a:lnTo>
                      <a:pt x="3087436" y="3375453"/>
                    </a:lnTo>
                    <a:lnTo>
                      <a:pt x="3076565" y="3374443"/>
                    </a:lnTo>
                    <a:lnTo>
                      <a:pt x="3065843" y="3368877"/>
                    </a:lnTo>
                    <a:lnTo>
                      <a:pt x="3063708" y="3368471"/>
                    </a:lnTo>
                    <a:lnTo>
                      <a:pt x="3058120" y="3365727"/>
                    </a:lnTo>
                    <a:lnTo>
                      <a:pt x="3053699" y="3364943"/>
                    </a:lnTo>
                    <a:lnTo>
                      <a:pt x="3050312" y="3365941"/>
                    </a:lnTo>
                    <a:lnTo>
                      <a:pt x="3047048" y="3367395"/>
                    </a:lnTo>
                    <a:lnTo>
                      <a:pt x="3042965" y="3368041"/>
                    </a:lnTo>
                    <a:lnTo>
                      <a:pt x="3034463" y="3357978"/>
                    </a:lnTo>
                    <a:lnTo>
                      <a:pt x="3034889" y="3357608"/>
                    </a:lnTo>
                    <a:lnTo>
                      <a:pt x="3035513" y="3356386"/>
                    </a:lnTo>
                    <a:lnTo>
                      <a:pt x="3035996" y="3354936"/>
                    </a:lnTo>
                    <a:lnTo>
                      <a:pt x="3035971" y="3353903"/>
                    </a:lnTo>
                    <a:lnTo>
                      <a:pt x="3035197" y="3353579"/>
                    </a:lnTo>
                    <a:lnTo>
                      <a:pt x="3032849" y="3353885"/>
                    </a:lnTo>
                    <a:lnTo>
                      <a:pt x="3031015" y="3353612"/>
                    </a:lnTo>
                    <a:lnTo>
                      <a:pt x="3028725" y="3353886"/>
                    </a:lnTo>
                    <a:lnTo>
                      <a:pt x="3027888" y="3353601"/>
                    </a:lnTo>
                    <a:lnTo>
                      <a:pt x="3027269" y="3352447"/>
                    </a:lnTo>
                    <a:lnTo>
                      <a:pt x="3027282" y="3349947"/>
                    </a:lnTo>
                    <a:lnTo>
                      <a:pt x="3026951" y="3348746"/>
                    </a:lnTo>
                    <a:lnTo>
                      <a:pt x="3026874" y="3346874"/>
                    </a:lnTo>
                    <a:lnTo>
                      <a:pt x="3028691" y="3345959"/>
                    </a:lnTo>
                    <a:lnTo>
                      <a:pt x="3030930" y="3345453"/>
                    </a:lnTo>
                    <a:lnTo>
                      <a:pt x="3032078" y="3344816"/>
                    </a:lnTo>
                    <a:lnTo>
                      <a:pt x="3032724" y="3343529"/>
                    </a:lnTo>
                    <a:lnTo>
                      <a:pt x="3036940" y="3337426"/>
                    </a:lnTo>
                    <a:lnTo>
                      <a:pt x="3039755" y="3334679"/>
                    </a:lnTo>
                    <a:lnTo>
                      <a:pt x="3045736" y="3330609"/>
                    </a:lnTo>
                    <a:lnTo>
                      <a:pt x="3048868" y="3327497"/>
                    </a:lnTo>
                    <a:lnTo>
                      <a:pt x="3050357" y="3326831"/>
                    </a:lnTo>
                    <a:lnTo>
                      <a:pt x="3055897" y="3328527"/>
                    </a:lnTo>
                    <a:lnTo>
                      <a:pt x="3057481" y="3328004"/>
                    </a:lnTo>
                    <a:lnTo>
                      <a:pt x="3062989" y="3324528"/>
                    </a:lnTo>
                    <a:lnTo>
                      <a:pt x="3066369" y="3323669"/>
                    </a:lnTo>
                    <a:lnTo>
                      <a:pt x="3069489" y="3323577"/>
                    </a:lnTo>
                    <a:lnTo>
                      <a:pt x="3072346" y="3324427"/>
                    </a:lnTo>
                    <a:lnTo>
                      <a:pt x="3074929" y="3326453"/>
                    </a:lnTo>
                    <a:lnTo>
                      <a:pt x="3078881" y="3323673"/>
                    </a:lnTo>
                    <a:lnTo>
                      <a:pt x="3087170" y="3319820"/>
                    </a:lnTo>
                    <a:close/>
                    <a:moveTo>
                      <a:pt x="3296117" y="3308917"/>
                    </a:moveTo>
                    <a:lnTo>
                      <a:pt x="3312336" y="3309393"/>
                    </a:lnTo>
                    <a:lnTo>
                      <a:pt x="3313225" y="3310555"/>
                    </a:lnTo>
                    <a:lnTo>
                      <a:pt x="3314138" y="3312125"/>
                    </a:lnTo>
                    <a:lnTo>
                      <a:pt x="3314770" y="3314056"/>
                    </a:lnTo>
                    <a:lnTo>
                      <a:pt x="3314797" y="3316313"/>
                    </a:lnTo>
                    <a:lnTo>
                      <a:pt x="3312512" y="3314996"/>
                    </a:lnTo>
                    <a:lnTo>
                      <a:pt x="3311152" y="3314654"/>
                    </a:lnTo>
                    <a:lnTo>
                      <a:pt x="3309801" y="3314794"/>
                    </a:lnTo>
                    <a:lnTo>
                      <a:pt x="3309154" y="3315511"/>
                    </a:lnTo>
                    <a:lnTo>
                      <a:pt x="3307639" y="3318139"/>
                    </a:lnTo>
                    <a:lnTo>
                      <a:pt x="3307403" y="3318721"/>
                    </a:lnTo>
                    <a:lnTo>
                      <a:pt x="3305444" y="3317872"/>
                    </a:lnTo>
                    <a:lnTo>
                      <a:pt x="3303115" y="3313985"/>
                    </a:lnTo>
                    <a:lnTo>
                      <a:pt x="3301365" y="3313051"/>
                    </a:lnTo>
                    <a:lnTo>
                      <a:pt x="3294056" y="3313056"/>
                    </a:lnTo>
                    <a:lnTo>
                      <a:pt x="3289083" y="3311437"/>
                    </a:lnTo>
                    <a:lnTo>
                      <a:pt x="3282687" y="3311965"/>
                    </a:lnTo>
                    <a:lnTo>
                      <a:pt x="3279724" y="3311157"/>
                    </a:lnTo>
                    <a:close/>
                    <a:moveTo>
                      <a:pt x="3332848" y="3301633"/>
                    </a:moveTo>
                    <a:lnTo>
                      <a:pt x="3333809" y="3302119"/>
                    </a:lnTo>
                    <a:lnTo>
                      <a:pt x="3334567" y="3303104"/>
                    </a:lnTo>
                    <a:lnTo>
                      <a:pt x="3335002" y="3304114"/>
                    </a:lnTo>
                    <a:lnTo>
                      <a:pt x="3335015" y="3304563"/>
                    </a:lnTo>
                    <a:lnTo>
                      <a:pt x="3336080" y="3304372"/>
                    </a:lnTo>
                    <a:lnTo>
                      <a:pt x="3337945" y="3303478"/>
                    </a:lnTo>
                    <a:lnTo>
                      <a:pt x="3338797" y="3303298"/>
                    </a:lnTo>
                    <a:lnTo>
                      <a:pt x="3340889" y="3303676"/>
                    </a:lnTo>
                    <a:lnTo>
                      <a:pt x="3342760" y="3304594"/>
                    </a:lnTo>
                    <a:lnTo>
                      <a:pt x="3344460" y="3305951"/>
                    </a:lnTo>
                    <a:lnTo>
                      <a:pt x="3346037" y="3307620"/>
                    </a:lnTo>
                    <a:lnTo>
                      <a:pt x="3348125" y="3306315"/>
                    </a:lnTo>
                    <a:lnTo>
                      <a:pt x="3353990" y="3304044"/>
                    </a:lnTo>
                    <a:lnTo>
                      <a:pt x="3355231" y="3302657"/>
                    </a:lnTo>
                    <a:lnTo>
                      <a:pt x="3356392" y="3303792"/>
                    </a:lnTo>
                    <a:lnTo>
                      <a:pt x="3357777" y="3302647"/>
                    </a:lnTo>
                    <a:lnTo>
                      <a:pt x="3359111" y="3302275"/>
                    </a:lnTo>
                    <a:lnTo>
                      <a:pt x="3360389" y="3302719"/>
                    </a:lnTo>
                    <a:lnTo>
                      <a:pt x="3361513" y="3303934"/>
                    </a:lnTo>
                    <a:lnTo>
                      <a:pt x="3362064" y="3306196"/>
                    </a:lnTo>
                    <a:lnTo>
                      <a:pt x="3360736" y="3309108"/>
                    </a:lnTo>
                    <a:lnTo>
                      <a:pt x="3358579" y="3311801"/>
                    </a:lnTo>
                    <a:lnTo>
                      <a:pt x="3356629" y="3313381"/>
                    </a:lnTo>
                    <a:lnTo>
                      <a:pt x="3354980" y="3313679"/>
                    </a:lnTo>
                    <a:lnTo>
                      <a:pt x="3343520" y="3313015"/>
                    </a:lnTo>
                    <a:lnTo>
                      <a:pt x="3338175" y="3314187"/>
                    </a:lnTo>
                    <a:lnTo>
                      <a:pt x="3336252" y="3314060"/>
                    </a:lnTo>
                    <a:lnTo>
                      <a:pt x="3335490" y="3313507"/>
                    </a:lnTo>
                    <a:lnTo>
                      <a:pt x="3334391" y="3311653"/>
                    </a:lnTo>
                    <a:lnTo>
                      <a:pt x="3333435" y="3311243"/>
                    </a:lnTo>
                    <a:lnTo>
                      <a:pt x="3332602" y="3311455"/>
                    </a:lnTo>
                    <a:lnTo>
                      <a:pt x="3330309" y="3312640"/>
                    </a:lnTo>
                    <a:lnTo>
                      <a:pt x="3321078" y="3310790"/>
                    </a:lnTo>
                    <a:lnTo>
                      <a:pt x="3318378" y="3309569"/>
                    </a:lnTo>
                    <a:lnTo>
                      <a:pt x="3319528" y="3307476"/>
                    </a:lnTo>
                    <a:lnTo>
                      <a:pt x="3320669" y="3305957"/>
                    </a:lnTo>
                    <a:lnTo>
                      <a:pt x="3322084" y="3304920"/>
                    </a:lnTo>
                    <a:lnTo>
                      <a:pt x="3324021" y="3304248"/>
                    </a:lnTo>
                    <a:lnTo>
                      <a:pt x="3325174" y="3304281"/>
                    </a:lnTo>
                    <a:lnTo>
                      <a:pt x="3326848" y="3305310"/>
                    </a:lnTo>
                    <a:lnTo>
                      <a:pt x="3327837" y="3305608"/>
                    </a:lnTo>
                    <a:lnTo>
                      <a:pt x="3329285" y="3304996"/>
                    </a:lnTo>
                    <a:lnTo>
                      <a:pt x="3331618" y="3302236"/>
                    </a:lnTo>
                    <a:close/>
                    <a:moveTo>
                      <a:pt x="3214896" y="3280087"/>
                    </a:moveTo>
                    <a:lnTo>
                      <a:pt x="3216542" y="3280376"/>
                    </a:lnTo>
                    <a:lnTo>
                      <a:pt x="3219682" y="3281507"/>
                    </a:lnTo>
                    <a:lnTo>
                      <a:pt x="3224413" y="3282125"/>
                    </a:lnTo>
                    <a:lnTo>
                      <a:pt x="3224751" y="3282904"/>
                    </a:lnTo>
                    <a:lnTo>
                      <a:pt x="3224024" y="3284352"/>
                    </a:lnTo>
                    <a:lnTo>
                      <a:pt x="3223333" y="3286667"/>
                    </a:lnTo>
                    <a:lnTo>
                      <a:pt x="3224303" y="3289967"/>
                    </a:lnTo>
                    <a:lnTo>
                      <a:pt x="3227185" y="3291408"/>
                    </a:lnTo>
                    <a:lnTo>
                      <a:pt x="3230651" y="3290741"/>
                    </a:lnTo>
                    <a:lnTo>
                      <a:pt x="3233416" y="3287658"/>
                    </a:lnTo>
                    <a:lnTo>
                      <a:pt x="3235339" y="3290416"/>
                    </a:lnTo>
                    <a:lnTo>
                      <a:pt x="3241037" y="3292753"/>
                    </a:lnTo>
                    <a:lnTo>
                      <a:pt x="3243873" y="3294852"/>
                    </a:lnTo>
                    <a:lnTo>
                      <a:pt x="3240687" y="3296493"/>
                    </a:lnTo>
                    <a:lnTo>
                      <a:pt x="3231425" y="3297207"/>
                    </a:lnTo>
                    <a:lnTo>
                      <a:pt x="3231284" y="3298576"/>
                    </a:lnTo>
                    <a:lnTo>
                      <a:pt x="3233014" y="3298614"/>
                    </a:lnTo>
                    <a:lnTo>
                      <a:pt x="3237256" y="3300260"/>
                    </a:lnTo>
                    <a:lnTo>
                      <a:pt x="3243305" y="3300450"/>
                    </a:lnTo>
                    <a:lnTo>
                      <a:pt x="3253257" y="3300024"/>
                    </a:lnTo>
                    <a:lnTo>
                      <a:pt x="3255384" y="3300826"/>
                    </a:lnTo>
                    <a:lnTo>
                      <a:pt x="3254149" y="3302160"/>
                    </a:lnTo>
                    <a:lnTo>
                      <a:pt x="3251563" y="3305955"/>
                    </a:lnTo>
                    <a:lnTo>
                      <a:pt x="3248400" y="3307942"/>
                    </a:lnTo>
                    <a:lnTo>
                      <a:pt x="3237545" y="3311208"/>
                    </a:lnTo>
                    <a:lnTo>
                      <a:pt x="3235998" y="3311307"/>
                    </a:lnTo>
                    <a:lnTo>
                      <a:pt x="3234059" y="3311001"/>
                    </a:lnTo>
                    <a:lnTo>
                      <a:pt x="3229187" y="3308484"/>
                    </a:lnTo>
                    <a:lnTo>
                      <a:pt x="3227731" y="3308061"/>
                    </a:lnTo>
                    <a:lnTo>
                      <a:pt x="3225584" y="3309956"/>
                    </a:lnTo>
                    <a:lnTo>
                      <a:pt x="3219604" y="3317558"/>
                    </a:lnTo>
                    <a:lnTo>
                      <a:pt x="3217559" y="3318090"/>
                    </a:lnTo>
                    <a:lnTo>
                      <a:pt x="3216627" y="3315918"/>
                    </a:lnTo>
                    <a:lnTo>
                      <a:pt x="3216255" y="3313927"/>
                    </a:lnTo>
                    <a:lnTo>
                      <a:pt x="3215556" y="3312473"/>
                    </a:lnTo>
                    <a:lnTo>
                      <a:pt x="3213650" y="3311848"/>
                    </a:lnTo>
                    <a:lnTo>
                      <a:pt x="3209838" y="3312338"/>
                    </a:lnTo>
                    <a:lnTo>
                      <a:pt x="3208509" y="3311952"/>
                    </a:lnTo>
                    <a:lnTo>
                      <a:pt x="3207756" y="3310162"/>
                    </a:lnTo>
                    <a:lnTo>
                      <a:pt x="3205106" y="3312504"/>
                    </a:lnTo>
                    <a:lnTo>
                      <a:pt x="3199739" y="3314997"/>
                    </a:lnTo>
                    <a:lnTo>
                      <a:pt x="3196944" y="3316803"/>
                    </a:lnTo>
                    <a:lnTo>
                      <a:pt x="3192392" y="3311158"/>
                    </a:lnTo>
                    <a:lnTo>
                      <a:pt x="3194091" y="3308442"/>
                    </a:lnTo>
                    <a:lnTo>
                      <a:pt x="3192308" y="3305447"/>
                    </a:lnTo>
                    <a:lnTo>
                      <a:pt x="3186602" y="3300000"/>
                    </a:lnTo>
                    <a:lnTo>
                      <a:pt x="3188923" y="3297207"/>
                    </a:lnTo>
                    <a:lnTo>
                      <a:pt x="3187972" y="3295802"/>
                    </a:lnTo>
                    <a:lnTo>
                      <a:pt x="3189663" y="3293830"/>
                    </a:lnTo>
                    <a:lnTo>
                      <a:pt x="3192304" y="3289551"/>
                    </a:lnTo>
                    <a:lnTo>
                      <a:pt x="3193961" y="3287758"/>
                    </a:lnTo>
                    <a:lnTo>
                      <a:pt x="3195608" y="3286864"/>
                    </a:lnTo>
                    <a:lnTo>
                      <a:pt x="3201202" y="3285265"/>
                    </a:lnTo>
                    <a:lnTo>
                      <a:pt x="3211033" y="3280485"/>
                    </a:lnTo>
                    <a:close/>
                    <a:moveTo>
                      <a:pt x="33025" y="3268054"/>
                    </a:moveTo>
                    <a:lnTo>
                      <a:pt x="42416" y="3271074"/>
                    </a:lnTo>
                    <a:lnTo>
                      <a:pt x="45058" y="3270478"/>
                    </a:lnTo>
                    <a:lnTo>
                      <a:pt x="48113" y="3268916"/>
                    </a:lnTo>
                    <a:lnTo>
                      <a:pt x="50831" y="3268988"/>
                    </a:lnTo>
                    <a:lnTo>
                      <a:pt x="67253" y="3274251"/>
                    </a:lnTo>
                    <a:lnTo>
                      <a:pt x="68094" y="3274908"/>
                    </a:lnTo>
                    <a:lnTo>
                      <a:pt x="68021" y="3276163"/>
                    </a:lnTo>
                    <a:lnTo>
                      <a:pt x="67796" y="3277500"/>
                    </a:lnTo>
                    <a:lnTo>
                      <a:pt x="68131" y="3278470"/>
                    </a:lnTo>
                    <a:lnTo>
                      <a:pt x="69835" y="3279123"/>
                    </a:lnTo>
                    <a:lnTo>
                      <a:pt x="73135" y="3279617"/>
                    </a:lnTo>
                    <a:lnTo>
                      <a:pt x="74451" y="3280900"/>
                    </a:lnTo>
                    <a:lnTo>
                      <a:pt x="81211" y="3278558"/>
                    </a:lnTo>
                    <a:lnTo>
                      <a:pt x="84261" y="3278134"/>
                    </a:lnTo>
                    <a:lnTo>
                      <a:pt x="98687" y="3279768"/>
                    </a:lnTo>
                    <a:lnTo>
                      <a:pt x="100630" y="3280995"/>
                    </a:lnTo>
                    <a:lnTo>
                      <a:pt x="103688" y="3285360"/>
                    </a:lnTo>
                    <a:lnTo>
                      <a:pt x="104743" y="3286382"/>
                    </a:lnTo>
                    <a:lnTo>
                      <a:pt x="104471" y="3287573"/>
                    </a:lnTo>
                    <a:lnTo>
                      <a:pt x="101320" y="3289957"/>
                    </a:lnTo>
                    <a:lnTo>
                      <a:pt x="95087" y="3293802"/>
                    </a:lnTo>
                    <a:lnTo>
                      <a:pt x="96888" y="3293590"/>
                    </a:lnTo>
                    <a:lnTo>
                      <a:pt x="98064" y="3293972"/>
                    </a:lnTo>
                    <a:lnTo>
                      <a:pt x="98462" y="3295079"/>
                    </a:lnTo>
                    <a:lnTo>
                      <a:pt x="97922" y="3297074"/>
                    </a:lnTo>
                    <a:lnTo>
                      <a:pt x="107700" y="3293205"/>
                    </a:lnTo>
                    <a:lnTo>
                      <a:pt x="112230" y="3292299"/>
                    </a:lnTo>
                    <a:lnTo>
                      <a:pt x="112367" y="3294634"/>
                    </a:lnTo>
                    <a:lnTo>
                      <a:pt x="118115" y="3297068"/>
                    </a:lnTo>
                    <a:lnTo>
                      <a:pt x="120401" y="3299409"/>
                    </a:lnTo>
                    <a:lnTo>
                      <a:pt x="119225" y="3302123"/>
                    </a:lnTo>
                    <a:lnTo>
                      <a:pt x="116667" y="3303853"/>
                    </a:lnTo>
                    <a:lnTo>
                      <a:pt x="114232" y="3305080"/>
                    </a:lnTo>
                    <a:lnTo>
                      <a:pt x="108371" y="3307170"/>
                    </a:lnTo>
                    <a:lnTo>
                      <a:pt x="112894" y="3310462"/>
                    </a:lnTo>
                    <a:lnTo>
                      <a:pt x="119545" y="3312787"/>
                    </a:lnTo>
                    <a:lnTo>
                      <a:pt x="126725" y="3313858"/>
                    </a:lnTo>
                    <a:lnTo>
                      <a:pt x="132943" y="3313427"/>
                    </a:lnTo>
                    <a:lnTo>
                      <a:pt x="130168" y="3317134"/>
                    </a:lnTo>
                    <a:lnTo>
                      <a:pt x="127481" y="3318442"/>
                    </a:lnTo>
                    <a:lnTo>
                      <a:pt x="121407" y="3317708"/>
                    </a:lnTo>
                    <a:lnTo>
                      <a:pt x="115434" y="3317824"/>
                    </a:lnTo>
                    <a:lnTo>
                      <a:pt x="112746" y="3318751"/>
                    </a:lnTo>
                    <a:lnTo>
                      <a:pt x="111935" y="3320633"/>
                    </a:lnTo>
                    <a:lnTo>
                      <a:pt x="109763" y="3316379"/>
                    </a:lnTo>
                    <a:lnTo>
                      <a:pt x="108349" y="3314525"/>
                    </a:lnTo>
                    <a:lnTo>
                      <a:pt x="106159" y="3312801"/>
                    </a:lnTo>
                    <a:lnTo>
                      <a:pt x="103368" y="3311802"/>
                    </a:lnTo>
                    <a:lnTo>
                      <a:pt x="100335" y="3312103"/>
                    </a:lnTo>
                    <a:lnTo>
                      <a:pt x="97235" y="3313797"/>
                    </a:lnTo>
                    <a:lnTo>
                      <a:pt x="94189" y="3317036"/>
                    </a:lnTo>
                    <a:lnTo>
                      <a:pt x="93299" y="3316919"/>
                    </a:lnTo>
                    <a:lnTo>
                      <a:pt x="93842" y="3315537"/>
                    </a:lnTo>
                    <a:lnTo>
                      <a:pt x="92768" y="3315395"/>
                    </a:lnTo>
                    <a:lnTo>
                      <a:pt x="90646" y="3318161"/>
                    </a:lnTo>
                    <a:lnTo>
                      <a:pt x="92215" y="3319674"/>
                    </a:lnTo>
                    <a:lnTo>
                      <a:pt x="91624" y="3321179"/>
                    </a:lnTo>
                    <a:lnTo>
                      <a:pt x="87869" y="3321150"/>
                    </a:lnTo>
                    <a:lnTo>
                      <a:pt x="84972" y="3321884"/>
                    </a:lnTo>
                    <a:lnTo>
                      <a:pt x="82847" y="3321525"/>
                    </a:lnTo>
                    <a:lnTo>
                      <a:pt x="81315" y="3318233"/>
                    </a:lnTo>
                    <a:lnTo>
                      <a:pt x="80479" y="3313147"/>
                    </a:lnTo>
                    <a:lnTo>
                      <a:pt x="80124" y="3312270"/>
                    </a:lnTo>
                    <a:lnTo>
                      <a:pt x="78245" y="3312479"/>
                    </a:lnTo>
                    <a:lnTo>
                      <a:pt x="74678" y="3314005"/>
                    </a:lnTo>
                    <a:lnTo>
                      <a:pt x="73141" y="3314252"/>
                    </a:lnTo>
                    <a:lnTo>
                      <a:pt x="67415" y="3316598"/>
                    </a:lnTo>
                    <a:lnTo>
                      <a:pt x="59986" y="3321871"/>
                    </a:lnTo>
                    <a:lnTo>
                      <a:pt x="52839" y="3325804"/>
                    </a:lnTo>
                    <a:lnTo>
                      <a:pt x="47931" y="3324110"/>
                    </a:lnTo>
                    <a:lnTo>
                      <a:pt x="48846" y="3323072"/>
                    </a:lnTo>
                    <a:lnTo>
                      <a:pt x="49936" y="3321104"/>
                    </a:lnTo>
                    <a:lnTo>
                      <a:pt x="50705" y="3318886"/>
                    </a:lnTo>
                    <a:lnTo>
                      <a:pt x="50721" y="3317077"/>
                    </a:lnTo>
                    <a:lnTo>
                      <a:pt x="49287" y="3315483"/>
                    </a:lnTo>
                    <a:lnTo>
                      <a:pt x="47272" y="3315379"/>
                    </a:lnTo>
                    <a:lnTo>
                      <a:pt x="43358" y="3316094"/>
                    </a:lnTo>
                    <a:lnTo>
                      <a:pt x="42563" y="3315494"/>
                    </a:lnTo>
                    <a:lnTo>
                      <a:pt x="41911" y="3313328"/>
                    </a:lnTo>
                    <a:lnTo>
                      <a:pt x="41022" y="3312871"/>
                    </a:lnTo>
                    <a:lnTo>
                      <a:pt x="39958" y="3313534"/>
                    </a:lnTo>
                    <a:lnTo>
                      <a:pt x="38104" y="3316214"/>
                    </a:lnTo>
                    <a:lnTo>
                      <a:pt x="36835" y="3316677"/>
                    </a:lnTo>
                    <a:lnTo>
                      <a:pt x="35130" y="3316076"/>
                    </a:lnTo>
                    <a:lnTo>
                      <a:pt x="32202" y="3313882"/>
                    </a:lnTo>
                    <a:lnTo>
                      <a:pt x="30539" y="3313052"/>
                    </a:lnTo>
                    <a:lnTo>
                      <a:pt x="31140" y="3311547"/>
                    </a:lnTo>
                    <a:lnTo>
                      <a:pt x="33673" y="3310223"/>
                    </a:lnTo>
                    <a:lnTo>
                      <a:pt x="35563" y="3307955"/>
                    </a:lnTo>
                    <a:lnTo>
                      <a:pt x="38913" y="3302427"/>
                    </a:lnTo>
                    <a:lnTo>
                      <a:pt x="43636" y="3297396"/>
                    </a:lnTo>
                    <a:lnTo>
                      <a:pt x="44805" y="3295336"/>
                    </a:lnTo>
                    <a:lnTo>
                      <a:pt x="43252" y="3294148"/>
                    </a:lnTo>
                    <a:lnTo>
                      <a:pt x="41714" y="3294305"/>
                    </a:lnTo>
                    <a:lnTo>
                      <a:pt x="36138" y="3296232"/>
                    </a:lnTo>
                    <a:lnTo>
                      <a:pt x="34391" y="3296240"/>
                    </a:lnTo>
                    <a:lnTo>
                      <a:pt x="29282" y="3295309"/>
                    </a:lnTo>
                    <a:lnTo>
                      <a:pt x="18806" y="3295906"/>
                    </a:lnTo>
                    <a:lnTo>
                      <a:pt x="17026" y="3294981"/>
                    </a:lnTo>
                    <a:lnTo>
                      <a:pt x="18973" y="3293684"/>
                    </a:lnTo>
                    <a:lnTo>
                      <a:pt x="25262" y="3287358"/>
                    </a:lnTo>
                    <a:lnTo>
                      <a:pt x="25100" y="3284918"/>
                    </a:lnTo>
                    <a:lnTo>
                      <a:pt x="23546" y="3283928"/>
                    </a:lnTo>
                    <a:lnTo>
                      <a:pt x="18460" y="3283534"/>
                    </a:lnTo>
                    <a:lnTo>
                      <a:pt x="9110" y="3285196"/>
                    </a:lnTo>
                    <a:lnTo>
                      <a:pt x="7423" y="3284291"/>
                    </a:lnTo>
                    <a:lnTo>
                      <a:pt x="5974" y="3282707"/>
                    </a:lnTo>
                    <a:lnTo>
                      <a:pt x="1722" y="3282657"/>
                    </a:lnTo>
                    <a:lnTo>
                      <a:pt x="0" y="3281027"/>
                    </a:lnTo>
                    <a:lnTo>
                      <a:pt x="14067" y="3274218"/>
                    </a:lnTo>
                    <a:lnTo>
                      <a:pt x="14356" y="3275844"/>
                    </a:lnTo>
                    <a:lnTo>
                      <a:pt x="18600" y="3272623"/>
                    </a:lnTo>
                    <a:close/>
                    <a:moveTo>
                      <a:pt x="3264069" y="3266673"/>
                    </a:moveTo>
                    <a:lnTo>
                      <a:pt x="3265073" y="3267471"/>
                    </a:lnTo>
                    <a:lnTo>
                      <a:pt x="3267278" y="3268641"/>
                    </a:lnTo>
                    <a:lnTo>
                      <a:pt x="3267376" y="3270009"/>
                    </a:lnTo>
                    <a:lnTo>
                      <a:pt x="3267180" y="3271431"/>
                    </a:lnTo>
                    <a:lnTo>
                      <a:pt x="3267325" y="3272277"/>
                    </a:lnTo>
                    <a:lnTo>
                      <a:pt x="3268515" y="3272845"/>
                    </a:lnTo>
                    <a:lnTo>
                      <a:pt x="3268869" y="3272554"/>
                    </a:lnTo>
                    <a:lnTo>
                      <a:pt x="3269268" y="3271749"/>
                    </a:lnTo>
                    <a:lnTo>
                      <a:pt x="3270578" y="3270891"/>
                    </a:lnTo>
                    <a:lnTo>
                      <a:pt x="3277307" y="3267527"/>
                    </a:lnTo>
                    <a:lnTo>
                      <a:pt x="3280014" y="3267046"/>
                    </a:lnTo>
                    <a:lnTo>
                      <a:pt x="3282766" y="3267293"/>
                    </a:lnTo>
                    <a:lnTo>
                      <a:pt x="3283089" y="3268585"/>
                    </a:lnTo>
                    <a:lnTo>
                      <a:pt x="3281564" y="3269764"/>
                    </a:lnTo>
                    <a:lnTo>
                      <a:pt x="3278744" y="3269751"/>
                    </a:lnTo>
                    <a:lnTo>
                      <a:pt x="3278620" y="3272418"/>
                    </a:lnTo>
                    <a:lnTo>
                      <a:pt x="3276838" y="3274235"/>
                    </a:lnTo>
                    <a:lnTo>
                      <a:pt x="3274268" y="3275814"/>
                    </a:lnTo>
                    <a:lnTo>
                      <a:pt x="3271808" y="3277773"/>
                    </a:lnTo>
                    <a:lnTo>
                      <a:pt x="3272666" y="3279294"/>
                    </a:lnTo>
                    <a:lnTo>
                      <a:pt x="3273755" y="3278486"/>
                    </a:lnTo>
                    <a:lnTo>
                      <a:pt x="3274826" y="3277865"/>
                    </a:lnTo>
                    <a:lnTo>
                      <a:pt x="3273967" y="3280853"/>
                    </a:lnTo>
                    <a:lnTo>
                      <a:pt x="3273505" y="3281926"/>
                    </a:lnTo>
                    <a:lnTo>
                      <a:pt x="3288313" y="3286777"/>
                    </a:lnTo>
                    <a:lnTo>
                      <a:pt x="3292237" y="3285367"/>
                    </a:lnTo>
                    <a:lnTo>
                      <a:pt x="3293942" y="3288611"/>
                    </a:lnTo>
                    <a:lnTo>
                      <a:pt x="3290917" y="3290278"/>
                    </a:lnTo>
                    <a:lnTo>
                      <a:pt x="3285926" y="3290774"/>
                    </a:lnTo>
                    <a:lnTo>
                      <a:pt x="3281742" y="3290525"/>
                    </a:lnTo>
                    <a:lnTo>
                      <a:pt x="3281608" y="3291894"/>
                    </a:lnTo>
                    <a:lnTo>
                      <a:pt x="3283202" y="3293494"/>
                    </a:lnTo>
                    <a:lnTo>
                      <a:pt x="3282297" y="3294121"/>
                    </a:lnTo>
                    <a:lnTo>
                      <a:pt x="3278304" y="3294671"/>
                    </a:lnTo>
                    <a:lnTo>
                      <a:pt x="3274818" y="3296722"/>
                    </a:lnTo>
                    <a:lnTo>
                      <a:pt x="3273077" y="3297347"/>
                    </a:lnTo>
                    <a:lnTo>
                      <a:pt x="3270896" y="3297182"/>
                    </a:lnTo>
                    <a:lnTo>
                      <a:pt x="3272788" y="3298491"/>
                    </a:lnTo>
                    <a:lnTo>
                      <a:pt x="3271009" y="3301885"/>
                    </a:lnTo>
                    <a:lnTo>
                      <a:pt x="3268294" y="3303772"/>
                    </a:lnTo>
                    <a:lnTo>
                      <a:pt x="3265182" y="3303996"/>
                    </a:lnTo>
                    <a:lnTo>
                      <a:pt x="3262211" y="3302409"/>
                    </a:lnTo>
                    <a:lnTo>
                      <a:pt x="3260295" y="3299530"/>
                    </a:lnTo>
                    <a:lnTo>
                      <a:pt x="3260693" y="3296993"/>
                    </a:lnTo>
                    <a:lnTo>
                      <a:pt x="3262652" y="3294405"/>
                    </a:lnTo>
                    <a:lnTo>
                      <a:pt x="3265419" y="3291401"/>
                    </a:lnTo>
                    <a:lnTo>
                      <a:pt x="3260420" y="3288036"/>
                    </a:lnTo>
                    <a:lnTo>
                      <a:pt x="3261867" y="3285834"/>
                    </a:lnTo>
                    <a:lnTo>
                      <a:pt x="3266168" y="3283385"/>
                    </a:lnTo>
                    <a:lnTo>
                      <a:pt x="3269751" y="3279205"/>
                    </a:lnTo>
                    <a:lnTo>
                      <a:pt x="3266046" y="3277695"/>
                    </a:lnTo>
                    <a:lnTo>
                      <a:pt x="3253583" y="3278706"/>
                    </a:lnTo>
                    <a:lnTo>
                      <a:pt x="3254546" y="3275950"/>
                    </a:lnTo>
                    <a:lnTo>
                      <a:pt x="3255733" y="3273292"/>
                    </a:lnTo>
                    <a:lnTo>
                      <a:pt x="3257309" y="3271282"/>
                    </a:lnTo>
                    <a:lnTo>
                      <a:pt x="3259435" y="3270547"/>
                    </a:lnTo>
                    <a:lnTo>
                      <a:pt x="3261710" y="3270675"/>
                    </a:lnTo>
                    <a:lnTo>
                      <a:pt x="3262379" y="3270107"/>
                    </a:lnTo>
                    <a:lnTo>
                      <a:pt x="3263258" y="3266680"/>
                    </a:lnTo>
                    <a:close/>
                    <a:moveTo>
                      <a:pt x="3727335" y="3262463"/>
                    </a:moveTo>
                    <a:lnTo>
                      <a:pt x="3729172" y="3263268"/>
                    </a:lnTo>
                    <a:lnTo>
                      <a:pt x="3730140" y="3264229"/>
                    </a:lnTo>
                    <a:lnTo>
                      <a:pt x="3727656" y="3264627"/>
                    </a:lnTo>
                    <a:lnTo>
                      <a:pt x="3723281" y="3263511"/>
                    </a:lnTo>
                    <a:lnTo>
                      <a:pt x="3722369" y="3262567"/>
                    </a:lnTo>
                    <a:close/>
                    <a:moveTo>
                      <a:pt x="3728927" y="3252577"/>
                    </a:moveTo>
                    <a:lnTo>
                      <a:pt x="3731160" y="3253022"/>
                    </a:lnTo>
                    <a:lnTo>
                      <a:pt x="3738033" y="3255872"/>
                    </a:lnTo>
                    <a:lnTo>
                      <a:pt x="3738202" y="3257674"/>
                    </a:lnTo>
                    <a:lnTo>
                      <a:pt x="3738452" y="3259047"/>
                    </a:lnTo>
                    <a:lnTo>
                      <a:pt x="3738922" y="3259991"/>
                    </a:lnTo>
                    <a:lnTo>
                      <a:pt x="3739784" y="3260005"/>
                    </a:lnTo>
                    <a:lnTo>
                      <a:pt x="3743911" y="3258834"/>
                    </a:lnTo>
                    <a:lnTo>
                      <a:pt x="3743846" y="3260072"/>
                    </a:lnTo>
                    <a:lnTo>
                      <a:pt x="3737066" y="3262779"/>
                    </a:lnTo>
                    <a:lnTo>
                      <a:pt x="3733800" y="3262685"/>
                    </a:lnTo>
                    <a:lnTo>
                      <a:pt x="3731206" y="3260548"/>
                    </a:lnTo>
                    <a:lnTo>
                      <a:pt x="3727541" y="3256593"/>
                    </a:lnTo>
                    <a:lnTo>
                      <a:pt x="3726907" y="3255687"/>
                    </a:lnTo>
                    <a:lnTo>
                      <a:pt x="3726900" y="3254188"/>
                    </a:lnTo>
                    <a:lnTo>
                      <a:pt x="3727536" y="3253059"/>
                    </a:lnTo>
                    <a:close/>
                    <a:moveTo>
                      <a:pt x="3674658" y="3249182"/>
                    </a:moveTo>
                    <a:lnTo>
                      <a:pt x="3675524" y="3249695"/>
                    </a:lnTo>
                    <a:lnTo>
                      <a:pt x="3676376" y="3250957"/>
                    </a:lnTo>
                    <a:lnTo>
                      <a:pt x="3676089" y="3251669"/>
                    </a:lnTo>
                    <a:lnTo>
                      <a:pt x="3675216" y="3251554"/>
                    </a:lnTo>
                    <a:lnTo>
                      <a:pt x="3675144" y="3251749"/>
                    </a:lnTo>
                    <a:lnTo>
                      <a:pt x="3678397" y="3252216"/>
                    </a:lnTo>
                    <a:lnTo>
                      <a:pt x="3681757" y="3255715"/>
                    </a:lnTo>
                    <a:lnTo>
                      <a:pt x="3682917" y="3257976"/>
                    </a:lnTo>
                    <a:lnTo>
                      <a:pt x="3682163" y="3257555"/>
                    </a:lnTo>
                    <a:lnTo>
                      <a:pt x="3682132" y="3258304"/>
                    </a:lnTo>
                    <a:lnTo>
                      <a:pt x="3683034" y="3258858"/>
                    </a:lnTo>
                    <a:lnTo>
                      <a:pt x="3684875" y="3258411"/>
                    </a:lnTo>
                    <a:lnTo>
                      <a:pt x="3684338" y="3259166"/>
                    </a:lnTo>
                    <a:lnTo>
                      <a:pt x="3684571" y="3260205"/>
                    </a:lnTo>
                    <a:lnTo>
                      <a:pt x="3686055" y="3261649"/>
                    </a:lnTo>
                    <a:lnTo>
                      <a:pt x="3684234" y="3261364"/>
                    </a:lnTo>
                    <a:lnTo>
                      <a:pt x="3679145" y="3257850"/>
                    </a:lnTo>
                    <a:lnTo>
                      <a:pt x="3677928" y="3255661"/>
                    </a:lnTo>
                    <a:lnTo>
                      <a:pt x="3672729" y="3251705"/>
                    </a:lnTo>
                    <a:lnTo>
                      <a:pt x="3672531" y="3251228"/>
                    </a:lnTo>
                    <a:lnTo>
                      <a:pt x="3673579" y="3251118"/>
                    </a:lnTo>
                    <a:lnTo>
                      <a:pt x="3674364" y="3250611"/>
                    </a:lnTo>
                    <a:lnTo>
                      <a:pt x="3674416" y="3249814"/>
                    </a:lnTo>
                    <a:close/>
                    <a:moveTo>
                      <a:pt x="3679711" y="3235259"/>
                    </a:moveTo>
                    <a:lnTo>
                      <a:pt x="3682708" y="3236120"/>
                    </a:lnTo>
                    <a:lnTo>
                      <a:pt x="3687634" y="3238620"/>
                    </a:lnTo>
                    <a:lnTo>
                      <a:pt x="3691106" y="3239422"/>
                    </a:lnTo>
                    <a:lnTo>
                      <a:pt x="3697475" y="3242183"/>
                    </a:lnTo>
                    <a:lnTo>
                      <a:pt x="3702315" y="3243180"/>
                    </a:lnTo>
                    <a:lnTo>
                      <a:pt x="3707376" y="3245670"/>
                    </a:lnTo>
                    <a:lnTo>
                      <a:pt x="3708249" y="3245783"/>
                    </a:lnTo>
                    <a:lnTo>
                      <a:pt x="3710222" y="3245475"/>
                    </a:lnTo>
                    <a:lnTo>
                      <a:pt x="3711302" y="3245739"/>
                    </a:lnTo>
                    <a:lnTo>
                      <a:pt x="3711296" y="3246073"/>
                    </a:lnTo>
                    <a:lnTo>
                      <a:pt x="3711538" y="3246957"/>
                    </a:lnTo>
                    <a:lnTo>
                      <a:pt x="3711916" y="3247899"/>
                    </a:lnTo>
                    <a:lnTo>
                      <a:pt x="3712242" y="3248491"/>
                    </a:lnTo>
                    <a:lnTo>
                      <a:pt x="3712248" y="3248491"/>
                    </a:lnTo>
                    <a:lnTo>
                      <a:pt x="3717477" y="3252791"/>
                    </a:lnTo>
                    <a:lnTo>
                      <a:pt x="3717933" y="3253874"/>
                    </a:lnTo>
                    <a:lnTo>
                      <a:pt x="3717969" y="3256221"/>
                    </a:lnTo>
                    <a:lnTo>
                      <a:pt x="3717673" y="3258561"/>
                    </a:lnTo>
                    <a:lnTo>
                      <a:pt x="3717097" y="3259627"/>
                    </a:lnTo>
                    <a:lnTo>
                      <a:pt x="3701654" y="3258122"/>
                    </a:lnTo>
                    <a:lnTo>
                      <a:pt x="3702896" y="3259422"/>
                    </a:lnTo>
                    <a:lnTo>
                      <a:pt x="3704279" y="3260302"/>
                    </a:lnTo>
                    <a:lnTo>
                      <a:pt x="3705817" y="3260744"/>
                    </a:lnTo>
                    <a:lnTo>
                      <a:pt x="3707525" y="3260822"/>
                    </a:lnTo>
                    <a:lnTo>
                      <a:pt x="3707448" y="3262189"/>
                    </a:lnTo>
                    <a:lnTo>
                      <a:pt x="3704782" y="3262217"/>
                    </a:lnTo>
                    <a:lnTo>
                      <a:pt x="3702631" y="3261471"/>
                    </a:lnTo>
                    <a:lnTo>
                      <a:pt x="3698478" y="3259305"/>
                    </a:lnTo>
                    <a:lnTo>
                      <a:pt x="3690951" y="3257183"/>
                    </a:lnTo>
                    <a:lnTo>
                      <a:pt x="3687375" y="3254366"/>
                    </a:lnTo>
                    <a:lnTo>
                      <a:pt x="3683101" y="3252921"/>
                    </a:lnTo>
                    <a:lnTo>
                      <a:pt x="3681314" y="3251471"/>
                    </a:lnTo>
                    <a:lnTo>
                      <a:pt x="3675186" y="3243849"/>
                    </a:lnTo>
                    <a:lnTo>
                      <a:pt x="3678066" y="3243609"/>
                    </a:lnTo>
                    <a:lnTo>
                      <a:pt x="3678076" y="3241337"/>
                    </a:lnTo>
                    <a:lnTo>
                      <a:pt x="3677277" y="3238268"/>
                    </a:lnTo>
                    <a:lnTo>
                      <a:pt x="3677682" y="3235703"/>
                    </a:lnTo>
                    <a:close/>
                    <a:moveTo>
                      <a:pt x="4154413" y="3176578"/>
                    </a:moveTo>
                    <a:lnTo>
                      <a:pt x="4156434" y="3176974"/>
                    </a:lnTo>
                    <a:lnTo>
                      <a:pt x="4158305" y="3178378"/>
                    </a:lnTo>
                    <a:lnTo>
                      <a:pt x="4160159" y="3180205"/>
                    </a:lnTo>
                    <a:lnTo>
                      <a:pt x="4163103" y="3182562"/>
                    </a:lnTo>
                    <a:lnTo>
                      <a:pt x="4163633" y="3182986"/>
                    </a:lnTo>
                    <a:lnTo>
                      <a:pt x="4163633" y="3182995"/>
                    </a:lnTo>
                    <a:lnTo>
                      <a:pt x="4164552" y="3184053"/>
                    </a:lnTo>
                    <a:lnTo>
                      <a:pt x="4164890" y="3185737"/>
                    </a:lnTo>
                    <a:lnTo>
                      <a:pt x="4164476" y="3187685"/>
                    </a:lnTo>
                    <a:lnTo>
                      <a:pt x="4162739" y="3189531"/>
                    </a:lnTo>
                    <a:lnTo>
                      <a:pt x="4159801" y="3190634"/>
                    </a:lnTo>
                    <a:lnTo>
                      <a:pt x="4156556" y="3190484"/>
                    </a:lnTo>
                    <a:lnTo>
                      <a:pt x="4153648" y="3189458"/>
                    </a:lnTo>
                    <a:lnTo>
                      <a:pt x="4153037" y="3188026"/>
                    </a:lnTo>
                    <a:lnTo>
                      <a:pt x="4153559" y="3186240"/>
                    </a:lnTo>
                    <a:lnTo>
                      <a:pt x="4153229" y="3184078"/>
                    </a:lnTo>
                    <a:lnTo>
                      <a:pt x="4152618" y="3181980"/>
                    </a:lnTo>
                    <a:lnTo>
                      <a:pt x="4151800" y="3180385"/>
                    </a:lnTo>
                    <a:lnTo>
                      <a:pt x="4151604" y="3178938"/>
                    </a:lnTo>
                    <a:lnTo>
                      <a:pt x="4152635" y="3177366"/>
                    </a:lnTo>
                    <a:close/>
                    <a:moveTo>
                      <a:pt x="4197339" y="3151263"/>
                    </a:moveTo>
                    <a:lnTo>
                      <a:pt x="4199554" y="3151974"/>
                    </a:lnTo>
                    <a:lnTo>
                      <a:pt x="4198459" y="3153441"/>
                    </a:lnTo>
                    <a:lnTo>
                      <a:pt x="4200703" y="3155679"/>
                    </a:lnTo>
                    <a:lnTo>
                      <a:pt x="4203809" y="3155580"/>
                    </a:lnTo>
                    <a:lnTo>
                      <a:pt x="4206840" y="3154906"/>
                    </a:lnTo>
                    <a:lnTo>
                      <a:pt x="4208916" y="3155397"/>
                    </a:lnTo>
                    <a:lnTo>
                      <a:pt x="4209450" y="3157914"/>
                    </a:lnTo>
                    <a:lnTo>
                      <a:pt x="4207883" y="3160249"/>
                    </a:lnTo>
                    <a:lnTo>
                      <a:pt x="4203933" y="3163674"/>
                    </a:lnTo>
                    <a:lnTo>
                      <a:pt x="4198048" y="3167226"/>
                    </a:lnTo>
                    <a:lnTo>
                      <a:pt x="4193519" y="3164624"/>
                    </a:lnTo>
                    <a:lnTo>
                      <a:pt x="4192344" y="3160002"/>
                    </a:lnTo>
                    <a:lnTo>
                      <a:pt x="4196436" y="3157528"/>
                    </a:lnTo>
                    <a:lnTo>
                      <a:pt x="4195175" y="3155666"/>
                    </a:lnTo>
                    <a:lnTo>
                      <a:pt x="4193614" y="3154833"/>
                    </a:lnTo>
                    <a:lnTo>
                      <a:pt x="4191967" y="3154634"/>
                    </a:lnTo>
                    <a:lnTo>
                      <a:pt x="4190492" y="3154671"/>
                    </a:lnTo>
                    <a:lnTo>
                      <a:pt x="4192964" y="3153915"/>
                    </a:lnTo>
                    <a:lnTo>
                      <a:pt x="4195198" y="3152353"/>
                    </a:lnTo>
                    <a:close/>
                    <a:moveTo>
                      <a:pt x="3765582" y="3139822"/>
                    </a:moveTo>
                    <a:lnTo>
                      <a:pt x="3768983" y="3144092"/>
                    </a:lnTo>
                    <a:lnTo>
                      <a:pt x="3769507" y="3146318"/>
                    </a:lnTo>
                    <a:lnTo>
                      <a:pt x="3769754" y="3149880"/>
                    </a:lnTo>
                    <a:lnTo>
                      <a:pt x="3769723" y="3153584"/>
                    </a:lnTo>
                    <a:lnTo>
                      <a:pt x="3769351" y="3156235"/>
                    </a:lnTo>
                    <a:lnTo>
                      <a:pt x="3768042" y="3158871"/>
                    </a:lnTo>
                    <a:lnTo>
                      <a:pt x="3761815" y="3167160"/>
                    </a:lnTo>
                    <a:lnTo>
                      <a:pt x="3757251" y="3170012"/>
                    </a:lnTo>
                    <a:lnTo>
                      <a:pt x="3752448" y="3169495"/>
                    </a:lnTo>
                    <a:lnTo>
                      <a:pt x="3747896" y="3166714"/>
                    </a:lnTo>
                    <a:lnTo>
                      <a:pt x="3744139" y="3162776"/>
                    </a:lnTo>
                    <a:lnTo>
                      <a:pt x="3741126" y="3157647"/>
                    </a:lnTo>
                    <a:lnTo>
                      <a:pt x="3739853" y="3154342"/>
                    </a:lnTo>
                    <a:lnTo>
                      <a:pt x="3739674" y="3151675"/>
                    </a:lnTo>
                    <a:lnTo>
                      <a:pt x="3741200" y="3149514"/>
                    </a:lnTo>
                    <a:lnTo>
                      <a:pt x="3748896" y="3146497"/>
                    </a:lnTo>
                    <a:lnTo>
                      <a:pt x="3753510" y="3143502"/>
                    </a:lnTo>
                    <a:lnTo>
                      <a:pt x="3759749" y="3140435"/>
                    </a:lnTo>
                    <a:close/>
                    <a:moveTo>
                      <a:pt x="4172779" y="3128747"/>
                    </a:moveTo>
                    <a:lnTo>
                      <a:pt x="4175466" y="3129413"/>
                    </a:lnTo>
                    <a:lnTo>
                      <a:pt x="4187030" y="3130128"/>
                    </a:lnTo>
                    <a:lnTo>
                      <a:pt x="4188479" y="3130692"/>
                    </a:lnTo>
                    <a:lnTo>
                      <a:pt x="4189788" y="3131507"/>
                    </a:lnTo>
                    <a:lnTo>
                      <a:pt x="4189235" y="3133348"/>
                    </a:lnTo>
                    <a:lnTo>
                      <a:pt x="4188364" y="3134172"/>
                    </a:lnTo>
                    <a:lnTo>
                      <a:pt x="4187174" y="3134364"/>
                    </a:lnTo>
                    <a:lnTo>
                      <a:pt x="4185666" y="3134352"/>
                    </a:lnTo>
                    <a:lnTo>
                      <a:pt x="4184275" y="3134745"/>
                    </a:lnTo>
                    <a:lnTo>
                      <a:pt x="4183078" y="3135643"/>
                    </a:lnTo>
                    <a:lnTo>
                      <a:pt x="4182578" y="3136534"/>
                    </a:lnTo>
                    <a:lnTo>
                      <a:pt x="4183248" y="3136934"/>
                    </a:lnTo>
                    <a:lnTo>
                      <a:pt x="4184815" y="3138196"/>
                    </a:lnTo>
                    <a:lnTo>
                      <a:pt x="4187113" y="3141075"/>
                    </a:lnTo>
                    <a:lnTo>
                      <a:pt x="4190562" y="3146497"/>
                    </a:lnTo>
                    <a:lnTo>
                      <a:pt x="4181512" y="3151497"/>
                    </a:lnTo>
                    <a:lnTo>
                      <a:pt x="4176658" y="3153179"/>
                    </a:lnTo>
                    <a:lnTo>
                      <a:pt x="4172536" y="3151899"/>
                    </a:lnTo>
                    <a:lnTo>
                      <a:pt x="4174187" y="3150248"/>
                    </a:lnTo>
                    <a:lnTo>
                      <a:pt x="4174100" y="3148349"/>
                    </a:lnTo>
                    <a:lnTo>
                      <a:pt x="4173515" y="3146553"/>
                    </a:lnTo>
                    <a:lnTo>
                      <a:pt x="4173689" y="3145207"/>
                    </a:lnTo>
                    <a:lnTo>
                      <a:pt x="4175094" y="3144553"/>
                    </a:lnTo>
                    <a:lnTo>
                      <a:pt x="4178607" y="3145197"/>
                    </a:lnTo>
                    <a:lnTo>
                      <a:pt x="4180555" y="3145227"/>
                    </a:lnTo>
                    <a:lnTo>
                      <a:pt x="4179847" y="3143213"/>
                    </a:lnTo>
                    <a:lnTo>
                      <a:pt x="4178219" y="3135555"/>
                    </a:lnTo>
                    <a:lnTo>
                      <a:pt x="4176141" y="3135849"/>
                    </a:lnTo>
                    <a:lnTo>
                      <a:pt x="4169711" y="3138255"/>
                    </a:lnTo>
                    <a:lnTo>
                      <a:pt x="4173145" y="3133957"/>
                    </a:lnTo>
                    <a:lnTo>
                      <a:pt x="4173971" y="3131648"/>
                    </a:lnTo>
                    <a:lnTo>
                      <a:pt x="4172766" y="3129988"/>
                    </a:lnTo>
                    <a:close/>
                    <a:moveTo>
                      <a:pt x="3549667" y="3121430"/>
                    </a:moveTo>
                    <a:lnTo>
                      <a:pt x="3560276" y="3124865"/>
                    </a:lnTo>
                    <a:lnTo>
                      <a:pt x="3576425" y="3122696"/>
                    </a:lnTo>
                    <a:lnTo>
                      <a:pt x="3582898" y="3125470"/>
                    </a:lnTo>
                    <a:lnTo>
                      <a:pt x="3580944" y="3125509"/>
                    </a:lnTo>
                    <a:lnTo>
                      <a:pt x="3579905" y="3126657"/>
                    </a:lnTo>
                    <a:lnTo>
                      <a:pt x="3579747" y="3128563"/>
                    </a:lnTo>
                    <a:lnTo>
                      <a:pt x="3580439" y="3130870"/>
                    </a:lnTo>
                    <a:lnTo>
                      <a:pt x="3581613" y="3132261"/>
                    </a:lnTo>
                    <a:lnTo>
                      <a:pt x="3584805" y="3133866"/>
                    </a:lnTo>
                    <a:lnTo>
                      <a:pt x="3588761" y="3137365"/>
                    </a:lnTo>
                    <a:lnTo>
                      <a:pt x="3591205" y="3140246"/>
                    </a:lnTo>
                    <a:lnTo>
                      <a:pt x="3593379" y="3143707"/>
                    </a:lnTo>
                    <a:lnTo>
                      <a:pt x="3595159" y="3147566"/>
                    </a:lnTo>
                    <a:lnTo>
                      <a:pt x="3595947" y="3152087"/>
                    </a:lnTo>
                    <a:lnTo>
                      <a:pt x="3595609" y="3161292"/>
                    </a:lnTo>
                    <a:lnTo>
                      <a:pt x="3596594" y="3164826"/>
                    </a:lnTo>
                    <a:lnTo>
                      <a:pt x="3601612" y="3176059"/>
                    </a:lnTo>
                    <a:lnTo>
                      <a:pt x="3604121" y="3179260"/>
                    </a:lnTo>
                    <a:lnTo>
                      <a:pt x="3607691" y="3181580"/>
                    </a:lnTo>
                    <a:lnTo>
                      <a:pt x="3611360" y="3182436"/>
                    </a:lnTo>
                    <a:lnTo>
                      <a:pt x="3621627" y="3182304"/>
                    </a:lnTo>
                    <a:lnTo>
                      <a:pt x="3623086" y="3181748"/>
                    </a:lnTo>
                    <a:lnTo>
                      <a:pt x="3624227" y="3180673"/>
                    </a:lnTo>
                    <a:lnTo>
                      <a:pt x="3625566" y="3179016"/>
                    </a:lnTo>
                    <a:lnTo>
                      <a:pt x="3626894" y="3178335"/>
                    </a:lnTo>
                    <a:lnTo>
                      <a:pt x="3628404" y="3178683"/>
                    </a:lnTo>
                    <a:lnTo>
                      <a:pt x="3629997" y="3179415"/>
                    </a:lnTo>
                    <a:lnTo>
                      <a:pt x="3631490" y="3179818"/>
                    </a:lnTo>
                    <a:lnTo>
                      <a:pt x="3634694" y="3181200"/>
                    </a:lnTo>
                    <a:lnTo>
                      <a:pt x="3636716" y="3184478"/>
                    </a:lnTo>
                    <a:lnTo>
                      <a:pt x="3639258" y="3192387"/>
                    </a:lnTo>
                    <a:lnTo>
                      <a:pt x="3640341" y="3194426"/>
                    </a:lnTo>
                    <a:lnTo>
                      <a:pt x="3641558" y="3195703"/>
                    </a:lnTo>
                    <a:lnTo>
                      <a:pt x="3642781" y="3196687"/>
                    </a:lnTo>
                    <a:lnTo>
                      <a:pt x="3643898" y="3197929"/>
                    </a:lnTo>
                    <a:lnTo>
                      <a:pt x="3644740" y="3198743"/>
                    </a:lnTo>
                    <a:lnTo>
                      <a:pt x="3646316" y="3200711"/>
                    </a:lnTo>
                    <a:lnTo>
                      <a:pt x="3646992" y="3202676"/>
                    </a:lnTo>
                    <a:lnTo>
                      <a:pt x="3645083" y="3203543"/>
                    </a:lnTo>
                    <a:lnTo>
                      <a:pt x="3631689" y="3201961"/>
                    </a:lnTo>
                    <a:lnTo>
                      <a:pt x="3629665" y="3200383"/>
                    </a:lnTo>
                    <a:lnTo>
                      <a:pt x="3631905" y="3200069"/>
                    </a:lnTo>
                    <a:lnTo>
                      <a:pt x="3637910" y="3197812"/>
                    </a:lnTo>
                    <a:lnTo>
                      <a:pt x="3636224" y="3196192"/>
                    </a:lnTo>
                    <a:lnTo>
                      <a:pt x="3634371" y="3195285"/>
                    </a:lnTo>
                    <a:lnTo>
                      <a:pt x="3632310" y="3194935"/>
                    </a:lnTo>
                    <a:lnTo>
                      <a:pt x="3630021" y="3194921"/>
                    </a:lnTo>
                    <a:lnTo>
                      <a:pt x="3627747" y="3195625"/>
                    </a:lnTo>
                    <a:lnTo>
                      <a:pt x="3623098" y="3198371"/>
                    </a:lnTo>
                    <a:lnTo>
                      <a:pt x="3621258" y="3198977"/>
                    </a:lnTo>
                    <a:lnTo>
                      <a:pt x="3619781" y="3198353"/>
                    </a:lnTo>
                    <a:lnTo>
                      <a:pt x="3618516" y="3196960"/>
                    </a:lnTo>
                    <a:lnTo>
                      <a:pt x="3616643" y="3193968"/>
                    </a:lnTo>
                    <a:lnTo>
                      <a:pt x="3615187" y="3193044"/>
                    </a:lnTo>
                    <a:lnTo>
                      <a:pt x="3611271" y="3192808"/>
                    </a:lnTo>
                    <a:lnTo>
                      <a:pt x="3609251" y="3191783"/>
                    </a:lnTo>
                    <a:lnTo>
                      <a:pt x="3604749" y="3184203"/>
                    </a:lnTo>
                    <a:lnTo>
                      <a:pt x="3601746" y="3181684"/>
                    </a:lnTo>
                    <a:lnTo>
                      <a:pt x="3596664" y="3185059"/>
                    </a:lnTo>
                    <a:lnTo>
                      <a:pt x="3594421" y="3186086"/>
                    </a:lnTo>
                    <a:lnTo>
                      <a:pt x="3592350" y="3187393"/>
                    </a:lnTo>
                    <a:lnTo>
                      <a:pt x="3591358" y="3189358"/>
                    </a:lnTo>
                    <a:lnTo>
                      <a:pt x="3591987" y="3195963"/>
                    </a:lnTo>
                    <a:lnTo>
                      <a:pt x="3591648" y="3198365"/>
                    </a:lnTo>
                    <a:lnTo>
                      <a:pt x="3588725" y="3201615"/>
                    </a:lnTo>
                    <a:lnTo>
                      <a:pt x="3580213" y="3202989"/>
                    </a:lnTo>
                    <a:lnTo>
                      <a:pt x="3578157" y="3206820"/>
                    </a:lnTo>
                    <a:lnTo>
                      <a:pt x="3575947" y="3206983"/>
                    </a:lnTo>
                    <a:lnTo>
                      <a:pt x="3562646" y="3211400"/>
                    </a:lnTo>
                    <a:lnTo>
                      <a:pt x="3554586" y="3210310"/>
                    </a:lnTo>
                    <a:lnTo>
                      <a:pt x="3538554" y="3205634"/>
                    </a:lnTo>
                    <a:lnTo>
                      <a:pt x="3488207" y="3207389"/>
                    </a:lnTo>
                    <a:lnTo>
                      <a:pt x="3480633" y="3209803"/>
                    </a:lnTo>
                    <a:lnTo>
                      <a:pt x="3475275" y="3212099"/>
                    </a:lnTo>
                    <a:lnTo>
                      <a:pt x="3457954" y="3224346"/>
                    </a:lnTo>
                    <a:lnTo>
                      <a:pt x="3457126" y="3225930"/>
                    </a:lnTo>
                    <a:lnTo>
                      <a:pt x="3457179" y="3228181"/>
                    </a:lnTo>
                    <a:lnTo>
                      <a:pt x="3457488" y="3229386"/>
                    </a:lnTo>
                    <a:lnTo>
                      <a:pt x="3457448" y="3230804"/>
                    </a:lnTo>
                    <a:lnTo>
                      <a:pt x="3456495" y="3233633"/>
                    </a:lnTo>
                    <a:lnTo>
                      <a:pt x="3452069" y="3239489"/>
                    </a:lnTo>
                    <a:lnTo>
                      <a:pt x="3445202" y="3243823"/>
                    </a:lnTo>
                    <a:lnTo>
                      <a:pt x="3437394" y="3246616"/>
                    </a:lnTo>
                    <a:lnTo>
                      <a:pt x="3430123" y="3247881"/>
                    </a:lnTo>
                    <a:lnTo>
                      <a:pt x="3420208" y="3247704"/>
                    </a:lnTo>
                    <a:lnTo>
                      <a:pt x="3414935" y="3248463"/>
                    </a:lnTo>
                    <a:lnTo>
                      <a:pt x="3411139" y="3250988"/>
                    </a:lnTo>
                    <a:lnTo>
                      <a:pt x="3408206" y="3251677"/>
                    </a:lnTo>
                    <a:lnTo>
                      <a:pt x="3386432" y="3248678"/>
                    </a:lnTo>
                    <a:lnTo>
                      <a:pt x="3383085" y="3247126"/>
                    </a:lnTo>
                    <a:lnTo>
                      <a:pt x="3380472" y="3244616"/>
                    </a:lnTo>
                    <a:lnTo>
                      <a:pt x="3377007" y="3237759"/>
                    </a:lnTo>
                    <a:lnTo>
                      <a:pt x="3374890" y="3234953"/>
                    </a:lnTo>
                    <a:lnTo>
                      <a:pt x="3371932" y="3233997"/>
                    </a:lnTo>
                    <a:lnTo>
                      <a:pt x="3373135" y="3229749"/>
                    </a:lnTo>
                    <a:lnTo>
                      <a:pt x="3372142" y="3227300"/>
                    </a:lnTo>
                    <a:lnTo>
                      <a:pt x="3370502" y="3225615"/>
                    </a:lnTo>
                    <a:lnTo>
                      <a:pt x="3369770" y="3223613"/>
                    </a:lnTo>
                    <a:lnTo>
                      <a:pt x="3369669" y="3220374"/>
                    </a:lnTo>
                    <a:lnTo>
                      <a:pt x="3368968" y="3217207"/>
                    </a:lnTo>
                    <a:lnTo>
                      <a:pt x="3366842" y="3211840"/>
                    </a:lnTo>
                    <a:lnTo>
                      <a:pt x="3370006" y="3209182"/>
                    </a:lnTo>
                    <a:lnTo>
                      <a:pt x="3374493" y="3206650"/>
                    </a:lnTo>
                    <a:lnTo>
                      <a:pt x="3379080" y="3204772"/>
                    </a:lnTo>
                    <a:lnTo>
                      <a:pt x="3391323" y="3202639"/>
                    </a:lnTo>
                    <a:lnTo>
                      <a:pt x="3400063" y="3199211"/>
                    </a:lnTo>
                    <a:lnTo>
                      <a:pt x="3406139" y="3194266"/>
                    </a:lnTo>
                    <a:lnTo>
                      <a:pt x="3428005" y="3163090"/>
                    </a:lnTo>
                    <a:lnTo>
                      <a:pt x="3429871" y="3161625"/>
                    </a:lnTo>
                    <a:lnTo>
                      <a:pt x="3432017" y="3154039"/>
                    </a:lnTo>
                    <a:lnTo>
                      <a:pt x="3432900" y="3153127"/>
                    </a:lnTo>
                    <a:lnTo>
                      <a:pt x="3442781" y="3147095"/>
                    </a:lnTo>
                    <a:lnTo>
                      <a:pt x="3446418" y="3145969"/>
                    </a:lnTo>
                    <a:lnTo>
                      <a:pt x="3454245" y="3145626"/>
                    </a:lnTo>
                    <a:lnTo>
                      <a:pt x="3457285" y="3146680"/>
                    </a:lnTo>
                    <a:lnTo>
                      <a:pt x="3463033" y="3151383"/>
                    </a:lnTo>
                    <a:lnTo>
                      <a:pt x="3466125" y="3152868"/>
                    </a:lnTo>
                    <a:lnTo>
                      <a:pt x="3479074" y="3152851"/>
                    </a:lnTo>
                    <a:lnTo>
                      <a:pt x="3480920" y="3151865"/>
                    </a:lnTo>
                    <a:lnTo>
                      <a:pt x="3481354" y="3150167"/>
                    </a:lnTo>
                    <a:lnTo>
                      <a:pt x="3479560" y="3147747"/>
                    </a:lnTo>
                    <a:lnTo>
                      <a:pt x="3484842" y="3143517"/>
                    </a:lnTo>
                    <a:lnTo>
                      <a:pt x="3489992" y="3140675"/>
                    </a:lnTo>
                    <a:lnTo>
                      <a:pt x="3495568" y="3139128"/>
                    </a:lnTo>
                    <a:lnTo>
                      <a:pt x="3505624" y="3138226"/>
                    </a:lnTo>
                    <a:lnTo>
                      <a:pt x="3509264" y="3136874"/>
                    </a:lnTo>
                    <a:lnTo>
                      <a:pt x="3515448" y="3133606"/>
                    </a:lnTo>
                    <a:lnTo>
                      <a:pt x="3523029" y="3127055"/>
                    </a:lnTo>
                    <a:lnTo>
                      <a:pt x="3526079" y="3125681"/>
                    </a:lnTo>
                    <a:lnTo>
                      <a:pt x="3539646" y="3124501"/>
                    </a:lnTo>
                    <a:lnTo>
                      <a:pt x="3542718" y="3123734"/>
                    </a:lnTo>
                    <a:lnTo>
                      <a:pt x="3546113" y="3122251"/>
                    </a:lnTo>
                    <a:close/>
                    <a:moveTo>
                      <a:pt x="3828117" y="3104424"/>
                    </a:moveTo>
                    <a:lnTo>
                      <a:pt x="3844406" y="3106800"/>
                    </a:lnTo>
                    <a:lnTo>
                      <a:pt x="3844432" y="3107725"/>
                    </a:lnTo>
                    <a:lnTo>
                      <a:pt x="3844211" y="3108005"/>
                    </a:lnTo>
                    <a:lnTo>
                      <a:pt x="3843803" y="3108024"/>
                    </a:lnTo>
                    <a:lnTo>
                      <a:pt x="3843263" y="3108147"/>
                    </a:lnTo>
                    <a:lnTo>
                      <a:pt x="3846802" y="3110135"/>
                    </a:lnTo>
                    <a:lnTo>
                      <a:pt x="3854261" y="3112887"/>
                    </a:lnTo>
                    <a:lnTo>
                      <a:pt x="3856996" y="3115147"/>
                    </a:lnTo>
                    <a:lnTo>
                      <a:pt x="3855218" y="3117769"/>
                    </a:lnTo>
                    <a:lnTo>
                      <a:pt x="3850297" y="3120869"/>
                    </a:lnTo>
                    <a:lnTo>
                      <a:pt x="3848571" y="3124694"/>
                    </a:lnTo>
                    <a:lnTo>
                      <a:pt x="3846413" y="3123090"/>
                    </a:lnTo>
                    <a:lnTo>
                      <a:pt x="3844507" y="3124006"/>
                    </a:lnTo>
                    <a:lnTo>
                      <a:pt x="3842603" y="3125879"/>
                    </a:lnTo>
                    <a:lnTo>
                      <a:pt x="3840524" y="3127191"/>
                    </a:lnTo>
                    <a:lnTo>
                      <a:pt x="3837730" y="3126958"/>
                    </a:lnTo>
                    <a:lnTo>
                      <a:pt x="3835762" y="3125380"/>
                    </a:lnTo>
                    <a:lnTo>
                      <a:pt x="3833981" y="3123310"/>
                    </a:lnTo>
                    <a:lnTo>
                      <a:pt x="3831768" y="3121616"/>
                    </a:lnTo>
                    <a:lnTo>
                      <a:pt x="3832782" y="3119584"/>
                    </a:lnTo>
                    <a:lnTo>
                      <a:pt x="3837591" y="3114269"/>
                    </a:lnTo>
                    <a:lnTo>
                      <a:pt x="3838231" y="3111940"/>
                    </a:lnTo>
                    <a:lnTo>
                      <a:pt x="3836659" y="3109810"/>
                    </a:lnTo>
                    <a:lnTo>
                      <a:pt x="3832451" y="3106635"/>
                    </a:lnTo>
                    <a:lnTo>
                      <a:pt x="3832915" y="3109741"/>
                    </a:lnTo>
                    <a:lnTo>
                      <a:pt x="3832317" y="3112768"/>
                    </a:lnTo>
                    <a:lnTo>
                      <a:pt x="3829998" y="3118864"/>
                    </a:lnTo>
                    <a:lnTo>
                      <a:pt x="3828079" y="3116304"/>
                    </a:lnTo>
                    <a:lnTo>
                      <a:pt x="3823585" y="3114317"/>
                    </a:lnTo>
                    <a:lnTo>
                      <a:pt x="3820628" y="3111776"/>
                    </a:lnTo>
                    <a:lnTo>
                      <a:pt x="3819540" y="3111849"/>
                    </a:lnTo>
                    <a:lnTo>
                      <a:pt x="3818759" y="3111618"/>
                    </a:lnTo>
                    <a:lnTo>
                      <a:pt x="3818537" y="3109847"/>
                    </a:lnTo>
                    <a:lnTo>
                      <a:pt x="3818949" y="3107580"/>
                    </a:lnTo>
                    <a:lnTo>
                      <a:pt x="3819840" y="3106959"/>
                    </a:lnTo>
                    <a:lnTo>
                      <a:pt x="3821066" y="3106953"/>
                    </a:lnTo>
                    <a:close/>
                    <a:moveTo>
                      <a:pt x="3899382" y="3095346"/>
                    </a:moveTo>
                    <a:lnTo>
                      <a:pt x="3901393" y="3095873"/>
                    </a:lnTo>
                    <a:lnTo>
                      <a:pt x="3901660" y="3096858"/>
                    </a:lnTo>
                    <a:lnTo>
                      <a:pt x="3901127" y="3098303"/>
                    </a:lnTo>
                    <a:lnTo>
                      <a:pt x="3901536" y="3100076"/>
                    </a:lnTo>
                    <a:lnTo>
                      <a:pt x="3902158" y="3101365"/>
                    </a:lnTo>
                    <a:lnTo>
                      <a:pt x="3902432" y="3102050"/>
                    </a:lnTo>
                    <a:lnTo>
                      <a:pt x="3902576" y="3103252"/>
                    </a:lnTo>
                    <a:lnTo>
                      <a:pt x="3902402" y="3105578"/>
                    </a:lnTo>
                    <a:lnTo>
                      <a:pt x="3900735" y="3107076"/>
                    </a:lnTo>
                    <a:lnTo>
                      <a:pt x="3898046" y="3106987"/>
                    </a:lnTo>
                    <a:lnTo>
                      <a:pt x="3896707" y="3106509"/>
                    </a:lnTo>
                    <a:lnTo>
                      <a:pt x="3889281" y="3102411"/>
                    </a:lnTo>
                    <a:lnTo>
                      <a:pt x="3886845" y="3100012"/>
                    </a:lnTo>
                    <a:lnTo>
                      <a:pt x="3887227" y="3098509"/>
                    </a:lnTo>
                    <a:lnTo>
                      <a:pt x="3888764" y="3096775"/>
                    </a:lnTo>
                    <a:lnTo>
                      <a:pt x="3891105" y="3095653"/>
                    </a:lnTo>
                    <a:lnTo>
                      <a:pt x="3896772" y="3095786"/>
                    </a:lnTo>
                    <a:close/>
                    <a:moveTo>
                      <a:pt x="4162912" y="3091490"/>
                    </a:moveTo>
                    <a:lnTo>
                      <a:pt x="4165166" y="3093218"/>
                    </a:lnTo>
                    <a:lnTo>
                      <a:pt x="4164688" y="3096409"/>
                    </a:lnTo>
                    <a:lnTo>
                      <a:pt x="4163323" y="3098350"/>
                    </a:lnTo>
                    <a:lnTo>
                      <a:pt x="4161878" y="3099926"/>
                    </a:lnTo>
                    <a:lnTo>
                      <a:pt x="4161199" y="3102040"/>
                    </a:lnTo>
                    <a:lnTo>
                      <a:pt x="4162080" y="3104938"/>
                    </a:lnTo>
                    <a:lnTo>
                      <a:pt x="4164043" y="3106413"/>
                    </a:lnTo>
                    <a:lnTo>
                      <a:pt x="4165932" y="3107068"/>
                    </a:lnTo>
                    <a:lnTo>
                      <a:pt x="4166579" y="3107435"/>
                    </a:lnTo>
                    <a:lnTo>
                      <a:pt x="4165814" y="3109378"/>
                    </a:lnTo>
                    <a:lnTo>
                      <a:pt x="4163985" y="3117702"/>
                    </a:lnTo>
                    <a:lnTo>
                      <a:pt x="4164105" y="3125822"/>
                    </a:lnTo>
                    <a:lnTo>
                      <a:pt x="4163874" y="3127355"/>
                    </a:lnTo>
                    <a:lnTo>
                      <a:pt x="4168168" y="3128959"/>
                    </a:lnTo>
                    <a:lnTo>
                      <a:pt x="4168808" y="3129975"/>
                    </a:lnTo>
                    <a:lnTo>
                      <a:pt x="4168254" y="3132059"/>
                    </a:lnTo>
                    <a:lnTo>
                      <a:pt x="4166668" y="3133076"/>
                    </a:lnTo>
                    <a:lnTo>
                      <a:pt x="4164789" y="3133077"/>
                    </a:lnTo>
                    <a:lnTo>
                      <a:pt x="4163328" y="3132107"/>
                    </a:lnTo>
                    <a:lnTo>
                      <a:pt x="4160128" y="3126806"/>
                    </a:lnTo>
                    <a:lnTo>
                      <a:pt x="4158273" y="3124479"/>
                    </a:lnTo>
                    <a:lnTo>
                      <a:pt x="4156004" y="3123115"/>
                    </a:lnTo>
                    <a:lnTo>
                      <a:pt x="4155465" y="3125231"/>
                    </a:lnTo>
                    <a:lnTo>
                      <a:pt x="4155230" y="3127372"/>
                    </a:lnTo>
                    <a:lnTo>
                      <a:pt x="4155360" y="3129441"/>
                    </a:lnTo>
                    <a:lnTo>
                      <a:pt x="4155903" y="3131399"/>
                    </a:lnTo>
                    <a:lnTo>
                      <a:pt x="4153692" y="3131382"/>
                    </a:lnTo>
                    <a:lnTo>
                      <a:pt x="4149909" y="3130110"/>
                    </a:lnTo>
                    <a:lnTo>
                      <a:pt x="4147984" y="3129899"/>
                    </a:lnTo>
                    <a:lnTo>
                      <a:pt x="4147051" y="3130731"/>
                    </a:lnTo>
                    <a:lnTo>
                      <a:pt x="4146461" y="3132174"/>
                    </a:lnTo>
                    <a:lnTo>
                      <a:pt x="4145853" y="3132836"/>
                    </a:lnTo>
                    <a:lnTo>
                      <a:pt x="4144898" y="3131356"/>
                    </a:lnTo>
                    <a:lnTo>
                      <a:pt x="4144245" y="3128473"/>
                    </a:lnTo>
                    <a:lnTo>
                      <a:pt x="4144976" y="3126829"/>
                    </a:lnTo>
                    <a:lnTo>
                      <a:pt x="4148055" y="3124447"/>
                    </a:lnTo>
                    <a:lnTo>
                      <a:pt x="4148964" y="3124005"/>
                    </a:lnTo>
                    <a:lnTo>
                      <a:pt x="4149759" y="3124259"/>
                    </a:lnTo>
                    <a:lnTo>
                      <a:pt x="4150450" y="3124262"/>
                    </a:lnTo>
                    <a:lnTo>
                      <a:pt x="4151045" y="3123097"/>
                    </a:lnTo>
                    <a:lnTo>
                      <a:pt x="4151243" y="3121758"/>
                    </a:lnTo>
                    <a:lnTo>
                      <a:pt x="4151019" y="3120955"/>
                    </a:lnTo>
                    <a:lnTo>
                      <a:pt x="4150421" y="3120588"/>
                    </a:lnTo>
                    <a:lnTo>
                      <a:pt x="4149555" y="3120487"/>
                    </a:lnTo>
                    <a:lnTo>
                      <a:pt x="4146387" y="3118998"/>
                    </a:lnTo>
                    <a:lnTo>
                      <a:pt x="4145697" y="3116270"/>
                    </a:lnTo>
                    <a:lnTo>
                      <a:pt x="4147186" y="3114767"/>
                    </a:lnTo>
                    <a:lnTo>
                      <a:pt x="4154034" y="3119531"/>
                    </a:lnTo>
                    <a:lnTo>
                      <a:pt x="4156283" y="3119174"/>
                    </a:lnTo>
                    <a:lnTo>
                      <a:pt x="4156289" y="3117236"/>
                    </a:lnTo>
                    <a:lnTo>
                      <a:pt x="4153043" y="3114936"/>
                    </a:lnTo>
                    <a:lnTo>
                      <a:pt x="4155101" y="3113403"/>
                    </a:lnTo>
                    <a:lnTo>
                      <a:pt x="4160090" y="3113178"/>
                    </a:lnTo>
                    <a:lnTo>
                      <a:pt x="4161087" y="3111560"/>
                    </a:lnTo>
                    <a:lnTo>
                      <a:pt x="4159953" y="3109837"/>
                    </a:lnTo>
                    <a:lnTo>
                      <a:pt x="4154287" y="3108850"/>
                    </a:lnTo>
                    <a:lnTo>
                      <a:pt x="4152227" y="3108015"/>
                    </a:lnTo>
                    <a:lnTo>
                      <a:pt x="4155664" y="3106188"/>
                    </a:lnTo>
                    <a:lnTo>
                      <a:pt x="4155460" y="3102992"/>
                    </a:lnTo>
                    <a:lnTo>
                      <a:pt x="4154769" y="3099957"/>
                    </a:lnTo>
                    <a:lnTo>
                      <a:pt x="4156747" y="3098618"/>
                    </a:lnTo>
                    <a:lnTo>
                      <a:pt x="4158691" y="3098561"/>
                    </a:lnTo>
                    <a:lnTo>
                      <a:pt x="4159437" y="3098256"/>
                    </a:lnTo>
                    <a:lnTo>
                      <a:pt x="4159977" y="3097398"/>
                    </a:lnTo>
                    <a:lnTo>
                      <a:pt x="4161273" y="3095798"/>
                    </a:lnTo>
                    <a:lnTo>
                      <a:pt x="4161852" y="3094162"/>
                    </a:lnTo>
                    <a:lnTo>
                      <a:pt x="4162091" y="3092266"/>
                    </a:lnTo>
                    <a:close/>
                    <a:moveTo>
                      <a:pt x="3870047" y="3088415"/>
                    </a:moveTo>
                    <a:lnTo>
                      <a:pt x="3871547" y="3088758"/>
                    </a:lnTo>
                    <a:lnTo>
                      <a:pt x="3872103" y="3091198"/>
                    </a:lnTo>
                    <a:lnTo>
                      <a:pt x="3869954" y="3096127"/>
                    </a:lnTo>
                    <a:lnTo>
                      <a:pt x="3868930" y="3097680"/>
                    </a:lnTo>
                    <a:lnTo>
                      <a:pt x="3867474" y="3097840"/>
                    </a:lnTo>
                    <a:lnTo>
                      <a:pt x="3864793" y="3097708"/>
                    </a:lnTo>
                    <a:lnTo>
                      <a:pt x="3858227" y="3100404"/>
                    </a:lnTo>
                    <a:lnTo>
                      <a:pt x="3857056" y="3100194"/>
                    </a:lnTo>
                    <a:lnTo>
                      <a:pt x="3854367" y="3099331"/>
                    </a:lnTo>
                    <a:lnTo>
                      <a:pt x="3852543" y="3099007"/>
                    </a:lnTo>
                    <a:lnTo>
                      <a:pt x="3850492" y="3096699"/>
                    </a:lnTo>
                    <a:lnTo>
                      <a:pt x="3851874" y="3092873"/>
                    </a:lnTo>
                    <a:lnTo>
                      <a:pt x="3855508" y="3090634"/>
                    </a:lnTo>
                    <a:lnTo>
                      <a:pt x="3862252" y="3090179"/>
                    </a:lnTo>
                    <a:close/>
                    <a:moveTo>
                      <a:pt x="4111918" y="3082101"/>
                    </a:moveTo>
                    <a:lnTo>
                      <a:pt x="4113386" y="3083997"/>
                    </a:lnTo>
                    <a:lnTo>
                      <a:pt x="4113762" y="3084712"/>
                    </a:lnTo>
                    <a:lnTo>
                      <a:pt x="4114990" y="3091260"/>
                    </a:lnTo>
                    <a:lnTo>
                      <a:pt x="4113484" y="3093709"/>
                    </a:lnTo>
                    <a:lnTo>
                      <a:pt x="4110340" y="3094731"/>
                    </a:lnTo>
                    <a:lnTo>
                      <a:pt x="4106643" y="3097046"/>
                    </a:lnTo>
                    <a:lnTo>
                      <a:pt x="4109138" y="3099937"/>
                    </a:lnTo>
                    <a:lnTo>
                      <a:pt x="4107148" y="3109998"/>
                    </a:lnTo>
                    <a:lnTo>
                      <a:pt x="4109333" y="3113367"/>
                    </a:lnTo>
                    <a:lnTo>
                      <a:pt x="4111469" y="3111578"/>
                    </a:lnTo>
                    <a:lnTo>
                      <a:pt x="4113263" y="3106891"/>
                    </a:lnTo>
                    <a:lnTo>
                      <a:pt x="4115867" y="3103401"/>
                    </a:lnTo>
                    <a:lnTo>
                      <a:pt x="4120434" y="3105273"/>
                    </a:lnTo>
                    <a:lnTo>
                      <a:pt x="4119379" y="3107134"/>
                    </a:lnTo>
                    <a:lnTo>
                      <a:pt x="4118361" y="3112400"/>
                    </a:lnTo>
                    <a:lnTo>
                      <a:pt x="4117313" y="3114779"/>
                    </a:lnTo>
                    <a:lnTo>
                      <a:pt x="4117030" y="3114534"/>
                    </a:lnTo>
                    <a:lnTo>
                      <a:pt x="4113236" y="3116251"/>
                    </a:lnTo>
                    <a:lnTo>
                      <a:pt x="4112883" y="3117230"/>
                    </a:lnTo>
                    <a:lnTo>
                      <a:pt x="4113054" y="3118375"/>
                    </a:lnTo>
                    <a:lnTo>
                      <a:pt x="4113089" y="3119470"/>
                    </a:lnTo>
                    <a:lnTo>
                      <a:pt x="4112366" y="3120318"/>
                    </a:lnTo>
                    <a:lnTo>
                      <a:pt x="4109802" y="3120386"/>
                    </a:lnTo>
                    <a:lnTo>
                      <a:pt x="4108118" y="3118398"/>
                    </a:lnTo>
                    <a:lnTo>
                      <a:pt x="4106580" y="3115956"/>
                    </a:lnTo>
                    <a:lnTo>
                      <a:pt x="4104447" y="3114713"/>
                    </a:lnTo>
                    <a:lnTo>
                      <a:pt x="4102339" y="3115561"/>
                    </a:lnTo>
                    <a:lnTo>
                      <a:pt x="4099586" y="3119958"/>
                    </a:lnTo>
                    <a:lnTo>
                      <a:pt x="4097385" y="3121479"/>
                    </a:lnTo>
                    <a:lnTo>
                      <a:pt x="4101236" y="3125005"/>
                    </a:lnTo>
                    <a:lnTo>
                      <a:pt x="4102611" y="3127374"/>
                    </a:lnTo>
                    <a:lnTo>
                      <a:pt x="4100643" y="3128434"/>
                    </a:lnTo>
                    <a:lnTo>
                      <a:pt x="4092960" y="3126979"/>
                    </a:lnTo>
                    <a:lnTo>
                      <a:pt x="4090261" y="3127012"/>
                    </a:lnTo>
                    <a:lnTo>
                      <a:pt x="4092218" y="3130659"/>
                    </a:lnTo>
                    <a:lnTo>
                      <a:pt x="4092225" y="3132168"/>
                    </a:lnTo>
                    <a:lnTo>
                      <a:pt x="4088031" y="3135154"/>
                    </a:lnTo>
                    <a:lnTo>
                      <a:pt x="4082350" y="3141978"/>
                    </a:lnTo>
                    <a:lnTo>
                      <a:pt x="4075520" y="3147894"/>
                    </a:lnTo>
                    <a:lnTo>
                      <a:pt x="4071700" y="3152887"/>
                    </a:lnTo>
                    <a:lnTo>
                      <a:pt x="4067543" y="3157229"/>
                    </a:lnTo>
                    <a:lnTo>
                      <a:pt x="4065583" y="3159952"/>
                    </a:lnTo>
                    <a:lnTo>
                      <a:pt x="4063688" y="3166200"/>
                    </a:lnTo>
                    <a:lnTo>
                      <a:pt x="4061616" y="3165732"/>
                    </a:lnTo>
                    <a:lnTo>
                      <a:pt x="4059585" y="3163234"/>
                    </a:lnTo>
                    <a:lnTo>
                      <a:pt x="4058708" y="3160240"/>
                    </a:lnTo>
                    <a:lnTo>
                      <a:pt x="4059291" y="3155550"/>
                    </a:lnTo>
                    <a:lnTo>
                      <a:pt x="4060768" y="3154082"/>
                    </a:lnTo>
                    <a:lnTo>
                      <a:pt x="4063251" y="3153466"/>
                    </a:lnTo>
                    <a:lnTo>
                      <a:pt x="4066849" y="3151386"/>
                    </a:lnTo>
                    <a:lnTo>
                      <a:pt x="4073550" y="3139837"/>
                    </a:lnTo>
                    <a:lnTo>
                      <a:pt x="4075598" y="3137976"/>
                    </a:lnTo>
                    <a:lnTo>
                      <a:pt x="4077937" y="3136368"/>
                    </a:lnTo>
                    <a:lnTo>
                      <a:pt x="4080014" y="3134303"/>
                    </a:lnTo>
                    <a:lnTo>
                      <a:pt x="4081253" y="3131032"/>
                    </a:lnTo>
                    <a:lnTo>
                      <a:pt x="4069389" y="3129489"/>
                    </a:lnTo>
                    <a:lnTo>
                      <a:pt x="4069416" y="3128248"/>
                    </a:lnTo>
                    <a:lnTo>
                      <a:pt x="4071274" y="3127310"/>
                    </a:lnTo>
                    <a:lnTo>
                      <a:pt x="4073231" y="3126933"/>
                    </a:lnTo>
                    <a:lnTo>
                      <a:pt x="4077379" y="3126934"/>
                    </a:lnTo>
                    <a:lnTo>
                      <a:pt x="4076667" y="3124667"/>
                    </a:lnTo>
                    <a:lnTo>
                      <a:pt x="4075405" y="3122906"/>
                    </a:lnTo>
                    <a:lnTo>
                      <a:pt x="4073764" y="3121752"/>
                    </a:lnTo>
                    <a:lnTo>
                      <a:pt x="4069681" y="3120485"/>
                    </a:lnTo>
                    <a:lnTo>
                      <a:pt x="4067507" y="3118645"/>
                    </a:lnTo>
                    <a:lnTo>
                      <a:pt x="4066732" y="3116816"/>
                    </a:lnTo>
                    <a:lnTo>
                      <a:pt x="4068643" y="3115992"/>
                    </a:lnTo>
                    <a:lnTo>
                      <a:pt x="4072808" y="3116830"/>
                    </a:lnTo>
                    <a:lnTo>
                      <a:pt x="4080312" y="3120512"/>
                    </a:lnTo>
                    <a:lnTo>
                      <a:pt x="4084421" y="3121405"/>
                    </a:lnTo>
                    <a:lnTo>
                      <a:pt x="4082762" y="3118157"/>
                    </a:lnTo>
                    <a:lnTo>
                      <a:pt x="4078597" y="3113346"/>
                    </a:lnTo>
                    <a:lnTo>
                      <a:pt x="4076634" y="3110463"/>
                    </a:lnTo>
                    <a:lnTo>
                      <a:pt x="4079104" y="3109059"/>
                    </a:lnTo>
                    <a:lnTo>
                      <a:pt x="4081445" y="3109852"/>
                    </a:lnTo>
                    <a:lnTo>
                      <a:pt x="4083494" y="3111835"/>
                    </a:lnTo>
                    <a:lnTo>
                      <a:pt x="4085063" y="3113912"/>
                    </a:lnTo>
                    <a:lnTo>
                      <a:pt x="4085719" y="3115474"/>
                    </a:lnTo>
                    <a:lnTo>
                      <a:pt x="4085769" y="3116538"/>
                    </a:lnTo>
                    <a:lnTo>
                      <a:pt x="4086182" y="3117140"/>
                    </a:lnTo>
                    <a:lnTo>
                      <a:pt x="4089201" y="3117563"/>
                    </a:lnTo>
                    <a:lnTo>
                      <a:pt x="4090381" y="3118154"/>
                    </a:lnTo>
                    <a:lnTo>
                      <a:pt x="4091457" y="3119061"/>
                    </a:lnTo>
                    <a:lnTo>
                      <a:pt x="4092374" y="3120210"/>
                    </a:lnTo>
                    <a:lnTo>
                      <a:pt x="4092902" y="3119661"/>
                    </a:lnTo>
                    <a:lnTo>
                      <a:pt x="4093465" y="3118926"/>
                    </a:lnTo>
                    <a:lnTo>
                      <a:pt x="4094410" y="3117382"/>
                    </a:lnTo>
                    <a:lnTo>
                      <a:pt x="4092250" y="3114539"/>
                    </a:lnTo>
                    <a:lnTo>
                      <a:pt x="4087076" y="3105012"/>
                    </a:lnTo>
                    <a:lnTo>
                      <a:pt x="4085811" y="3100998"/>
                    </a:lnTo>
                    <a:lnTo>
                      <a:pt x="4097902" y="3105772"/>
                    </a:lnTo>
                    <a:lnTo>
                      <a:pt x="4101904" y="3106199"/>
                    </a:lnTo>
                    <a:lnTo>
                      <a:pt x="4098684" y="3099710"/>
                    </a:lnTo>
                    <a:lnTo>
                      <a:pt x="4100402" y="3099281"/>
                    </a:lnTo>
                    <a:lnTo>
                      <a:pt x="4101954" y="3099453"/>
                    </a:lnTo>
                    <a:lnTo>
                      <a:pt x="4103513" y="3099250"/>
                    </a:lnTo>
                    <a:lnTo>
                      <a:pt x="4105236" y="3097703"/>
                    </a:lnTo>
                    <a:lnTo>
                      <a:pt x="4105404" y="3096196"/>
                    </a:lnTo>
                    <a:lnTo>
                      <a:pt x="4104522" y="3094375"/>
                    </a:lnTo>
                    <a:lnTo>
                      <a:pt x="4103420" y="3092537"/>
                    </a:lnTo>
                    <a:lnTo>
                      <a:pt x="4102887" y="3090953"/>
                    </a:lnTo>
                    <a:lnTo>
                      <a:pt x="4104202" y="3090239"/>
                    </a:lnTo>
                    <a:lnTo>
                      <a:pt x="4110233" y="3084427"/>
                    </a:lnTo>
                    <a:close/>
                    <a:moveTo>
                      <a:pt x="4086193" y="3072468"/>
                    </a:moveTo>
                    <a:lnTo>
                      <a:pt x="4086921" y="3072877"/>
                    </a:lnTo>
                    <a:lnTo>
                      <a:pt x="4087262" y="3073697"/>
                    </a:lnTo>
                    <a:lnTo>
                      <a:pt x="4088176" y="3074724"/>
                    </a:lnTo>
                    <a:lnTo>
                      <a:pt x="4090506" y="3076181"/>
                    </a:lnTo>
                    <a:lnTo>
                      <a:pt x="4090506" y="3076189"/>
                    </a:lnTo>
                    <a:lnTo>
                      <a:pt x="4090951" y="3076904"/>
                    </a:lnTo>
                    <a:lnTo>
                      <a:pt x="4091058" y="3078679"/>
                    </a:lnTo>
                    <a:lnTo>
                      <a:pt x="4089891" y="3079985"/>
                    </a:lnTo>
                    <a:lnTo>
                      <a:pt x="4085134" y="3079714"/>
                    </a:lnTo>
                    <a:lnTo>
                      <a:pt x="4081687" y="3078373"/>
                    </a:lnTo>
                    <a:lnTo>
                      <a:pt x="4079985" y="3076206"/>
                    </a:lnTo>
                    <a:lnTo>
                      <a:pt x="4080106" y="3074586"/>
                    </a:lnTo>
                    <a:lnTo>
                      <a:pt x="4081449" y="3073322"/>
                    </a:lnTo>
                    <a:lnTo>
                      <a:pt x="4083470" y="3072711"/>
                    </a:lnTo>
                    <a:close/>
                    <a:moveTo>
                      <a:pt x="4046104" y="3066951"/>
                    </a:moveTo>
                    <a:lnTo>
                      <a:pt x="4048898" y="3069466"/>
                    </a:lnTo>
                    <a:lnTo>
                      <a:pt x="4047795" y="3070707"/>
                    </a:lnTo>
                    <a:lnTo>
                      <a:pt x="4048782" y="3078356"/>
                    </a:lnTo>
                    <a:lnTo>
                      <a:pt x="4048849" y="3082077"/>
                    </a:lnTo>
                    <a:lnTo>
                      <a:pt x="4048515" y="3085795"/>
                    </a:lnTo>
                    <a:lnTo>
                      <a:pt x="4046813" y="3091336"/>
                    </a:lnTo>
                    <a:lnTo>
                      <a:pt x="4045286" y="3090952"/>
                    </a:lnTo>
                    <a:lnTo>
                      <a:pt x="4043159" y="3090029"/>
                    </a:lnTo>
                    <a:lnTo>
                      <a:pt x="4041276" y="3088831"/>
                    </a:lnTo>
                    <a:lnTo>
                      <a:pt x="4037625" y="3083680"/>
                    </a:lnTo>
                    <a:lnTo>
                      <a:pt x="4023633" y="3080492"/>
                    </a:lnTo>
                    <a:lnTo>
                      <a:pt x="4018988" y="3075915"/>
                    </a:lnTo>
                    <a:lnTo>
                      <a:pt x="4020801" y="3075508"/>
                    </a:lnTo>
                    <a:lnTo>
                      <a:pt x="4022354" y="3074605"/>
                    </a:lnTo>
                    <a:lnTo>
                      <a:pt x="4022986" y="3073354"/>
                    </a:lnTo>
                    <a:lnTo>
                      <a:pt x="4022043" y="3071872"/>
                    </a:lnTo>
                    <a:lnTo>
                      <a:pt x="4025567" y="3070352"/>
                    </a:lnTo>
                    <a:lnTo>
                      <a:pt x="4029203" y="3070793"/>
                    </a:lnTo>
                    <a:lnTo>
                      <a:pt x="4032719" y="3071810"/>
                    </a:lnTo>
                    <a:lnTo>
                      <a:pt x="4035838" y="3071980"/>
                    </a:lnTo>
                    <a:lnTo>
                      <a:pt x="4042882" y="3067835"/>
                    </a:lnTo>
                    <a:close/>
                    <a:moveTo>
                      <a:pt x="3995707" y="3059405"/>
                    </a:moveTo>
                    <a:lnTo>
                      <a:pt x="3999934" y="3064036"/>
                    </a:lnTo>
                    <a:lnTo>
                      <a:pt x="4000829" y="3068031"/>
                    </a:lnTo>
                    <a:lnTo>
                      <a:pt x="3998803" y="3072146"/>
                    </a:lnTo>
                    <a:lnTo>
                      <a:pt x="3994202" y="3077187"/>
                    </a:lnTo>
                    <a:lnTo>
                      <a:pt x="3995904" y="3079148"/>
                    </a:lnTo>
                    <a:lnTo>
                      <a:pt x="3997524" y="3079381"/>
                    </a:lnTo>
                    <a:lnTo>
                      <a:pt x="4000619" y="3078484"/>
                    </a:lnTo>
                    <a:lnTo>
                      <a:pt x="4001232" y="3077858"/>
                    </a:lnTo>
                    <a:lnTo>
                      <a:pt x="4001836" y="3076452"/>
                    </a:lnTo>
                    <a:lnTo>
                      <a:pt x="4002585" y="3075065"/>
                    </a:lnTo>
                    <a:lnTo>
                      <a:pt x="4003656" y="3074425"/>
                    </a:lnTo>
                    <a:lnTo>
                      <a:pt x="4004760" y="3074654"/>
                    </a:lnTo>
                    <a:lnTo>
                      <a:pt x="4006497" y="3075592"/>
                    </a:lnTo>
                    <a:lnTo>
                      <a:pt x="4007601" y="3075820"/>
                    </a:lnTo>
                    <a:lnTo>
                      <a:pt x="4008444" y="3074685"/>
                    </a:lnTo>
                    <a:lnTo>
                      <a:pt x="4008927" y="3068847"/>
                    </a:lnTo>
                    <a:lnTo>
                      <a:pt x="4009384" y="3066322"/>
                    </a:lnTo>
                    <a:lnTo>
                      <a:pt x="4010836" y="3064130"/>
                    </a:lnTo>
                    <a:lnTo>
                      <a:pt x="4012985" y="3062641"/>
                    </a:lnTo>
                    <a:lnTo>
                      <a:pt x="4015340" y="3062320"/>
                    </a:lnTo>
                    <a:lnTo>
                      <a:pt x="4017429" y="3063674"/>
                    </a:lnTo>
                    <a:lnTo>
                      <a:pt x="4018601" y="3068083"/>
                    </a:lnTo>
                    <a:lnTo>
                      <a:pt x="4016191" y="3071905"/>
                    </a:lnTo>
                    <a:lnTo>
                      <a:pt x="4012783" y="3075881"/>
                    </a:lnTo>
                    <a:lnTo>
                      <a:pt x="4010962" y="3080737"/>
                    </a:lnTo>
                    <a:lnTo>
                      <a:pt x="4011422" y="3083715"/>
                    </a:lnTo>
                    <a:lnTo>
                      <a:pt x="4012705" y="3085218"/>
                    </a:lnTo>
                    <a:lnTo>
                      <a:pt x="4014298" y="3086358"/>
                    </a:lnTo>
                    <a:lnTo>
                      <a:pt x="4015694" y="3088259"/>
                    </a:lnTo>
                    <a:lnTo>
                      <a:pt x="4016479" y="3090754"/>
                    </a:lnTo>
                    <a:lnTo>
                      <a:pt x="4015903" y="3091827"/>
                    </a:lnTo>
                    <a:lnTo>
                      <a:pt x="4011509" y="3093672"/>
                    </a:lnTo>
                    <a:lnTo>
                      <a:pt x="4013822" y="3094843"/>
                    </a:lnTo>
                    <a:lnTo>
                      <a:pt x="4018971" y="3095339"/>
                    </a:lnTo>
                    <a:lnTo>
                      <a:pt x="4021397" y="3096478"/>
                    </a:lnTo>
                    <a:lnTo>
                      <a:pt x="4021861" y="3097470"/>
                    </a:lnTo>
                    <a:lnTo>
                      <a:pt x="4022552" y="3100800"/>
                    </a:lnTo>
                    <a:lnTo>
                      <a:pt x="4023234" y="3101925"/>
                    </a:lnTo>
                    <a:lnTo>
                      <a:pt x="4024833" y="3102133"/>
                    </a:lnTo>
                    <a:lnTo>
                      <a:pt x="4026130" y="3101364"/>
                    </a:lnTo>
                    <a:lnTo>
                      <a:pt x="4027243" y="3101195"/>
                    </a:lnTo>
                    <a:lnTo>
                      <a:pt x="4028239" y="3103205"/>
                    </a:lnTo>
                    <a:lnTo>
                      <a:pt x="4024788" y="3104565"/>
                    </a:lnTo>
                    <a:lnTo>
                      <a:pt x="4017962" y="3103221"/>
                    </a:lnTo>
                    <a:lnTo>
                      <a:pt x="4014306" y="3103094"/>
                    </a:lnTo>
                    <a:lnTo>
                      <a:pt x="4020075" y="3105063"/>
                    </a:lnTo>
                    <a:lnTo>
                      <a:pt x="4021147" y="3105996"/>
                    </a:lnTo>
                    <a:lnTo>
                      <a:pt x="4020777" y="3107818"/>
                    </a:lnTo>
                    <a:lnTo>
                      <a:pt x="4016983" y="3114123"/>
                    </a:lnTo>
                    <a:lnTo>
                      <a:pt x="4014658" y="3109269"/>
                    </a:lnTo>
                    <a:lnTo>
                      <a:pt x="4011785" y="3108207"/>
                    </a:lnTo>
                    <a:lnTo>
                      <a:pt x="4004232" y="3109928"/>
                    </a:lnTo>
                    <a:lnTo>
                      <a:pt x="4002700" y="3109672"/>
                    </a:lnTo>
                    <a:lnTo>
                      <a:pt x="3998590" y="3107998"/>
                    </a:lnTo>
                    <a:lnTo>
                      <a:pt x="3997291" y="3107037"/>
                    </a:lnTo>
                    <a:lnTo>
                      <a:pt x="3995952" y="3104544"/>
                    </a:lnTo>
                    <a:lnTo>
                      <a:pt x="3996392" y="3103233"/>
                    </a:lnTo>
                    <a:lnTo>
                      <a:pt x="3997343" y="3102131"/>
                    </a:lnTo>
                    <a:lnTo>
                      <a:pt x="3997483" y="3100347"/>
                    </a:lnTo>
                    <a:lnTo>
                      <a:pt x="3996409" y="3098368"/>
                    </a:lnTo>
                    <a:lnTo>
                      <a:pt x="3995093" y="3098794"/>
                    </a:lnTo>
                    <a:lnTo>
                      <a:pt x="3993458" y="3100337"/>
                    </a:lnTo>
                    <a:lnTo>
                      <a:pt x="3991422" y="3101656"/>
                    </a:lnTo>
                    <a:lnTo>
                      <a:pt x="3989055" y="3102170"/>
                    </a:lnTo>
                    <a:lnTo>
                      <a:pt x="3987245" y="3102252"/>
                    </a:lnTo>
                    <a:lnTo>
                      <a:pt x="3985517" y="3102706"/>
                    </a:lnTo>
                    <a:lnTo>
                      <a:pt x="3983435" y="3104309"/>
                    </a:lnTo>
                    <a:lnTo>
                      <a:pt x="3981587" y="3107091"/>
                    </a:lnTo>
                    <a:lnTo>
                      <a:pt x="3978638" y="3113756"/>
                    </a:lnTo>
                    <a:lnTo>
                      <a:pt x="3976222" y="3116492"/>
                    </a:lnTo>
                    <a:lnTo>
                      <a:pt x="3976089" y="3113326"/>
                    </a:lnTo>
                    <a:lnTo>
                      <a:pt x="3977405" y="3107222"/>
                    </a:lnTo>
                    <a:lnTo>
                      <a:pt x="3977033" y="3104931"/>
                    </a:lnTo>
                    <a:lnTo>
                      <a:pt x="3973765" y="3100836"/>
                    </a:lnTo>
                    <a:lnTo>
                      <a:pt x="3972638" y="3099001"/>
                    </a:lnTo>
                    <a:lnTo>
                      <a:pt x="3971830" y="3096042"/>
                    </a:lnTo>
                    <a:lnTo>
                      <a:pt x="3972030" y="3095428"/>
                    </a:lnTo>
                    <a:lnTo>
                      <a:pt x="3972878" y="3092030"/>
                    </a:lnTo>
                    <a:lnTo>
                      <a:pt x="3973074" y="3090718"/>
                    </a:lnTo>
                    <a:lnTo>
                      <a:pt x="3972767" y="3089239"/>
                    </a:lnTo>
                    <a:lnTo>
                      <a:pt x="3971432" y="3087313"/>
                    </a:lnTo>
                    <a:lnTo>
                      <a:pt x="3971164" y="3085754"/>
                    </a:lnTo>
                    <a:lnTo>
                      <a:pt x="3971771" y="3082727"/>
                    </a:lnTo>
                    <a:lnTo>
                      <a:pt x="3972783" y="3079859"/>
                    </a:lnTo>
                    <a:lnTo>
                      <a:pt x="3973342" y="3077044"/>
                    </a:lnTo>
                    <a:lnTo>
                      <a:pt x="3972517" y="3074142"/>
                    </a:lnTo>
                    <a:lnTo>
                      <a:pt x="3977362" y="3067939"/>
                    </a:lnTo>
                    <a:lnTo>
                      <a:pt x="3982913" y="3062684"/>
                    </a:lnTo>
                    <a:lnTo>
                      <a:pt x="3989065" y="3059466"/>
                    </a:lnTo>
                    <a:close/>
                    <a:moveTo>
                      <a:pt x="4057288" y="3048592"/>
                    </a:moveTo>
                    <a:lnTo>
                      <a:pt x="4061178" y="3048927"/>
                    </a:lnTo>
                    <a:lnTo>
                      <a:pt x="4061850" y="3049546"/>
                    </a:lnTo>
                    <a:lnTo>
                      <a:pt x="4062073" y="3051379"/>
                    </a:lnTo>
                    <a:lnTo>
                      <a:pt x="4062544" y="3051771"/>
                    </a:lnTo>
                    <a:lnTo>
                      <a:pt x="4063955" y="3051553"/>
                    </a:lnTo>
                    <a:lnTo>
                      <a:pt x="4066505" y="3050550"/>
                    </a:lnTo>
                    <a:lnTo>
                      <a:pt x="4067582" y="3050331"/>
                    </a:lnTo>
                    <a:lnTo>
                      <a:pt x="4071566" y="3050665"/>
                    </a:lnTo>
                    <a:lnTo>
                      <a:pt x="4073166" y="3051517"/>
                    </a:lnTo>
                    <a:lnTo>
                      <a:pt x="4073781" y="3053205"/>
                    </a:lnTo>
                    <a:lnTo>
                      <a:pt x="4073076" y="3056004"/>
                    </a:lnTo>
                    <a:lnTo>
                      <a:pt x="4073082" y="3058855"/>
                    </a:lnTo>
                    <a:lnTo>
                      <a:pt x="4073645" y="3061605"/>
                    </a:lnTo>
                    <a:lnTo>
                      <a:pt x="4074627" y="3064091"/>
                    </a:lnTo>
                    <a:lnTo>
                      <a:pt x="4072882" y="3065197"/>
                    </a:lnTo>
                    <a:lnTo>
                      <a:pt x="4071872" y="3064470"/>
                    </a:lnTo>
                    <a:lnTo>
                      <a:pt x="4071026" y="3062860"/>
                    </a:lnTo>
                    <a:lnTo>
                      <a:pt x="4069760" y="3061337"/>
                    </a:lnTo>
                    <a:lnTo>
                      <a:pt x="4067595" y="3060496"/>
                    </a:lnTo>
                    <a:lnTo>
                      <a:pt x="4062359" y="3059319"/>
                    </a:lnTo>
                    <a:lnTo>
                      <a:pt x="4060487" y="3057817"/>
                    </a:lnTo>
                    <a:lnTo>
                      <a:pt x="4058701" y="3056839"/>
                    </a:lnTo>
                    <a:lnTo>
                      <a:pt x="4056670" y="3057951"/>
                    </a:lnTo>
                    <a:lnTo>
                      <a:pt x="4052934" y="3061223"/>
                    </a:lnTo>
                    <a:lnTo>
                      <a:pt x="4050964" y="3061736"/>
                    </a:lnTo>
                    <a:lnTo>
                      <a:pt x="4048697" y="3061581"/>
                    </a:lnTo>
                    <a:lnTo>
                      <a:pt x="4046846" y="3060376"/>
                    </a:lnTo>
                    <a:lnTo>
                      <a:pt x="4046131" y="3057715"/>
                    </a:lnTo>
                    <a:lnTo>
                      <a:pt x="4048049" y="3052511"/>
                    </a:lnTo>
                    <a:lnTo>
                      <a:pt x="4052341" y="3049626"/>
                    </a:lnTo>
                    <a:close/>
                    <a:moveTo>
                      <a:pt x="3643632" y="3047495"/>
                    </a:moveTo>
                    <a:lnTo>
                      <a:pt x="3644906" y="3049240"/>
                    </a:lnTo>
                    <a:lnTo>
                      <a:pt x="3645324" y="3051121"/>
                    </a:lnTo>
                    <a:lnTo>
                      <a:pt x="3644902" y="3053059"/>
                    </a:lnTo>
                    <a:lnTo>
                      <a:pt x="3643680" y="3054981"/>
                    </a:lnTo>
                    <a:lnTo>
                      <a:pt x="3641770" y="3056249"/>
                    </a:lnTo>
                    <a:lnTo>
                      <a:pt x="3640228" y="3055812"/>
                    </a:lnTo>
                    <a:lnTo>
                      <a:pt x="3638945" y="3054781"/>
                    </a:lnTo>
                    <a:lnTo>
                      <a:pt x="3635733" y="3052996"/>
                    </a:lnTo>
                    <a:lnTo>
                      <a:pt x="3636887" y="3050537"/>
                    </a:lnTo>
                    <a:lnTo>
                      <a:pt x="3639960" y="3048232"/>
                    </a:lnTo>
                    <a:close/>
                    <a:moveTo>
                      <a:pt x="4192927" y="2979887"/>
                    </a:moveTo>
                    <a:lnTo>
                      <a:pt x="4195800" y="2980137"/>
                    </a:lnTo>
                    <a:lnTo>
                      <a:pt x="4197869" y="2983636"/>
                    </a:lnTo>
                    <a:lnTo>
                      <a:pt x="4199133" y="2986550"/>
                    </a:lnTo>
                    <a:lnTo>
                      <a:pt x="4199033" y="2988756"/>
                    </a:lnTo>
                    <a:lnTo>
                      <a:pt x="4197232" y="2990475"/>
                    </a:lnTo>
                    <a:lnTo>
                      <a:pt x="4194958" y="2988771"/>
                    </a:lnTo>
                    <a:lnTo>
                      <a:pt x="4193474" y="2986657"/>
                    </a:lnTo>
                    <a:lnTo>
                      <a:pt x="4191179" y="2985559"/>
                    </a:lnTo>
                    <a:lnTo>
                      <a:pt x="4188669" y="2985074"/>
                    </a:lnTo>
                    <a:lnTo>
                      <a:pt x="4189039" y="2982714"/>
                    </a:lnTo>
                    <a:close/>
                    <a:moveTo>
                      <a:pt x="4265103" y="2963255"/>
                    </a:moveTo>
                    <a:lnTo>
                      <a:pt x="4270293" y="2964533"/>
                    </a:lnTo>
                    <a:lnTo>
                      <a:pt x="4272418" y="2966392"/>
                    </a:lnTo>
                    <a:lnTo>
                      <a:pt x="4274771" y="2969302"/>
                    </a:lnTo>
                    <a:lnTo>
                      <a:pt x="4276919" y="2969916"/>
                    </a:lnTo>
                    <a:lnTo>
                      <a:pt x="4279095" y="2971508"/>
                    </a:lnTo>
                    <a:lnTo>
                      <a:pt x="4280962" y="2973731"/>
                    </a:lnTo>
                    <a:lnTo>
                      <a:pt x="4282171" y="2976213"/>
                    </a:lnTo>
                    <a:lnTo>
                      <a:pt x="4267505" y="2970643"/>
                    </a:lnTo>
                    <a:lnTo>
                      <a:pt x="4260772" y="2969953"/>
                    </a:lnTo>
                    <a:lnTo>
                      <a:pt x="4256628" y="2976208"/>
                    </a:lnTo>
                    <a:lnTo>
                      <a:pt x="4258423" y="2976911"/>
                    </a:lnTo>
                    <a:lnTo>
                      <a:pt x="4260276" y="2977334"/>
                    </a:lnTo>
                    <a:lnTo>
                      <a:pt x="4261793" y="2978208"/>
                    </a:lnTo>
                    <a:lnTo>
                      <a:pt x="4262558" y="2980286"/>
                    </a:lnTo>
                    <a:lnTo>
                      <a:pt x="4259624" y="2981327"/>
                    </a:lnTo>
                    <a:lnTo>
                      <a:pt x="4257124" y="2981423"/>
                    </a:lnTo>
                    <a:lnTo>
                      <a:pt x="4255141" y="2980209"/>
                    </a:lnTo>
                    <a:lnTo>
                      <a:pt x="4253786" y="2977443"/>
                    </a:lnTo>
                    <a:lnTo>
                      <a:pt x="4253579" y="2974258"/>
                    </a:lnTo>
                    <a:lnTo>
                      <a:pt x="4255210" y="2970427"/>
                    </a:lnTo>
                    <a:lnTo>
                      <a:pt x="4254784" y="2967815"/>
                    </a:lnTo>
                    <a:lnTo>
                      <a:pt x="4261442" y="2964401"/>
                    </a:lnTo>
                    <a:close/>
                    <a:moveTo>
                      <a:pt x="7900290" y="2962464"/>
                    </a:moveTo>
                    <a:lnTo>
                      <a:pt x="7901701" y="2963117"/>
                    </a:lnTo>
                    <a:lnTo>
                      <a:pt x="7903791" y="2965113"/>
                    </a:lnTo>
                    <a:lnTo>
                      <a:pt x="7904277" y="2966321"/>
                    </a:lnTo>
                    <a:lnTo>
                      <a:pt x="7904283" y="2966336"/>
                    </a:lnTo>
                    <a:lnTo>
                      <a:pt x="7904752" y="2967512"/>
                    </a:lnTo>
                    <a:lnTo>
                      <a:pt x="7906204" y="2969706"/>
                    </a:lnTo>
                    <a:lnTo>
                      <a:pt x="7907361" y="2972573"/>
                    </a:lnTo>
                    <a:lnTo>
                      <a:pt x="7907609" y="2975823"/>
                    </a:lnTo>
                    <a:lnTo>
                      <a:pt x="7906445" y="2975633"/>
                    </a:lnTo>
                    <a:lnTo>
                      <a:pt x="7903563" y="2973664"/>
                    </a:lnTo>
                    <a:lnTo>
                      <a:pt x="7902853" y="2972587"/>
                    </a:lnTo>
                    <a:lnTo>
                      <a:pt x="7902505" y="2970742"/>
                    </a:lnTo>
                    <a:lnTo>
                      <a:pt x="7902123" y="2969633"/>
                    </a:lnTo>
                    <a:lnTo>
                      <a:pt x="7901654" y="2969223"/>
                    </a:lnTo>
                    <a:lnTo>
                      <a:pt x="7901483" y="2968488"/>
                    </a:lnTo>
                    <a:lnTo>
                      <a:pt x="7900679" y="2966376"/>
                    </a:lnTo>
                    <a:lnTo>
                      <a:pt x="7900439" y="2965097"/>
                    </a:lnTo>
                    <a:lnTo>
                      <a:pt x="7899569" y="2963241"/>
                    </a:lnTo>
                    <a:close/>
                    <a:moveTo>
                      <a:pt x="4731770" y="2956315"/>
                    </a:moveTo>
                    <a:lnTo>
                      <a:pt x="4731797" y="2960173"/>
                    </a:lnTo>
                    <a:lnTo>
                      <a:pt x="4730367" y="2965443"/>
                    </a:lnTo>
                    <a:lnTo>
                      <a:pt x="4730336" y="2968784"/>
                    </a:lnTo>
                    <a:lnTo>
                      <a:pt x="4732428" y="2975598"/>
                    </a:lnTo>
                    <a:lnTo>
                      <a:pt x="4732710" y="2978992"/>
                    </a:lnTo>
                    <a:lnTo>
                      <a:pt x="4730998" y="2982489"/>
                    </a:lnTo>
                    <a:lnTo>
                      <a:pt x="4727372" y="2987035"/>
                    </a:lnTo>
                    <a:lnTo>
                      <a:pt x="4722681" y="2986612"/>
                    </a:lnTo>
                    <a:lnTo>
                      <a:pt x="4717739" y="2984383"/>
                    </a:lnTo>
                    <a:lnTo>
                      <a:pt x="4712951" y="2985072"/>
                    </a:lnTo>
                    <a:lnTo>
                      <a:pt x="4709872" y="2984418"/>
                    </a:lnTo>
                    <a:lnTo>
                      <a:pt x="4708267" y="2978494"/>
                    </a:lnTo>
                    <a:lnTo>
                      <a:pt x="4705029" y="2975969"/>
                    </a:lnTo>
                    <a:lnTo>
                      <a:pt x="4706075" y="2973210"/>
                    </a:lnTo>
                    <a:lnTo>
                      <a:pt x="4711752" y="2971173"/>
                    </a:lnTo>
                    <a:lnTo>
                      <a:pt x="4717019" y="2968181"/>
                    </a:lnTo>
                    <a:lnTo>
                      <a:pt x="4718315" y="2962068"/>
                    </a:lnTo>
                    <a:lnTo>
                      <a:pt x="4718319" y="2962060"/>
                    </a:lnTo>
                    <a:lnTo>
                      <a:pt x="4720560" y="2958243"/>
                    </a:lnTo>
                    <a:lnTo>
                      <a:pt x="4725515" y="2956369"/>
                    </a:lnTo>
                    <a:close/>
                    <a:moveTo>
                      <a:pt x="4567543" y="2928221"/>
                    </a:moveTo>
                    <a:lnTo>
                      <a:pt x="4569162" y="2929336"/>
                    </a:lnTo>
                    <a:lnTo>
                      <a:pt x="4570850" y="2932196"/>
                    </a:lnTo>
                    <a:lnTo>
                      <a:pt x="4570999" y="2933083"/>
                    </a:lnTo>
                    <a:lnTo>
                      <a:pt x="4570681" y="2933579"/>
                    </a:lnTo>
                    <a:lnTo>
                      <a:pt x="4570676" y="2933991"/>
                    </a:lnTo>
                    <a:lnTo>
                      <a:pt x="4571149" y="2934649"/>
                    </a:lnTo>
                    <a:lnTo>
                      <a:pt x="4571047" y="2935272"/>
                    </a:lnTo>
                    <a:lnTo>
                      <a:pt x="4570709" y="2936528"/>
                    </a:lnTo>
                    <a:lnTo>
                      <a:pt x="4570612" y="2937450"/>
                    </a:lnTo>
                    <a:lnTo>
                      <a:pt x="4570765" y="2937739"/>
                    </a:lnTo>
                    <a:lnTo>
                      <a:pt x="4570873" y="2938013"/>
                    </a:lnTo>
                    <a:lnTo>
                      <a:pt x="4570383" y="2938858"/>
                    </a:lnTo>
                    <a:lnTo>
                      <a:pt x="4568799" y="2939487"/>
                    </a:lnTo>
                    <a:lnTo>
                      <a:pt x="4567140" y="2938533"/>
                    </a:lnTo>
                    <a:lnTo>
                      <a:pt x="4565422" y="2937071"/>
                    </a:lnTo>
                    <a:lnTo>
                      <a:pt x="4563124" y="2936196"/>
                    </a:lnTo>
                    <a:lnTo>
                      <a:pt x="4561351" y="2934484"/>
                    </a:lnTo>
                    <a:lnTo>
                      <a:pt x="4561488" y="2933287"/>
                    </a:lnTo>
                    <a:lnTo>
                      <a:pt x="4562948" y="2933458"/>
                    </a:lnTo>
                    <a:lnTo>
                      <a:pt x="4564298" y="2933180"/>
                    </a:lnTo>
                    <a:lnTo>
                      <a:pt x="4565460" y="2932539"/>
                    </a:lnTo>
                    <a:lnTo>
                      <a:pt x="4566426" y="2931220"/>
                    </a:lnTo>
                    <a:lnTo>
                      <a:pt x="4566672" y="2929247"/>
                    </a:lnTo>
                    <a:close/>
                    <a:moveTo>
                      <a:pt x="8007429" y="2927013"/>
                    </a:moveTo>
                    <a:lnTo>
                      <a:pt x="8007482" y="2928633"/>
                    </a:lnTo>
                    <a:lnTo>
                      <a:pt x="8007109" y="2929958"/>
                    </a:lnTo>
                    <a:lnTo>
                      <a:pt x="8006377" y="2930946"/>
                    </a:lnTo>
                    <a:lnTo>
                      <a:pt x="8005312" y="2931575"/>
                    </a:lnTo>
                    <a:lnTo>
                      <a:pt x="8007192" y="2932478"/>
                    </a:lnTo>
                    <a:lnTo>
                      <a:pt x="8008645" y="2932218"/>
                    </a:lnTo>
                    <a:lnTo>
                      <a:pt x="8009710" y="2931112"/>
                    </a:lnTo>
                    <a:lnTo>
                      <a:pt x="8010426" y="2929376"/>
                    </a:lnTo>
                    <a:lnTo>
                      <a:pt x="8012313" y="2930518"/>
                    </a:lnTo>
                    <a:lnTo>
                      <a:pt x="8014203" y="2931181"/>
                    </a:lnTo>
                    <a:lnTo>
                      <a:pt x="8015854" y="2931994"/>
                    </a:lnTo>
                    <a:lnTo>
                      <a:pt x="8017021" y="2933602"/>
                    </a:lnTo>
                    <a:lnTo>
                      <a:pt x="8017894" y="2933780"/>
                    </a:lnTo>
                    <a:lnTo>
                      <a:pt x="8019454" y="2933045"/>
                    </a:lnTo>
                    <a:lnTo>
                      <a:pt x="8021435" y="2932946"/>
                    </a:lnTo>
                    <a:lnTo>
                      <a:pt x="8023527" y="2934982"/>
                    </a:lnTo>
                    <a:lnTo>
                      <a:pt x="8025035" y="2936998"/>
                    </a:lnTo>
                    <a:lnTo>
                      <a:pt x="8025302" y="2938285"/>
                    </a:lnTo>
                    <a:lnTo>
                      <a:pt x="8024456" y="2938674"/>
                    </a:lnTo>
                    <a:lnTo>
                      <a:pt x="8022599" y="2937964"/>
                    </a:lnTo>
                    <a:lnTo>
                      <a:pt x="8023381" y="2940345"/>
                    </a:lnTo>
                    <a:lnTo>
                      <a:pt x="8024925" y="2942501"/>
                    </a:lnTo>
                    <a:lnTo>
                      <a:pt x="8025870" y="2944146"/>
                    </a:lnTo>
                    <a:lnTo>
                      <a:pt x="8024845" y="2944967"/>
                    </a:lnTo>
                    <a:lnTo>
                      <a:pt x="8022760" y="2944848"/>
                    </a:lnTo>
                    <a:lnTo>
                      <a:pt x="8020940" y="2944465"/>
                    </a:lnTo>
                    <a:lnTo>
                      <a:pt x="8019278" y="2944565"/>
                    </a:lnTo>
                    <a:lnTo>
                      <a:pt x="8017688" y="2945875"/>
                    </a:lnTo>
                    <a:lnTo>
                      <a:pt x="8020139" y="2947065"/>
                    </a:lnTo>
                    <a:lnTo>
                      <a:pt x="8021697" y="2948717"/>
                    </a:lnTo>
                    <a:lnTo>
                      <a:pt x="8023197" y="2950104"/>
                    </a:lnTo>
                    <a:lnTo>
                      <a:pt x="8025524" y="2950474"/>
                    </a:lnTo>
                    <a:lnTo>
                      <a:pt x="8027289" y="2951051"/>
                    </a:lnTo>
                    <a:lnTo>
                      <a:pt x="8029497" y="2952715"/>
                    </a:lnTo>
                    <a:lnTo>
                      <a:pt x="8031591" y="2954820"/>
                    </a:lnTo>
                    <a:lnTo>
                      <a:pt x="8032989" y="2956672"/>
                    </a:lnTo>
                    <a:lnTo>
                      <a:pt x="8034346" y="2961438"/>
                    </a:lnTo>
                    <a:lnTo>
                      <a:pt x="8031791" y="2962333"/>
                    </a:lnTo>
                    <a:lnTo>
                      <a:pt x="8027434" y="2960701"/>
                    </a:lnTo>
                    <a:lnTo>
                      <a:pt x="8023404" y="2957886"/>
                    </a:lnTo>
                    <a:lnTo>
                      <a:pt x="8022618" y="2956937"/>
                    </a:lnTo>
                    <a:lnTo>
                      <a:pt x="8020973" y="2954409"/>
                    </a:lnTo>
                    <a:lnTo>
                      <a:pt x="8020122" y="2953366"/>
                    </a:lnTo>
                    <a:lnTo>
                      <a:pt x="8018956" y="2952601"/>
                    </a:lnTo>
                    <a:lnTo>
                      <a:pt x="8016435" y="2951786"/>
                    </a:lnTo>
                    <a:lnTo>
                      <a:pt x="8015247" y="2951059"/>
                    </a:lnTo>
                    <a:lnTo>
                      <a:pt x="8014444" y="2950053"/>
                    </a:lnTo>
                    <a:lnTo>
                      <a:pt x="8012709" y="2947373"/>
                    </a:lnTo>
                    <a:lnTo>
                      <a:pt x="8012000" y="2946594"/>
                    </a:lnTo>
                    <a:lnTo>
                      <a:pt x="8010927" y="2946151"/>
                    </a:lnTo>
                    <a:lnTo>
                      <a:pt x="8008906" y="2946014"/>
                    </a:lnTo>
                    <a:lnTo>
                      <a:pt x="8007628" y="2945587"/>
                    </a:lnTo>
                    <a:lnTo>
                      <a:pt x="8004840" y="2943792"/>
                    </a:lnTo>
                    <a:lnTo>
                      <a:pt x="8003549" y="2942319"/>
                    </a:lnTo>
                    <a:lnTo>
                      <a:pt x="8002527" y="2940736"/>
                    </a:lnTo>
                    <a:lnTo>
                      <a:pt x="8000480" y="2938618"/>
                    </a:lnTo>
                    <a:lnTo>
                      <a:pt x="7998727" y="2936258"/>
                    </a:lnTo>
                    <a:lnTo>
                      <a:pt x="7998756" y="2934346"/>
                    </a:lnTo>
                    <a:lnTo>
                      <a:pt x="7999045" y="2932665"/>
                    </a:lnTo>
                    <a:lnTo>
                      <a:pt x="7998028" y="2930946"/>
                    </a:lnTo>
                    <a:lnTo>
                      <a:pt x="7998442" y="2929463"/>
                    </a:lnTo>
                    <a:lnTo>
                      <a:pt x="7999472" y="2930235"/>
                    </a:lnTo>
                    <a:lnTo>
                      <a:pt x="8002381" y="2931946"/>
                    </a:lnTo>
                    <a:lnTo>
                      <a:pt x="8002522" y="2929670"/>
                    </a:lnTo>
                    <a:lnTo>
                      <a:pt x="8003916" y="2928599"/>
                    </a:lnTo>
                    <a:lnTo>
                      <a:pt x="8005805" y="2927969"/>
                    </a:lnTo>
                    <a:close/>
                    <a:moveTo>
                      <a:pt x="4555630" y="2896470"/>
                    </a:moveTo>
                    <a:lnTo>
                      <a:pt x="4556198" y="2896965"/>
                    </a:lnTo>
                    <a:lnTo>
                      <a:pt x="4555423" y="2898215"/>
                    </a:lnTo>
                    <a:lnTo>
                      <a:pt x="4555013" y="2899978"/>
                    </a:lnTo>
                    <a:lnTo>
                      <a:pt x="4555006" y="2902029"/>
                    </a:lnTo>
                    <a:lnTo>
                      <a:pt x="4555627" y="2903824"/>
                    </a:lnTo>
                    <a:lnTo>
                      <a:pt x="4557568" y="2906010"/>
                    </a:lnTo>
                    <a:lnTo>
                      <a:pt x="4557651" y="2908164"/>
                    </a:lnTo>
                    <a:lnTo>
                      <a:pt x="4556608" y="2911041"/>
                    </a:lnTo>
                    <a:lnTo>
                      <a:pt x="4554119" y="2911103"/>
                    </a:lnTo>
                    <a:lnTo>
                      <a:pt x="4552174" y="2908788"/>
                    </a:lnTo>
                    <a:lnTo>
                      <a:pt x="4551507" y="2905993"/>
                    </a:lnTo>
                    <a:lnTo>
                      <a:pt x="4551453" y="2903764"/>
                    </a:lnTo>
                    <a:lnTo>
                      <a:pt x="4551757" y="2902333"/>
                    </a:lnTo>
                    <a:lnTo>
                      <a:pt x="4552360" y="2901666"/>
                    </a:lnTo>
                    <a:lnTo>
                      <a:pt x="4552733" y="2900701"/>
                    </a:lnTo>
                    <a:lnTo>
                      <a:pt x="4552727" y="2899467"/>
                    </a:lnTo>
                    <a:lnTo>
                      <a:pt x="4553642" y="2897683"/>
                    </a:lnTo>
                    <a:close/>
                    <a:moveTo>
                      <a:pt x="8206768" y="2889436"/>
                    </a:moveTo>
                    <a:lnTo>
                      <a:pt x="8206243" y="2890817"/>
                    </a:lnTo>
                    <a:lnTo>
                      <a:pt x="8207731" y="2893693"/>
                    </a:lnTo>
                    <a:lnTo>
                      <a:pt x="8209332" y="2896312"/>
                    </a:lnTo>
                    <a:lnTo>
                      <a:pt x="8210377" y="2898613"/>
                    </a:lnTo>
                    <a:lnTo>
                      <a:pt x="8210181" y="2900474"/>
                    </a:lnTo>
                    <a:lnTo>
                      <a:pt x="8210691" y="2901725"/>
                    </a:lnTo>
                    <a:lnTo>
                      <a:pt x="8215710" y="2902590"/>
                    </a:lnTo>
                    <a:lnTo>
                      <a:pt x="8218227" y="2903706"/>
                    </a:lnTo>
                    <a:lnTo>
                      <a:pt x="8219674" y="2906253"/>
                    </a:lnTo>
                    <a:lnTo>
                      <a:pt x="8219036" y="2907728"/>
                    </a:lnTo>
                    <a:lnTo>
                      <a:pt x="8215511" y="2911933"/>
                    </a:lnTo>
                    <a:lnTo>
                      <a:pt x="8214282" y="2912870"/>
                    </a:lnTo>
                    <a:lnTo>
                      <a:pt x="8209183" y="2913042"/>
                    </a:lnTo>
                    <a:lnTo>
                      <a:pt x="8207448" y="2913816"/>
                    </a:lnTo>
                    <a:lnTo>
                      <a:pt x="8206170" y="2916044"/>
                    </a:lnTo>
                    <a:lnTo>
                      <a:pt x="8204572" y="2917991"/>
                    </a:lnTo>
                    <a:lnTo>
                      <a:pt x="8201983" y="2918406"/>
                    </a:lnTo>
                    <a:lnTo>
                      <a:pt x="8198921" y="2917815"/>
                    </a:lnTo>
                    <a:lnTo>
                      <a:pt x="8195935" y="2916776"/>
                    </a:lnTo>
                    <a:lnTo>
                      <a:pt x="8194919" y="2914445"/>
                    </a:lnTo>
                    <a:lnTo>
                      <a:pt x="8187807" y="2910850"/>
                    </a:lnTo>
                    <a:lnTo>
                      <a:pt x="8184524" y="2908241"/>
                    </a:lnTo>
                    <a:lnTo>
                      <a:pt x="8181509" y="2910305"/>
                    </a:lnTo>
                    <a:lnTo>
                      <a:pt x="8178514" y="2907932"/>
                    </a:lnTo>
                    <a:lnTo>
                      <a:pt x="8177494" y="2904044"/>
                    </a:lnTo>
                    <a:lnTo>
                      <a:pt x="8180412" y="2901616"/>
                    </a:lnTo>
                    <a:lnTo>
                      <a:pt x="8183225" y="2900905"/>
                    </a:lnTo>
                    <a:lnTo>
                      <a:pt x="8190440" y="2897624"/>
                    </a:lnTo>
                    <a:lnTo>
                      <a:pt x="8192396" y="2895564"/>
                    </a:lnTo>
                    <a:lnTo>
                      <a:pt x="8196591" y="2897979"/>
                    </a:lnTo>
                    <a:lnTo>
                      <a:pt x="8202849" y="2889657"/>
                    </a:lnTo>
                    <a:close/>
                    <a:moveTo>
                      <a:pt x="7972576" y="2879191"/>
                    </a:moveTo>
                    <a:lnTo>
                      <a:pt x="7974186" y="2879421"/>
                    </a:lnTo>
                    <a:lnTo>
                      <a:pt x="7978210" y="2882118"/>
                    </a:lnTo>
                    <a:lnTo>
                      <a:pt x="7986960" y="2886019"/>
                    </a:lnTo>
                    <a:lnTo>
                      <a:pt x="7990792" y="2888860"/>
                    </a:lnTo>
                    <a:lnTo>
                      <a:pt x="8004713" y="2904358"/>
                    </a:lnTo>
                    <a:lnTo>
                      <a:pt x="8003968" y="2907868"/>
                    </a:lnTo>
                    <a:lnTo>
                      <a:pt x="7997552" y="2916833"/>
                    </a:lnTo>
                    <a:lnTo>
                      <a:pt x="7995449" y="2914392"/>
                    </a:lnTo>
                    <a:lnTo>
                      <a:pt x="7993339" y="2912487"/>
                    </a:lnTo>
                    <a:lnTo>
                      <a:pt x="7988731" y="2909385"/>
                    </a:lnTo>
                    <a:lnTo>
                      <a:pt x="7990491" y="2913921"/>
                    </a:lnTo>
                    <a:lnTo>
                      <a:pt x="7987017" y="2913926"/>
                    </a:lnTo>
                    <a:lnTo>
                      <a:pt x="7977378" y="2910819"/>
                    </a:lnTo>
                    <a:lnTo>
                      <a:pt x="7978340" y="2908791"/>
                    </a:lnTo>
                    <a:lnTo>
                      <a:pt x="7982153" y="2907611"/>
                    </a:lnTo>
                    <a:lnTo>
                      <a:pt x="7982522" y="2906398"/>
                    </a:lnTo>
                    <a:lnTo>
                      <a:pt x="7982069" y="2904055"/>
                    </a:lnTo>
                    <a:lnTo>
                      <a:pt x="7982391" y="2902133"/>
                    </a:lnTo>
                    <a:lnTo>
                      <a:pt x="7983146" y="2900693"/>
                    </a:lnTo>
                    <a:lnTo>
                      <a:pt x="7983921" y="2899735"/>
                    </a:lnTo>
                    <a:lnTo>
                      <a:pt x="7981953" y="2898963"/>
                    </a:lnTo>
                    <a:lnTo>
                      <a:pt x="7979327" y="2898385"/>
                    </a:lnTo>
                    <a:lnTo>
                      <a:pt x="7974930" y="2898013"/>
                    </a:lnTo>
                    <a:lnTo>
                      <a:pt x="7973763" y="2896960"/>
                    </a:lnTo>
                    <a:lnTo>
                      <a:pt x="7972267" y="2894427"/>
                    </a:lnTo>
                    <a:lnTo>
                      <a:pt x="7970923" y="2891703"/>
                    </a:lnTo>
                    <a:lnTo>
                      <a:pt x="7969867" y="2888748"/>
                    </a:lnTo>
                    <a:lnTo>
                      <a:pt x="7968958" y="2887281"/>
                    </a:lnTo>
                    <a:lnTo>
                      <a:pt x="7968703" y="2885944"/>
                    </a:lnTo>
                    <a:lnTo>
                      <a:pt x="7969181" y="2885569"/>
                    </a:lnTo>
                    <a:lnTo>
                      <a:pt x="7970209" y="2885540"/>
                    </a:lnTo>
                    <a:lnTo>
                      <a:pt x="7970999" y="2885083"/>
                    </a:lnTo>
                    <a:lnTo>
                      <a:pt x="7970687" y="2881804"/>
                    </a:lnTo>
                    <a:lnTo>
                      <a:pt x="7971343" y="2880189"/>
                    </a:lnTo>
                    <a:close/>
                    <a:moveTo>
                      <a:pt x="7926686" y="2872274"/>
                    </a:moveTo>
                    <a:lnTo>
                      <a:pt x="7928873" y="2872544"/>
                    </a:lnTo>
                    <a:lnTo>
                      <a:pt x="7931507" y="2875468"/>
                    </a:lnTo>
                    <a:lnTo>
                      <a:pt x="7931704" y="2878120"/>
                    </a:lnTo>
                    <a:lnTo>
                      <a:pt x="7932087" y="2879891"/>
                    </a:lnTo>
                    <a:lnTo>
                      <a:pt x="7935290" y="2880169"/>
                    </a:lnTo>
                    <a:lnTo>
                      <a:pt x="7938077" y="2881366"/>
                    </a:lnTo>
                    <a:lnTo>
                      <a:pt x="7940006" y="2884695"/>
                    </a:lnTo>
                    <a:lnTo>
                      <a:pt x="7942126" y="2891434"/>
                    </a:lnTo>
                    <a:lnTo>
                      <a:pt x="7943914" y="2892501"/>
                    </a:lnTo>
                    <a:lnTo>
                      <a:pt x="7951004" y="2894078"/>
                    </a:lnTo>
                    <a:lnTo>
                      <a:pt x="7953443" y="2895149"/>
                    </a:lnTo>
                    <a:lnTo>
                      <a:pt x="7954251" y="2896392"/>
                    </a:lnTo>
                    <a:lnTo>
                      <a:pt x="7955988" y="2900247"/>
                    </a:lnTo>
                    <a:lnTo>
                      <a:pt x="7956870" y="2901718"/>
                    </a:lnTo>
                    <a:lnTo>
                      <a:pt x="7963813" y="2906689"/>
                    </a:lnTo>
                    <a:lnTo>
                      <a:pt x="7958945" y="2904851"/>
                    </a:lnTo>
                    <a:lnTo>
                      <a:pt x="7952545" y="2901215"/>
                    </a:lnTo>
                    <a:lnTo>
                      <a:pt x="7946742" y="2899494"/>
                    </a:lnTo>
                    <a:lnTo>
                      <a:pt x="7943629" y="2903378"/>
                    </a:lnTo>
                    <a:lnTo>
                      <a:pt x="7958137" y="2907402"/>
                    </a:lnTo>
                    <a:lnTo>
                      <a:pt x="7958613" y="2908644"/>
                    </a:lnTo>
                    <a:lnTo>
                      <a:pt x="7954298" y="2910810"/>
                    </a:lnTo>
                    <a:lnTo>
                      <a:pt x="7952475" y="2910954"/>
                    </a:lnTo>
                    <a:lnTo>
                      <a:pt x="7952995" y="2912318"/>
                    </a:lnTo>
                    <a:lnTo>
                      <a:pt x="7958060" y="2913622"/>
                    </a:lnTo>
                    <a:lnTo>
                      <a:pt x="7962549" y="2913586"/>
                    </a:lnTo>
                    <a:lnTo>
                      <a:pt x="7966743" y="2914881"/>
                    </a:lnTo>
                    <a:lnTo>
                      <a:pt x="7970970" y="2920187"/>
                    </a:lnTo>
                    <a:lnTo>
                      <a:pt x="7974205" y="2928360"/>
                    </a:lnTo>
                    <a:lnTo>
                      <a:pt x="7974579" y="2929615"/>
                    </a:lnTo>
                    <a:lnTo>
                      <a:pt x="7976134" y="2929982"/>
                    </a:lnTo>
                    <a:lnTo>
                      <a:pt x="7979311" y="2928357"/>
                    </a:lnTo>
                    <a:lnTo>
                      <a:pt x="7981292" y="2928772"/>
                    </a:lnTo>
                    <a:lnTo>
                      <a:pt x="7980829" y="2930372"/>
                    </a:lnTo>
                    <a:lnTo>
                      <a:pt x="7982006" y="2930572"/>
                    </a:lnTo>
                    <a:lnTo>
                      <a:pt x="7982524" y="2930839"/>
                    </a:lnTo>
                    <a:lnTo>
                      <a:pt x="7983284" y="2931374"/>
                    </a:lnTo>
                    <a:lnTo>
                      <a:pt x="7982953" y="2932471"/>
                    </a:lnTo>
                    <a:lnTo>
                      <a:pt x="7982915" y="2935822"/>
                    </a:lnTo>
                    <a:lnTo>
                      <a:pt x="7989627" y="2937737"/>
                    </a:lnTo>
                    <a:lnTo>
                      <a:pt x="7992796" y="2939688"/>
                    </a:lnTo>
                    <a:lnTo>
                      <a:pt x="7994673" y="2942927"/>
                    </a:lnTo>
                    <a:lnTo>
                      <a:pt x="7996537" y="2942130"/>
                    </a:lnTo>
                    <a:lnTo>
                      <a:pt x="7998447" y="2943483"/>
                    </a:lnTo>
                    <a:lnTo>
                      <a:pt x="7999467" y="2945893"/>
                    </a:lnTo>
                    <a:lnTo>
                      <a:pt x="7998615" y="2948283"/>
                    </a:lnTo>
                    <a:lnTo>
                      <a:pt x="8000865" y="2948954"/>
                    </a:lnTo>
                    <a:lnTo>
                      <a:pt x="8005039" y="2949084"/>
                    </a:lnTo>
                    <a:lnTo>
                      <a:pt x="8007298" y="2949915"/>
                    </a:lnTo>
                    <a:lnTo>
                      <a:pt x="8009039" y="2951178"/>
                    </a:lnTo>
                    <a:lnTo>
                      <a:pt x="8010063" y="2952361"/>
                    </a:lnTo>
                    <a:lnTo>
                      <a:pt x="8010952" y="2953629"/>
                    </a:lnTo>
                    <a:lnTo>
                      <a:pt x="8012287" y="2955123"/>
                    </a:lnTo>
                    <a:lnTo>
                      <a:pt x="8018295" y="2960041"/>
                    </a:lnTo>
                    <a:lnTo>
                      <a:pt x="8018619" y="2961918"/>
                    </a:lnTo>
                    <a:lnTo>
                      <a:pt x="8015909" y="2964561"/>
                    </a:lnTo>
                    <a:lnTo>
                      <a:pt x="8017428" y="2965922"/>
                    </a:lnTo>
                    <a:lnTo>
                      <a:pt x="8016578" y="2966447"/>
                    </a:lnTo>
                    <a:lnTo>
                      <a:pt x="8016319" y="2966811"/>
                    </a:lnTo>
                    <a:lnTo>
                      <a:pt x="8016047" y="2967527"/>
                    </a:lnTo>
                    <a:lnTo>
                      <a:pt x="8024332" y="2969279"/>
                    </a:lnTo>
                    <a:lnTo>
                      <a:pt x="8027551" y="2971149"/>
                    </a:lnTo>
                    <a:lnTo>
                      <a:pt x="8026792" y="2974749"/>
                    </a:lnTo>
                    <a:lnTo>
                      <a:pt x="8033053" y="2978974"/>
                    </a:lnTo>
                    <a:lnTo>
                      <a:pt x="8031126" y="2979917"/>
                    </a:lnTo>
                    <a:lnTo>
                      <a:pt x="8025644" y="2979883"/>
                    </a:lnTo>
                    <a:lnTo>
                      <a:pt x="8021273" y="2981175"/>
                    </a:lnTo>
                    <a:lnTo>
                      <a:pt x="8018322" y="2977539"/>
                    </a:lnTo>
                    <a:lnTo>
                      <a:pt x="8014372" y="2976978"/>
                    </a:lnTo>
                    <a:lnTo>
                      <a:pt x="8007849" y="2978692"/>
                    </a:lnTo>
                    <a:lnTo>
                      <a:pt x="8007408" y="2977802"/>
                    </a:lnTo>
                    <a:lnTo>
                      <a:pt x="8004515" y="2973801"/>
                    </a:lnTo>
                    <a:lnTo>
                      <a:pt x="8001854" y="2970914"/>
                    </a:lnTo>
                    <a:lnTo>
                      <a:pt x="8001281" y="2969503"/>
                    </a:lnTo>
                    <a:lnTo>
                      <a:pt x="8002113" y="2968751"/>
                    </a:lnTo>
                    <a:lnTo>
                      <a:pt x="8004636" y="2968963"/>
                    </a:lnTo>
                    <a:lnTo>
                      <a:pt x="7987425" y="2961578"/>
                    </a:lnTo>
                    <a:lnTo>
                      <a:pt x="7983694" y="2958715"/>
                    </a:lnTo>
                    <a:lnTo>
                      <a:pt x="7985195" y="2957812"/>
                    </a:lnTo>
                    <a:lnTo>
                      <a:pt x="7987058" y="2955850"/>
                    </a:lnTo>
                    <a:lnTo>
                      <a:pt x="7988248" y="2953384"/>
                    </a:lnTo>
                    <a:lnTo>
                      <a:pt x="7987707" y="2950956"/>
                    </a:lnTo>
                    <a:lnTo>
                      <a:pt x="7985325" y="2949816"/>
                    </a:lnTo>
                    <a:lnTo>
                      <a:pt x="7982710" y="2950808"/>
                    </a:lnTo>
                    <a:lnTo>
                      <a:pt x="7978203" y="2953569"/>
                    </a:lnTo>
                    <a:lnTo>
                      <a:pt x="7975156" y="2952604"/>
                    </a:lnTo>
                    <a:lnTo>
                      <a:pt x="7971860" y="2947125"/>
                    </a:lnTo>
                    <a:lnTo>
                      <a:pt x="7969389" y="2946097"/>
                    </a:lnTo>
                    <a:lnTo>
                      <a:pt x="7966828" y="2945395"/>
                    </a:lnTo>
                    <a:lnTo>
                      <a:pt x="7964278" y="2943305"/>
                    </a:lnTo>
                    <a:lnTo>
                      <a:pt x="7962918" y="2940633"/>
                    </a:lnTo>
                    <a:lnTo>
                      <a:pt x="7963947" y="2938197"/>
                    </a:lnTo>
                    <a:lnTo>
                      <a:pt x="7961506" y="2937610"/>
                    </a:lnTo>
                    <a:lnTo>
                      <a:pt x="7959216" y="2937487"/>
                    </a:lnTo>
                    <a:lnTo>
                      <a:pt x="7954722" y="2937927"/>
                    </a:lnTo>
                    <a:lnTo>
                      <a:pt x="7954161" y="2936449"/>
                    </a:lnTo>
                    <a:lnTo>
                      <a:pt x="7957280" y="2935124"/>
                    </a:lnTo>
                    <a:lnTo>
                      <a:pt x="7958697" y="2934207"/>
                    </a:lnTo>
                    <a:lnTo>
                      <a:pt x="7959023" y="2933104"/>
                    </a:lnTo>
                    <a:lnTo>
                      <a:pt x="7957716" y="2931956"/>
                    </a:lnTo>
                    <a:lnTo>
                      <a:pt x="7955633" y="2931757"/>
                    </a:lnTo>
                    <a:lnTo>
                      <a:pt x="7951737" y="2932471"/>
                    </a:lnTo>
                    <a:lnTo>
                      <a:pt x="7948523" y="2933885"/>
                    </a:lnTo>
                    <a:lnTo>
                      <a:pt x="7947507" y="2933611"/>
                    </a:lnTo>
                    <a:lnTo>
                      <a:pt x="7945582" y="2931937"/>
                    </a:lnTo>
                    <a:lnTo>
                      <a:pt x="7946018" y="2931653"/>
                    </a:lnTo>
                    <a:lnTo>
                      <a:pt x="7945851" y="2930092"/>
                    </a:lnTo>
                    <a:lnTo>
                      <a:pt x="7944787" y="2928133"/>
                    </a:lnTo>
                    <a:lnTo>
                      <a:pt x="7942561" y="2926597"/>
                    </a:lnTo>
                    <a:lnTo>
                      <a:pt x="7944132" y="2923110"/>
                    </a:lnTo>
                    <a:lnTo>
                      <a:pt x="7939752" y="2918708"/>
                    </a:lnTo>
                    <a:lnTo>
                      <a:pt x="7930059" y="2912211"/>
                    </a:lnTo>
                    <a:lnTo>
                      <a:pt x="7930059" y="2910707"/>
                    </a:lnTo>
                    <a:lnTo>
                      <a:pt x="7928696" y="2908812"/>
                    </a:lnTo>
                    <a:lnTo>
                      <a:pt x="7926764" y="2906612"/>
                    </a:lnTo>
                    <a:lnTo>
                      <a:pt x="7925061" y="2904266"/>
                    </a:lnTo>
                    <a:lnTo>
                      <a:pt x="7931983" y="2903965"/>
                    </a:lnTo>
                    <a:lnTo>
                      <a:pt x="7938382" y="2902605"/>
                    </a:lnTo>
                    <a:lnTo>
                      <a:pt x="7934540" y="2899617"/>
                    </a:lnTo>
                    <a:lnTo>
                      <a:pt x="7927153" y="2899272"/>
                    </a:lnTo>
                    <a:lnTo>
                      <a:pt x="7924362" y="2897224"/>
                    </a:lnTo>
                    <a:lnTo>
                      <a:pt x="7927285" y="2896859"/>
                    </a:lnTo>
                    <a:lnTo>
                      <a:pt x="7920919" y="2893370"/>
                    </a:lnTo>
                    <a:lnTo>
                      <a:pt x="7922291" y="2892757"/>
                    </a:lnTo>
                    <a:lnTo>
                      <a:pt x="7925765" y="2892868"/>
                    </a:lnTo>
                    <a:lnTo>
                      <a:pt x="7927619" y="2892534"/>
                    </a:lnTo>
                    <a:lnTo>
                      <a:pt x="7925542" y="2890585"/>
                    </a:lnTo>
                    <a:lnTo>
                      <a:pt x="7923662" y="2889204"/>
                    </a:lnTo>
                    <a:lnTo>
                      <a:pt x="7921701" y="2888701"/>
                    </a:lnTo>
                    <a:lnTo>
                      <a:pt x="7919370" y="2889297"/>
                    </a:lnTo>
                    <a:lnTo>
                      <a:pt x="7918851" y="2887935"/>
                    </a:lnTo>
                    <a:lnTo>
                      <a:pt x="7926396" y="2884138"/>
                    </a:lnTo>
                    <a:lnTo>
                      <a:pt x="7920230" y="2880915"/>
                    </a:lnTo>
                    <a:lnTo>
                      <a:pt x="7918878" y="2879317"/>
                    </a:lnTo>
                    <a:lnTo>
                      <a:pt x="7919504" y="2876452"/>
                    </a:lnTo>
                    <a:lnTo>
                      <a:pt x="7921139" y="2874676"/>
                    </a:lnTo>
                    <a:lnTo>
                      <a:pt x="7923830" y="2873141"/>
                    </a:lnTo>
                    <a:close/>
                    <a:moveTo>
                      <a:pt x="4402482" y="2870648"/>
                    </a:moveTo>
                    <a:lnTo>
                      <a:pt x="4406778" y="2870726"/>
                    </a:lnTo>
                    <a:lnTo>
                      <a:pt x="4408881" y="2871806"/>
                    </a:lnTo>
                    <a:lnTo>
                      <a:pt x="4408905" y="2872290"/>
                    </a:lnTo>
                    <a:lnTo>
                      <a:pt x="4408711" y="2873218"/>
                    </a:lnTo>
                    <a:lnTo>
                      <a:pt x="4408785" y="2874427"/>
                    </a:lnTo>
                    <a:lnTo>
                      <a:pt x="4408785" y="2874436"/>
                    </a:lnTo>
                    <a:lnTo>
                      <a:pt x="4409513" y="2875820"/>
                    </a:lnTo>
                    <a:lnTo>
                      <a:pt x="4409719" y="2877223"/>
                    </a:lnTo>
                    <a:lnTo>
                      <a:pt x="4408824" y="2878315"/>
                    </a:lnTo>
                    <a:lnTo>
                      <a:pt x="4407507" y="2879467"/>
                    </a:lnTo>
                    <a:lnTo>
                      <a:pt x="4405900" y="2880239"/>
                    </a:lnTo>
                    <a:lnTo>
                      <a:pt x="4403690" y="2879032"/>
                    </a:lnTo>
                    <a:lnTo>
                      <a:pt x="4401036" y="2877171"/>
                    </a:lnTo>
                    <a:lnTo>
                      <a:pt x="4398556" y="2876326"/>
                    </a:lnTo>
                    <a:lnTo>
                      <a:pt x="4396631" y="2875245"/>
                    </a:lnTo>
                    <a:lnTo>
                      <a:pt x="4396747" y="2873591"/>
                    </a:lnTo>
                    <a:close/>
                    <a:moveTo>
                      <a:pt x="8201862" y="2865994"/>
                    </a:moveTo>
                    <a:lnTo>
                      <a:pt x="8204430" y="2867013"/>
                    </a:lnTo>
                    <a:lnTo>
                      <a:pt x="8206895" y="2872649"/>
                    </a:lnTo>
                    <a:lnTo>
                      <a:pt x="8208818" y="2878018"/>
                    </a:lnTo>
                    <a:lnTo>
                      <a:pt x="8205237" y="2878569"/>
                    </a:lnTo>
                    <a:lnTo>
                      <a:pt x="8198185" y="2875059"/>
                    </a:lnTo>
                    <a:lnTo>
                      <a:pt x="8197745" y="2870171"/>
                    </a:lnTo>
                    <a:close/>
                    <a:moveTo>
                      <a:pt x="7892886" y="2858178"/>
                    </a:moveTo>
                    <a:lnTo>
                      <a:pt x="7896101" y="2859280"/>
                    </a:lnTo>
                    <a:lnTo>
                      <a:pt x="7899015" y="2861820"/>
                    </a:lnTo>
                    <a:lnTo>
                      <a:pt x="7899441" y="2865333"/>
                    </a:lnTo>
                    <a:lnTo>
                      <a:pt x="7897929" y="2871871"/>
                    </a:lnTo>
                    <a:lnTo>
                      <a:pt x="7902345" y="2872885"/>
                    </a:lnTo>
                    <a:lnTo>
                      <a:pt x="7902405" y="2868870"/>
                    </a:lnTo>
                    <a:lnTo>
                      <a:pt x="7905312" y="2868626"/>
                    </a:lnTo>
                    <a:lnTo>
                      <a:pt x="7909417" y="2869769"/>
                    </a:lnTo>
                    <a:lnTo>
                      <a:pt x="7913092" y="2869982"/>
                    </a:lnTo>
                    <a:lnTo>
                      <a:pt x="7912043" y="2873773"/>
                    </a:lnTo>
                    <a:lnTo>
                      <a:pt x="7911868" y="2876013"/>
                    </a:lnTo>
                    <a:lnTo>
                      <a:pt x="7912646" y="2880485"/>
                    </a:lnTo>
                    <a:lnTo>
                      <a:pt x="7911732" y="2881406"/>
                    </a:lnTo>
                    <a:lnTo>
                      <a:pt x="7908629" y="2882072"/>
                    </a:lnTo>
                    <a:lnTo>
                      <a:pt x="7904777" y="2885065"/>
                    </a:lnTo>
                    <a:lnTo>
                      <a:pt x="7903573" y="2885554"/>
                    </a:lnTo>
                    <a:lnTo>
                      <a:pt x="7901762" y="2885472"/>
                    </a:lnTo>
                    <a:lnTo>
                      <a:pt x="7900671" y="2884843"/>
                    </a:lnTo>
                    <a:lnTo>
                      <a:pt x="7899709" y="2884029"/>
                    </a:lnTo>
                    <a:lnTo>
                      <a:pt x="7898332" y="2883351"/>
                    </a:lnTo>
                    <a:lnTo>
                      <a:pt x="7894654" y="2882380"/>
                    </a:lnTo>
                    <a:lnTo>
                      <a:pt x="7892760" y="2882335"/>
                    </a:lnTo>
                    <a:lnTo>
                      <a:pt x="7892326" y="2883381"/>
                    </a:lnTo>
                    <a:lnTo>
                      <a:pt x="7892529" y="2885317"/>
                    </a:lnTo>
                    <a:lnTo>
                      <a:pt x="7891736" y="2886647"/>
                    </a:lnTo>
                    <a:lnTo>
                      <a:pt x="7890378" y="2887341"/>
                    </a:lnTo>
                    <a:lnTo>
                      <a:pt x="7888899" y="2887370"/>
                    </a:lnTo>
                    <a:lnTo>
                      <a:pt x="7886173" y="2885644"/>
                    </a:lnTo>
                    <a:lnTo>
                      <a:pt x="7883586" y="2882255"/>
                    </a:lnTo>
                    <a:lnTo>
                      <a:pt x="7881415" y="2878128"/>
                    </a:lnTo>
                    <a:lnTo>
                      <a:pt x="7879929" y="2874102"/>
                    </a:lnTo>
                    <a:lnTo>
                      <a:pt x="7881961" y="2874809"/>
                    </a:lnTo>
                    <a:lnTo>
                      <a:pt x="7883926" y="2875135"/>
                    </a:lnTo>
                    <a:lnTo>
                      <a:pt x="7885568" y="2874763"/>
                    </a:lnTo>
                    <a:lnTo>
                      <a:pt x="7886610" y="2873276"/>
                    </a:lnTo>
                    <a:lnTo>
                      <a:pt x="7880860" y="2870762"/>
                    </a:lnTo>
                    <a:lnTo>
                      <a:pt x="7878809" y="2868530"/>
                    </a:lnTo>
                    <a:lnTo>
                      <a:pt x="7879008" y="2865035"/>
                    </a:lnTo>
                    <a:lnTo>
                      <a:pt x="7881222" y="2863980"/>
                    </a:lnTo>
                    <a:lnTo>
                      <a:pt x="7884463" y="2864121"/>
                    </a:lnTo>
                    <a:lnTo>
                      <a:pt x="7886385" y="2863645"/>
                    </a:lnTo>
                    <a:lnTo>
                      <a:pt x="7884630" y="2860706"/>
                    </a:lnTo>
                    <a:lnTo>
                      <a:pt x="7887540" y="2860125"/>
                    </a:lnTo>
                    <a:lnTo>
                      <a:pt x="7890166" y="2858873"/>
                    </a:lnTo>
                    <a:close/>
                    <a:moveTo>
                      <a:pt x="7850147" y="2845302"/>
                    </a:moveTo>
                    <a:lnTo>
                      <a:pt x="7851787" y="2845499"/>
                    </a:lnTo>
                    <a:lnTo>
                      <a:pt x="7856342" y="2846955"/>
                    </a:lnTo>
                    <a:lnTo>
                      <a:pt x="7865887" y="2845393"/>
                    </a:lnTo>
                    <a:lnTo>
                      <a:pt x="7869631" y="2846914"/>
                    </a:lnTo>
                    <a:lnTo>
                      <a:pt x="7870812" y="2849813"/>
                    </a:lnTo>
                    <a:lnTo>
                      <a:pt x="7871450" y="2850938"/>
                    </a:lnTo>
                    <a:lnTo>
                      <a:pt x="7872663" y="2852094"/>
                    </a:lnTo>
                    <a:lnTo>
                      <a:pt x="7872104" y="2853436"/>
                    </a:lnTo>
                    <a:lnTo>
                      <a:pt x="7871304" y="2854468"/>
                    </a:lnTo>
                    <a:lnTo>
                      <a:pt x="7870271" y="2855180"/>
                    </a:lnTo>
                    <a:lnTo>
                      <a:pt x="7866095" y="2855892"/>
                    </a:lnTo>
                    <a:lnTo>
                      <a:pt x="7865155" y="2856322"/>
                    </a:lnTo>
                    <a:lnTo>
                      <a:pt x="7865478" y="2857054"/>
                    </a:lnTo>
                    <a:lnTo>
                      <a:pt x="7866127" y="2857932"/>
                    </a:lnTo>
                    <a:lnTo>
                      <a:pt x="7866139" y="2858737"/>
                    </a:lnTo>
                    <a:lnTo>
                      <a:pt x="7865088" y="2860291"/>
                    </a:lnTo>
                    <a:lnTo>
                      <a:pt x="7864679" y="2861215"/>
                    </a:lnTo>
                    <a:lnTo>
                      <a:pt x="7864094" y="2861719"/>
                    </a:lnTo>
                    <a:lnTo>
                      <a:pt x="7862503" y="2862035"/>
                    </a:lnTo>
                    <a:lnTo>
                      <a:pt x="7861069" y="2861923"/>
                    </a:lnTo>
                    <a:lnTo>
                      <a:pt x="7857952" y="2861229"/>
                    </a:lnTo>
                    <a:lnTo>
                      <a:pt x="7856298" y="2861375"/>
                    </a:lnTo>
                    <a:lnTo>
                      <a:pt x="7859184" y="2864156"/>
                    </a:lnTo>
                    <a:lnTo>
                      <a:pt x="7860261" y="2866229"/>
                    </a:lnTo>
                    <a:lnTo>
                      <a:pt x="7860437" y="2872364"/>
                    </a:lnTo>
                    <a:lnTo>
                      <a:pt x="7861797" y="2878982"/>
                    </a:lnTo>
                    <a:lnTo>
                      <a:pt x="7861992" y="2882028"/>
                    </a:lnTo>
                    <a:lnTo>
                      <a:pt x="7860754" y="2883724"/>
                    </a:lnTo>
                    <a:lnTo>
                      <a:pt x="7858474" y="2883002"/>
                    </a:lnTo>
                    <a:lnTo>
                      <a:pt x="7855426" y="2880713"/>
                    </a:lnTo>
                    <a:lnTo>
                      <a:pt x="7851001" y="2876379"/>
                    </a:lnTo>
                    <a:lnTo>
                      <a:pt x="7850225" y="2874940"/>
                    </a:lnTo>
                    <a:lnTo>
                      <a:pt x="7849203" y="2871665"/>
                    </a:lnTo>
                    <a:lnTo>
                      <a:pt x="7848248" y="2870247"/>
                    </a:lnTo>
                    <a:lnTo>
                      <a:pt x="7847275" y="2869815"/>
                    </a:lnTo>
                    <a:lnTo>
                      <a:pt x="7845114" y="2870275"/>
                    </a:lnTo>
                    <a:lnTo>
                      <a:pt x="7843770" y="2870015"/>
                    </a:lnTo>
                    <a:lnTo>
                      <a:pt x="7846158" y="2867214"/>
                    </a:lnTo>
                    <a:lnTo>
                      <a:pt x="7846946" y="2866778"/>
                    </a:lnTo>
                    <a:lnTo>
                      <a:pt x="7848610" y="2866422"/>
                    </a:lnTo>
                    <a:lnTo>
                      <a:pt x="7849101" y="2865853"/>
                    </a:lnTo>
                    <a:lnTo>
                      <a:pt x="7849089" y="2864964"/>
                    </a:lnTo>
                    <a:lnTo>
                      <a:pt x="7849916" y="2860336"/>
                    </a:lnTo>
                    <a:lnTo>
                      <a:pt x="7849118" y="2858950"/>
                    </a:lnTo>
                    <a:lnTo>
                      <a:pt x="7843803" y="2857213"/>
                    </a:lnTo>
                    <a:lnTo>
                      <a:pt x="7844895" y="2855154"/>
                    </a:lnTo>
                    <a:lnTo>
                      <a:pt x="7848105" y="2853081"/>
                    </a:lnTo>
                    <a:lnTo>
                      <a:pt x="7849154" y="2851579"/>
                    </a:lnTo>
                    <a:lnTo>
                      <a:pt x="7849464" y="2847268"/>
                    </a:lnTo>
                    <a:close/>
                    <a:moveTo>
                      <a:pt x="8140606" y="2839223"/>
                    </a:moveTo>
                    <a:lnTo>
                      <a:pt x="8143584" y="2839309"/>
                    </a:lnTo>
                    <a:lnTo>
                      <a:pt x="8148142" y="2840681"/>
                    </a:lnTo>
                    <a:lnTo>
                      <a:pt x="8152465" y="2842656"/>
                    </a:lnTo>
                    <a:lnTo>
                      <a:pt x="8158640" y="2847889"/>
                    </a:lnTo>
                    <a:lnTo>
                      <a:pt x="8166961" y="2848528"/>
                    </a:lnTo>
                    <a:lnTo>
                      <a:pt x="8171220" y="2850880"/>
                    </a:lnTo>
                    <a:lnTo>
                      <a:pt x="8172167" y="2854672"/>
                    </a:lnTo>
                    <a:lnTo>
                      <a:pt x="8174795" y="2858339"/>
                    </a:lnTo>
                    <a:lnTo>
                      <a:pt x="8177953" y="2862123"/>
                    </a:lnTo>
                    <a:lnTo>
                      <a:pt x="8180451" y="2866220"/>
                    </a:lnTo>
                    <a:lnTo>
                      <a:pt x="8180633" y="2867839"/>
                    </a:lnTo>
                    <a:lnTo>
                      <a:pt x="8180462" y="2869678"/>
                    </a:lnTo>
                    <a:lnTo>
                      <a:pt x="8180599" y="2871508"/>
                    </a:lnTo>
                    <a:lnTo>
                      <a:pt x="8181699" y="2873165"/>
                    </a:lnTo>
                    <a:lnTo>
                      <a:pt x="8184563" y="2875065"/>
                    </a:lnTo>
                    <a:lnTo>
                      <a:pt x="8185639" y="2876384"/>
                    </a:lnTo>
                    <a:lnTo>
                      <a:pt x="8186627" y="2878974"/>
                    </a:lnTo>
                    <a:lnTo>
                      <a:pt x="8187115" y="2884277"/>
                    </a:lnTo>
                    <a:lnTo>
                      <a:pt x="8185416" y="2887588"/>
                    </a:lnTo>
                    <a:lnTo>
                      <a:pt x="8182331" y="2889389"/>
                    </a:lnTo>
                    <a:lnTo>
                      <a:pt x="8173546" y="2891929"/>
                    </a:lnTo>
                    <a:lnTo>
                      <a:pt x="8172361" y="2891780"/>
                    </a:lnTo>
                    <a:lnTo>
                      <a:pt x="8170698" y="2889742"/>
                    </a:lnTo>
                    <a:lnTo>
                      <a:pt x="8170088" y="2887916"/>
                    </a:lnTo>
                    <a:lnTo>
                      <a:pt x="8169767" y="2886162"/>
                    </a:lnTo>
                    <a:lnTo>
                      <a:pt x="8168902" y="2884344"/>
                    </a:lnTo>
                    <a:lnTo>
                      <a:pt x="8166288" y="2881870"/>
                    </a:lnTo>
                    <a:lnTo>
                      <a:pt x="8162172" y="2878870"/>
                    </a:lnTo>
                    <a:lnTo>
                      <a:pt x="8158271" y="2876671"/>
                    </a:lnTo>
                    <a:lnTo>
                      <a:pt x="8156298" y="2876576"/>
                    </a:lnTo>
                    <a:lnTo>
                      <a:pt x="8157033" y="2879095"/>
                    </a:lnTo>
                    <a:lnTo>
                      <a:pt x="8159798" y="2881233"/>
                    </a:lnTo>
                    <a:lnTo>
                      <a:pt x="8162576" y="2883898"/>
                    </a:lnTo>
                    <a:lnTo>
                      <a:pt x="8163327" y="2887956"/>
                    </a:lnTo>
                    <a:lnTo>
                      <a:pt x="8162814" y="2889625"/>
                    </a:lnTo>
                    <a:lnTo>
                      <a:pt x="8161946" y="2891400"/>
                    </a:lnTo>
                    <a:lnTo>
                      <a:pt x="8159893" y="2894164"/>
                    </a:lnTo>
                    <a:lnTo>
                      <a:pt x="8159639" y="2894711"/>
                    </a:lnTo>
                    <a:lnTo>
                      <a:pt x="8159484" y="2895348"/>
                    </a:lnTo>
                    <a:lnTo>
                      <a:pt x="8158984" y="2895868"/>
                    </a:lnTo>
                    <a:lnTo>
                      <a:pt x="8157664" y="2896027"/>
                    </a:lnTo>
                    <a:lnTo>
                      <a:pt x="8156550" y="2895594"/>
                    </a:lnTo>
                    <a:lnTo>
                      <a:pt x="8155554" y="2894700"/>
                    </a:lnTo>
                    <a:lnTo>
                      <a:pt x="8154740" y="2893833"/>
                    </a:lnTo>
                    <a:lnTo>
                      <a:pt x="8154159" y="2893491"/>
                    </a:lnTo>
                    <a:lnTo>
                      <a:pt x="8151487" y="2892230"/>
                    </a:lnTo>
                    <a:lnTo>
                      <a:pt x="8150897" y="2888562"/>
                    </a:lnTo>
                    <a:lnTo>
                      <a:pt x="8151626" y="2876935"/>
                    </a:lnTo>
                    <a:lnTo>
                      <a:pt x="8150797" y="2875848"/>
                    </a:lnTo>
                    <a:lnTo>
                      <a:pt x="8148381" y="2875478"/>
                    </a:lnTo>
                    <a:lnTo>
                      <a:pt x="8148514" y="2869893"/>
                    </a:lnTo>
                    <a:lnTo>
                      <a:pt x="8151010" y="2869405"/>
                    </a:lnTo>
                    <a:lnTo>
                      <a:pt x="8154388" y="2870579"/>
                    </a:lnTo>
                    <a:lnTo>
                      <a:pt x="8157153" y="2870003"/>
                    </a:lnTo>
                    <a:lnTo>
                      <a:pt x="8156841" y="2866965"/>
                    </a:lnTo>
                    <a:lnTo>
                      <a:pt x="8153463" y="2863723"/>
                    </a:lnTo>
                    <a:lnTo>
                      <a:pt x="8149154" y="2861119"/>
                    </a:lnTo>
                    <a:lnTo>
                      <a:pt x="8146087" y="2860007"/>
                    </a:lnTo>
                    <a:lnTo>
                      <a:pt x="8146348" y="2859288"/>
                    </a:lnTo>
                    <a:lnTo>
                      <a:pt x="8146584" y="2857632"/>
                    </a:lnTo>
                    <a:lnTo>
                      <a:pt x="8146798" y="2856910"/>
                    </a:lnTo>
                    <a:lnTo>
                      <a:pt x="8144230" y="2855484"/>
                    </a:lnTo>
                    <a:lnTo>
                      <a:pt x="8142160" y="2853779"/>
                    </a:lnTo>
                    <a:lnTo>
                      <a:pt x="8140496" y="2851402"/>
                    </a:lnTo>
                    <a:lnTo>
                      <a:pt x="8139156" y="2848025"/>
                    </a:lnTo>
                    <a:lnTo>
                      <a:pt x="8138411" y="2844390"/>
                    </a:lnTo>
                    <a:lnTo>
                      <a:pt x="8138974" y="2842818"/>
                    </a:lnTo>
                    <a:lnTo>
                      <a:pt x="8140365" y="2841931"/>
                    </a:lnTo>
                    <a:lnTo>
                      <a:pt x="8142131" y="2840309"/>
                    </a:lnTo>
                    <a:close/>
                    <a:moveTo>
                      <a:pt x="7891640" y="2836456"/>
                    </a:moveTo>
                    <a:lnTo>
                      <a:pt x="7896490" y="2836627"/>
                    </a:lnTo>
                    <a:lnTo>
                      <a:pt x="7898196" y="2841924"/>
                    </a:lnTo>
                    <a:lnTo>
                      <a:pt x="7893939" y="2844442"/>
                    </a:lnTo>
                    <a:lnTo>
                      <a:pt x="7888316" y="2845088"/>
                    </a:lnTo>
                    <a:lnTo>
                      <a:pt x="7886208" y="2841476"/>
                    </a:lnTo>
                    <a:lnTo>
                      <a:pt x="7887306" y="2839451"/>
                    </a:lnTo>
                    <a:close/>
                    <a:moveTo>
                      <a:pt x="7853176" y="2824848"/>
                    </a:moveTo>
                    <a:lnTo>
                      <a:pt x="7857573" y="2825515"/>
                    </a:lnTo>
                    <a:lnTo>
                      <a:pt x="7865312" y="2828777"/>
                    </a:lnTo>
                    <a:lnTo>
                      <a:pt x="7867151" y="2830023"/>
                    </a:lnTo>
                    <a:lnTo>
                      <a:pt x="7868729" y="2832719"/>
                    </a:lnTo>
                    <a:lnTo>
                      <a:pt x="7869614" y="2835925"/>
                    </a:lnTo>
                    <a:lnTo>
                      <a:pt x="7869601" y="2838666"/>
                    </a:lnTo>
                    <a:lnTo>
                      <a:pt x="7868502" y="2839938"/>
                    </a:lnTo>
                    <a:lnTo>
                      <a:pt x="7866184" y="2840676"/>
                    </a:lnTo>
                    <a:lnTo>
                      <a:pt x="7861708" y="2843189"/>
                    </a:lnTo>
                    <a:lnTo>
                      <a:pt x="7859579" y="2843884"/>
                    </a:lnTo>
                    <a:lnTo>
                      <a:pt x="7856395" y="2843718"/>
                    </a:lnTo>
                    <a:lnTo>
                      <a:pt x="7845777" y="2841324"/>
                    </a:lnTo>
                    <a:lnTo>
                      <a:pt x="7846093" y="2838081"/>
                    </a:lnTo>
                    <a:lnTo>
                      <a:pt x="7847730" y="2836523"/>
                    </a:lnTo>
                    <a:lnTo>
                      <a:pt x="7849883" y="2835367"/>
                    </a:lnTo>
                    <a:lnTo>
                      <a:pt x="7851699" y="2833355"/>
                    </a:lnTo>
                    <a:lnTo>
                      <a:pt x="7852302" y="2829754"/>
                    </a:lnTo>
                    <a:lnTo>
                      <a:pt x="7852119" y="2826598"/>
                    </a:lnTo>
                    <a:close/>
                    <a:moveTo>
                      <a:pt x="4508396" y="2824082"/>
                    </a:moveTo>
                    <a:lnTo>
                      <a:pt x="4513793" y="2826368"/>
                    </a:lnTo>
                    <a:lnTo>
                      <a:pt x="4516073" y="2828179"/>
                    </a:lnTo>
                    <a:lnTo>
                      <a:pt x="4521181" y="2829927"/>
                    </a:lnTo>
                    <a:lnTo>
                      <a:pt x="4523533" y="2831648"/>
                    </a:lnTo>
                    <a:lnTo>
                      <a:pt x="4525622" y="2835321"/>
                    </a:lnTo>
                    <a:lnTo>
                      <a:pt x="4524233" y="2836510"/>
                    </a:lnTo>
                    <a:lnTo>
                      <a:pt x="4521692" y="2835967"/>
                    </a:lnTo>
                    <a:lnTo>
                      <a:pt x="4518838" y="2832718"/>
                    </a:lnTo>
                    <a:lnTo>
                      <a:pt x="4515590" y="2832155"/>
                    </a:lnTo>
                    <a:lnTo>
                      <a:pt x="4502855" y="2832424"/>
                    </a:lnTo>
                    <a:lnTo>
                      <a:pt x="4502025" y="2833059"/>
                    </a:lnTo>
                    <a:lnTo>
                      <a:pt x="4500636" y="2835939"/>
                    </a:lnTo>
                    <a:lnTo>
                      <a:pt x="4500076" y="2836749"/>
                    </a:lnTo>
                    <a:lnTo>
                      <a:pt x="4498864" y="2836581"/>
                    </a:lnTo>
                    <a:lnTo>
                      <a:pt x="4497523" y="2835680"/>
                    </a:lnTo>
                    <a:lnTo>
                      <a:pt x="4496131" y="2835134"/>
                    </a:lnTo>
                    <a:lnTo>
                      <a:pt x="4493680" y="2836828"/>
                    </a:lnTo>
                    <a:lnTo>
                      <a:pt x="4479141" y="2836834"/>
                    </a:lnTo>
                    <a:lnTo>
                      <a:pt x="4475995" y="2838145"/>
                    </a:lnTo>
                    <a:lnTo>
                      <a:pt x="4476532" y="2836022"/>
                    </a:lnTo>
                    <a:lnTo>
                      <a:pt x="4477813" y="2833313"/>
                    </a:lnTo>
                    <a:lnTo>
                      <a:pt x="4479233" y="2830983"/>
                    </a:lnTo>
                    <a:lnTo>
                      <a:pt x="4480139" y="2830001"/>
                    </a:lnTo>
                    <a:lnTo>
                      <a:pt x="4482115" y="2829287"/>
                    </a:lnTo>
                    <a:lnTo>
                      <a:pt x="4485859" y="2826344"/>
                    </a:lnTo>
                    <a:lnTo>
                      <a:pt x="4488204" y="2825884"/>
                    </a:lnTo>
                    <a:lnTo>
                      <a:pt x="4493829" y="2826545"/>
                    </a:lnTo>
                    <a:close/>
                    <a:moveTo>
                      <a:pt x="4961362" y="2822835"/>
                    </a:moveTo>
                    <a:lnTo>
                      <a:pt x="4961557" y="2825421"/>
                    </a:lnTo>
                    <a:lnTo>
                      <a:pt x="4959509" y="2828810"/>
                    </a:lnTo>
                    <a:lnTo>
                      <a:pt x="4954911" y="2832595"/>
                    </a:lnTo>
                    <a:lnTo>
                      <a:pt x="4949814" y="2835100"/>
                    </a:lnTo>
                    <a:lnTo>
                      <a:pt x="4946259" y="2834696"/>
                    </a:lnTo>
                    <a:lnTo>
                      <a:pt x="4944027" y="2833567"/>
                    </a:lnTo>
                    <a:lnTo>
                      <a:pt x="4941429" y="2834012"/>
                    </a:lnTo>
                    <a:lnTo>
                      <a:pt x="4936664" y="2835587"/>
                    </a:lnTo>
                    <a:lnTo>
                      <a:pt x="4930909" y="2835964"/>
                    </a:lnTo>
                    <a:lnTo>
                      <a:pt x="4928034" y="2835680"/>
                    </a:lnTo>
                    <a:lnTo>
                      <a:pt x="4925524" y="2834475"/>
                    </a:lnTo>
                    <a:lnTo>
                      <a:pt x="4927967" y="2831790"/>
                    </a:lnTo>
                    <a:lnTo>
                      <a:pt x="4931434" y="2829148"/>
                    </a:lnTo>
                    <a:lnTo>
                      <a:pt x="4934750" y="2828139"/>
                    </a:lnTo>
                    <a:lnTo>
                      <a:pt x="4936768" y="2830290"/>
                    </a:lnTo>
                    <a:lnTo>
                      <a:pt x="4938229" y="2826836"/>
                    </a:lnTo>
                    <a:lnTo>
                      <a:pt x="4941374" y="2825200"/>
                    </a:lnTo>
                    <a:close/>
                    <a:moveTo>
                      <a:pt x="7823445" y="2821197"/>
                    </a:moveTo>
                    <a:lnTo>
                      <a:pt x="7827457" y="2822873"/>
                    </a:lnTo>
                    <a:lnTo>
                      <a:pt x="7832375" y="2823317"/>
                    </a:lnTo>
                    <a:lnTo>
                      <a:pt x="7837089" y="2822888"/>
                    </a:lnTo>
                    <a:lnTo>
                      <a:pt x="7840417" y="2821943"/>
                    </a:lnTo>
                    <a:lnTo>
                      <a:pt x="7842506" y="2825236"/>
                    </a:lnTo>
                    <a:lnTo>
                      <a:pt x="7844155" y="2828744"/>
                    </a:lnTo>
                    <a:lnTo>
                      <a:pt x="7844388" y="2831647"/>
                    </a:lnTo>
                    <a:lnTo>
                      <a:pt x="7842184" y="2833114"/>
                    </a:lnTo>
                    <a:lnTo>
                      <a:pt x="7840660" y="2834648"/>
                    </a:lnTo>
                    <a:lnTo>
                      <a:pt x="7840785" y="2840582"/>
                    </a:lnTo>
                    <a:lnTo>
                      <a:pt x="7838685" y="2842196"/>
                    </a:lnTo>
                    <a:lnTo>
                      <a:pt x="7835801" y="2841839"/>
                    </a:lnTo>
                    <a:lnTo>
                      <a:pt x="7829406" y="2839608"/>
                    </a:lnTo>
                    <a:lnTo>
                      <a:pt x="7826388" y="2839435"/>
                    </a:lnTo>
                    <a:lnTo>
                      <a:pt x="7824055" y="2840602"/>
                    </a:lnTo>
                    <a:lnTo>
                      <a:pt x="7820989" y="2843958"/>
                    </a:lnTo>
                    <a:lnTo>
                      <a:pt x="7818428" y="2844678"/>
                    </a:lnTo>
                    <a:lnTo>
                      <a:pt x="7817875" y="2843204"/>
                    </a:lnTo>
                    <a:lnTo>
                      <a:pt x="7820241" y="2841043"/>
                    </a:lnTo>
                    <a:lnTo>
                      <a:pt x="7821816" y="2834219"/>
                    </a:lnTo>
                    <a:lnTo>
                      <a:pt x="7827501" y="2831184"/>
                    </a:lnTo>
                    <a:lnTo>
                      <a:pt x="7826662" y="2829330"/>
                    </a:lnTo>
                    <a:lnTo>
                      <a:pt x="7824664" y="2827645"/>
                    </a:lnTo>
                    <a:lnTo>
                      <a:pt x="7822961" y="2826524"/>
                    </a:lnTo>
                    <a:lnTo>
                      <a:pt x="7822424" y="2826751"/>
                    </a:lnTo>
                    <a:lnTo>
                      <a:pt x="7821789" y="2826584"/>
                    </a:lnTo>
                    <a:lnTo>
                      <a:pt x="7820976" y="2825049"/>
                    </a:lnTo>
                    <a:lnTo>
                      <a:pt x="7821004" y="2823818"/>
                    </a:lnTo>
                    <a:lnTo>
                      <a:pt x="7821717" y="2822663"/>
                    </a:lnTo>
                    <a:close/>
                    <a:moveTo>
                      <a:pt x="4878763" y="2816640"/>
                    </a:moveTo>
                    <a:lnTo>
                      <a:pt x="4884015" y="2818977"/>
                    </a:lnTo>
                    <a:lnTo>
                      <a:pt x="4884016" y="2818986"/>
                    </a:lnTo>
                    <a:lnTo>
                      <a:pt x="4885426" y="2820053"/>
                    </a:lnTo>
                    <a:lnTo>
                      <a:pt x="4886623" y="2821707"/>
                    </a:lnTo>
                    <a:lnTo>
                      <a:pt x="4887577" y="2823704"/>
                    </a:lnTo>
                    <a:lnTo>
                      <a:pt x="4888219" y="2825780"/>
                    </a:lnTo>
                    <a:lnTo>
                      <a:pt x="4886659" y="2827935"/>
                    </a:lnTo>
                    <a:lnTo>
                      <a:pt x="4884854" y="2829198"/>
                    </a:lnTo>
                    <a:lnTo>
                      <a:pt x="4882631" y="2829816"/>
                    </a:lnTo>
                    <a:lnTo>
                      <a:pt x="4881716" y="2829810"/>
                    </a:lnTo>
                    <a:lnTo>
                      <a:pt x="4883377" y="2829147"/>
                    </a:lnTo>
                    <a:lnTo>
                      <a:pt x="4884663" y="2827886"/>
                    </a:lnTo>
                    <a:lnTo>
                      <a:pt x="4885338" y="2825840"/>
                    </a:lnTo>
                    <a:lnTo>
                      <a:pt x="4883775" y="2826170"/>
                    </a:lnTo>
                    <a:lnTo>
                      <a:pt x="4882339" y="2826723"/>
                    </a:lnTo>
                    <a:lnTo>
                      <a:pt x="4881018" y="2827524"/>
                    </a:lnTo>
                    <a:lnTo>
                      <a:pt x="4879766" y="2828655"/>
                    </a:lnTo>
                    <a:lnTo>
                      <a:pt x="4881691" y="2821372"/>
                    </a:lnTo>
                    <a:lnTo>
                      <a:pt x="4876973" y="2818120"/>
                    </a:lnTo>
                    <a:lnTo>
                      <a:pt x="4871198" y="2819808"/>
                    </a:lnTo>
                    <a:lnTo>
                      <a:pt x="4869980" y="2827383"/>
                    </a:lnTo>
                    <a:lnTo>
                      <a:pt x="4874599" y="2831535"/>
                    </a:lnTo>
                    <a:lnTo>
                      <a:pt x="4876252" y="2834253"/>
                    </a:lnTo>
                    <a:lnTo>
                      <a:pt x="4873883" y="2835551"/>
                    </a:lnTo>
                    <a:lnTo>
                      <a:pt x="4870253" y="2836116"/>
                    </a:lnTo>
                    <a:lnTo>
                      <a:pt x="4866301" y="2837476"/>
                    </a:lnTo>
                    <a:lnTo>
                      <a:pt x="4859340" y="2841244"/>
                    </a:lnTo>
                    <a:lnTo>
                      <a:pt x="4851427" y="2849725"/>
                    </a:lnTo>
                    <a:lnTo>
                      <a:pt x="4847507" y="2852642"/>
                    </a:lnTo>
                    <a:lnTo>
                      <a:pt x="4845296" y="2855865"/>
                    </a:lnTo>
                    <a:lnTo>
                      <a:pt x="4842443" y="2858420"/>
                    </a:lnTo>
                    <a:lnTo>
                      <a:pt x="4838244" y="2858031"/>
                    </a:lnTo>
                    <a:lnTo>
                      <a:pt x="4834573" y="2852102"/>
                    </a:lnTo>
                    <a:lnTo>
                      <a:pt x="4837011" y="2844124"/>
                    </a:lnTo>
                    <a:lnTo>
                      <a:pt x="4842052" y="2836622"/>
                    </a:lnTo>
                    <a:lnTo>
                      <a:pt x="4846179" y="2832154"/>
                    </a:lnTo>
                    <a:lnTo>
                      <a:pt x="4868346" y="2818389"/>
                    </a:lnTo>
                    <a:lnTo>
                      <a:pt x="4873437" y="2816731"/>
                    </a:lnTo>
                    <a:close/>
                    <a:moveTo>
                      <a:pt x="7875458" y="2814919"/>
                    </a:moveTo>
                    <a:lnTo>
                      <a:pt x="7878440" y="2815327"/>
                    </a:lnTo>
                    <a:lnTo>
                      <a:pt x="7881442" y="2816648"/>
                    </a:lnTo>
                    <a:lnTo>
                      <a:pt x="7884662" y="2819290"/>
                    </a:lnTo>
                    <a:lnTo>
                      <a:pt x="7886090" y="2822971"/>
                    </a:lnTo>
                    <a:lnTo>
                      <a:pt x="7886775" y="2825311"/>
                    </a:lnTo>
                    <a:lnTo>
                      <a:pt x="7886649" y="2827092"/>
                    </a:lnTo>
                    <a:lnTo>
                      <a:pt x="7885656" y="2829134"/>
                    </a:lnTo>
                    <a:lnTo>
                      <a:pt x="7883805" y="2830994"/>
                    </a:lnTo>
                    <a:lnTo>
                      <a:pt x="7881983" y="2831985"/>
                    </a:lnTo>
                    <a:lnTo>
                      <a:pt x="7880758" y="2833520"/>
                    </a:lnTo>
                    <a:lnTo>
                      <a:pt x="7880706" y="2836997"/>
                    </a:lnTo>
                    <a:lnTo>
                      <a:pt x="7877816" y="2834701"/>
                    </a:lnTo>
                    <a:lnTo>
                      <a:pt x="7869862" y="2826837"/>
                    </a:lnTo>
                    <a:lnTo>
                      <a:pt x="7864752" y="2824369"/>
                    </a:lnTo>
                    <a:lnTo>
                      <a:pt x="7862734" y="2822543"/>
                    </a:lnTo>
                    <a:lnTo>
                      <a:pt x="7862146" y="2819250"/>
                    </a:lnTo>
                    <a:lnTo>
                      <a:pt x="7863502" y="2817191"/>
                    </a:lnTo>
                    <a:lnTo>
                      <a:pt x="7866361" y="2816004"/>
                    </a:lnTo>
                    <a:close/>
                    <a:moveTo>
                      <a:pt x="8089289" y="2814726"/>
                    </a:moveTo>
                    <a:lnTo>
                      <a:pt x="8092989" y="2816785"/>
                    </a:lnTo>
                    <a:lnTo>
                      <a:pt x="8115344" y="2828558"/>
                    </a:lnTo>
                    <a:lnTo>
                      <a:pt x="8127185" y="2836244"/>
                    </a:lnTo>
                    <a:lnTo>
                      <a:pt x="8130484" y="2843443"/>
                    </a:lnTo>
                    <a:lnTo>
                      <a:pt x="8128730" y="2840942"/>
                    </a:lnTo>
                    <a:lnTo>
                      <a:pt x="8126788" y="2838920"/>
                    </a:lnTo>
                    <a:lnTo>
                      <a:pt x="8124708" y="2837635"/>
                    </a:lnTo>
                    <a:lnTo>
                      <a:pt x="8122540" y="2837334"/>
                    </a:lnTo>
                    <a:lnTo>
                      <a:pt x="8122455" y="2838577"/>
                    </a:lnTo>
                    <a:lnTo>
                      <a:pt x="8126256" y="2845443"/>
                    </a:lnTo>
                    <a:lnTo>
                      <a:pt x="8125884" y="2850910"/>
                    </a:lnTo>
                    <a:lnTo>
                      <a:pt x="8121859" y="2850113"/>
                    </a:lnTo>
                    <a:lnTo>
                      <a:pt x="8116919" y="2847816"/>
                    </a:lnTo>
                    <a:lnTo>
                      <a:pt x="8113741" y="2848665"/>
                    </a:lnTo>
                    <a:lnTo>
                      <a:pt x="8119873" y="2854325"/>
                    </a:lnTo>
                    <a:lnTo>
                      <a:pt x="8123307" y="2856970"/>
                    </a:lnTo>
                    <a:lnTo>
                      <a:pt x="8126522" y="2858311"/>
                    </a:lnTo>
                    <a:lnTo>
                      <a:pt x="8126476" y="2861923"/>
                    </a:lnTo>
                    <a:lnTo>
                      <a:pt x="8125476" y="2864398"/>
                    </a:lnTo>
                    <a:lnTo>
                      <a:pt x="8125399" y="2866638"/>
                    </a:lnTo>
                    <a:lnTo>
                      <a:pt x="8128086" y="2869563"/>
                    </a:lnTo>
                    <a:lnTo>
                      <a:pt x="8125063" y="2869409"/>
                    </a:lnTo>
                    <a:lnTo>
                      <a:pt x="8119104" y="2864910"/>
                    </a:lnTo>
                    <a:lnTo>
                      <a:pt x="8113513" y="2862876"/>
                    </a:lnTo>
                    <a:lnTo>
                      <a:pt x="8110396" y="2859753"/>
                    </a:lnTo>
                    <a:lnTo>
                      <a:pt x="8097326" y="2839974"/>
                    </a:lnTo>
                    <a:lnTo>
                      <a:pt x="8094201" y="2832193"/>
                    </a:lnTo>
                    <a:lnTo>
                      <a:pt x="8092237" y="2828707"/>
                    </a:lnTo>
                    <a:lnTo>
                      <a:pt x="8089656" y="2825823"/>
                    </a:lnTo>
                    <a:lnTo>
                      <a:pt x="8091790" y="2825419"/>
                    </a:lnTo>
                    <a:lnTo>
                      <a:pt x="8092542" y="2825440"/>
                    </a:lnTo>
                    <a:lnTo>
                      <a:pt x="8089926" y="2821161"/>
                    </a:lnTo>
                    <a:lnTo>
                      <a:pt x="8088555" y="2816889"/>
                    </a:lnTo>
                    <a:close/>
                    <a:moveTo>
                      <a:pt x="4928955" y="2814034"/>
                    </a:moveTo>
                    <a:lnTo>
                      <a:pt x="4931921" y="2815372"/>
                    </a:lnTo>
                    <a:lnTo>
                      <a:pt x="4932846" y="2818192"/>
                    </a:lnTo>
                    <a:lnTo>
                      <a:pt x="4934275" y="2820395"/>
                    </a:lnTo>
                    <a:lnTo>
                      <a:pt x="4935877" y="2822417"/>
                    </a:lnTo>
                    <a:lnTo>
                      <a:pt x="4937316" y="2824733"/>
                    </a:lnTo>
                    <a:lnTo>
                      <a:pt x="4932596" y="2821158"/>
                    </a:lnTo>
                    <a:lnTo>
                      <a:pt x="4930786" y="2820811"/>
                    </a:lnTo>
                    <a:lnTo>
                      <a:pt x="4929363" y="2821616"/>
                    </a:lnTo>
                    <a:lnTo>
                      <a:pt x="4929762" y="2823343"/>
                    </a:lnTo>
                    <a:lnTo>
                      <a:pt x="4931147" y="2825112"/>
                    </a:lnTo>
                    <a:lnTo>
                      <a:pt x="4932694" y="2826070"/>
                    </a:lnTo>
                    <a:lnTo>
                      <a:pt x="4931651" y="2827158"/>
                    </a:lnTo>
                    <a:lnTo>
                      <a:pt x="4925070" y="2830280"/>
                    </a:lnTo>
                    <a:lnTo>
                      <a:pt x="4924716" y="2830554"/>
                    </a:lnTo>
                    <a:lnTo>
                      <a:pt x="4922419" y="2831426"/>
                    </a:lnTo>
                    <a:lnTo>
                      <a:pt x="4918024" y="2835153"/>
                    </a:lnTo>
                    <a:lnTo>
                      <a:pt x="4915456" y="2836048"/>
                    </a:lnTo>
                    <a:lnTo>
                      <a:pt x="4905559" y="2835677"/>
                    </a:lnTo>
                    <a:lnTo>
                      <a:pt x="4899538" y="2834115"/>
                    </a:lnTo>
                    <a:lnTo>
                      <a:pt x="4897833" y="2833255"/>
                    </a:lnTo>
                    <a:lnTo>
                      <a:pt x="4896619" y="2831586"/>
                    </a:lnTo>
                    <a:lnTo>
                      <a:pt x="4895208" y="2828340"/>
                    </a:lnTo>
                    <a:lnTo>
                      <a:pt x="4896681" y="2824492"/>
                    </a:lnTo>
                    <a:lnTo>
                      <a:pt x="4900252" y="2820473"/>
                    </a:lnTo>
                    <a:lnTo>
                      <a:pt x="4904470" y="2817609"/>
                    </a:lnTo>
                    <a:lnTo>
                      <a:pt x="4908755" y="2815873"/>
                    </a:lnTo>
                    <a:lnTo>
                      <a:pt x="4911739" y="2815365"/>
                    </a:lnTo>
                    <a:lnTo>
                      <a:pt x="4920255" y="2815626"/>
                    </a:lnTo>
                    <a:lnTo>
                      <a:pt x="4926004" y="2814210"/>
                    </a:lnTo>
                    <a:close/>
                    <a:moveTo>
                      <a:pt x="2729609" y="2779498"/>
                    </a:moveTo>
                    <a:lnTo>
                      <a:pt x="2736024" y="2779835"/>
                    </a:lnTo>
                    <a:lnTo>
                      <a:pt x="2754264" y="2784178"/>
                    </a:lnTo>
                    <a:lnTo>
                      <a:pt x="2758250" y="2783149"/>
                    </a:lnTo>
                    <a:lnTo>
                      <a:pt x="2761864" y="2781621"/>
                    </a:lnTo>
                    <a:lnTo>
                      <a:pt x="2766520" y="2782225"/>
                    </a:lnTo>
                    <a:lnTo>
                      <a:pt x="2770619" y="2784303"/>
                    </a:lnTo>
                    <a:lnTo>
                      <a:pt x="2772558" y="2787179"/>
                    </a:lnTo>
                    <a:lnTo>
                      <a:pt x="2766400" y="2789756"/>
                    </a:lnTo>
                    <a:lnTo>
                      <a:pt x="2760798" y="2793775"/>
                    </a:lnTo>
                    <a:lnTo>
                      <a:pt x="2755156" y="2796589"/>
                    </a:lnTo>
                    <a:lnTo>
                      <a:pt x="2748875" y="2795616"/>
                    </a:lnTo>
                    <a:lnTo>
                      <a:pt x="2746351" y="2793591"/>
                    </a:lnTo>
                    <a:lnTo>
                      <a:pt x="2743537" y="2789057"/>
                    </a:lnTo>
                    <a:lnTo>
                      <a:pt x="2741762" y="2787064"/>
                    </a:lnTo>
                    <a:lnTo>
                      <a:pt x="2732335" y="2782330"/>
                    </a:lnTo>
                    <a:close/>
                    <a:moveTo>
                      <a:pt x="7857166" y="2764148"/>
                    </a:moveTo>
                    <a:lnTo>
                      <a:pt x="7859678" y="2766815"/>
                    </a:lnTo>
                    <a:lnTo>
                      <a:pt x="7860237" y="2769897"/>
                    </a:lnTo>
                    <a:lnTo>
                      <a:pt x="7854084" y="2775558"/>
                    </a:lnTo>
                    <a:lnTo>
                      <a:pt x="7851853" y="2778456"/>
                    </a:lnTo>
                    <a:lnTo>
                      <a:pt x="7848844" y="2780433"/>
                    </a:lnTo>
                    <a:lnTo>
                      <a:pt x="7843715" y="2778524"/>
                    </a:lnTo>
                    <a:lnTo>
                      <a:pt x="7838426" y="2774796"/>
                    </a:lnTo>
                    <a:lnTo>
                      <a:pt x="7834955" y="2771342"/>
                    </a:lnTo>
                    <a:lnTo>
                      <a:pt x="7834993" y="2776392"/>
                    </a:lnTo>
                    <a:lnTo>
                      <a:pt x="7839488" y="2782456"/>
                    </a:lnTo>
                    <a:lnTo>
                      <a:pt x="7841781" y="2787922"/>
                    </a:lnTo>
                    <a:lnTo>
                      <a:pt x="7835160" y="2791209"/>
                    </a:lnTo>
                    <a:lnTo>
                      <a:pt x="7829394" y="2789841"/>
                    </a:lnTo>
                    <a:lnTo>
                      <a:pt x="7821357" y="2785723"/>
                    </a:lnTo>
                    <a:lnTo>
                      <a:pt x="7813612" y="2780181"/>
                    </a:lnTo>
                    <a:lnTo>
                      <a:pt x="7808755" y="2774595"/>
                    </a:lnTo>
                    <a:lnTo>
                      <a:pt x="7813414" y="2774417"/>
                    </a:lnTo>
                    <a:lnTo>
                      <a:pt x="7814347" y="2773903"/>
                    </a:lnTo>
                    <a:lnTo>
                      <a:pt x="7814185" y="2772679"/>
                    </a:lnTo>
                    <a:lnTo>
                      <a:pt x="7812683" y="2768575"/>
                    </a:lnTo>
                    <a:lnTo>
                      <a:pt x="7812652" y="2766877"/>
                    </a:lnTo>
                    <a:lnTo>
                      <a:pt x="7814741" y="2764968"/>
                    </a:lnTo>
                    <a:lnTo>
                      <a:pt x="7817213" y="2766387"/>
                    </a:lnTo>
                    <a:lnTo>
                      <a:pt x="7819894" y="2768806"/>
                    </a:lnTo>
                    <a:lnTo>
                      <a:pt x="7822602" y="2769908"/>
                    </a:lnTo>
                    <a:lnTo>
                      <a:pt x="7820313" y="2766104"/>
                    </a:lnTo>
                    <a:lnTo>
                      <a:pt x="7821736" y="2764700"/>
                    </a:lnTo>
                    <a:lnTo>
                      <a:pt x="7830591" y="2765138"/>
                    </a:lnTo>
                    <a:lnTo>
                      <a:pt x="7832056" y="2765497"/>
                    </a:lnTo>
                    <a:lnTo>
                      <a:pt x="7833613" y="2766454"/>
                    </a:lnTo>
                    <a:lnTo>
                      <a:pt x="7834848" y="2768002"/>
                    </a:lnTo>
                    <a:lnTo>
                      <a:pt x="7835618" y="2769531"/>
                    </a:lnTo>
                    <a:lnTo>
                      <a:pt x="7836540" y="2770662"/>
                    </a:lnTo>
                    <a:lnTo>
                      <a:pt x="7838183" y="2770939"/>
                    </a:lnTo>
                    <a:lnTo>
                      <a:pt x="7854128" y="2769502"/>
                    </a:lnTo>
                    <a:lnTo>
                      <a:pt x="7855549" y="2768765"/>
                    </a:lnTo>
                    <a:lnTo>
                      <a:pt x="7856278" y="2766937"/>
                    </a:lnTo>
                    <a:lnTo>
                      <a:pt x="7856419" y="2764792"/>
                    </a:lnTo>
                    <a:close/>
                    <a:moveTo>
                      <a:pt x="7738724" y="2755496"/>
                    </a:moveTo>
                    <a:lnTo>
                      <a:pt x="7741741" y="2755737"/>
                    </a:lnTo>
                    <a:lnTo>
                      <a:pt x="7741511" y="2760013"/>
                    </a:lnTo>
                    <a:lnTo>
                      <a:pt x="7736708" y="2761989"/>
                    </a:lnTo>
                    <a:lnTo>
                      <a:pt x="7732365" y="2766720"/>
                    </a:lnTo>
                    <a:lnTo>
                      <a:pt x="7729192" y="2772751"/>
                    </a:lnTo>
                    <a:lnTo>
                      <a:pt x="7727879" y="2778659"/>
                    </a:lnTo>
                    <a:lnTo>
                      <a:pt x="7724668" y="2776893"/>
                    </a:lnTo>
                    <a:lnTo>
                      <a:pt x="7718530" y="2776594"/>
                    </a:lnTo>
                    <a:lnTo>
                      <a:pt x="7716302" y="2773747"/>
                    </a:lnTo>
                    <a:lnTo>
                      <a:pt x="7716760" y="2771818"/>
                    </a:lnTo>
                    <a:lnTo>
                      <a:pt x="7722959" y="2767779"/>
                    </a:lnTo>
                    <a:lnTo>
                      <a:pt x="7720341" y="2766348"/>
                    </a:lnTo>
                    <a:lnTo>
                      <a:pt x="7711784" y="2764695"/>
                    </a:lnTo>
                    <a:lnTo>
                      <a:pt x="7708927" y="2761748"/>
                    </a:lnTo>
                    <a:lnTo>
                      <a:pt x="7710121" y="2759208"/>
                    </a:lnTo>
                    <a:lnTo>
                      <a:pt x="7714402" y="2757865"/>
                    </a:lnTo>
                    <a:lnTo>
                      <a:pt x="7719290" y="2757537"/>
                    </a:lnTo>
                    <a:lnTo>
                      <a:pt x="7722272" y="2758088"/>
                    </a:lnTo>
                    <a:lnTo>
                      <a:pt x="7721935" y="2762476"/>
                    </a:lnTo>
                    <a:lnTo>
                      <a:pt x="7725081" y="2762079"/>
                    </a:lnTo>
                    <a:lnTo>
                      <a:pt x="7731588" y="2758253"/>
                    </a:lnTo>
                    <a:close/>
                    <a:moveTo>
                      <a:pt x="7773624" y="2747376"/>
                    </a:moveTo>
                    <a:lnTo>
                      <a:pt x="7780008" y="2755254"/>
                    </a:lnTo>
                    <a:lnTo>
                      <a:pt x="7781169" y="2762221"/>
                    </a:lnTo>
                    <a:lnTo>
                      <a:pt x="7778659" y="2766604"/>
                    </a:lnTo>
                    <a:lnTo>
                      <a:pt x="7771856" y="2764108"/>
                    </a:lnTo>
                    <a:lnTo>
                      <a:pt x="7769804" y="2761959"/>
                    </a:lnTo>
                    <a:lnTo>
                      <a:pt x="7766922" y="2758230"/>
                    </a:lnTo>
                    <a:lnTo>
                      <a:pt x="7765186" y="2754581"/>
                    </a:lnTo>
                    <a:lnTo>
                      <a:pt x="7766577" y="2752695"/>
                    </a:lnTo>
                    <a:lnTo>
                      <a:pt x="7771041" y="2748572"/>
                    </a:lnTo>
                    <a:close/>
                    <a:moveTo>
                      <a:pt x="7854053" y="2744656"/>
                    </a:moveTo>
                    <a:lnTo>
                      <a:pt x="7856852" y="2745345"/>
                    </a:lnTo>
                    <a:lnTo>
                      <a:pt x="7857753" y="2747416"/>
                    </a:lnTo>
                    <a:lnTo>
                      <a:pt x="7858282" y="2750044"/>
                    </a:lnTo>
                    <a:lnTo>
                      <a:pt x="7859986" y="2752422"/>
                    </a:lnTo>
                    <a:lnTo>
                      <a:pt x="7861586" y="2752653"/>
                    </a:lnTo>
                    <a:lnTo>
                      <a:pt x="7864468" y="2750814"/>
                    </a:lnTo>
                    <a:lnTo>
                      <a:pt x="7866491" y="2751600"/>
                    </a:lnTo>
                    <a:lnTo>
                      <a:pt x="7869384" y="2760363"/>
                    </a:lnTo>
                    <a:lnTo>
                      <a:pt x="7869811" y="2762699"/>
                    </a:lnTo>
                    <a:lnTo>
                      <a:pt x="7870086" y="2767928"/>
                    </a:lnTo>
                    <a:lnTo>
                      <a:pt x="7869905" y="2769145"/>
                    </a:lnTo>
                    <a:lnTo>
                      <a:pt x="7868802" y="2770124"/>
                    </a:lnTo>
                    <a:lnTo>
                      <a:pt x="7867339" y="2769410"/>
                    </a:lnTo>
                    <a:lnTo>
                      <a:pt x="7865784" y="2768199"/>
                    </a:lnTo>
                    <a:lnTo>
                      <a:pt x="7864357" y="2767658"/>
                    </a:lnTo>
                    <a:lnTo>
                      <a:pt x="7862826" y="2766707"/>
                    </a:lnTo>
                    <a:lnTo>
                      <a:pt x="7858342" y="2762306"/>
                    </a:lnTo>
                    <a:lnTo>
                      <a:pt x="7856109" y="2761451"/>
                    </a:lnTo>
                    <a:lnTo>
                      <a:pt x="7854885" y="2761299"/>
                    </a:lnTo>
                    <a:lnTo>
                      <a:pt x="7853203" y="2760647"/>
                    </a:lnTo>
                    <a:lnTo>
                      <a:pt x="7851771" y="2759480"/>
                    </a:lnTo>
                    <a:lnTo>
                      <a:pt x="7851320" y="2757783"/>
                    </a:lnTo>
                    <a:lnTo>
                      <a:pt x="7852244" y="2757311"/>
                    </a:lnTo>
                    <a:lnTo>
                      <a:pt x="7857439" y="2755717"/>
                    </a:lnTo>
                    <a:lnTo>
                      <a:pt x="7853018" y="2754495"/>
                    </a:lnTo>
                    <a:lnTo>
                      <a:pt x="7850849" y="2753149"/>
                    </a:lnTo>
                    <a:lnTo>
                      <a:pt x="7849642" y="2750897"/>
                    </a:lnTo>
                    <a:lnTo>
                      <a:pt x="7850488" y="2750467"/>
                    </a:lnTo>
                    <a:lnTo>
                      <a:pt x="7853570" y="2745793"/>
                    </a:lnTo>
                    <a:close/>
                    <a:moveTo>
                      <a:pt x="8121079" y="2697308"/>
                    </a:moveTo>
                    <a:lnTo>
                      <a:pt x="8127806" y="2698378"/>
                    </a:lnTo>
                    <a:lnTo>
                      <a:pt x="8132386" y="2700000"/>
                    </a:lnTo>
                    <a:lnTo>
                      <a:pt x="8138120" y="2703692"/>
                    </a:lnTo>
                    <a:lnTo>
                      <a:pt x="8167448" y="2727578"/>
                    </a:lnTo>
                    <a:lnTo>
                      <a:pt x="8169206" y="2732355"/>
                    </a:lnTo>
                    <a:lnTo>
                      <a:pt x="8174338" y="2736629"/>
                    </a:lnTo>
                    <a:lnTo>
                      <a:pt x="8185142" y="2743907"/>
                    </a:lnTo>
                    <a:lnTo>
                      <a:pt x="8185970" y="2745255"/>
                    </a:lnTo>
                    <a:lnTo>
                      <a:pt x="8187079" y="2748473"/>
                    </a:lnTo>
                    <a:lnTo>
                      <a:pt x="8188112" y="2749818"/>
                    </a:lnTo>
                    <a:lnTo>
                      <a:pt x="8193402" y="2753192"/>
                    </a:lnTo>
                    <a:lnTo>
                      <a:pt x="8194611" y="2754787"/>
                    </a:lnTo>
                    <a:lnTo>
                      <a:pt x="8195691" y="2758617"/>
                    </a:lnTo>
                    <a:lnTo>
                      <a:pt x="8195316" y="2763660"/>
                    </a:lnTo>
                    <a:lnTo>
                      <a:pt x="8195734" y="2766838"/>
                    </a:lnTo>
                    <a:lnTo>
                      <a:pt x="8198119" y="2767004"/>
                    </a:lnTo>
                    <a:lnTo>
                      <a:pt x="8199238" y="2768962"/>
                    </a:lnTo>
                    <a:lnTo>
                      <a:pt x="8198405" y="2770568"/>
                    </a:lnTo>
                    <a:lnTo>
                      <a:pt x="8194967" y="2769700"/>
                    </a:lnTo>
                    <a:lnTo>
                      <a:pt x="8198167" y="2777133"/>
                    </a:lnTo>
                    <a:lnTo>
                      <a:pt x="8199395" y="2780885"/>
                    </a:lnTo>
                    <a:lnTo>
                      <a:pt x="8199679" y="2783542"/>
                    </a:lnTo>
                    <a:lnTo>
                      <a:pt x="8201075" y="2785413"/>
                    </a:lnTo>
                    <a:lnTo>
                      <a:pt x="8201653" y="2786968"/>
                    </a:lnTo>
                    <a:lnTo>
                      <a:pt x="8202044" y="2788704"/>
                    </a:lnTo>
                    <a:lnTo>
                      <a:pt x="8202820" y="2791071"/>
                    </a:lnTo>
                    <a:lnTo>
                      <a:pt x="8206144" y="2795178"/>
                    </a:lnTo>
                    <a:lnTo>
                      <a:pt x="8207288" y="2796851"/>
                    </a:lnTo>
                    <a:lnTo>
                      <a:pt x="8208426" y="2799032"/>
                    </a:lnTo>
                    <a:lnTo>
                      <a:pt x="8210456" y="2804456"/>
                    </a:lnTo>
                    <a:lnTo>
                      <a:pt x="8211005" y="2806788"/>
                    </a:lnTo>
                    <a:lnTo>
                      <a:pt x="8209916" y="2806432"/>
                    </a:lnTo>
                    <a:lnTo>
                      <a:pt x="8207386" y="2804160"/>
                    </a:lnTo>
                    <a:lnTo>
                      <a:pt x="8204120" y="2801810"/>
                    </a:lnTo>
                    <a:lnTo>
                      <a:pt x="8202431" y="2801246"/>
                    </a:lnTo>
                    <a:lnTo>
                      <a:pt x="8201366" y="2802831"/>
                    </a:lnTo>
                    <a:lnTo>
                      <a:pt x="8201652" y="2804873"/>
                    </a:lnTo>
                    <a:lnTo>
                      <a:pt x="8202939" y="2806674"/>
                    </a:lnTo>
                    <a:lnTo>
                      <a:pt x="8204542" y="2808355"/>
                    </a:lnTo>
                    <a:lnTo>
                      <a:pt x="8205827" y="2810122"/>
                    </a:lnTo>
                    <a:lnTo>
                      <a:pt x="8207188" y="2813823"/>
                    </a:lnTo>
                    <a:lnTo>
                      <a:pt x="8207239" y="2816334"/>
                    </a:lnTo>
                    <a:lnTo>
                      <a:pt x="8206920" y="2818922"/>
                    </a:lnTo>
                    <a:lnTo>
                      <a:pt x="8207181" y="2822869"/>
                    </a:lnTo>
                    <a:lnTo>
                      <a:pt x="8208760" y="2830601"/>
                    </a:lnTo>
                    <a:lnTo>
                      <a:pt x="8208491" y="2833276"/>
                    </a:lnTo>
                    <a:lnTo>
                      <a:pt x="8206736" y="2836120"/>
                    </a:lnTo>
                    <a:lnTo>
                      <a:pt x="8204682" y="2838457"/>
                    </a:lnTo>
                    <a:lnTo>
                      <a:pt x="8203489" y="2839151"/>
                    </a:lnTo>
                    <a:lnTo>
                      <a:pt x="8201697" y="2839568"/>
                    </a:lnTo>
                    <a:lnTo>
                      <a:pt x="8201014" y="2840543"/>
                    </a:lnTo>
                    <a:lnTo>
                      <a:pt x="8201414" y="2842544"/>
                    </a:lnTo>
                    <a:lnTo>
                      <a:pt x="8202056" y="2844846"/>
                    </a:lnTo>
                    <a:lnTo>
                      <a:pt x="8202108" y="2846688"/>
                    </a:lnTo>
                    <a:lnTo>
                      <a:pt x="8197303" y="2850657"/>
                    </a:lnTo>
                    <a:lnTo>
                      <a:pt x="8190474" y="2848392"/>
                    </a:lnTo>
                    <a:lnTo>
                      <a:pt x="8183162" y="2844317"/>
                    </a:lnTo>
                    <a:lnTo>
                      <a:pt x="8176861" y="2842946"/>
                    </a:lnTo>
                    <a:lnTo>
                      <a:pt x="8181553" y="2834949"/>
                    </a:lnTo>
                    <a:lnTo>
                      <a:pt x="8182824" y="2830487"/>
                    </a:lnTo>
                    <a:lnTo>
                      <a:pt x="8183247" y="2824832"/>
                    </a:lnTo>
                    <a:lnTo>
                      <a:pt x="8183070" y="2823701"/>
                    </a:lnTo>
                    <a:lnTo>
                      <a:pt x="8181971" y="2819144"/>
                    </a:lnTo>
                    <a:lnTo>
                      <a:pt x="8182061" y="2818189"/>
                    </a:lnTo>
                    <a:lnTo>
                      <a:pt x="8182357" y="2817346"/>
                    </a:lnTo>
                    <a:lnTo>
                      <a:pt x="8182453" y="2816134"/>
                    </a:lnTo>
                    <a:lnTo>
                      <a:pt x="8181870" y="2814125"/>
                    </a:lnTo>
                    <a:lnTo>
                      <a:pt x="8180292" y="2810558"/>
                    </a:lnTo>
                    <a:lnTo>
                      <a:pt x="8178712" y="2808172"/>
                    </a:lnTo>
                    <a:lnTo>
                      <a:pt x="8176749" y="2807054"/>
                    </a:lnTo>
                    <a:lnTo>
                      <a:pt x="8174044" y="2807295"/>
                    </a:lnTo>
                    <a:lnTo>
                      <a:pt x="8176177" y="2809879"/>
                    </a:lnTo>
                    <a:lnTo>
                      <a:pt x="8173137" y="2810191"/>
                    </a:lnTo>
                    <a:lnTo>
                      <a:pt x="8170380" y="2812158"/>
                    </a:lnTo>
                    <a:lnTo>
                      <a:pt x="8169656" y="2815431"/>
                    </a:lnTo>
                    <a:lnTo>
                      <a:pt x="8172744" y="2819682"/>
                    </a:lnTo>
                    <a:lnTo>
                      <a:pt x="8176039" y="2823451"/>
                    </a:lnTo>
                    <a:lnTo>
                      <a:pt x="8177339" y="2827357"/>
                    </a:lnTo>
                    <a:lnTo>
                      <a:pt x="8176984" y="2831128"/>
                    </a:lnTo>
                    <a:lnTo>
                      <a:pt x="8175304" y="2834539"/>
                    </a:lnTo>
                    <a:lnTo>
                      <a:pt x="8172534" y="2836909"/>
                    </a:lnTo>
                    <a:lnTo>
                      <a:pt x="8168933" y="2838200"/>
                    </a:lnTo>
                    <a:lnTo>
                      <a:pt x="8161918" y="2839218"/>
                    </a:lnTo>
                    <a:lnTo>
                      <a:pt x="8158405" y="2838828"/>
                    </a:lnTo>
                    <a:lnTo>
                      <a:pt x="8154344" y="2837092"/>
                    </a:lnTo>
                    <a:lnTo>
                      <a:pt x="8151349" y="2834238"/>
                    </a:lnTo>
                    <a:lnTo>
                      <a:pt x="8151050" y="2830507"/>
                    </a:lnTo>
                    <a:lnTo>
                      <a:pt x="8153476" y="2828358"/>
                    </a:lnTo>
                    <a:lnTo>
                      <a:pt x="8156937" y="2827283"/>
                    </a:lnTo>
                    <a:lnTo>
                      <a:pt x="8159503" y="2825568"/>
                    </a:lnTo>
                    <a:lnTo>
                      <a:pt x="8159208" y="2821520"/>
                    </a:lnTo>
                    <a:lnTo>
                      <a:pt x="8158415" y="2819044"/>
                    </a:lnTo>
                    <a:lnTo>
                      <a:pt x="8158262" y="2816979"/>
                    </a:lnTo>
                    <a:lnTo>
                      <a:pt x="8158855" y="2815478"/>
                    </a:lnTo>
                    <a:lnTo>
                      <a:pt x="8160329" y="2814765"/>
                    </a:lnTo>
                    <a:lnTo>
                      <a:pt x="8162442" y="2814238"/>
                    </a:lnTo>
                    <a:lnTo>
                      <a:pt x="8163116" y="2813402"/>
                    </a:lnTo>
                    <a:lnTo>
                      <a:pt x="8163411" y="2810180"/>
                    </a:lnTo>
                    <a:lnTo>
                      <a:pt x="8165472" y="2803562"/>
                    </a:lnTo>
                    <a:lnTo>
                      <a:pt x="8165086" y="2800023"/>
                    </a:lnTo>
                    <a:lnTo>
                      <a:pt x="8162225" y="2796641"/>
                    </a:lnTo>
                    <a:lnTo>
                      <a:pt x="8161284" y="2795324"/>
                    </a:lnTo>
                    <a:lnTo>
                      <a:pt x="8156482" y="2787069"/>
                    </a:lnTo>
                    <a:lnTo>
                      <a:pt x="8154788" y="2785034"/>
                    </a:lnTo>
                    <a:lnTo>
                      <a:pt x="8146973" y="2777020"/>
                    </a:lnTo>
                    <a:lnTo>
                      <a:pt x="8145209" y="2774928"/>
                    </a:lnTo>
                    <a:lnTo>
                      <a:pt x="8140144" y="2764988"/>
                    </a:lnTo>
                    <a:lnTo>
                      <a:pt x="8137904" y="2762080"/>
                    </a:lnTo>
                    <a:lnTo>
                      <a:pt x="8136423" y="2762795"/>
                    </a:lnTo>
                    <a:lnTo>
                      <a:pt x="8137279" y="2767823"/>
                    </a:lnTo>
                    <a:lnTo>
                      <a:pt x="8140729" y="2773932"/>
                    </a:lnTo>
                    <a:lnTo>
                      <a:pt x="8152738" y="2790058"/>
                    </a:lnTo>
                    <a:lnTo>
                      <a:pt x="8155828" y="2795452"/>
                    </a:lnTo>
                    <a:lnTo>
                      <a:pt x="8157672" y="2801152"/>
                    </a:lnTo>
                    <a:lnTo>
                      <a:pt x="8157755" y="2807298"/>
                    </a:lnTo>
                    <a:lnTo>
                      <a:pt x="8157354" y="2808892"/>
                    </a:lnTo>
                    <a:lnTo>
                      <a:pt x="8155583" y="2812681"/>
                    </a:lnTo>
                    <a:lnTo>
                      <a:pt x="8155208" y="2814314"/>
                    </a:lnTo>
                    <a:lnTo>
                      <a:pt x="8154843" y="2818520"/>
                    </a:lnTo>
                    <a:lnTo>
                      <a:pt x="8153944" y="2821531"/>
                    </a:lnTo>
                    <a:lnTo>
                      <a:pt x="8152508" y="2823435"/>
                    </a:lnTo>
                    <a:lnTo>
                      <a:pt x="8148370" y="2826559"/>
                    </a:lnTo>
                    <a:lnTo>
                      <a:pt x="8148712" y="2824076"/>
                    </a:lnTo>
                    <a:lnTo>
                      <a:pt x="8150612" y="2819502"/>
                    </a:lnTo>
                    <a:lnTo>
                      <a:pt x="8150324" y="2816907"/>
                    </a:lnTo>
                    <a:lnTo>
                      <a:pt x="8148307" y="2813872"/>
                    </a:lnTo>
                    <a:lnTo>
                      <a:pt x="8145538" y="2811485"/>
                    </a:lnTo>
                    <a:lnTo>
                      <a:pt x="8142731" y="2809454"/>
                    </a:lnTo>
                    <a:lnTo>
                      <a:pt x="8140589" y="2807530"/>
                    </a:lnTo>
                    <a:lnTo>
                      <a:pt x="8137108" y="2801436"/>
                    </a:lnTo>
                    <a:lnTo>
                      <a:pt x="8136510" y="2796262"/>
                    </a:lnTo>
                    <a:lnTo>
                      <a:pt x="8137757" y="2786274"/>
                    </a:lnTo>
                    <a:lnTo>
                      <a:pt x="8135479" y="2786558"/>
                    </a:lnTo>
                    <a:lnTo>
                      <a:pt x="8132606" y="2788485"/>
                    </a:lnTo>
                    <a:lnTo>
                      <a:pt x="8130048" y="2791241"/>
                    </a:lnTo>
                    <a:lnTo>
                      <a:pt x="8128670" y="2794024"/>
                    </a:lnTo>
                    <a:lnTo>
                      <a:pt x="8128822" y="2798071"/>
                    </a:lnTo>
                    <a:lnTo>
                      <a:pt x="8130555" y="2802040"/>
                    </a:lnTo>
                    <a:lnTo>
                      <a:pt x="8133287" y="2805850"/>
                    </a:lnTo>
                    <a:lnTo>
                      <a:pt x="8136427" y="2809400"/>
                    </a:lnTo>
                    <a:lnTo>
                      <a:pt x="8142716" y="2815183"/>
                    </a:lnTo>
                    <a:lnTo>
                      <a:pt x="8144598" y="2818579"/>
                    </a:lnTo>
                    <a:lnTo>
                      <a:pt x="8144602" y="2823494"/>
                    </a:lnTo>
                    <a:lnTo>
                      <a:pt x="8143609" y="2831433"/>
                    </a:lnTo>
                    <a:lnTo>
                      <a:pt x="8142198" y="2834212"/>
                    </a:lnTo>
                    <a:lnTo>
                      <a:pt x="8138945" y="2835137"/>
                    </a:lnTo>
                    <a:lnTo>
                      <a:pt x="8135335" y="2833903"/>
                    </a:lnTo>
                    <a:lnTo>
                      <a:pt x="8127232" y="2829222"/>
                    </a:lnTo>
                    <a:lnTo>
                      <a:pt x="8120154" y="2827966"/>
                    </a:lnTo>
                    <a:lnTo>
                      <a:pt x="8116005" y="2826189"/>
                    </a:lnTo>
                    <a:lnTo>
                      <a:pt x="8108764" y="2821708"/>
                    </a:lnTo>
                    <a:lnTo>
                      <a:pt x="8108184" y="2821103"/>
                    </a:lnTo>
                    <a:lnTo>
                      <a:pt x="8106430" y="2818946"/>
                    </a:lnTo>
                    <a:lnTo>
                      <a:pt x="8105384" y="2818001"/>
                    </a:lnTo>
                    <a:lnTo>
                      <a:pt x="8096256" y="2813508"/>
                    </a:lnTo>
                    <a:lnTo>
                      <a:pt x="8091881" y="2810489"/>
                    </a:lnTo>
                    <a:lnTo>
                      <a:pt x="8088723" y="2806856"/>
                    </a:lnTo>
                    <a:lnTo>
                      <a:pt x="8089048" y="2804125"/>
                    </a:lnTo>
                    <a:lnTo>
                      <a:pt x="8098333" y="2794213"/>
                    </a:lnTo>
                    <a:lnTo>
                      <a:pt x="8099244" y="2792187"/>
                    </a:lnTo>
                    <a:lnTo>
                      <a:pt x="8100264" y="2788714"/>
                    </a:lnTo>
                    <a:lnTo>
                      <a:pt x="8101194" y="2787188"/>
                    </a:lnTo>
                    <a:lnTo>
                      <a:pt x="8102570" y="2786765"/>
                    </a:lnTo>
                    <a:lnTo>
                      <a:pt x="8104895" y="2786554"/>
                    </a:lnTo>
                    <a:lnTo>
                      <a:pt x="8105166" y="2785092"/>
                    </a:lnTo>
                    <a:lnTo>
                      <a:pt x="8105432" y="2777041"/>
                    </a:lnTo>
                    <a:lnTo>
                      <a:pt x="8103235" y="2775424"/>
                    </a:lnTo>
                    <a:lnTo>
                      <a:pt x="8095794" y="2775137"/>
                    </a:lnTo>
                    <a:lnTo>
                      <a:pt x="8092961" y="2774349"/>
                    </a:lnTo>
                    <a:lnTo>
                      <a:pt x="8090713" y="2771818"/>
                    </a:lnTo>
                    <a:lnTo>
                      <a:pt x="8089286" y="2768691"/>
                    </a:lnTo>
                    <a:lnTo>
                      <a:pt x="8088634" y="2765494"/>
                    </a:lnTo>
                    <a:lnTo>
                      <a:pt x="8088692" y="2762688"/>
                    </a:lnTo>
                    <a:lnTo>
                      <a:pt x="8088847" y="2761609"/>
                    </a:lnTo>
                    <a:lnTo>
                      <a:pt x="8089103" y="2760653"/>
                    </a:lnTo>
                    <a:lnTo>
                      <a:pt x="8089689" y="2759934"/>
                    </a:lnTo>
                    <a:lnTo>
                      <a:pt x="8090878" y="2759527"/>
                    </a:lnTo>
                    <a:lnTo>
                      <a:pt x="8095884" y="2759099"/>
                    </a:lnTo>
                    <a:lnTo>
                      <a:pt x="8096856" y="2758721"/>
                    </a:lnTo>
                    <a:lnTo>
                      <a:pt x="8096648" y="2757605"/>
                    </a:lnTo>
                    <a:lnTo>
                      <a:pt x="8095064" y="2753936"/>
                    </a:lnTo>
                    <a:lnTo>
                      <a:pt x="8094833" y="2752491"/>
                    </a:lnTo>
                    <a:lnTo>
                      <a:pt x="8095677" y="2751422"/>
                    </a:lnTo>
                    <a:lnTo>
                      <a:pt x="8096946" y="2751685"/>
                    </a:lnTo>
                    <a:lnTo>
                      <a:pt x="8098289" y="2752400"/>
                    </a:lnTo>
                    <a:lnTo>
                      <a:pt x="8099360" y="2752664"/>
                    </a:lnTo>
                    <a:lnTo>
                      <a:pt x="8106542" y="2750079"/>
                    </a:lnTo>
                    <a:lnTo>
                      <a:pt x="8108434" y="2748567"/>
                    </a:lnTo>
                    <a:lnTo>
                      <a:pt x="8107825" y="2747088"/>
                    </a:lnTo>
                    <a:lnTo>
                      <a:pt x="8105629" y="2747292"/>
                    </a:lnTo>
                    <a:lnTo>
                      <a:pt x="8100100" y="2749697"/>
                    </a:lnTo>
                    <a:lnTo>
                      <a:pt x="8092880" y="2749633"/>
                    </a:lnTo>
                    <a:lnTo>
                      <a:pt x="8090831" y="2750950"/>
                    </a:lnTo>
                    <a:lnTo>
                      <a:pt x="8086705" y="2756497"/>
                    </a:lnTo>
                    <a:lnTo>
                      <a:pt x="8084603" y="2755850"/>
                    </a:lnTo>
                    <a:lnTo>
                      <a:pt x="8081540" y="2749985"/>
                    </a:lnTo>
                    <a:lnTo>
                      <a:pt x="8082441" y="2747356"/>
                    </a:lnTo>
                    <a:lnTo>
                      <a:pt x="8085934" y="2744872"/>
                    </a:lnTo>
                    <a:lnTo>
                      <a:pt x="8090100" y="2742944"/>
                    </a:lnTo>
                    <a:lnTo>
                      <a:pt x="8105320" y="2739413"/>
                    </a:lnTo>
                    <a:lnTo>
                      <a:pt x="8108733" y="2737208"/>
                    </a:lnTo>
                    <a:lnTo>
                      <a:pt x="8106920" y="2735483"/>
                    </a:lnTo>
                    <a:lnTo>
                      <a:pt x="8103237" y="2734337"/>
                    </a:lnTo>
                    <a:lnTo>
                      <a:pt x="8101979" y="2732904"/>
                    </a:lnTo>
                    <a:lnTo>
                      <a:pt x="8100496" y="2730750"/>
                    </a:lnTo>
                    <a:lnTo>
                      <a:pt x="8098716" y="2729610"/>
                    </a:lnTo>
                    <a:lnTo>
                      <a:pt x="8097524" y="2729909"/>
                    </a:lnTo>
                    <a:lnTo>
                      <a:pt x="8097808" y="2732037"/>
                    </a:lnTo>
                    <a:lnTo>
                      <a:pt x="8097727" y="2735401"/>
                    </a:lnTo>
                    <a:lnTo>
                      <a:pt x="8094971" y="2737080"/>
                    </a:lnTo>
                    <a:lnTo>
                      <a:pt x="8091466" y="2738187"/>
                    </a:lnTo>
                    <a:lnTo>
                      <a:pt x="8089124" y="2739869"/>
                    </a:lnTo>
                    <a:lnTo>
                      <a:pt x="8085965" y="2738121"/>
                    </a:lnTo>
                    <a:lnTo>
                      <a:pt x="8080869" y="2737589"/>
                    </a:lnTo>
                    <a:lnTo>
                      <a:pt x="8078521" y="2735442"/>
                    </a:lnTo>
                    <a:lnTo>
                      <a:pt x="8076944" y="2731255"/>
                    </a:lnTo>
                    <a:lnTo>
                      <a:pt x="8078646" y="2729448"/>
                    </a:lnTo>
                    <a:lnTo>
                      <a:pt x="8106381" y="2727261"/>
                    </a:lnTo>
                    <a:lnTo>
                      <a:pt x="8109972" y="2723878"/>
                    </a:lnTo>
                    <a:lnTo>
                      <a:pt x="8106497" y="2723054"/>
                    </a:lnTo>
                    <a:lnTo>
                      <a:pt x="8096057" y="2724468"/>
                    </a:lnTo>
                    <a:lnTo>
                      <a:pt x="8093905" y="2723336"/>
                    </a:lnTo>
                    <a:lnTo>
                      <a:pt x="8090738" y="2720423"/>
                    </a:lnTo>
                    <a:lnTo>
                      <a:pt x="8087590" y="2716978"/>
                    </a:lnTo>
                    <a:lnTo>
                      <a:pt x="8085539" y="2714331"/>
                    </a:lnTo>
                    <a:lnTo>
                      <a:pt x="8093870" y="2712685"/>
                    </a:lnTo>
                    <a:lnTo>
                      <a:pt x="8096082" y="2711335"/>
                    </a:lnTo>
                    <a:lnTo>
                      <a:pt x="8096872" y="2710254"/>
                    </a:lnTo>
                    <a:lnTo>
                      <a:pt x="8098151" y="2707623"/>
                    </a:lnTo>
                    <a:lnTo>
                      <a:pt x="8099063" y="2706756"/>
                    </a:lnTo>
                    <a:lnTo>
                      <a:pt x="8101052" y="2706288"/>
                    </a:lnTo>
                    <a:lnTo>
                      <a:pt x="8107407" y="2706919"/>
                    </a:lnTo>
                    <a:lnTo>
                      <a:pt x="8111932" y="2704439"/>
                    </a:lnTo>
                    <a:lnTo>
                      <a:pt x="8116137" y="2700277"/>
                    </a:lnTo>
                    <a:close/>
                    <a:moveTo>
                      <a:pt x="7819998" y="2696258"/>
                    </a:moveTo>
                    <a:lnTo>
                      <a:pt x="7827709" y="2697999"/>
                    </a:lnTo>
                    <a:lnTo>
                      <a:pt x="7832939" y="2696626"/>
                    </a:lnTo>
                    <a:lnTo>
                      <a:pt x="7835559" y="2697048"/>
                    </a:lnTo>
                    <a:lnTo>
                      <a:pt x="7836668" y="2699835"/>
                    </a:lnTo>
                    <a:lnTo>
                      <a:pt x="7835779" y="2706212"/>
                    </a:lnTo>
                    <a:lnTo>
                      <a:pt x="7836034" y="2708430"/>
                    </a:lnTo>
                    <a:lnTo>
                      <a:pt x="7837138" y="2710847"/>
                    </a:lnTo>
                    <a:lnTo>
                      <a:pt x="7839802" y="2713846"/>
                    </a:lnTo>
                    <a:lnTo>
                      <a:pt x="7840871" y="2715632"/>
                    </a:lnTo>
                    <a:lnTo>
                      <a:pt x="7842673" y="2719917"/>
                    </a:lnTo>
                    <a:lnTo>
                      <a:pt x="7844039" y="2724096"/>
                    </a:lnTo>
                    <a:lnTo>
                      <a:pt x="7843552" y="2727103"/>
                    </a:lnTo>
                    <a:lnTo>
                      <a:pt x="7839765" y="2727853"/>
                    </a:lnTo>
                    <a:lnTo>
                      <a:pt x="7836513" y="2726264"/>
                    </a:lnTo>
                    <a:lnTo>
                      <a:pt x="7833038" y="2723832"/>
                    </a:lnTo>
                    <a:lnTo>
                      <a:pt x="7829908" y="2722899"/>
                    </a:lnTo>
                    <a:lnTo>
                      <a:pt x="7825717" y="2728351"/>
                    </a:lnTo>
                    <a:lnTo>
                      <a:pt x="7820437" y="2725975"/>
                    </a:lnTo>
                    <a:lnTo>
                      <a:pt x="7818224" y="2727725"/>
                    </a:lnTo>
                    <a:lnTo>
                      <a:pt x="7817170" y="2732484"/>
                    </a:lnTo>
                    <a:lnTo>
                      <a:pt x="7816636" y="2733719"/>
                    </a:lnTo>
                    <a:lnTo>
                      <a:pt x="7811772" y="2736704"/>
                    </a:lnTo>
                    <a:lnTo>
                      <a:pt x="7808879" y="2740212"/>
                    </a:lnTo>
                    <a:lnTo>
                      <a:pt x="7803184" y="2740160"/>
                    </a:lnTo>
                    <a:lnTo>
                      <a:pt x="7802416" y="2742590"/>
                    </a:lnTo>
                    <a:lnTo>
                      <a:pt x="7803592" y="2744574"/>
                    </a:lnTo>
                    <a:lnTo>
                      <a:pt x="7807114" y="2746193"/>
                    </a:lnTo>
                    <a:lnTo>
                      <a:pt x="7807278" y="2747670"/>
                    </a:lnTo>
                    <a:lnTo>
                      <a:pt x="7806080" y="2748275"/>
                    </a:lnTo>
                    <a:lnTo>
                      <a:pt x="7799891" y="2749881"/>
                    </a:lnTo>
                    <a:lnTo>
                      <a:pt x="7798415" y="2750792"/>
                    </a:lnTo>
                    <a:lnTo>
                      <a:pt x="7798063" y="2752112"/>
                    </a:lnTo>
                    <a:lnTo>
                      <a:pt x="7797501" y="2752638"/>
                    </a:lnTo>
                    <a:lnTo>
                      <a:pt x="7793624" y="2750015"/>
                    </a:lnTo>
                    <a:lnTo>
                      <a:pt x="7792183" y="2749753"/>
                    </a:lnTo>
                    <a:lnTo>
                      <a:pt x="7788582" y="2749986"/>
                    </a:lnTo>
                    <a:lnTo>
                      <a:pt x="7781857" y="2746091"/>
                    </a:lnTo>
                    <a:lnTo>
                      <a:pt x="7782325" y="2738375"/>
                    </a:lnTo>
                    <a:lnTo>
                      <a:pt x="7788677" y="2724434"/>
                    </a:lnTo>
                    <a:lnTo>
                      <a:pt x="7788568" y="2722418"/>
                    </a:lnTo>
                    <a:lnTo>
                      <a:pt x="7787889" y="2720643"/>
                    </a:lnTo>
                    <a:lnTo>
                      <a:pt x="7787868" y="2719259"/>
                    </a:lnTo>
                    <a:lnTo>
                      <a:pt x="7797165" y="2716157"/>
                    </a:lnTo>
                    <a:lnTo>
                      <a:pt x="7806371" y="2715784"/>
                    </a:lnTo>
                    <a:lnTo>
                      <a:pt x="7810458" y="2714579"/>
                    </a:lnTo>
                    <a:lnTo>
                      <a:pt x="7812971" y="2711337"/>
                    </a:lnTo>
                    <a:lnTo>
                      <a:pt x="7808453" y="2710829"/>
                    </a:lnTo>
                    <a:lnTo>
                      <a:pt x="7796919" y="2711521"/>
                    </a:lnTo>
                    <a:lnTo>
                      <a:pt x="7792716" y="2709627"/>
                    </a:lnTo>
                    <a:lnTo>
                      <a:pt x="7791811" y="2705809"/>
                    </a:lnTo>
                    <a:lnTo>
                      <a:pt x="7796716" y="2705119"/>
                    </a:lnTo>
                    <a:lnTo>
                      <a:pt x="7807521" y="2706353"/>
                    </a:lnTo>
                    <a:lnTo>
                      <a:pt x="7809193" y="2705890"/>
                    </a:lnTo>
                    <a:lnTo>
                      <a:pt x="7811073" y="2704918"/>
                    </a:lnTo>
                    <a:lnTo>
                      <a:pt x="7812723" y="2703586"/>
                    </a:lnTo>
                    <a:lnTo>
                      <a:pt x="7814619" y="2700565"/>
                    </a:lnTo>
                    <a:lnTo>
                      <a:pt x="7817618" y="2698571"/>
                    </a:lnTo>
                    <a:lnTo>
                      <a:pt x="7818584" y="2697079"/>
                    </a:lnTo>
                    <a:close/>
                    <a:moveTo>
                      <a:pt x="5039254" y="2692980"/>
                    </a:moveTo>
                    <a:lnTo>
                      <a:pt x="5041355" y="2692997"/>
                    </a:lnTo>
                    <a:lnTo>
                      <a:pt x="5042596" y="2694374"/>
                    </a:lnTo>
                    <a:lnTo>
                      <a:pt x="5042180" y="2697395"/>
                    </a:lnTo>
                    <a:lnTo>
                      <a:pt x="5047595" y="2697904"/>
                    </a:lnTo>
                    <a:lnTo>
                      <a:pt x="5048663" y="2699856"/>
                    </a:lnTo>
                    <a:lnTo>
                      <a:pt x="5045010" y="2708126"/>
                    </a:lnTo>
                    <a:lnTo>
                      <a:pt x="5052509" y="2701823"/>
                    </a:lnTo>
                    <a:lnTo>
                      <a:pt x="5056648" y="2700512"/>
                    </a:lnTo>
                    <a:lnTo>
                      <a:pt x="5059632" y="2698620"/>
                    </a:lnTo>
                    <a:lnTo>
                      <a:pt x="5061208" y="2698240"/>
                    </a:lnTo>
                    <a:lnTo>
                      <a:pt x="5062606" y="2698669"/>
                    </a:lnTo>
                    <a:lnTo>
                      <a:pt x="5064311" y="2700353"/>
                    </a:lnTo>
                    <a:lnTo>
                      <a:pt x="5065735" y="2700694"/>
                    </a:lnTo>
                    <a:lnTo>
                      <a:pt x="5076560" y="2698819"/>
                    </a:lnTo>
                    <a:lnTo>
                      <a:pt x="5080328" y="2699069"/>
                    </a:lnTo>
                    <a:lnTo>
                      <a:pt x="5083128" y="2701480"/>
                    </a:lnTo>
                    <a:lnTo>
                      <a:pt x="5085058" y="2702240"/>
                    </a:lnTo>
                    <a:lnTo>
                      <a:pt x="5086653" y="2700850"/>
                    </a:lnTo>
                    <a:lnTo>
                      <a:pt x="5087746" y="2700820"/>
                    </a:lnTo>
                    <a:lnTo>
                      <a:pt x="5089408" y="2701941"/>
                    </a:lnTo>
                    <a:lnTo>
                      <a:pt x="5090157" y="2703675"/>
                    </a:lnTo>
                    <a:lnTo>
                      <a:pt x="5086881" y="2707343"/>
                    </a:lnTo>
                    <a:lnTo>
                      <a:pt x="5084823" y="2708577"/>
                    </a:lnTo>
                    <a:lnTo>
                      <a:pt x="5073841" y="2711280"/>
                    </a:lnTo>
                    <a:lnTo>
                      <a:pt x="5072523" y="2710591"/>
                    </a:lnTo>
                    <a:lnTo>
                      <a:pt x="5071839" y="2709450"/>
                    </a:lnTo>
                    <a:lnTo>
                      <a:pt x="5071137" y="2708575"/>
                    </a:lnTo>
                    <a:lnTo>
                      <a:pt x="5069809" y="2708701"/>
                    </a:lnTo>
                    <a:lnTo>
                      <a:pt x="5066598" y="2711309"/>
                    </a:lnTo>
                    <a:lnTo>
                      <a:pt x="5063511" y="2714623"/>
                    </a:lnTo>
                    <a:lnTo>
                      <a:pt x="5059872" y="2716613"/>
                    </a:lnTo>
                    <a:lnTo>
                      <a:pt x="5055036" y="2715293"/>
                    </a:lnTo>
                    <a:lnTo>
                      <a:pt x="5052966" y="2715155"/>
                    </a:lnTo>
                    <a:lnTo>
                      <a:pt x="5048417" y="2718079"/>
                    </a:lnTo>
                    <a:lnTo>
                      <a:pt x="5046383" y="2718906"/>
                    </a:lnTo>
                    <a:lnTo>
                      <a:pt x="5045606" y="2720279"/>
                    </a:lnTo>
                    <a:lnTo>
                      <a:pt x="5045438" y="2723290"/>
                    </a:lnTo>
                    <a:lnTo>
                      <a:pt x="5045672" y="2727714"/>
                    </a:lnTo>
                    <a:lnTo>
                      <a:pt x="5043903" y="2732675"/>
                    </a:lnTo>
                    <a:lnTo>
                      <a:pt x="5039008" y="2735043"/>
                    </a:lnTo>
                    <a:lnTo>
                      <a:pt x="5033316" y="2735368"/>
                    </a:lnTo>
                    <a:lnTo>
                      <a:pt x="5029106" y="2734220"/>
                    </a:lnTo>
                    <a:lnTo>
                      <a:pt x="5031192" y="2730589"/>
                    </a:lnTo>
                    <a:lnTo>
                      <a:pt x="5031625" y="2730223"/>
                    </a:lnTo>
                    <a:lnTo>
                      <a:pt x="5030847" y="2728681"/>
                    </a:lnTo>
                    <a:lnTo>
                      <a:pt x="5029831" y="2727917"/>
                    </a:lnTo>
                    <a:lnTo>
                      <a:pt x="5028536" y="2727484"/>
                    </a:lnTo>
                    <a:lnTo>
                      <a:pt x="5028474" y="2724544"/>
                    </a:lnTo>
                    <a:lnTo>
                      <a:pt x="5029676" y="2723136"/>
                    </a:lnTo>
                    <a:lnTo>
                      <a:pt x="5031088" y="2722157"/>
                    </a:lnTo>
                    <a:lnTo>
                      <a:pt x="5031663" y="2720524"/>
                    </a:lnTo>
                    <a:lnTo>
                      <a:pt x="5029729" y="2719148"/>
                    </a:lnTo>
                    <a:lnTo>
                      <a:pt x="5025718" y="2721530"/>
                    </a:lnTo>
                    <a:lnTo>
                      <a:pt x="5021339" y="2723181"/>
                    </a:lnTo>
                    <a:lnTo>
                      <a:pt x="5018290" y="2719634"/>
                    </a:lnTo>
                    <a:lnTo>
                      <a:pt x="5020507" y="2718732"/>
                    </a:lnTo>
                    <a:lnTo>
                      <a:pt x="5024858" y="2715963"/>
                    </a:lnTo>
                    <a:lnTo>
                      <a:pt x="5028081" y="2714890"/>
                    </a:lnTo>
                    <a:lnTo>
                      <a:pt x="5027960" y="2713919"/>
                    </a:lnTo>
                    <a:lnTo>
                      <a:pt x="5027050" y="2712983"/>
                    </a:lnTo>
                    <a:lnTo>
                      <a:pt x="5025762" y="2712558"/>
                    </a:lnTo>
                    <a:lnTo>
                      <a:pt x="5024667" y="2712900"/>
                    </a:lnTo>
                    <a:lnTo>
                      <a:pt x="5022229" y="2714122"/>
                    </a:lnTo>
                    <a:lnTo>
                      <a:pt x="5020684" y="2714161"/>
                    </a:lnTo>
                    <a:lnTo>
                      <a:pt x="5022177" y="2711900"/>
                    </a:lnTo>
                    <a:lnTo>
                      <a:pt x="5026813" y="2707136"/>
                    </a:lnTo>
                    <a:lnTo>
                      <a:pt x="5030889" y="2701250"/>
                    </a:lnTo>
                    <a:lnTo>
                      <a:pt x="5032401" y="2700357"/>
                    </a:lnTo>
                    <a:lnTo>
                      <a:pt x="5033381" y="2699533"/>
                    </a:lnTo>
                    <a:lnTo>
                      <a:pt x="5035906" y="2695596"/>
                    </a:lnTo>
                    <a:lnTo>
                      <a:pt x="5037115" y="2694098"/>
                    </a:lnTo>
                    <a:close/>
                    <a:moveTo>
                      <a:pt x="4614823" y="2669273"/>
                    </a:moveTo>
                    <a:lnTo>
                      <a:pt x="4616568" y="2669622"/>
                    </a:lnTo>
                    <a:lnTo>
                      <a:pt x="4617824" y="2670249"/>
                    </a:lnTo>
                    <a:lnTo>
                      <a:pt x="4617264" y="2671019"/>
                    </a:lnTo>
                    <a:lnTo>
                      <a:pt x="4617476" y="2671699"/>
                    </a:lnTo>
                    <a:lnTo>
                      <a:pt x="4618150" y="2672117"/>
                    </a:lnTo>
                    <a:lnTo>
                      <a:pt x="4616634" y="2672873"/>
                    </a:lnTo>
                    <a:lnTo>
                      <a:pt x="4614816" y="2672132"/>
                    </a:lnTo>
                    <a:lnTo>
                      <a:pt x="4614171" y="2671329"/>
                    </a:lnTo>
                    <a:close/>
                    <a:moveTo>
                      <a:pt x="7835164" y="2658595"/>
                    </a:moveTo>
                    <a:lnTo>
                      <a:pt x="7837728" y="2659757"/>
                    </a:lnTo>
                    <a:lnTo>
                      <a:pt x="7840796" y="2661936"/>
                    </a:lnTo>
                    <a:lnTo>
                      <a:pt x="7843525" y="2664455"/>
                    </a:lnTo>
                    <a:lnTo>
                      <a:pt x="7845104" y="2666683"/>
                    </a:lnTo>
                    <a:lnTo>
                      <a:pt x="7845325" y="2668008"/>
                    </a:lnTo>
                    <a:lnTo>
                      <a:pt x="7845462" y="2669633"/>
                    </a:lnTo>
                    <a:lnTo>
                      <a:pt x="7845895" y="2670957"/>
                    </a:lnTo>
                    <a:lnTo>
                      <a:pt x="7847003" y="2671399"/>
                    </a:lnTo>
                    <a:lnTo>
                      <a:pt x="7848107" y="2671512"/>
                    </a:lnTo>
                    <a:lnTo>
                      <a:pt x="7851481" y="2672400"/>
                    </a:lnTo>
                    <a:lnTo>
                      <a:pt x="7853221" y="2673262"/>
                    </a:lnTo>
                    <a:lnTo>
                      <a:pt x="7857087" y="2673426"/>
                    </a:lnTo>
                    <a:lnTo>
                      <a:pt x="7858783" y="2674156"/>
                    </a:lnTo>
                    <a:lnTo>
                      <a:pt x="7860086" y="2675767"/>
                    </a:lnTo>
                    <a:lnTo>
                      <a:pt x="7860762" y="2677383"/>
                    </a:lnTo>
                    <a:lnTo>
                      <a:pt x="7861331" y="2679046"/>
                    </a:lnTo>
                    <a:lnTo>
                      <a:pt x="7862282" y="2680805"/>
                    </a:lnTo>
                    <a:lnTo>
                      <a:pt x="7862311" y="2681274"/>
                    </a:lnTo>
                    <a:lnTo>
                      <a:pt x="7862165" y="2682005"/>
                    </a:lnTo>
                    <a:lnTo>
                      <a:pt x="7862152" y="2682870"/>
                    </a:lnTo>
                    <a:lnTo>
                      <a:pt x="7862557" y="2683751"/>
                    </a:lnTo>
                    <a:lnTo>
                      <a:pt x="7863514" y="2684423"/>
                    </a:lnTo>
                    <a:lnTo>
                      <a:pt x="7865557" y="2684771"/>
                    </a:lnTo>
                    <a:lnTo>
                      <a:pt x="7866488" y="2685245"/>
                    </a:lnTo>
                    <a:lnTo>
                      <a:pt x="7867477" y="2686126"/>
                    </a:lnTo>
                    <a:lnTo>
                      <a:pt x="7868867" y="2687633"/>
                    </a:lnTo>
                    <a:lnTo>
                      <a:pt x="7869539" y="2689123"/>
                    </a:lnTo>
                    <a:lnTo>
                      <a:pt x="7868350" y="2689978"/>
                    </a:lnTo>
                    <a:lnTo>
                      <a:pt x="7867357" y="2691528"/>
                    </a:lnTo>
                    <a:lnTo>
                      <a:pt x="7867294" y="2698144"/>
                    </a:lnTo>
                    <a:lnTo>
                      <a:pt x="7867001" y="2700241"/>
                    </a:lnTo>
                    <a:lnTo>
                      <a:pt x="7864540" y="2701241"/>
                    </a:lnTo>
                    <a:lnTo>
                      <a:pt x="7859175" y="2698768"/>
                    </a:lnTo>
                    <a:lnTo>
                      <a:pt x="7857314" y="2700055"/>
                    </a:lnTo>
                    <a:lnTo>
                      <a:pt x="7867698" y="2709199"/>
                    </a:lnTo>
                    <a:lnTo>
                      <a:pt x="7870396" y="2711167"/>
                    </a:lnTo>
                    <a:lnTo>
                      <a:pt x="7873047" y="2712023"/>
                    </a:lnTo>
                    <a:lnTo>
                      <a:pt x="7874924" y="2711682"/>
                    </a:lnTo>
                    <a:lnTo>
                      <a:pt x="7878647" y="2710112"/>
                    </a:lnTo>
                    <a:lnTo>
                      <a:pt x="7881083" y="2710063"/>
                    </a:lnTo>
                    <a:lnTo>
                      <a:pt x="7888169" y="2711866"/>
                    </a:lnTo>
                    <a:lnTo>
                      <a:pt x="7887514" y="2709848"/>
                    </a:lnTo>
                    <a:lnTo>
                      <a:pt x="7887425" y="2708223"/>
                    </a:lnTo>
                    <a:lnTo>
                      <a:pt x="7887858" y="2706940"/>
                    </a:lnTo>
                    <a:lnTo>
                      <a:pt x="7888770" y="2705974"/>
                    </a:lnTo>
                    <a:lnTo>
                      <a:pt x="7891540" y="2706822"/>
                    </a:lnTo>
                    <a:lnTo>
                      <a:pt x="7893015" y="2708328"/>
                    </a:lnTo>
                    <a:lnTo>
                      <a:pt x="7894185" y="2710212"/>
                    </a:lnTo>
                    <a:lnTo>
                      <a:pt x="7896921" y="2713158"/>
                    </a:lnTo>
                    <a:lnTo>
                      <a:pt x="7897209" y="2713978"/>
                    </a:lnTo>
                    <a:lnTo>
                      <a:pt x="7897772" y="2714448"/>
                    </a:lnTo>
                    <a:lnTo>
                      <a:pt x="7900566" y="2714258"/>
                    </a:lnTo>
                    <a:lnTo>
                      <a:pt x="7901387" y="2713931"/>
                    </a:lnTo>
                    <a:lnTo>
                      <a:pt x="7901972" y="2713271"/>
                    </a:lnTo>
                    <a:lnTo>
                      <a:pt x="7902422" y="2712042"/>
                    </a:lnTo>
                    <a:lnTo>
                      <a:pt x="7903949" y="2710820"/>
                    </a:lnTo>
                    <a:lnTo>
                      <a:pt x="7906446" y="2711888"/>
                    </a:lnTo>
                    <a:lnTo>
                      <a:pt x="7909106" y="2713648"/>
                    </a:lnTo>
                    <a:lnTo>
                      <a:pt x="7911122" y="2714482"/>
                    </a:lnTo>
                    <a:lnTo>
                      <a:pt x="7913091" y="2714711"/>
                    </a:lnTo>
                    <a:lnTo>
                      <a:pt x="7921647" y="2717389"/>
                    </a:lnTo>
                    <a:lnTo>
                      <a:pt x="7925768" y="2720148"/>
                    </a:lnTo>
                    <a:lnTo>
                      <a:pt x="7930274" y="2723875"/>
                    </a:lnTo>
                    <a:lnTo>
                      <a:pt x="7934806" y="2727041"/>
                    </a:lnTo>
                    <a:lnTo>
                      <a:pt x="7940761" y="2728440"/>
                    </a:lnTo>
                    <a:lnTo>
                      <a:pt x="7943023" y="2729675"/>
                    </a:lnTo>
                    <a:lnTo>
                      <a:pt x="7945145" y="2731462"/>
                    </a:lnTo>
                    <a:lnTo>
                      <a:pt x="7946542" y="2733524"/>
                    </a:lnTo>
                    <a:lnTo>
                      <a:pt x="7948217" y="2735471"/>
                    </a:lnTo>
                    <a:lnTo>
                      <a:pt x="7953210" y="2736997"/>
                    </a:lnTo>
                    <a:lnTo>
                      <a:pt x="7955487" y="2738629"/>
                    </a:lnTo>
                    <a:lnTo>
                      <a:pt x="7955064" y="2740239"/>
                    </a:lnTo>
                    <a:lnTo>
                      <a:pt x="7961091" y="2743159"/>
                    </a:lnTo>
                    <a:lnTo>
                      <a:pt x="7965912" y="2746899"/>
                    </a:lnTo>
                    <a:lnTo>
                      <a:pt x="7976138" y="2756174"/>
                    </a:lnTo>
                    <a:lnTo>
                      <a:pt x="7975813" y="2758988"/>
                    </a:lnTo>
                    <a:lnTo>
                      <a:pt x="7977423" y="2761482"/>
                    </a:lnTo>
                    <a:lnTo>
                      <a:pt x="7979924" y="2763945"/>
                    </a:lnTo>
                    <a:lnTo>
                      <a:pt x="7982262" y="2766659"/>
                    </a:lnTo>
                    <a:lnTo>
                      <a:pt x="7984082" y="2769917"/>
                    </a:lnTo>
                    <a:lnTo>
                      <a:pt x="7984804" y="2772349"/>
                    </a:lnTo>
                    <a:lnTo>
                      <a:pt x="7984762" y="2777874"/>
                    </a:lnTo>
                    <a:lnTo>
                      <a:pt x="7987029" y="2778498"/>
                    </a:lnTo>
                    <a:lnTo>
                      <a:pt x="7989046" y="2780021"/>
                    </a:lnTo>
                    <a:lnTo>
                      <a:pt x="7990682" y="2782377"/>
                    </a:lnTo>
                    <a:lnTo>
                      <a:pt x="7991804" y="2785524"/>
                    </a:lnTo>
                    <a:lnTo>
                      <a:pt x="7992447" y="2783908"/>
                    </a:lnTo>
                    <a:lnTo>
                      <a:pt x="7994113" y="2776494"/>
                    </a:lnTo>
                    <a:lnTo>
                      <a:pt x="7997337" y="2776234"/>
                    </a:lnTo>
                    <a:lnTo>
                      <a:pt x="7998270" y="2776793"/>
                    </a:lnTo>
                    <a:lnTo>
                      <a:pt x="8001647" y="2779654"/>
                    </a:lnTo>
                    <a:lnTo>
                      <a:pt x="8002529" y="2780678"/>
                    </a:lnTo>
                    <a:lnTo>
                      <a:pt x="8004532" y="2785242"/>
                    </a:lnTo>
                    <a:lnTo>
                      <a:pt x="8005360" y="2786512"/>
                    </a:lnTo>
                    <a:lnTo>
                      <a:pt x="8006521" y="2788020"/>
                    </a:lnTo>
                    <a:lnTo>
                      <a:pt x="8016903" y="2798896"/>
                    </a:lnTo>
                    <a:lnTo>
                      <a:pt x="8018960" y="2800671"/>
                    </a:lnTo>
                    <a:lnTo>
                      <a:pt x="8025996" y="2799810"/>
                    </a:lnTo>
                    <a:lnTo>
                      <a:pt x="8029406" y="2800580"/>
                    </a:lnTo>
                    <a:lnTo>
                      <a:pt x="8039972" y="2806409"/>
                    </a:lnTo>
                    <a:lnTo>
                      <a:pt x="8042712" y="2808912"/>
                    </a:lnTo>
                    <a:lnTo>
                      <a:pt x="8044794" y="2812362"/>
                    </a:lnTo>
                    <a:lnTo>
                      <a:pt x="8044702" y="2815698"/>
                    </a:lnTo>
                    <a:lnTo>
                      <a:pt x="8041323" y="2815426"/>
                    </a:lnTo>
                    <a:lnTo>
                      <a:pt x="8033601" y="2811625"/>
                    </a:lnTo>
                    <a:lnTo>
                      <a:pt x="8026760" y="2806804"/>
                    </a:lnTo>
                    <a:lnTo>
                      <a:pt x="8019670" y="2805543"/>
                    </a:lnTo>
                    <a:lnTo>
                      <a:pt x="8013048" y="2802491"/>
                    </a:lnTo>
                    <a:lnTo>
                      <a:pt x="8002568" y="2801992"/>
                    </a:lnTo>
                    <a:lnTo>
                      <a:pt x="7997825" y="2800712"/>
                    </a:lnTo>
                    <a:lnTo>
                      <a:pt x="7985931" y="2791085"/>
                    </a:lnTo>
                    <a:lnTo>
                      <a:pt x="7979804" y="2787381"/>
                    </a:lnTo>
                    <a:lnTo>
                      <a:pt x="7976371" y="2789084"/>
                    </a:lnTo>
                    <a:lnTo>
                      <a:pt x="7977774" y="2789795"/>
                    </a:lnTo>
                    <a:lnTo>
                      <a:pt x="7978819" y="2790655"/>
                    </a:lnTo>
                    <a:lnTo>
                      <a:pt x="7980867" y="2792788"/>
                    </a:lnTo>
                    <a:lnTo>
                      <a:pt x="7979314" y="2793295"/>
                    </a:lnTo>
                    <a:lnTo>
                      <a:pt x="7978516" y="2794692"/>
                    </a:lnTo>
                    <a:lnTo>
                      <a:pt x="7978216" y="2796602"/>
                    </a:lnTo>
                    <a:lnTo>
                      <a:pt x="7978207" y="2798713"/>
                    </a:lnTo>
                    <a:lnTo>
                      <a:pt x="7980389" y="2798540"/>
                    </a:lnTo>
                    <a:lnTo>
                      <a:pt x="7983715" y="2798978"/>
                    </a:lnTo>
                    <a:lnTo>
                      <a:pt x="7986534" y="2800296"/>
                    </a:lnTo>
                    <a:lnTo>
                      <a:pt x="7987167" y="2802741"/>
                    </a:lnTo>
                    <a:lnTo>
                      <a:pt x="7983878" y="2811725"/>
                    </a:lnTo>
                    <a:lnTo>
                      <a:pt x="7980934" y="2814904"/>
                    </a:lnTo>
                    <a:lnTo>
                      <a:pt x="7972867" y="2819540"/>
                    </a:lnTo>
                    <a:lnTo>
                      <a:pt x="7971440" y="2823976"/>
                    </a:lnTo>
                    <a:lnTo>
                      <a:pt x="7973846" y="2824552"/>
                    </a:lnTo>
                    <a:lnTo>
                      <a:pt x="7975975" y="2825571"/>
                    </a:lnTo>
                    <a:lnTo>
                      <a:pt x="7977438" y="2827348"/>
                    </a:lnTo>
                    <a:lnTo>
                      <a:pt x="7977837" y="2830282"/>
                    </a:lnTo>
                    <a:lnTo>
                      <a:pt x="7978582" y="2827736"/>
                    </a:lnTo>
                    <a:lnTo>
                      <a:pt x="7979086" y="2824847"/>
                    </a:lnTo>
                    <a:lnTo>
                      <a:pt x="7980151" y="2822397"/>
                    </a:lnTo>
                    <a:lnTo>
                      <a:pt x="7987765" y="2819135"/>
                    </a:lnTo>
                    <a:lnTo>
                      <a:pt x="7988587" y="2818152"/>
                    </a:lnTo>
                    <a:lnTo>
                      <a:pt x="7988113" y="2816231"/>
                    </a:lnTo>
                    <a:lnTo>
                      <a:pt x="7987416" y="2814373"/>
                    </a:lnTo>
                    <a:lnTo>
                      <a:pt x="7987503" y="2813469"/>
                    </a:lnTo>
                    <a:lnTo>
                      <a:pt x="7988332" y="2812952"/>
                    </a:lnTo>
                    <a:lnTo>
                      <a:pt x="7989717" y="2810885"/>
                    </a:lnTo>
                    <a:lnTo>
                      <a:pt x="7990599" y="2810209"/>
                    </a:lnTo>
                    <a:lnTo>
                      <a:pt x="7991957" y="2809982"/>
                    </a:lnTo>
                    <a:lnTo>
                      <a:pt x="7992802" y="2810256"/>
                    </a:lnTo>
                    <a:lnTo>
                      <a:pt x="7993608" y="2810713"/>
                    </a:lnTo>
                    <a:lnTo>
                      <a:pt x="7994832" y="2810963"/>
                    </a:lnTo>
                    <a:lnTo>
                      <a:pt x="7997485" y="2810815"/>
                    </a:lnTo>
                    <a:lnTo>
                      <a:pt x="8000351" y="2810154"/>
                    </a:lnTo>
                    <a:lnTo>
                      <a:pt x="8003013" y="2808880"/>
                    </a:lnTo>
                    <a:lnTo>
                      <a:pt x="8005050" y="2806777"/>
                    </a:lnTo>
                    <a:lnTo>
                      <a:pt x="8008721" y="2809730"/>
                    </a:lnTo>
                    <a:lnTo>
                      <a:pt x="8011139" y="2812684"/>
                    </a:lnTo>
                    <a:lnTo>
                      <a:pt x="8013941" y="2814788"/>
                    </a:lnTo>
                    <a:lnTo>
                      <a:pt x="8022756" y="2815606"/>
                    </a:lnTo>
                    <a:lnTo>
                      <a:pt x="8027130" y="2817310"/>
                    </a:lnTo>
                    <a:lnTo>
                      <a:pt x="8029255" y="2819409"/>
                    </a:lnTo>
                    <a:lnTo>
                      <a:pt x="8026562" y="2821115"/>
                    </a:lnTo>
                    <a:lnTo>
                      <a:pt x="8024468" y="2820979"/>
                    </a:lnTo>
                    <a:lnTo>
                      <a:pt x="8021116" y="2819270"/>
                    </a:lnTo>
                    <a:lnTo>
                      <a:pt x="8018978" y="2819378"/>
                    </a:lnTo>
                    <a:lnTo>
                      <a:pt x="8017774" y="2820421"/>
                    </a:lnTo>
                    <a:lnTo>
                      <a:pt x="8017215" y="2821941"/>
                    </a:lnTo>
                    <a:lnTo>
                      <a:pt x="8016417" y="2823407"/>
                    </a:lnTo>
                    <a:lnTo>
                      <a:pt x="8014469" y="2824248"/>
                    </a:lnTo>
                    <a:lnTo>
                      <a:pt x="8006626" y="2825343"/>
                    </a:lnTo>
                    <a:lnTo>
                      <a:pt x="8003207" y="2826995"/>
                    </a:lnTo>
                    <a:lnTo>
                      <a:pt x="8002381" y="2830106"/>
                    </a:lnTo>
                    <a:lnTo>
                      <a:pt x="8004423" y="2833265"/>
                    </a:lnTo>
                    <a:lnTo>
                      <a:pt x="8007036" y="2832032"/>
                    </a:lnTo>
                    <a:lnTo>
                      <a:pt x="8011756" y="2827461"/>
                    </a:lnTo>
                    <a:lnTo>
                      <a:pt x="8013379" y="2827719"/>
                    </a:lnTo>
                    <a:lnTo>
                      <a:pt x="8015537" y="2828657"/>
                    </a:lnTo>
                    <a:lnTo>
                      <a:pt x="8017562" y="2830022"/>
                    </a:lnTo>
                    <a:lnTo>
                      <a:pt x="8020024" y="2833209"/>
                    </a:lnTo>
                    <a:lnTo>
                      <a:pt x="8021100" y="2832635"/>
                    </a:lnTo>
                    <a:lnTo>
                      <a:pt x="8022266" y="2830389"/>
                    </a:lnTo>
                    <a:lnTo>
                      <a:pt x="8022822" y="2829779"/>
                    </a:lnTo>
                    <a:lnTo>
                      <a:pt x="8023445" y="2828063"/>
                    </a:lnTo>
                    <a:lnTo>
                      <a:pt x="8024085" y="2827290"/>
                    </a:lnTo>
                    <a:lnTo>
                      <a:pt x="8024286" y="2827460"/>
                    </a:lnTo>
                    <a:lnTo>
                      <a:pt x="8033886" y="2824580"/>
                    </a:lnTo>
                    <a:lnTo>
                      <a:pt x="8035257" y="2825364"/>
                    </a:lnTo>
                    <a:lnTo>
                      <a:pt x="8041937" y="2831325"/>
                    </a:lnTo>
                    <a:lnTo>
                      <a:pt x="8044144" y="2832571"/>
                    </a:lnTo>
                    <a:lnTo>
                      <a:pt x="8045990" y="2832517"/>
                    </a:lnTo>
                    <a:lnTo>
                      <a:pt x="8047802" y="2832168"/>
                    </a:lnTo>
                    <a:lnTo>
                      <a:pt x="8049883" y="2832502"/>
                    </a:lnTo>
                    <a:lnTo>
                      <a:pt x="8050727" y="2832391"/>
                    </a:lnTo>
                    <a:lnTo>
                      <a:pt x="8050948" y="2834441"/>
                    </a:lnTo>
                    <a:lnTo>
                      <a:pt x="8050967" y="2835224"/>
                    </a:lnTo>
                    <a:lnTo>
                      <a:pt x="8052909" y="2836205"/>
                    </a:lnTo>
                    <a:lnTo>
                      <a:pt x="8054271" y="2837945"/>
                    </a:lnTo>
                    <a:lnTo>
                      <a:pt x="8055474" y="2840345"/>
                    </a:lnTo>
                    <a:lnTo>
                      <a:pt x="8057146" y="2840536"/>
                    </a:lnTo>
                    <a:lnTo>
                      <a:pt x="8058733" y="2841385"/>
                    </a:lnTo>
                    <a:lnTo>
                      <a:pt x="8059690" y="2842684"/>
                    </a:lnTo>
                    <a:lnTo>
                      <a:pt x="8059484" y="2844246"/>
                    </a:lnTo>
                    <a:lnTo>
                      <a:pt x="8064083" y="2846969"/>
                    </a:lnTo>
                    <a:lnTo>
                      <a:pt x="8066607" y="2848992"/>
                    </a:lnTo>
                    <a:lnTo>
                      <a:pt x="8066752" y="2851012"/>
                    </a:lnTo>
                    <a:lnTo>
                      <a:pt x="8064213" y="2853648"/>
                    </a:lnTo>
                    <a:lnTo>
                      <a:pt x="8060947" y="2855644"/>
                    </a:lnTo>
                    <a:lnTo>
                      <a:pt x="8056897" y="2856916"/>
                    </a:lnTo>
                    <a:lnTo>
                      <a:pt x="8052268" y="2857085"/>
                    </a:lnTo>
                    <a:lnTo>
                      <a:pt x="8047315" y="2855855"/>
                    </a:lnTo>
                    <a:lnTo>
                      <a:pt x="8049117" y="2857956"/>
                    </a:lnTo>
                    <a:lnTo>
                      <a:pt x="8049252" y="2860214"/>
                    </a:lnTo>
                    <a:lnTo>
                      <a:pt x="8049111" y="2862714"/>
                    </a:lnTo>
                    <a:lnTo>
                      <a:pt x="8050056" y="2865507"/>
                    </a:lnTo>
                    <a:lnTo>
                      <a:pt x="8052343" y="2867537"/>
                    </a:lnTo>
                    <a:lnTo>
                      <a:pt x="8054478" y="2867874"/>
                    </a:lnTo>
                    <a:lnTo>
                      <a:pt x="8055340" y="2866892"/>
                    </a:lnTo>
                    <a:lnTo>
                      <a:pt x="8053820" y="2865017"/>
                    </a:lnTo>
                    <a:lnTo>
                      <a:pt x="8054927" y="2860498"/>
                    </a:lnTo>
                    <a:lnTo>
                      <a:pt x="8059473" y="2860783"/>
                    </a:lnTo>
                    <a:lnTo>
                      <a:pt x="8069396" y="2864417"/>
                    </a:lnTo>
                    <a:lnTo>
                      <a:pt x="8072911" y="2862148"/>
                    </a:lnTo>
                    <a:lnTo>
                      <a:pt x="8073526" y="2851829"/>
                    </a:lnTo>
                    <a:lnTo>
                      <a:pt x="8075777" y="2849127"/>
                    </a:lnTo>
                    <a:lnTo>
                      <a:pt x="8079100" y="2848374"/>
                    </a:lnTo>
                    <a:lnTo>
                      <a:pt x="8080542" y="2848977"/>
                    </a:lnTo>
                    <a:lnTo>
                      <a:pt x="8082977" y="2851183"/>
                    </a:lnTo>
                    <a:lnTo>
                      <a:pt x="8084664" y="2853196"/>
                    </a:lnTo>
                    <a:lnTo>
                      <a:pt x="8086315" y="2855718"/>
                    </a:lnTo>
                    <a:lnTo>
                      <a:pt x="8087813" y="2858450"/>
                    </a:lnTo>
                    <a:lnTo>
                      <a:pt x="8089010" y="2861126"/>
                    </a:lnTo>
                    <a:lnTo>
                      <a:pt x="8090317" y="2866818"/>
                    </a:lnTo>
                    <a:lnTo>
                      <a:pt x="8089625" y="2870828"/>
                    </a:lnTo>
                    <a:lnTo>
                      <a:pt x="8088449" y="2874491"/>
                    </a:lnTo>
                    <a:lnTo>
                      <a:pt x="8088279" y="2879131"/>
                    </a:lnTo>
                    <a:lnTo>
                      <a:pt x="8092976" y="2878515"/>
                    </a:lnTo>
                    <a:lnTo>
                      <a:pt x="8092569" y="2881728"/>
                    </a:lnTo>
                    <a:lnTo>
                      <a:pt x="8091196" y="2884657"/>
                    </a:lnTo>
                    <a:lnTo>
                      <a:pt x="8089161" y="2886871"/>
                    </a:lnTo>
                    <a:lnTo>
                      <a:pt x="8086777" y="2887917"/>
                    </a:lnTo>
                    <a:lnTo>
                      <a:pt x="8085382" y="2887229"/>
                    </a:lnTo>
                    <a:lnTo>
                      <a:pt x="8081835" y="2883852"/>
                    </a:lnTo>
                    <a:lnTo>
                      <a:pt x="8079905" y="2883216"/>
                    </a:lnTo>
                    <a:lnTo>
                      <a:pt x="8079193" y="2884153"/>
                    </a:lnTo>
                    <a:lnTo>
                      <a:pt x="8080333" y="2885840"/>
                    </a:lnTo>
                    <a:lnTo>
                      <a:pt x="8082286" y="2887488"/>
                    </a:lnTo>
                    <a:lnTo>
                      <a:pt x="8083993" y="2888281"/>
                    </a:lnTo>
                    <a:lnTo>
                      <a:pt x="8083200" y="2889571"/>
                    </a:lnTo>
                    <a:lnTo>
                      <a:pt x="8081988" y="2890267"/>
                    </a:lnTo>
                    <a:lnTo>
                      <a:pt x="8080501" y="2890538"/>
                    </a:lnTo>
                    <a:lnTo>
                      <a:pt x="8078847" y="2890523"/>
                    </a:lnTo>
                    <a:lnTo>
                      <a:pt x="8079388" y="2891886"/>
                    </a:lnTo>
                    <a:lnTo>
                      <a:pt x="8084064" y="2892992"/>
                    </a:lnTo>
                    <a:lnTo>
                      <a:pt x="8086576" y="2894201"/>
                    </a:lnTo>
                    <a:lnTo>
                      <a:pt x="8087464" y="2895903"/>
                    </a:lnTo>
                    <a:lnTo>
                      <a:pt x="8086366" y="2897191"/>
                    </a:lnTo>
                    <a:lnTo>
                      <a:pt x="8082244" y="2898120"/>
                    </a:lnTo>
                    <a:lnTo>
                      <a:pt x="8078740" y="2902086"/>
                    </a:lnTo>
                    <a:lnTo>
                      <a:pt x="8071985" y="2905780"/>
                    </a:lnTo>
                    <a:lnTo>
                      <a:pt x="8071066" y="2908716"/>
                    </a:lnTo>
                    <a:lnTo>
                      <a:pt x="8077197" y="2907920"/>
                    </a:lnTo>
                    <a:lnTo>
                      <a:pt x="8078971" y="2908099"/>
                    </a:lnTo>
                    <a:lnTo>
                      <a:pt x="8080492" y="2908832"/>
                    </a:lnTo>
                    <a:lnTo>
                      <a:pt x="8081724" y="2909645"/>
                    </a:lnTo>
                    <a:lnTo>
                      <a:pt x="8084807" y="2910926"/>
                    </a:lnTo>
                    <a:lnTo>
                      <a:pt x="8085755" y="2910641"/>
                    </a:lnTo>
                    <a:lnTo>
                      <a:pt x="8087146" y="2907352"/>
                    </a:lnTo>
                    <a:lnTo>
                      <a:pt x="8087896" y="2906733"/>
                    </a:lnTo>
                    <a:lnTo>
                      <a:pt x="8088883" y="2907227"/>
                    </a:lnTo>
                    <a:lnTo>
                      <a:pt x="8090247" y="2909090"/>
                    </a:lnTo>
                    <a:lnTo>
                      <a:pt x="8091297" y="2903583"/>
                    </a:lnTo>
                    <a:lnTo>
                      <a:pt x="8094364" y="2898639"/>
                    </a:lnTo>
                    <a:lnTo>
                      <a:pt x="8098761" y="2895604"/>
                    </a:lnTo>
                    <a:lnTo>
                      <a:pt x="8103761" y="2895845"/>
                    </a:lnTo>
                    <a:lnTo>
                      <a:pt x="8102653" y="2897161"/>
                    </a:lnTo>
                    <a:lnTo>
                      <a:pt x="8102312" y="2898862"/>
                    </a:lnTo>
                    <a:lnTo>
                      <a:pt x="8102927" y="2900866"/>
                    </a:lnTo>
                    <a:lnTo>
                      <a:pt x="8104632" y="2903034"/>
                    </a:lnTo>
                    <a:lnTo>
                      <a:pt x="8102687" y="2905613"/>
                    </a:lnTo>
                    <a:lnTo>
                      <a:pt x="8102102" y="2907090"/>
                    </a:lnTo>
                    <a:lnTo>
                      <a:pt x="8102165" y="2909097"/>
                    </a:lnTo>
                    <a:lnTo>
                      <a:pt x="8106671" y="2908166"/>
                    </a:lnTo>
                    <a:lnTo>
                      <a:pt x="8107822" y="2908357"/>
                    </a:lnTo>
                    <a:lnTo>
                      <a:pt x="8109680" y="2910292"/>
                    </a:lnTo>
                    <a:lnTo>
                      <a:pt x="8109675" y="2911515"/>
                    </a:lnTo>
                    <a:lnTo>
                      <a:pt x="8109034" y="2912573"/>
                    </a:lnTo>
                    <a:lnTo>
                      <a:pt x="8108959" y="2913932"/>
                    </a:lnTo>
                    <a:lnTo>
                      <a:pt x="8111636" y="2920443"/>
                    </a:lnTo>
                    <a:lnTo>
                      <a:pt x="8110608" y="2921048"/>
                    </a:lnTo>
                    <a:lnTo>
                      <a:pt x="8106973" y="2921232"/>
                    </a:lnTo>
                    <a:lnTo>
                      <a:pt x="8103881" y="2921995"/>
                    </a:lnTo>
                    <a:lnTo>
                      <a:pt x="8102568" y="2923636"/>
                    </a:lnTo>
                    <a:lnTo>
                      <a:pt x="8103693" y="2925881"/>
                    </a:lnTo>
                    <a:lnTo>
                      <a:pt x="8107828" y="2928426"/>
                    </a:lnTo>
                    <a:lnTo>
                      <a:pt x="8114052" y="2930015"/>
                    </a:lnTo>
                    <a:lnTo>
                      <a:pt x="8116990" y="2931221"/>
                    </a:lnTo>
                    <a:lnTo>
                      <a:pt x="8119988" y="2934017"/>
                    </a:lnTo>
                    <a:lnTo>
                      <a:pt x="8119705" y="2934951"/>
                    </a:lnTo>
                    <a:lnTo>
                      <a:pt x="8119199" y="2935453"/>
                    </a:lnTo>
                    <a:lnTo>
                      <a:pt x="8118496" y="2935674"/>
                    </a:lnTo>
                    <a:lnTo>
                      <a:pt x="8117604" y="2935757"/>
                    </a:lnTo>
                    <a:lnTo>
                      <a:pt x="8120514" y="2936095"/>
                    </a:lnTo>
                    <a:lnTo>
                      <a:pt x="8121488" y="2938258"/>
                    </a:lnTo>
                    <a:lnTo>
                      <a:pt x="8122315" y="2941124"/>
                    </a:lnTo>
                    <a:lnTo>
                      <a:pt x="8124757" y="2943549"/>
                    </a:lnTo>
                    <a:lnTo>
                      <a:pt x="8123128" y="2944711"/>
                    </a:lnTo>
                    <a:lnTo>
                      <a:pt x="8121146" y="2945329"/>
                    </a:lnTo>
                    <a:lnTo>
                      <a:pt x="8116725" y="2945905"/>
                    </a:lnTo>
                    <a:lnTo>
                      <a:pt x="8119161" y="2947024"/>
                    </a:lnTo>
                    <a:lnTo>
                      <a:pt x="8119253" y="2949423"/>
                    </a:lnTo>
                    <a:lnTo>
                      <a:pt x="8120163" y="2951339"/>
                    </a:lnTo>
                    <a:lnTo>
                      <a:pt x="8121394" y="2953179"/>
                    </a:lnTo>
                    <a:lnTo>
                      <a:pt x="8122443" y="2955341"/>
                    </a:lnTo>
                    <a:lnTo>
                      <a:pt x="8122912" y="2957922"/>
                    </a:lnTo>
                    <a:lnTo>
                      <a:pt x="8122948" y="2959970"/>
                    </a:lnTo>
                    <a:lnTo>
                      <a:pt x="8123290" y="2961807"/>
                    </a:lnTo>
                    <a:lnTo>
                      <a:pt x="8124677" y="2963772"/>
                    </a:lnTo>
                    <a:lnTo>
                      <a:pt x="8115432" y="2963870"/>
                    </a:lnTo>
                    <a:lnTo>
                      <a:pt x="8112943" y="2963013"/>
                    </a:lnTo>
                    <a:lnTo>
                      <a:pt x="8110387" y="2961653"/>
                    </a:lnTo>
                    <a:lnTo>
                      <a:pt x="8107992" y="2961125"/>
                    </a:lnTo>
                    <a:lnTo>
                      <a:pt x="8107299" y="2961847"/>
                    </a:lnTo>
                    <a:lnTo>
                      <a:pt x="8109850" y="2964132"/>
                    </a:lnTo>
                    <a:lnTo>
                      <a:pt x="8103997" y="2965437"/>
                    </a:lnTo>
                    <a:lnTo>
                      <a:pt x="8094848" y="2961030"/>
                    </a:lnTo>
                    <a:lnTo>
                      <a:pt x="8086980" y="2958252"/>
                    </a:lnTo>
                    <a:lnTo>
                      <a:pt x="8084959" y="2964490"/>
                    </a:lnTo>
                    <a:lnTo>
                      <a:pt x="8081934" y="2962223"/>
                    </a:lnTo>
                    <a:lnTo>
                      <a:pt x="8079888" y="2958925"/>
                    </a:lnTo>
                    <a:lnTo>
                      <a:pt x="8078950" y="2955332"/>
                    </a:lnTo>
                    <a:lnTo>
                      <a:pt x="8079244" y="2952194"/>
                    </a:lnTo>
                    <a:lnTo>
                      <a:pt x="8081197" y="2950320"/>
                    </a:lnTo>
                    <a:lnTo>
                      <a:pt x="8086357" y="2948186"/>
                    </a:lnTo>
                    <a:lnTo>
                      <a:pt x="8086560" y="2945640"/>
                    </a:lnTo>
                    <a:lnTo>
                      <a:pt x="8085679" y="2944363"/>
                    </a:lnTo>
                    <a:lnTo>
                      <a:pt x="8084352" y="2943612"/>
                    </a:lnTo>
                    <a:lnTo>
                      <a:pt x="8082788" y="2943283"/>
                    </a:lnTo>
                    <a:lnTo>
                      <a:pt x="8081223" y="2943349"/>
                    </a:lnTo>
                    <a:lnTo>
                      <a:pt x="8079711" y="2944108"/>
                    </a:lnTo>
                    <a:lnTo>
                      <a:pt x="8079208" y="2945461"/>
                    </a:lnTo>
                    <a:lnTo>
                      <a:pt x="8079030" y="2946919"/>
                    </a:lnTo>
                    <a:lnTo>
                      <a:pt x="8078514" y="2947985"/>
                    </a:lnTo>
                    <a:lnTo>
                      <a:pt x="8075693" y="2948997"/>
                    </a:lnTo>
                    <a:lnTo>
                      <a:pt x="8069886" y="2947840"/>
                    </a:lnTo>
                    <a:lnTo>
                      <a:pt x="8066645" y="2948204"/>
                    </a:lnTo>
                    <a:lnTo>
                      <a:pt x="8068988" y="2945547"/>
                    </a:lnTo>
                    <a:lnTo>
                      <a:pt x="8075158" y="2941373"/>
                    </a:lnTo>
                    <a:lnTo>
                      <a:pt x="8076635" y="2938340"/>
                    </a:lnTo>
                    <a:lnTo>
                      <a:pt x="8074379" y="2936710"/>
                    </a:lnTo>
                    <a:lnTo>
                      <a:pt x="8069116" y="2936082"/>
                    </a:lnTo>
                    <a:lnTo>
                      <a:pt x="8066505" y="2935087"/>
                    </a:lnTo>
                    <a:lnTo>
                      <a:pt x="8067719" y="2934009"/>
                    </a:lnTo>
                    <a:lnTo>
                      <a:pt x="8069181" y="2933462"/>
                    </a:lnTo>
                    <a:lnTo>
                      <a:pt x="8072649" y="2932989"/>
                    </a:lnTo>
                    <a:lnTo>
                      <a:pt x="8072114" y="2931625"/>
                    </a:lnTo>
                    <a:lnTo>
                      <a:pt x="8066537" y="2931575"/>
                    </a:lnTo>
                    <a:lnTo>
                      <a:pt x="8063414" y="2930953"/>
                    </a:lnTo>
                    <a:lnTo>
                      <a:pt x="8060801" y="2929498"/>
                    </a:lnTo>
                    <a:lnTo>
                      <a:pt x="8059828" y="2927908"/>
                    </a:lnTo>
                    <a:lnTo>
                      <a:pt x="8059562" y="2926330"/>
                    </a:lnTo>
                    <a:lnTo>
                      <a:pt x="8059084" y="2925188"/>
                    </a:lnTo>
                    <a:lnTo>
                      <a:pt x="8057515" y="2924912"/>
                    </a:lnTo>
                    <a:lnTo>
                      <a:pt x="8056092" y="2924907"/>
                    </a:lnTo>
                    <a:lnTo>
                      <a:pt x="8054653" y="2924513"/>
                    </a:lnTo>
                    <a:lnTo>
                      <a:pt x="8053196" y="2923769"/>
                    </a:lnTo>
                    <a:lnTo>
                      <a:pt x="8051707" y="2922674"/>
                    </a:lnTo>
                    <a:lnTo>
                      <a:pt x="8053467" y="2921278"/>
                    </a:lnTo>
                    <a:lnTo>
                      <a:pt x="8054523" y="2920844"/>
                    </a:lnTo>
                    <a:lnTo>
                      <a:pt x="8055954" y="2920813"/>
                    </a:lnTo>
                    <a:lnTo>
                      <a:pt x="8054009" y="2918930"/>
                    </a:lnTo>
                    <a:lnTo>
                      <a:pt x="8050291" y="2916595"/>
                    </a:lnTo>
                    <a:lnTo>
                      <a:pt x="8048512" y="2914494"/>
                    </a:lnTo>
                    <a:lnTo>
                      <a:pt x="8047421" y="2911974"/>
                    </a:lnTo>
                    <a:lnTo>
                      <a:pt x="8046929" y="2909368"/>
                    </a:lnTo>
                    <a:lnTo>
                      <a:pt x="8046668" y="2904703"/>
                    </a:lnTo>
                    <a:lnTo>
                      <a:pt x="8044190" y="2906719"/>
                    </a:lnTo>
                    <a:lnTo>
                      <a:pt x="8044582" y="2911188"/>
                    </a:lnTo>
                    <a:lnTo>
                      <a:pt x="8045915" y="2915673"/>
                    </a:lnTo>
                    <a:lnTo>
                      <a:pt x="8046280" y="2917775"/>
                    </a:lnTo>
                    <a:lnTo>
                      <a:pt x="8047056" y="2918776"/>
                    </a:lnTo>
                    <a:lnTo>
                      <a:pt x="8047697" y="2921226"/>
                    </a:lnTo>
                    <a:lnTo>
                      <a:pt x="8048071" y="2924062"/>
                    </a:lnTo>
                    <a:lnTo>
                      <a:pt x="8048008" y="2926133"/>
                    </a:lnTo>
                    <a:lnTo>
                      <a:pt x="8047250" y="2927015"/>
                    </a:lnTo>
                    <a:lnTo>
                      <a:pt x="8042864" y="2929522"/>
                    </a:lnTo>
                    <a:lnTo>
                      <a:pt x="8041111" y="2929729"/>
                    </a:lnTo>
                    <a:lnTo>
                      <a:pt x="8039650" y="2929601"/>
                    </a:lnTo>
                    <a:lnTo>
                      <a:pt x="8038414" y="2928735"/>
                    </a:lnTo>
                    <a:lnTo>
                      <a:pt x="8037301" y="2926729"/>
                    </a:lnTo>
                    <a:lnTo>
                      <a:pt x="8037441" y="2924818"/>
                    </a:lnTo>
                    <a:lnTo>
                      <a:pt x="8039175" y="2924025"/>
                    </a:lnTo>
                    <a:lnTo>
                      <a:pt x="8041269" y="2923518"/>
                    </a:lnTo>
                    <a:lnTo>
                      <a:pt x="8042539" y="2922537"/>
                    </a:lnTo>
                    <a:lnTo>
                      <a:pt x="8042523" y="2917883"/>
                    </a:lnTo>
                    <a:lnTo>
                      <a:pt x="8040044" y="2914533"/>
                    </a:lnTo>
                    <a:lnTo>
                      <a:pt x="8036452" y="2912249"/>
                    </a:lnTo>
                    <a:lnTo>
                      <a:pt x="8033069" y="2910748"/>
                    </a:lnTo>
                    <a:lnTo>
                      <a:pt x="8035243" y="2918347"/>
                    </a:lnTo>
                    <a:lnTo>
                      <a:pt x="8033640" y="2922977"/>
                    </a:lnTo>
                    <a:lnTo>
                      <a:pt x="8029602" y="2924311"/>
                    </a:lnTo>
                    <a:lnTo>
                      <a:pt x="8024455" y="2922002"/>
                    </a:lnTo>
                    <a:lnTo>
                      <a:pt x="8021445" y="2919488"/>
                    </a:lnTo>
                    <a:lnTo>
                      <a:pt x="8020190" y="2918020"/>
                    </a:lnTo>
                    <a:lnTo>
                      <a:pt x="8019206" y="2916160"/>
                    </a:lnTo>
                    <a:lnTo>
                      <a:pt x="8019470" y="2915376"/>
                    </a:lnTo>
                    <a:lnTo>
                      <a:pt x="8023260" y="2917398"/>
                    </a:lnTo>
                    <a:lnTo>
                      <a:pt x="8024709" y="2917545"/>
                    </a:lnTo>
                    <a:lnTo>
                      <a:pt x="8025286" y="2915195"/>
                    </a:lnTo>
                    <a:lnTo>
                      <a:pt x="8024686" y="2912281"/>
                    </a:lnTo>
                    <a:lnTo>
                      <a:pt x="8024501" y="2909799"/>
                    </a:lnTo>
                    <a:lnTo>
                      <a:pt x="8026343" y="2908745"/>
                    </a:lnTo>
                    <a:lnTo>
                      <a:pt x="8023884" y="2908292"/>
                    </a:lnTo>
                    <a:lnTo>
                      <a:pt x="8020985" y="2908407"/>
                    </a:lnTo>
                    <a:lnTo>
                      <a:pt x="8018816" y="2907508"/>
                    </a:lnTo>
                    <a:lnTo>
                      <a:pt x="8018560" y="2904022"/>
                    </a:lnTo>
                    <a:lnTo>
                      <a:pt x="8020449" y="2901983"/>
                    </a:lnTo>
                    <a:lnTo>
                      <a:pt x="8023886" y="2902028"/>
                    </a:lnTo>
                    <a:lnTo>
                      <a:pt x="8027714" y="2902680"/>
                    </a:lnTo>
                    <a:lnTo>
                      <a:pt x="8030748" y="2902461"/>
                    </a:lnTo>
                    <a:lnTo>
                      <a:pt x="8032818" y="2900755"/>
                    </a:lnTo>
                    <a:lnTo>
                      <a:pt x="8023118" y="2900465"/>
                    </a:lnTo>
                    <a:lnTo>
                      <a:pt x="8020518" y="2898250"/>
                    </a:lnTo>
                    <a:lnTo>
                      <a:pt x="8019998" y="2895505"/>
                    </a:lnTo>
                    <a:lnTo>
                      <a:pt x="8021606" y="2889206"/>
                    </a:lnTo>
                    <a:lnTo>
                      <a:pt x="8018889" y="2888985"/>
                    </a:lnTo>
                    <a:lnTo>
                      <a:pt x="8016259" y="2888052"/>
                    </a:lnTo>
                    <a:lnTo>
                      <a:pt x="8014004" y="2887804"/>
                    </a:lnTo>
                    <a:lnTo>
                      <a:pt x="8012429" y="2889666"/>
                    </a:lnTo>
                    <a:lnTo>
                      <a:pt x="8012291" y="2899448"/>
                    </a:lnTo>
                    <a:lnTo>
                      <a:pt x="8011310" y="2900671"/>
                    </a:lnTo>
                    <a:lnTo>
                      <a:pt x="8007758" y="2896652"/>
                    </a:lnTo>
                    <a:lnTo>
                      <a:pt x="8007651" y="2889640"/>
                    </a:lnTo>
                    <a:lnTo>
                      <a:pt x="8009225" y="2882717"/>
                    </a:lnTo>
                    <a:lnTo>
                      <a:pt x="8010797" y="2879041"/>
                    </a:lnTo>
                    <a:lnTo>
                      <a:pt x="8007832" y="2877939"/>
                    </a:lnTo>
                    <a:lnTo>
                      <a:pt x="8005115" y="2875929"/>
                    </a:lnTo>
                    <a:lnTo>
                      <a:pt x="8000286" y="2871216"/>
                    </a:lnTo>
                    <a:lnTo>
                      <a:pt x="7995577" y="2867809"/>
                    </a:lnTo>
                    <a:lnTo>
                      <a:pt x="7993863" y="2866011"/>
                    </a:lnTo>
                    <a:lnTo>
                      <a:pt x="7992567" y="2862926"/>
                    </a:lnTo>
                    <a:lnTo>
                      <a:pt x="7991385" y="2866055"/>
                    </a:lnTo>
                    <a:lnTo>
                      <a:pt x="7993384" y="2870584"/>
                    </a:lnTo>
                    <a:lnTo>
                      <a:pt x="7996880" y="2874582"/>
                    </a:lnTo>
                    <a:lnTo>
                      <a:pt x="8000179" y="2876109"/>
                    </a:lnTo>
                    <a:lnTo>
                      <a:pt x="8001735" y="2877263"/>
                    </a:lnTo>
                    <a:lnTo>
                      <a:pt x="8002956" y="2880097"/>
                    </a:lnTo>
                    <a:lnTo>
                      <a:pt x="8003353" y="2883035"/>
                    </a:lnTo>
                    <a:lnTo>
                      <a:pt x="8002413" y="2884517"/>
                    </a:lnTo>
                    <a:lnTo>
                      <a:pt x="7993414" y="2885666"/>
                    </a:lnTo>
                    <a:lnTo>
                      <a:pt x="7991748" y="2885384"/>
                    </a:lnTo>
                    <a:lnTo>
                      <a:pt x="7986221" y="2882181"/>
                    </a:lnTo>
                    <a:lnTo>
                      <a:pt x="7979744" y="2879838"/>
                    </a:lnTo>
                    <a:lnTo>
                      <a:pt x="7977959" y="2878942"/>
                    </a:lnTo>
                    <a:lnTo>
                      <a:pt x="7974715" y="2875856"/>
                    </a:lnTo>
                    <a:lnTo>
                      <a:pt x="7971661" y="2871420"/>
                    </a:lnTo>
                    <a:lnTo>
                      <a:pt x="7969682" y="2866720"/>
                    </a:lnTo>
                    <a:lnTo>
                      <a:pt x="7969653" y="2862854"/>
                    </a:lnTo>
                    <a:lnTo>
                      <a:pt x="7965462" y="2862332"/>
                    </a:lnTo>
                    <a:lnTo>
                      <a:pt x="7963618" y="2862685"/>
                    </a:lnTo>
                    <a:lnTo>
                      <a:pt x="7963444" y="2864424"/>
                    </a:lnTo>
                    <a:lnTo>
                      <a:pt x="7963948" y="2866274"/>
                    </a:lnTo>
                    <a:lnTo>
                      <a:pt x="7964186" y="2868183"/>
                    </a:lnTo>
                    <a:lnTo>
                      <a:pt x="7964182" y="2869817"/>
                    </a:lnTo>
                    <a:lnTo>
                      <a:pt x="7963956" y="2870859"/>
                    </a:lnTo>
                    <a:lnTo>
                      <a:pt x="7961711" y="2873184"/>
                    </a:lnTo>
                    <a:lnTo>
                      <a:pt x="7955868" y="2875666"/>
                    </a:lnTo>
                    <a:lnTo>
                      <a:pt x="7953724" y="2877850"/>
                    </a:lnTo>
                    <a:lnTo>
                      <a:pt x="7942086" y="2878109"/>
                    </a:lnTo>
                    <a:lnTo>
                      <a:pt x="7940568" y="2875886"/>
                    </a:lnTo>
                    <a:lnTo>
                      <a:pt x="7941530" y="2874821"/>
                    </a:lnTo>
                    <a:lnTo>
                      <a:pt x="7946916" y="2873012"/>
                    </a:lnTo>
                    <a:lnTo>
                      <a:pt x="7954302" y="2865992"/>
                    </a:lnTo>
                    <a:lnTo>
                      <a:pt x="7955002" y="2864577"/>
                    </a:lnTo>
                    <a:lnTo>
                      <a:pt x="7954788" y="2862682"/>
                    </a:lnTo>
                    <a:lnTo>
                      <a:pt x="7953269" y="2861837"/>
                    </a:lnTo>
                    <a:lnTo>
                      <a:pt x="7950861" y="2862533"/>
                    </a:lnTo>
                    <a:lnTo>
                      <a:pt x="7947072" y="2864431"/>
                    </a:lnTo>
                    <a:lnTo>
                      <a:pt x="7929569" y="2866636"/>
                    </a:lnTo>
                    <a:lnTo>
                      <a:pt x="7930245" y="2867341"/>
                    </a:lnTo>
                    <a:lnTo>
                      <a:pt x="7931638" y="2869223"/>
                    </a:lnTo>
                    <a:lnTo>
                      <a:pt x="7929226" y="2867877"/>
                    </a:lnTo>
                    <a:lnTo>
                      <a:pt x="7926927" y="2866296"/>
                    </a:lnTo>
                    <a:lnTo>
                      <a:pt x="7924679" y="2865032"/>
                    </a:lnTo>
                    <a:lnTo>
                      <a:pt x="7922399" y="2864673"/>
                    </a:lnTo>
                    <a:lnTo>
                      <a:pt x="7920311" y="2865359"/>
                    </a:lnTo>
                    <a:lnTo>
                      <a:pt x="7917296" y="2867622"/>
                    </a:lnTo>
                    <a:lnTo>
                      <a:pt x="7915454" y="2868404"/>
                    </a:lnTo>
                    <a:lnTo>
                      <a:pt x="7911929" y="2868293"/>
                    </a:lnTo>
                    <a:lnTo>
                      <a:pt x="7910669" y="2866531"/>
                    </a:lnTo>
                    <a:lnTo>
                      <a:pt x="7909988" y="2863949"/>
                    </a:lnTo>
                    <a:lnTo>
                      <a:pt x="7908238" y="2861400"/>
                    </a:lnTo>
                    <a:lnTo>
                      <a:pt x="7905980" y="2860103"/>
                    </a:lnTo>
                    <a:lnTo>
                      <a:pt x="7903781" y="2859265"/>
                    </a:lnTo>
                    <a:lnTo>
                      <a:pt x="7901687" y="2858150"/>
                    </a:lnTo>
                    <a:lnTo>
                      <a:pt x="7899769" y="2855988"/>
                    </a:lnTo>
                    <a:lnTo>
                      <a:pt x="7901904" y="2855365"/>
                    </a:lnTo>
                    <a:lnTo>
                      <a:pt x="7902414" y="2853730"/>
                    </a:lnTo>
                    <a:lnTo>
                      <a:pt x="7902280" y="2851710"/>
                    </a:lnTo>
                    <a:lnTo>
                      <a:pt x="7902475" y="2849945"/>
                    </a:lnTo>
                    <a:lnTo>
                      <a:pt x="7903538" y="2848241"/>
                    </a:lnTo>
                    <a:lnTo>
                      <a:pt x="7904789" y="2847219"/>
                    </a:lnTo>
                    <a:lnTo>
                      <a:pt x="7906388" y="2846671"/>
                    </a:lnTo>
                    <a:lnTo>
                      <a:pt x="7908483" y="2846348"/>
                    </a:lnTo>
                    <a:lnTo>
                      <a:pt x="7909182" y="2846490"/>
                    </a:lnTo>
                    <a:lnTo>
                      <a:pt x="7911259" y="2847469"/>
                    </a:lnTo>
                    <a:lnTo>
                      <a:pt x="7913167" y="2848708"/>
                    </a:lnTo>
                    <a:lnTo>
                      <a:pt x="7913404" y="2848287"/>
                    </a:lnTo>
                    <a:lnTo>
                      <a:pt x="7913375" y="2847476"/>
                    </a:lnTo>
                    <a:lnTo>
                      <a:pt x="7913700" y="2846976"/>
                    </a:lnTo>
                    <a:lnTo>
                      <a:pt x="7926090" y="2847855"/>
                    </a:lnTo>
                    <a:lnTo>
                      <a:pt x="7927436" y="2848239"/>
                    </a:lnTo>
                    <a:lnTo>
                      <a:pt x="7930970" y="2850299"/>
                    </a:lnTo>
                    <a:lnTo>
                      <a:pt x="7931300" y="2850606"/>
                    </a:lnTo>
                    <a:lnTo>
                      <a:pt x="7933399" y="2850749"/>
                    </a:lnTo>
                    <a:lnTo>
                      <a:pt x="7952719" y="2846476"/>
                    </a:lnTo>
                    <a:lnTo>
                      <a:pt x="7956837" y="2847373"/>
                    </a:lnTo>
                    <a:lnTo>
                      <a:pt x="7952699" y="2845467"/>
                    </a:lnTo>
                    <a:lnTo>
                      <a:pt x="7940144" y="2845206"/>
                    </a:lnTo>
                    <a:lnTo>
                      <a:pt x="7931863" y="2843049"/>
                    </a:lnTo>
                    <a:lnTo>
                      <a:pt x="7928030" y="2840933"/>
                    </a:lnTo>
                    <a:lnTo>
                      <a:pt x="7927599" y="2838236"/>
                    </a:lnTo>
                    <a:lnTo>
                      <a:pt x="7926027" y="2836625"/>
                    </a:lnTo>
                    <a:lnTo>
                      <a:pt x="7924358" y="2835885"/>
                    </a:lnTo>
                    <a:lnTo>
                      <a:pt x="7922628" y="2835806"/>
                    </a:lnTo>
                    <a:lnTo>
                      <a:pt x="7920925" y="2836224"/>
                    </a:lnTo>
                    <a:lnTo>
                      <a:pt x="7922755" y="2833981"/>
                    </a:lnTo>
                    <a:lnTo>
                      <a:pt x="7925351" y="2832149"/>
                    </a:lnTo>
                    <a:lnTo>
                      <a:pt x="7928370" y="2830952"/>
                    </a:lnTo>
                    <a:lnTo>
                      <a:pt x="7931460" y="2830620"/>
                    </a:lnTo>
                    <a:lnTo>
                      <a:pt x="7926477" y="2829254"/>
                    </a:lnTo>
                    <a:lnTo>
                      <a:pt x="7917749" y="2831682"/>
                    </a:lnTo>
                    <a:lnTo>
                      <a:pt x="7912548" y="2830037"/>
                    </a:lnTo>
                    <a:lnTo>
                      <a:pt x="7908319" y="2826095"/>
                    </a:lnTo>
                    <a:lnTo>
                      <a:pt x="7907028" y="2822378"/>
                    </a:lnTo>
                    <a:lnTo>
                      <a:pt x="7907506" y="2818685"/>
                    </a:lnTo>
                    <a:lnTo>
                      <a:pt x="7908655" y="2814847"/>
                    </a:lnTo>
                    <a:lnTo>
                      <a:pt x="7908794" y="2812843"/>
                    </a:lnTo>
                    <a:lnTo>
                      <a:pt x="7908266" y="2808071"/>
                    </a:lnTo>
                    <a:lnTo>
                      <a:pt x="7908317" y="2806342"/>
                    </a:lnTo>
                    <a:lnTo>
                      <a:pt x="7909158" y="2805268"/>
                    </a:lnTo>
                    <a:lnTo>
                      <a:pt x="7913368" y="2801441"/>
                    </a:lnTo>
                    <a:lnTo>
                      <a:pt x="7915444" y="2797782"/>
                    </a:lnTo>
                    <a:lnTo>
                      <a:pt x="7916790" y="2796193"/>
                    </a:lnTo>
                    <a:lnTo>
                      <a:pt x="7918690" y="2794933"/>
                    </a:lnTo>
                    <a:lnTo>
                      <a:pt x="7925064" y="2793917"/>
                    </a:lnTo>
                    <a:lnTo>
                      <a:pt x="7926616" y="2792624"/>
                    </a:lnTo>
                    <a:lnTo>
                      <a:pt x="7924273" y="2791989"/>
                    </a:lnTo>
                    <a:lnTo>
                      <a:pt x="7921987" y="2791787"/>
                    </a:lnTo>
                    <a:lnTo>
                      <a:pt x="7917681" y="2792336"/>
                    </a:lnTo>
                    <a:lnTo>
                      <a:pt x="7916118" y="2793095"/>
                    </a:lnTo>
                    <a:lnTo>
                      <a:pt x="7912578" y="2795710"/>
                    </a:lnTo>
                    <a:lnTo>
                      <a:pt x="7906174" y="2797183"/>
                    </a:lnTo>
                    <a:lnTo>
                      <a:pt x="7889742" y="2806886"/>
                    </a:lnTo>
                    <a:lnTo>
                      <a:pt x="7883366" y="2808128"/>
                    </a:lnTo>
                    <a:lnTo>
                      <a:pt x="7866479" y="2803696"/>
                    </a:lnTo>
                    <a:lnTo>
                      <a:pt x="7862428" y="2801371"/>
                    </a:lnTo>
                    <a:lnTo>
                      <a:pt x="7859626" y="2797466"/>
                    </a:lnTo>
                    <a:lnTo>
                      <a:pt x="7858913" y="2795088"/>
                    </a:lnTo>
                    <a:lnTo>
                      <a:pt x="7858977" y="2793530"/>
                    </a:lnTo>
                    <a:lnTo>
                      <a:pt x="7859842" y="2792633"/>
                    </a:lnTo>
                    <a:lnTo>
                      <a:pt x="7863925" y="2791198"/>
                    </a:lnTo>
                    <a:lnTo>
                      <a:pt x="7863268" y="2789670"/>
                    </a:lnTo>
                    <a:lnTo>
                      <a:pt x="7859569" y="2786870"/>
                    </a:lnTo>
                    <a:lnTo>
                      <a:pt x="7858304" y="2786520"/>
                    </a:lnTo>
                    <a:lnTo>
                      <a:pt x="7856804" y="2786504"/>
                    </a:lnTo>
                    <a:lnTo>
                      <a:pt x="7855529" y="2785672"/>
                    </a:lnTo>
                    <a:lnTo>
                      <a:pt x="7854947" y="2782923"/>
                    </a:lnTo>
                    <a:lnTo>
                      <a:pt x="7855720" y="2780640"/>
                    </a:lnTo>
                    <a:lnTo>
                      <a:pt x="7857693" y="2780961"/>
                    </a:lnTo>
                    <a:lnTo>
                      <a:pt x="7860052" y="2782632"/>
                    </a:lnTo>
                    <a:lnTo>
                      <a:pt x="7862012" y="2784301"/>
                    </a:lnTo>
                    <a:lnTo>
                      <a:pt x="7863909" y="2784622"/>
                    </a:lnTo>
                    <a:lnTo>
                      <a:pt x="7863421" y="2781124"/>
                    </a:lnTo>
                    <a:lnTo>
                      <a:pt x="7862297" y="2776519"/>
                    </a:lnTo>
                    <a:lnTo>
                      <a:pt x="7862241" y="2773467"/>
                    </a:lnTo>
                    <a:lnTo>
                      <a:pt x="7864385" y="2774468"/>
                    </a:lnTo>
                    <a:lnTo>
                      <a:pt x="7868981" y="2775933"/>
                    </a:lnTo>
                    <a:lnTo>
                      <a:pt x="7873100" y="2776016"/>
                    </a:lnTo>
                    <a:lnTo>
                      <a:pt x="7873719" y="2772810"/>
                    </a:lnTo>
                    <a:lnTo>
                      <a:pt x="7873261" y="2768019"/>
                    </a:lnTo>
                    <a:lnTo>
                      <a:pt x="7875278" y="2764881"/>
                    </a:lnTo>
                    <a:lnTo>
                      <a:pt x="7877968" y="2762481"/>
                    </a:lnTo>
                    <a:lnTo>
                      <a:pt x="7879570" y="2759913"/>
                    </a:lnTo>
                    <a:lnTo>
                      <a:pt x="7879179" y="2757081"/>
                    </a:lnTo>
                    <a:lnTo>
                      <a:pt x="7877881" y="2752599"/>
                    </a:lnTo>
                    <a:lnTo>
                      <a:pt x="7876191" y="2748219"/>
                    </a:lnTo>
                    <a:lnTo>
                      <a:pt x="7874572" y="2745670"/>
                    </a:lnTo>
                    <a:lnTo>
                      <a:pt x="7872424" y="2744612"/>
                    </a:lnTo>
                    <a:lnTo>
                      <a:pt x="7872550" y="2745850"/>
                    </a:lnTo>
                    <a:lnTo>
                      <a:pt x="7873577" y="2747686"/>
                    </a:lnTo>
                    <a:lnTo>
                      <a:pt x="7874140" y="2748445"/>
                    </a:lnTo>
                    <a:lnTo>
                      <a:pt x="7874132" y="2750760"/>
                    </a:lnTo>
                    <a:lnTo>
                      <a:pt x="7872238" y="2751000"/>
                    </a:lnTo>
                    <a:lnTo>
                      <a:pt x="7865042" y="2748157"/>
                    </a:lnTo>
                    <a:lnTo>
                      <a:pt x="7863206" y="2746956"/>
                    </a:lnTo>
                    <a:lnTo>
                      <a:pt x="7861169" y="2745181"/>
                    </a:lnTo>
                    <a:lnTo>
                      <a:pt x="7859862" y="2743338"/>
                    </a:lnTo>
                    <a:lnTo>
                      <a:pt x="7856806" y="2738311"/>
                    </a:lnTo>
                    <a:lnTo>
                      <a:pt x="7855646" y="2737339"/>
                    </a:lnTo>
                    <a:lnTo>
                      <a:pt x="7854579" y="2736653"/>
                    </a:lnTo>
                    <a:lnTo>
                      <a:pt x="7855231" y="2734876"/>
                    </a:lnTo>
                    <a:lnTo>
                      <a:pt x="7856584" y="2733383"/>
                    </a:lnTo>
                    <a:lnTo>
                      <a:pt x="7857608" y="2733482"/>
                    </a:lnTo>
                    <a:lnTo>
                      <a:pt x="7856454" y="2731198"/>
                    </a:lnTo>
                    <a:lnTo>
                      <a:pt x="7852756" y="2726211"/>
                    </a:lnTo>
                    <a:lnTo>
                      <a:pt x="7849467" y="2718506"/>
                    </a:lnTo>
                    <a:lnTo>
                      <a:pt x="7847348" y="2714532"/>
                    </a:lnTo>
                    <a:lnTo>
                      <a:pt x="7841855" y="2710978"/>
                    </a:lnTo>
                    <a:lnTo>
                      <a:pt x="7839977" y="2705789"/>
                    </a:lnTo>
                    <a:lnTo>
                      <a:pt x="7838343" y="2696652"/>
                    </a:lnTo>
                    <a:lnTo>
                      <a:pt x="7833975" y="2693050"/>
                    </a:lnTo>
                    <a:lnTo>
                      <a:pt x="7827391" y="2692810"/>
                    </a:lnTo>
                    <a:lnTo>
                      <a:pt x="7814997" y="2695340"/>
                    </a:lnTo>
                    <a:lnTo>
                      <a:pt x="7812404" y="2695270"/>
                    </a:lnTo>
                    <a:lnTo>
                      <a:pt x="7810074" y="2694489"/>
                    </a:lnTo>
                    <a:lnTo>
                      <a:pt x="7804403" y="2691778"/>
                    </a:lnTo>
                    <a:lnTo>
                      <a:pt x="7801939" y="2692037"/>
                    </a:lnTo>
                    <a:lnTo>
                      <a:pt x="7795295" y="2694519"/>
                    </a:lnTo>
                    <a:lnTo>
                      <a:pt x="7793690" y="2694476"/>
                    </a:lnTo>
                    <a:lnTo>
                      <a:pt x="7793053" y="2693887"/>
                    </a:lnTo>
                    <a:lnTo>
                      <a:pt x="7789691" y="2691426"/>
                    </a:lnTo>
                    <a:lnTo>
                      <a:pt x="7787292" y="2690087"/>
                    </a:lnTo>
                    <a:lnTo>
                      <a:pt x="7786592" y="2690005"/>
                    </a:lnTo>
                    <a:lnTo>
                      <a:pt x="7786312" y="2689711"/>
                    </a:lnTo>
                    <a:lnTo>
                      <a:pt x="7785193" y="2687747"/>
                    </a:lnTo>
                    <a:lnTo>
                      <a:pt x="7784499" y="2686186"/>
                    </a:lnTo>
                    <a:lnTo>
                      <a:pt x="7783493" y="2682839"/>
                    </a:lnTo>
                    <a:lnTo>
                      <a:pt x="7782539" y="2680854"/>
                    </a:lnTo>
                    <a:lnTo>
                      <a:pt x="7781722" y="2680323"/>
                    </a:lnTo>
                    <a:lnTo>
                      <a:pt x="7780347" y="2679718"/>
                    </a:lnTo>
                    <a:lnTo>
                      <a:pt x="7779013" y="2678753"/>
                    </a:lnTo>
                    <a:lnTo>
                      <a:pt x="7778288" y="2677128"/>
                    </a:lnTo>
                    <a:lnTo>
                      <a:pt x="7779419" y="2674553"/>
                    </a:lnTo>
                    <a:lnTo>
                      <a:pt x="7785029" y="2673200"/>
                    </a:lnTo>
                    <a:lnTo>
                      <a:pt x="7785479" y="2670693"/>
                    </a:lnTo>
                    <a:lnTo>
                      <a:pt x="7783858" y="2668826"/>
                    </a:lnTo>
                    <a:lnTo>
                      <a:pt x="7780825" y="2666521"/>
                    </a:lnTo>
                    <a:lnTo>
                      <a:pt x="7775808" y="2663400"/>
                    </a:lnTo>
                    <a:lnTo>
                      <a:pt x="7775239" y="2661925"/>
                    </a:lnTo>
                    <a:lnTo>
                      <a:pt x="7779011" y="2661452"/>
                    </a:lnTo>
                    <a:lnTo>
                      <a:pt x="7800513" y="2663000"/>
                    </a:lnTo>
                    <a:lnTo>
                      <a:pt x="7813585" y="2661116"/>
                    </a:lnTo>
                    <a:lnTo>
                      <a:pt x="7818028" y="2662184"/>
                    </a:lnTo>
                    <a:lnTo>
                      <a:pt x="7818556" y="2663538"/>
                    </a:lnTo>
                    <a:lnTo>
                      <a:pt x="7817173" y="2666149"/>
                    </a:lnTo>
                    <a:lnTo>
                      <a:pt x="7818779" y="2669691"/>
                    </a:lnTo>
                    <a:lnTo>
                      <a:pt x="7821879" y="2671742"/>
                    </a:lnTo>
                    <a:lnTo>
                      <a:pt x="7825022" y="2669956"/>
                    </a:lnTo>
                    <a:lnTo>
                      <a:pt x="7824279" y="2669796"/>
                    </a:lnTo>
                    <a:lnTo>
                      <a:pt x="7823633" y="2669472"/>
                    </a:lnTo>
                    <a:lnTo>
                      <a:pt x="7823020" y="2669026"/>
                    </a:lnTo>
                    <a:lnTo>
                      <a:pt x="7822431" y="2668492"/>
                    </a:lnTo>
                    <a:lnTo>
                      <a:pt x="7821503" y="2664194"/>
                    </a:lnTo>
                    <a:lnTo>
                      <a:pt x="7825264" y="2660891"/>
                    </a:lnTo>
                    <a:lnTo>
                      <a:pt x="7830801" y="2658923"/>
                    </a:lnTo>
                    <a:close/>
                    <a:moveTo>
                      <a:pt x="2705147" y="2652570"/>
                    </a:moveTo>
                    <a:lnTo>
                      <a:pt x="2707707" y="2652662"/>
                    </a:lnTo>
                    <a:lnTo>
                      <a:pt x="2706114" y="2654667"/>
                    </a:lnTo>
                    <a:lnTo>
                      <a:pt x="2702355" y="2657516"/>
                    </a:lnTo>
                    <a:lnTo>
                      <a:pt x="2700643" y="2660438"/>
                    </a:lnTo>
                    <a:lnTo>
                      <a:pt x="2699944" y="2661130"/>
                    </a:lnTo>
                    <a:lnTo>
                      <a:pt x="2699087" y="2662250"/>
                    </a:lnTo>
                    <a:lnTo>
                      <a:pt x="2698308" y="2663667"/>
                    </a:lnTo>
                    <a:lnTo>
                      <a:pt x="2697110" y="2667145"/>
                    </a:lnTo>
                    <a:lnTo>
                      <a:pt x="2696029" y="2668237"/>
                    </a:lnTo>
                    <a:lnTo>
                      <a:pt x="2690764" y="2670867"/>
                    </a:lnTo>
                    <a:lnTo>
                      <a:pt x="2683119" y="2673089"/>
                    </a:lnTo>
                    <a:lnTo>
                      <a:pt x="2682855" y="2675426"/>
                    </a:lnTo>
                    <a:lnTo>
                      <a:pt x="2681287" y="2677418"/>
                    </a:lnTo>
                    <a:lnTo>
                      <a:pt x="2679128" y="2678871"/>
                    </a:lnTo>
                    <a:lnTo>
                      <a:pt x="2677099" y="2679675"/>
                    </a:lnTo>
                    <a:lnTo>
                      <a:pt x="2679855" y="2675691"/>
                    </a:lnTo>
                    <a:lnTo>
                      <a:pt x="2680622" y="2673859"/>
                    </a:lnTo>
                    <a:lnTo>
                      <a:pt x="2680545" y="2671583"/>
                    </a:lnTo>
                    <a:lnTo>
                      <a:pt x="2679706" y="2671602"/>
                    </a:lnTo>
                    <a:lnTo>
                      <a:pt x="2674708" y="2669912"/>
                    </a:lnTo>
                    <a:lnTo>
                      <a:pt x="2670681" y="2671148"/>
                    </a:lnTo>
                    <a:lnTo>
                      <a:pt x="2668156" y="2670763"/>
                    </a:lnTo>
                    <a:lnTo>
                      <a:pt x="2665686" y="2669635"/>
                    </a:lnTo>
                    <a:lnTo>
                      <a:pt x="2664025" y="2668049"/>
                    </a:lnTo>
                    <a:lnTo>
                      <a:pt x="2663311" y="2665997"/>
                    </a:lnTo>
                    <a:lnTo>
                      <a:pt x="2663116" y="2663260"/>
                    </a:lnTo>
                    <a:lnTo>
                      <a:pt x="2663852" y="2660900"/>
                    </a:lnTo>
                    <a:lnTo>
                      <a:pt x="2665932" y="2659995"/>
                    </a:lnTo>
                    <a:lnTo>
                      <a:pt x="2671130" y="2660286"/>
                    </a:lnTo>
                    <a:lnTo>
                      <a:pt x="2672637" y="2659916"/>
                    </a:lnTo>
                    <a:lnTo>
                      <a:pt x="2675016" y="2658103"/>
                    </a:lnTo>
                    <a:lnTo>
                      <a:pt x="2676375" y="2657733"/>
                    </a:lnTo>
                    <a:lnTo>
                      <a:pt x="2684674" y="2658640"/>
                    </a:lnTo>
                    <a:lnTo>
                      <a:pt x="2687671" y="2658361"/>
                    </a:lnTo>
                    <a:lnTo>
                      <a:pt x="2701232" y="2655557"/>
                    </a:lnTo>
                    <a:lnTo>
                      <a:pt x="2703147" y="2653936"/>
                    </a:lnTo>
                    <a:close/>
                    <a:moveTo>
                      <a:pt x="5167791" y="2652504"/>
                    </a:moveTo>
                    <a:lnTo>
                      <a:pt x="5171426" y="2653649"/>
                    </a:lnTo>
                    <a:lnTo>
                      <a:pt x="5172492" y="2654878"/>
                    </a:lnTo>
                    <a:lnTo>
                      <a:pt x="5171048" y="2656735"/>
                    </a:lnTo>
                    <a:lnTo>
                      <a:pt x="5167094" y="2659218"/>
                    </a:lnTo>
                    <a:lnTo>
                      <a:pt x="5164761" y="2659297"/>
                    </a:lnTo>
                    <a:lnTo>
                      <a:pt x="5166632" y="2657064"/>
                    </a:lnTo>
                    <a:close/>
                    <a:moveTo>
                      <a:pt x="7939002" y="2641319"/>
                    </a:moveTo>
                    <a:lnTo>
                      <a:pt x="7940693" y="2643438"/>
                    </a:lnTo>
                    <a:lnTo>
                      <a:pt x="7942402" y="2644671"/>
                    </a:lnTo>
                    <a:lnTo>
                      <a:pt x="7943880" y="2646700"/>
                    </a:lnTo>
                    <a:lnTo>
                      <a:pt x="7944804" y="2649080"/>
                    </a:lnTo>
                    <a:lnTo>
                      <a:pt x="7944815" y="2651431"/>
                    </a:lnTo>
                    <a:lnTo>
                      <a:pt x="7947266" y="2653959"/>
                    </a:lnTo>
                    <a:lnTo>
                      <a:pt x="7948380" y="2656511"/>
                    </a:lnTo>
                    <a:lnTo>
                      <a:pt x="7948068" y="2658606"/>
                    </a:lnTo>
                    <a:lnTo>
                      <a:pt x="7946255" y="2659788"/>
                    </a:lnTo>
                    <a:lnTo>
                      <a:pt x="7948948" y="2661428"/>
                    </a:lnTo>
                    <a:lnTo>
                      <a:pt x="7949518" y="2663899"/>
                    </a:lnTo>
                    <a:lnTo>
                      <a:pt x="7948814" y="2666387"/>
                    </a:lnTo>
                    <a:lnTo>
                      <a:pt x="7947695" y="2668148"/>
                    </a:lnTo>
                    <a:lnTo>
                      <a:pt x="7941174" y="2671562"/>
                    </a:lnTo>
                    <a:lnTo>
                      <a:pt x="7940143" y="2673676"/>
                    </a:lnTo>
                    <a:lnTo>
                      <a:pt x="7944300" y="2674776"/>
                    </a:lnTo>
                    <a:lnTo>
                      <a:pt x="7948079" y="2674262"/>
                    </a:lnTo>
                    <a:lnTo>
                      <a:pt x="7951025" y="2672454"/>
                    </a:lnTo>
                    <a:lnTo>
                      <a:pt x="7955034" y="2666839"/>
                    </a:lnTo>
                    <a:lnTo>
                      <a:pt x="7958357" y="2667613"/>
                    </a:lnTo>
                    <a:lnTo>
                      <a:pt x="7962318" y="2669883"/>
                    </a:lnTo>
                    <a:lnTo>
                      <a:pt x="7966574" y="2671477"/>
                    </a:lnTo>
                    <a:lnTo>
                      <a:pt x="7976127" y="2671228"/>
                    </a:lnTo>
                    <a:lnTo>
                      <a:pt x="7980893" y="2672038"/>
                    </a:lnTo>
                    <a:lnTo>
                      <a:pt x="7986167" y="2675348"/>
                    </a:lnTo>
                    <a:lnTo>
                      <a:pt x="7989518" y="2677902"/>
                    </a:lnTo>
                    <a:lnTo>
                      <a:pt x="8000017" y="2684146"/>
                    </a:lnTo>
                    <a:lnTo>
                      <a:pt x="8000027" y="2685607"/>
                    </a:lnTo>
                    <a:lnTo>
                      <a:pt x="7999839" y="2686840"/>
                    </a:lnTo>
                    <a:lnTo>
                      <a:pt x="7999462" y="2687903"/>
                    </a:lnTo>
                    <a:lnTo>
                      <a:pt x="7998846" y="2688852"/>
                    </a:lnTo>
                    <a:lnTo>
                      <a:pt x="7995928" y="2687328"/>
                    </a:lnTo>
                    <a:lnTo>
                      <a:pt x="7995441" y="2688591"/>
                    </a:lnTo>
                    <a:lnTo>
                      <a:pt x="7995663" y="2690781"/>
                    </a:lnTo>
                    <a:lnTo>
                      <a:pt x="7994853" y="2692097"/>
                    </a:lnTo>
                    <a:lnTo>
                      <a:pt x="7992936" y="2691705"/>
                    </a:lnTo>
                    <a:lnTo>
                      <a:pt x="7988472" y="2689408"/>
                    </a:lnTo>
                    <a:lnTo>
                      <a:pt x="7986345" y="2688942"/>
                    </a:lnTo>
                    <a:lnTo>
                      <a:pt x="7988270" y="2691680"/>
                    </a:lnTo>
                    <a:lnTo>
                      <a:pt x="7992229" y="2694248"/>
                    </a:lnTo>
                    <a:lnTo>
                      <a:pt x="7994246" y="2696454"/>
                    </a:lnTo>
                    <a:lnTo>
                      <a:pt x="7993797" y="2696864"/>
                    </a:lnTo>
                    <a:lnTo>
                      <a:pt x="7992909" y="2698188"/>
                    </a:lnTo>
                    <a:lnTo>
                      <a:pt x="7995239" y="2699333"/>
                    </a:lnTo>
                    <a:lnTo>
                      <a:pt x="7997231" y="2701058"/>
                    </a:lnTo>
                    <a:lnTo>
                      <a:pt x="7999070" y="2703212"/>
                    </a:lnTo>
                    <a:lnTo>
                      <a:pt x="8000902" y="2705699"/>
                    </a:lnTo>
                    <a:lnTo>
                      <a:pt x="8000755" y="2706484"/>
                    </a:lnTo>
                    <a:lnTo>
                      <a:pt x="8000741" y="2707022"/>
                    </a:lnTo>
                    <a:lnTo>
                      <a:pt x="8000941" y="2708416"/>
                    </a:lnTo>
                    <a:lnTo>
                      <a:pt x="8005942" y="2711818"/>
                    </a:lnTo>
                    <a:lnTo>
                      <a:pt x="8008858" y="2716611"/>
                    </a:lnTo>
                    <a:lnTo>
                      <a:pt x="8008716" y="2720076"/>
                    </a:lnTo>
                    <a:lnTo>
                      <a:pt x="8004539" y="2719482"/>
                    </a:lnTo>
                    <a:lnTo>
                      <a:pt x="8002899" y="2717921"/>
                    </a:lnTo>
                    <a:lnTo>
                      <a:pt x="7999871" y="2713764"/>
                    </a:lnTo>
                    <a:lnTo>
                      <a:pt x="7998466" y="2713014"/>
                    </a:lnTo>
                    <a:lnTo>
                      <a:pt x="7998025" y="2714119"/>
                    </a:lnTo>
                    <a:lnTo>
                      <a:pt x="7997111" y="2719029"/>
                    </a:lnTo>
                    <a:lnTo>
                      <a:pt x="7996129" y="2720596"/>
                    </a:lnTo>
                    <a:lnTo>
                      <a:pt x="7994374" y="2721041"/>
                    </a:lnTo>
                    <a:lnTo>
                      <a:pt x="7993061" y="2720797"/>
                    </a:lnTo>
                    <a:lnTo>
                      <a:pt x="7992064" y="2720768"/>
                    </a:lnTo>
                    <a:lnTo>
                      <a:pt x="7990308" y="2723304"/>
                    </a:lnTo>
                    <a:lnTo>
                      <a:pt x="7988724" y="2724738"/>
                    </a:lnTo>
                    <a:lnTo>
                      <a:pt x="7986785" y="2725835"/>
                    </a:lnTo>
                    <a:lnTo>
                      <a:pt x="7984764" y="2726254"/>
                    </a:lnTo>
                    <a:lnTo>
                      <a:pt x="7982194" y="2725844"/>
                    </a:lnTo>
                    <a:lnTo>
                      <a:pt x="7980418" y="2724803"/>
                    </a:lnTo>
                    <a:lnTo>
                      <a:pt x="7976306" y="2721067"/>
                    </a:lnTo>
                    <a:lnTo>
                      <a:pt x="7973454" y="2719861"/>
                    </a:lnTo>
                    <a:lnTo>
                      <a:pt x="7968026" y="2719426"/>
                    </a:lnTo>
                    <a:lnTo>
                      <a:pt x="7965523" y="2717359"/>
                    </a:lnTo>
                    <a:lnTo>
                      <a:pt x="7965442" y="2711353"/>
                    </a:lnTo>
                    <a:lnTo>
                      <a:pt x="7966103" y="2710298"/>
                    </a:lnTo>
                    <a:lnTo>
                      <a:pt x="7967514" y="2709467"/>
                    </a:lnTo>
                    <a:lnTo>
                      <a:pt x="7967991" y="2707824"/>
                    </a:lnTo>
                    <a:lnTo>
                      <a:pt x="7967546" y="2705962"/>
                    </a:lnTo>
                    <a:lnTo>
                      <a:pt x="7966184" y="2704450"/>
                    </a:lnTo>
                    <a:lnTo>
                      <a:pt x="7962234" y="2704052"/>
                    </a:lnTo>
                    <a:lnTo>
                      <a:pt x="7958358" y="2705223"/>
                    </a:lnTo>
                    <a:lnTo>
                      <a:pt x="7955635" y="2704587"/>
                    </a:lnTo>
                    <a:lnTo>
                      <a:pt x="7955153" y="2698773"/>
                    </a:lnTo>
                    <a:lnTo>
                      <a:pt x="7939754" y="2699364"/>
                    </a:lnTo>
                    <a:lnTo>
                      <a:pt x="7937988" y="2698899"/>
                    </a:lnTo>
                    <a:lnTo>
                      <a:pt x="7935897" y="2697797"/>
                    </a:lnTo>
                    <a:lnTo>
                      <a:pt x="7933854" y="2697028"/>
                    </a:lnTo>
                    <a:lnTo>
                      <a:pt x="7932260" y="2697635"/>
                    </a:lnTo>
                    <a:lnTo>
                      <a:pt x="7932087" y="2699261"/>
                    </a:lnTo>
                    <a:lnTo>
                      <a:pt x="7932779" y="2701344"/>
                    </a:lnTo>
                    <a:lnTo>
                      <a:pt x="7933169" y="2703314"/>
                    </a:lnTo>
                    <a:lnTo>
                      <a:pt x="7932141" y="2704627"/>
                    </a:lnTo>
                    <a:lnTo>
                      <a:pt x="7929131" y="2703585"/>
                    </a:lnTo>
                    <a:lnTo>
                      <a:pt x="7921821" y="2696373"/>
                    </a:lnTo>
                    <a:lnTo>
                      <a:pt x="7918966" y="2694827"/>
                    </a:lnTo>
                    <a:lnTo>
                      <a:pt x="7916393" y="2692871"/>
                    </a:lnTo>
                    <a:lnTo>
                      <a:pt x="7913517" y="2688579"/>
                    </a:lnTo>
                    <a:lnTo>
                      <a:pt x="7912344" y="2685109"/>
                    </a:lnTo>
                    <a:lnTo>
                      <a:pt x="7914823" y="2685525"/>
                    </a:lnTo>
                    <a:lnTo>
                      <a:pt x="7913414" y="2681145"/>
                    </a:lnTo>
                    <a:lnTo>
                      <a:pt x="7912620" y="2677109"/>
                    </a:lnTo>
                    <a:lnTo>
                      <a:pt x="7911320" y="2673895"/>
                    </a:lnTo>
                    <a:lnTo>
                      <a:pt x="7908375" y="2672014"/>
                    </a:lnTo>
                    <a:lnTo>
                      <a:pt x="7910754" y="2670305"/>
                    </a:lnTo>
                    <a:lnTo>
                      <a:pt x="7920721" y="2667551"/>
                    </a:lnTo>
                    <a:lnTo>
                      <a:pt x="7921718" y="2665199"/>
                    </a:lnTo>
                    <a:lnTo>
                      <a:pt x="7921171" y="2655481"/>
                    </a:lnTo>
                    <a:lnTo>
                      <a:pt x="7922692" y="2653059"/>
                    </a:lnTo>
                    <a:lnTo>
                      <a:pt x="7923327" y="2652067"/>
                    </a:lnTo>
                    <a:lnTo>
                      <a:pt x="7922940" y="2650006"/>
                    </a:lnTo>
                    <a:lnTo>
                      <a:pt x="7922312" y="2647671"/>
                    </a:lnTo>
                    <a:lnTo>
                      <a:pt x="7922267" y="2645870"/>
                    </a:lnTo>
                    <a:lnTo>
                      <a:pt x="7923269" y="2644899"/>
                    </a:lnTo>
                    <a:lnTo>
                      <a:pt x="7935137" y="2641458"/>
                    </a:lnTo>
                    <a:close/>
                    <a:moveTo>
                      <a:pt x="4947894" y="2629572"/>
                    </a:moveTo>
                    <a:lnTo>
                      <a:pt x="4950842" y="2630049"/>
                    </a:lnTo>
                    <a:lnTo>
                      <a:pt x="4953168" y="2632935"/>
                    </a:lnTo>
                    <a:lnTo>
                      <a:pt x="4953371" y="2636031"/>
                    </a:lnTo>
                    <a:lnTo>
                      <a:pt x="4953212" y="2637609"/>
                    </a:lnTo>
                    <a:lnTo>
                      <a:pt x="4953902" y="2640904"/>
                    </a:lnTo>
                    <a:lnTo>
                      <a:pt x="4954615" y="2647638"/>
                    </a:lnTo>
                    <a:lnTo>
                      <a:pt x="4952875" y="2650612"/>
                    </a:lnTo>
                    <a:lnTo>
                      <a:pt x="4949293" y="2647466"/>
                    </a:lnTo>
                    <a:lnTo>
                      <a:pt x="4947053" y="2642865"/>
                    </a:lnTo>
                    <a:lnTo>
                      <a:pt x="4945995" y="2639177"/>
                    </a:lnTo>
                    <a:lnTo>
                      <a:pt x="4945681" y="2636412"/>
                    </a:lnTo>
                    <a:lnTo>
                      <a:pt x="4946610" y="2635161"/>
                    </a:lnTo>
                    <a:lnTo>
                      <a:pt x="4947133" y="2633865"/>
                    </a:lnTo>
                    <a:lnTo>
                      <a:pt x="4946976" y="2631619"/>
                    </a:lnTo>
                    <a:close/>
                    <a:moveTo>
                      <a:pt x="7889398" y="2624575"/>
                    </a:moveTo>
                    <a:lnTo>
                      <a:pt x="7897179" y="2626352"/>
                    </a:lnTo>
                    <a:lnTo>
                      <a:pt x="7899310" y="2627419"/>
                    </a:lnTo>
                    <a:lnTo>
                      <a:pt x="7901327" y="2629562"/>
                    </a:lnTo>
                    <a:lnTo>
                      <a:pt x="7904313" y="2633730"/>
                    </a:lnTo>
                    <a:lnTo>
                      <a:pt x="7906370" y="2635156"/>
                    </a:lnTo>
                    <a:lnTo>
                      <a:pt x="7905865" y="2637935"/>
                    </a:lnTo>
                    <a:lnTo>
                      <a:pt x="7902664" y="2642389"/>
                    </a:lnTo>
                    <a:lnTo>
                      <a:pt x="7902735" y="2645584"/>
                    </a:lnTo>
                    <a:lnTo>
                      <a:pt x="7904181" y="2647685"/>
                    </a:lnTo>
                    <a:lnTo>
                      <a:pt x="7911092" y="2654581"/>
                    </a:lnTo>
                    <a:lnTo>
                      <a:pt x="7911145" y="2659161"/>
                    </a:lnTo>
                    <a:lnTo>
                      <a:pt x="7908969" y="2661074"/>
                    </a:lnTo>
                    <a:lnTo>
                      <a:pt x="7906089" y="2662264"/>
                    </a:lnTo>
                    <a:lnTo>
                      <a:pt x="7902054" y="2666757"/>
                    </a:lnTo>
                    <a:lnTo>
                      <a:pt x="7891557" y="2671351"/>
                    </a:lnTo>
                    <a:lnTo>
                      <a:pt x="7884342" y="2670761"/>
                    </a:lnTo>
                    <a:lnTo>
                      <a:pt x="7862529" y="2659330"/>
                    </a:lnTo>
                    <a:lnTo>
                      <a:pt x="7854605" y="2656482"/>
                    </a:lnTo>
                    <a:lnTo>
                      <a:pt x="7851285" y="2653937"/>
                    </a:lnTo>
                    <a:lnTo>
                      <a:pt x="7850730" y="2650268"/>
                    </a:lnTo>
                    <a:lnTo>
                      <a:pt x="7853906" y="2638245"/>
                    </a:lnTo>
                    <a:lnTo>
                      <a:pt x="7855726" y="2634641"/>
                    </a:lnTo>
                    <a:lnTo>
                      <a:pt x="7857973" y="2632065"/>
                    </a:lnTo>
                    <a:lnTo>
                      <a:pt x="7860502" y="2630450"/>
                    </a:lnTo>
                    <a:lnTo>
                      <a:pt x="7866952" y="2628926"/>
                    </a:lnTo>
                    <a:lnTo>
                      <a:pt x="7869349" y="2629030"/>
                    </a:lnTo>
                    <a:lnTo>
                      <a:pt x="7874352" y="2630250"/>
                    </a:lnTo>
                    <a:lnTo>
                      <a:pt x="7876778" y="2630366"/>
                    </a:lnTo>
                    <a:lnTo>
                      <a:pt x="7878254" y="2629818"/>
                    </a:lnTo>
                    <a:lnTo>
                      <a:pt x="7882615" y="2626885"/>
                    </a:lnTo>
                    <a:close/>
                    <a:moveTo>
                      <a:pt x="7932484" y="2612122"/>
                    </a:moveTo>
                    <a:lnTo>
                      <a:pt x="7936453" y="2613961"/>
                    </a:lnTo>
                    <a:lnTo>
                      <a:pt x="7948899" y="2617368"/>
                    </a:lnTo>
                    <a:lnTo>
                      <a:pt x="7952811" y="2619690"/>
                    </a:lnTo>
                    <a:lnTo>
                      <a:pt x="7955751" y="2622642"/>
                    </a:lnTo>
                    <a:lnTo>
                      <a:pt x="7960959" y="2629001"/>
                    </a:lnTo>
                    <a:lnTo>
                      <a:pt x="7963970" y="2631783"/>
                    </a:lnTo>
                    <a:lnTo>
                      <a:pt x="7967405" y="2634050"/>
                    </a:lnTo>
                    <a:lnTo>
                      <a:pt x="7972200" y="2636568"/>
                    </a:lnTo>
                    <a:lnTo>
                      <a:pt x="7976619" y="2637812"/>
                    </a:lnTo>
                    <a:lnTo>
                      <a:pt x="7978941" y="2636269"/>
                    </a:lnTo>
                    <a:lnTo>
                      <a:pt x="7980920" y="2633454"/>
                    </a:lnTo>
                    <a:lnTo>
                      <a:pt x="7984625" y="2632803"/>
                    </a:lnTo>
                    <a:lnTo>
                      <a:pt x="7988998" y="2633915"/>
                    </a:lnTo>
                    <a:lnTo>
                      <a:pt x="7993027" y="2636449"/>
                    </a:lnTo>
                    <a:lnTo>
                      <a:pt x="7995908" y="2639580"/>
                    </a:lnTo>
                    <a:lnTo>
                      <a:pt x="8000927" y="2646607"/>
                    </a:lnTo>
                    <a:lnTo>
                      <a:pt x="8010240" y="2656307"/>
                    </a:lnTo>
                    <a:lnTo>
                      <a:pt x="8013692" y="2660554"/>
                    </a:lnTo>
                    <a:lnTo>
                      <a:pt x="8014952" y="2663720"/>
                    </a:lnTo>
                    <a:lnTo>
                      <a:pt x="8012445" y="2665877"/>
                    </a:lnTo>
                    <a:lnTo>
                      <a:pt x="8008717" y="2665324"/>
                    </a:lnTo>
                    <a:lnTo>
                      <a:pt x="8006308" y="2666141"/>
                    </a:lnTo>
                    <a:lnTo>
                      <a:pt x="8007784" y="2672458"/>
                    </a:lnTo>
                    <a:lnTo>
                      <a:pt x="8007836" y="2675803"/>
                    </a:lnTo>
                    <a:lnTo>
                      <a:pt x="8006057" y="2678763"/>
                    </a:lnTo>
                    <a:lnTo>
                      <a:pt x="8003601" y="2680759"/>
                    </a:lnTo>
                    <a:lnTo>
                      <a:pt x="8001643" y="2681207"/>
                    </a:lnTo>
                    <a:lnTo>
                      <a:pt x="7998906" y="2678920"/>
                    </a:lnTo>
                    <a:lnTo>
                      <a:pt x="7996789" y="2675708"/>
                    </a:lnTo>
                    <a:lnTo>
                      <a:pt x="7994515" y="2673078"/>
                    </a:lnTo>
                    <a:lnTo>
                      <a:pt x="7991295" y="2672462"/>
                    </a:lnTo>
                    <a:lnTo>
                      <a:pt x="7992477" y="2674643"/>
                    </a:lnTo>
                    <a:lnTo>
                      <a:pt x="7990914" y="2674553"/>
                    </a:lnTo>
                    <a:lnTo>
                      <a:pt x="7988058" y="2673072"/>
                    </a:lnTo>
                    <a:lnTo>
                      <a:pt x="7985373" y="2671119"/>
                    </a:lnTo>
                    <a:lnTo>
                      <a:pt x="7982061" y="2669198"/>
                    </a:lnTo>
                    <a:lnTo>
                      <a:pt x="7971987" y="2667904"/>
                    </a:lnTo>
                    <a:lnTo>
                      <a:pt x="7967338" y="2666023"/>
                    </a:lnTo>
                    <a:lnTo>
                      <a:pt x="7960835" y="2662596"/>
                    </a:lnTo>
                    <a:lnTo>
                      <a:pt x="7954695" y="2658562"/>
                    </a:lnTo>
                    <a:lnTo>
                      <a:pt x="7951123" y="2654866"/>
                    </a:lnTo>
                    <a:lnTo>
                      <a:pt x="7950374" y="2644012"/>
                    </a:lnTo>
                    <a:lnTo>
                      <a:pt x="7948986" y="2641659"/>
                    </a:lnTo>
                    <a:lnTo>
                      <a:pt x="7945388" y="2638538"/>
                    </a:lnTo>
                    <a:lnTo>
                      <a:pt x="7944546" y="2636409"/>
                    </a:lnTo>
                    <a:lnTo>
                      <a:pt x="7944584" y="2635054"/>
                    </a:lnTo>
                    <a:lnTo>
                      <a:pt x="7944780" y="2633678"/>
                    </a:lnTo>
                    <a:lnTo>
                      <a:pt x="7944484" y="2631546"/>
                    </a:lnTo>
                    <a:lnTo>
                      <a:pt x="7943296" y="2628750"/>
                    </a:lnTo>
                    <a:lnTo>
                      <a:pt x="7941382" y="2625982"/>
                    </a:lnTo>
                    <a:lnTo>
                      <a:pt x="7938823" y="2623251"/>
                    </a:lnTo>
                    <a:lnTo>
                      <a:pt x="7935740" y="2620597"/>
                    </a:lnTo>
                    <a:lnTo>
                      <a:pt x="7932359" y="2616873"/>
                    </a:lnTo>
                    <a:lnTo>
                      <a:pt x="7931194" y="2613566"/>
                    </a:lnTo>
                    <a:close/>
                    <a:moveTo>
                      <a:pt x="7831268" y="2556527"/>
                    </a:moveTo>
                    <a:lnTo>
                      <a:pt x="7838523" y="2560702"/>
                    </a:lnTo>
                    <a:lnTo>
                      <a:pt x="7840349" y="2561157"/>
                    </a:lnTo>
                    <a:lnTo>
                      <a:pt x="7845156" y="2560256"/>
                    </a:lnTo>
                    <a:lnTo>
                      <a:pt x="7847607" y="2560307"/>
                    </a:lnTo>
                    <a:lnTo>
                      <a:pt x="7859217" y="2566708"/>
                    </a:lnTo>
                    <a:lnTo>
                      <a:pt x="7861268" y="2568986"/>
                    </a:lnTo>
                    <a:lnTo>
                      <a:pt x="7864357" y="2572946"/>
                    </a:lnTo>
                    <a:lnTo>
                      <a:pt x="7868768" y="2575709"/>
                    </a:lnTo>
                    <a:lnTo>
                      <a:pt x="7872803" y="2577514"/>
                    </a:lnTo>
                    <a:lnTo>
                      <a:pt x="7874745" y="2578630"/>
                    </a:lnTo>
                    <a:lnTo>
                      <a:pt x="7875963" y="2580189"/>
                    </a:lnTo>
                    <a:lnTo>
                      <a:pt x="7877623" y="2580841"/>
                    </a:lnTo>
                    <a:lnTo>
                      <a:pt x="7880753" y="2581394"/>
                    </a:lnTo>
                    <a:lnTo>
                      <a:pt x="7882794" y="2582370"/>
                    </a:lnTo>
                    <a:lnTo>
                      <a:pt x="7883864" y="2583008"/>
                    </a:lnTo>
                    <a:lnTo>
                      <a:pt x="7887244" y="2586153"/>
                    </a:lnTo>
                    <a:lnTo>
                      <a:pt x="7889609" y="2588806"/>
                    </a:lnTo>
                    <a:lnTo>
                      <a:pt x="7891003" y="2590129"/>
                    </a:lnTo>
                    <a:lnTo>
                      <a:pt x="7892916" y="2591630"/>
                    </a:lnTo>
                    <a:lnTo>
                      <a:pt x="7894119" y="2592309"/>
                    </a:lnTo>
                    <a:lnTo>
                      <a:pt x="7897281" y="2593553"/>
                    </a:lnTo>
                    <a:lnTo>
                      <a:pt x="7898786" y="2593845"/>
                    </a:lnTo>
                    <a:lnTo>
                      <a:pt x="7899979" y="2593738"/>
                    </a:lnTo>
                    <a:lnTo>
                      <a:pt x="7901071" y="2594255"/>
                    </a:lnTo>
                    <a:lnTo>
                      <a:pt x="7902281" y="2596390"/>
                    </a:lnTo>
                    <a:lnTo>
                      <a:pt x="7902675" y="2598212"/>
                    </a:lnTo>
                    <a:lnTo>
                      <a:pt x="7902182" y="2599090"/>
                    </a:lnTo>
                    <a:lnTo>
                      <a:pt x="7901329" y="2599729"/>
                    </a:lnTo>
                    <a:lnTo>
                      <a:pt x="7900699" y="2600922"/>
                    </a:lnTo>
                    <a:lnTo>
                      <a:pt x="7898955" y="2603042"/>
                    </a:lnTo>
                    <a:lnTo>
                      <a:pt x="7892852" y="2604626"/>
                    </a:lnTo>
                    <a:lnTo>
                      <a:pt x="7891267" y="2606360"/>
                    </a:lnTo>
                    <a:lnTo>
                      <a:pt x="7890472" y="2608828"/>
                    </a:lnTo>
                    <a:lnTo>
                      <a:pt x="7888953" y="2610552"/>
                    </a:lnTo>
                    <a:lnTo>
                      <a:pt x="7886770" y="2611373"/>
                    </a:lnTo>
                    <a:lnTo>
                      <a:pt x="7883977" y="2611078"/>
                    </a:lnTo>
                    <a:lnTo>
                      <a:pt x="7881139" y="2609240"/>
                    </a:lnTo>
                    <a:lnTo>
                      <a:pt x="7878163" y="2606810"/>
                    </a:lnTo>
                    <a:lnTo>
                      <a:pt x="7875755" y="2606083"/>
                    </a:lnTo>
                    <a:lnTo>
                      <a:pt x="7874613" y="2609325"/>
                    </a:lnTo>
                    <a:lnTo>
                      <a:pt x="7881064" y="2613367"/>
                    </a:lnTo>
                    <a:lnTo>
                      <a:pt x="7882902" y="2615354"/>
                    </a:lnTo>
                    <a:lnTo>
                      <a:pt x="7880695" y="2616108"/>
                    </a:lnTo>
                    <a:lnTo>
                      <a:pt x="7876982" y="2618499"/>
                    </a:lnTo>
                    <a:lnTo>
                      <a:pt x="7874744" y="2619249"/>
                    </a:lnTo>
                    <a:lnTo>
                      <a:pt x="7856921" y="2619462"/>
                    </a:lnTo>
                    <a:lnTo>
                      <a:pt x="7853560" y="2617707"/>
                    </a:lnTo>
                    <a:lnTo>
                      <a:pt x="7851032" y="2614081"/>
                    </a:lnTo>
                    <a:lnTo>
                      <a:pt x="7845394" y="2603231"/>
                    </a:lnTo>
                    <a:lnTo>
                      <a:pt x="7844960" y="2601340"/>
                    </a:lnTo>
                    <a:lnTo>
                      <a:pt x="7845371" y="2598935"/>
                    </a:lnTo>
                    <a:lnTo>
                      <a:pt x="7846769" y="2597349"/>
                    </a:lnTo>
                    <a:lnTo>
                      <a:pt x="7850981" y="2594787"/>
                    </a:lnTo>
                    <a:lnTo>
                      <a:pt x="7851430" y="2592477"/>
                    </a:lnTo>
                    <a:lnTo>
                      <a:pt x="7849875" y="2590523"/>
                    </a:lnTo>
                    <a:lnTo>
                      <a:pt x="7842127" y="2583615"/>
                    </a:lnTo>
                    <a:lnTo>
                      <a:pt x="7840772" y="2580975"/>
                    </a:lnTo>
                    <a:lnTo>
                      <a:pt x="7839628" y="2577860"/>
                    </a:lnTo>
                    <a:lnTo>
                      <a:pt x="7838885" y="2574861"/>
                    </a:lnTo>
                    <a:lnTo>
                      <a:pt x="7838749" y="2572588"/>
                    </a:lnTo>
                    <a:lnTo>
                      <a:pt x="7836358" y="2570050"/>
                    </a:lnTo>
                    <a:lnTo>
                      <a:pt x="7829262" y="2564651"/>
                    </a:lnTo>
                    <a:lnTo>
                      <a:pt x="7827899" y="2562377"/>
                    </a:lnTo>
                    <a:lnTo>
                      <a:pt x="7828558" y="2560077"/>
                    </a:lnTo>
                    <a:close/>
                    <a:moveTo>
                      <a:pt x="7646704" y="2556089"/>
                    </a:moveTo>
                    <a:lnTo>
                      <a:pt x="7656657" y="2558811"/>
                    </a:lnTo>
                    <a:lnTo>
                      <a:pt x="7663377" y="2559004"/>
                    </a:lnTo>
                    <a:lnTo>
                      <a:pt x="7666729" y="2559581"/>
                    </a:lnTo>
                    <a:lnTo>
                      <a:pt x="7670241" y="2561610"/>
                    </a:lnTo>
                    <a:lnTo>
                      <a:pt x="7675258" y="2562046"/>
                    </a:lnTo>
                    <a:lnTo>
                      <a:pt x="7681238" y="2563380"/>
                    </a:lnTo>
                    <a:lnTo>
                      <a:pt x="7686195" y="2566803"/>
                    </a:lnTo>
                    <a:lnTo>
                      <a:pt x="7688196" y="2573508"/>
                    </a:lnTo>
                    <a:lnTo>
                      <a:pt x="7690477" y="2572314"/>
                    </a:lnTo>
                    <a:lnTo>
                      <a:pt x="7691838" y="2573238"/>
                    </a:lnTo>
                    <a:lnTo>
                      <a:pt x="7695360" y="2579687"/>
                    </a:lnTo>
                    <a:lnTo>
                      <a:pt x="7695709" y="2578700"/>
                    </a:lnTo>
                    <a:lnTo>
                      <a:pt x="7696694" y="2577449"/>
                    </a:lnTo>
                    <a:lnTo>
                      <a:pt x="7697085" y="2576498"/>
                    </a:lnTo>
                    <a:lnTo>
                      <a:pt x="7698634" y="2578503"/>
                    </a:lnTo>
                    <a:lnTo>
                      <a:pt x="7702467" y="2584510"/>
                    </a:lnTo>
                    <a:lnTo>
                      <a:pt x="7703846" y="2585686"/>
                    </a:lnTo>
                    <a:lnTo>
                      <a:pt x="7705122" y="2586167"/>
                    </a:lnTo>
                    <a:lnTo>
                      <a:pt x="7705644" y="2587508"/>
                    </a:lnTo>
                    <a:lnTo>
                      <a:pt x="7705569" y="2588942"/>
                    </a:lnTo>
                    <a:lnTo>
                      <a:pt x="7704215" y="2590408"/>
                    </a:lnTo>
                    <a:lnTo>
                      <a:pt x="7704817" y="2591908"/>
                    </a:lnTo>
                    <a:lnTo>
                      <a:pt x="7705785" y="2593682"/>
                    </a:lnTo>
                    <a:lnTo>
                      <a:pt x="7706152" y="2595288"/>
                    </a:lnTo>
                    <a:lnTo>
                      <a:pt x="7705803" y="2596106"/>
                    </a:lnTo>
                    <a:lnTo>
                      <a:pt x="7704723" y="2597488"/>
                    </a:lnTo>
                    <a:lnTo>
                      <a:pt x="7704450" y="2598322"/>
                    </a:lnTo>
                    <a:lnTo>
                      <a:pt x="7704652" y="2603250"/>
                    </a:lnTo>
                    <a:lnTo>
                      <a:pt x="7704555" y="2604738"/>
                    </a:lnTo>
                    <a:lnTo>
                      <a:pt x="7703680" y="2607155"/>
                    </a:lnTo>
                    <a:lnTo>
                      <a:pt x="7702107" y="2608378"/>
                    </a:lnTo>
                    <a:lnTo>
                      <a:pt x="7697127" y="2609265"/>
                    </a:lnTo>
                    <a:lnTo>
                      <a:pt x="7702430" y="2611640"/>
                    </a:lnTo>
                    <a:lnTo>
                      <a:pt x="7706075" y="2610354"/>
                    </a:lnTo>
                    <a:lnTo>
                      <a:pt x="7708374" y="2606731"/>
                    </a:lnTo>
                    <a:lnTo>
                      <a:pt x="7709629" y="2602050"/>
                    </a:lnTo>
                    <a:lnTo>
                      <a:pt x="7709190" y="2600866"/>
                    </a:lnTo>
                    <a:lnTo>
                      <a:pt x="7708181" y="2599551"/>
                    </a:lnTo>
                    <a:lnTo>
                      <a:pt x="7707620" y="2598433"/>
                    </a:lnTo>
                    <a:lnTo>
                      <a:pt x="7708518" y="2597816"/>
                    </a:lnTo>
                    <a:lnTo>
                      <a:pt x="7709719" y="2597472"/>
                    </a:lnTo>
                    <a:lnTo>
                      <a:pt x="7711769" y="2596340"/>
                    </a:lnTo>
                    <a:lnTo>
                      <a:pt x="7712752" y="2595997"/>
                    </a:lnTo>
                    <a:lnTo>
                      <a:pt x="7713178" y="2594630"/>
                    </a:lnTo>
                    <a:lnTo>
                      <a:pt x="7713076" y="2591584"/>
                    </a:lnTo>
                    <a:lnTo>
                      <a:pt x="7712699" y="2588269"/>
                    </a:lnTo>
                    <a:lnTo>
                      <a:pt x="7712264" y="2586048"/>
                    </a:lnTo>
                    <a:lnTo>
                      <a:pt x="7709871" y="2581513"/>
                    </a:lnTo>
                    <a:lnTo>
                      <a:pt x="7707267" y="2577551"/>
                    </a:lnTo>
                    <a:lnTo>
                      <a:pt x="7707054" y="2575732"/>
                    </a:lnTo>
                    <a:lnTo>
                      <a:pt x="7711881" y="2577621"/>
                    </a:lnTo>
                    <a:lnTo>
                      <a:pt x="7715818" y="2580514"/>
                    </a:lnTo>
                    <a:lnTo>
                      <a:pt x="7717751" y="2581198"/>
                    </a:lnTo>
                    <a:lnTo>
                      <a:pt x="7721465" y="2578928"/>
                    </a:lnTo>
                    <a:lnTo>
                      <a:pt x="7724057" y="2579007"/>
                    </a:lnTo>
                    <a:lnTo>
                      <a:pt x="7726843" y="2579819"/>
                    </a:lnTo>
                    <a:lnTo>
                      <a:pt x="7729435" y="2580934"/>
                    </a:lnTo>
                    <a:lnTo>
                      <a:pt x="7727213" y="2596193"/>
                    </a:lnTo>
                    <a:lnTo>
                      <a:pt x="7727466" y="2598741"/>
                    </a:lnTo>
                    <a:lnTo>
                      <a:pt x="7729199" y="2600589"/>
                    </a:lnTo>
                    <a:lnTo>
                      <a:pt x="7731445" y="2601665"/>
                    </a:lnTo>
                    <a:lnTo>
                      <a:pt x="7735705" y="2602530"/>
                    </a:lnTo>
                    <a:lnTo>
                      <a:pt x="7736953" y="2604465"/>
                    </a:lnTo>
                    <a:lnTo>
                      <a:pt x="7737590" y="2606720"/>
                    </a:lnTo>
                    <a:lnTo>
                      <a:pt x="7738210" y="2608262"/>
                    </a:lnTo>
                    <a:lnTo>
                      <a:pt x="7743776" y="2613746"/>
                    </a:lnTo>
                    <a:lnTo>
                      <a:pt x="7743978" y="2615677"/>
                    </a:lnTo>
                    <a:lnTo>
                      <a:pt x="7742546" y="2621576"/>
                    </a:lnTo>
                    <a:lnTo>
                      <a:pt x="7741660" y="2622758"/>
                    </a:lnTo>
                    <a:lnTo>
                      <a:pt x="7740329" y="2623507"/>
                    </a:lnTo>
                    <a:lnTo>
                      <a:pt x="7738397" y="2623926"/>
                    </a:lnTo>
                    <a:lnTo>
                      <a:pt x="7736949" y="2623053"/>
                    </a:lnTo>
                    <a:lnTo>
                      <a:pt x="7733352" y="2618257"/>
                    </a:lnTo>
                    <a:lnTo>
                      <a:pt x="7731654" y="2616395"/>
                    </a:lnTo>
                    <a:lnTo>
                      <a:pt x="7727638" y="2615025"/>
                    </a:lnTo>
                    <a:lnTo>
                      <a:pt x="7715766" y="2613893"/>
                    </a:lnTo>
                    <a:lnTo>
                      <a:pt x="7713698" y="2614917"/>
                    </a:lnTo>
                    <a:lnTo>
                      <a:pt x="7716491" y="2617713"/>
                    </a:lnTo>
                    <a:lnTo>
                      <a:pt x="7724626" y="2619600"/>
                    </a:lnTo>
                    <a:lnTo>
                      <a:pt x="7727704" y="2623845"/>
                    </a:lnTo>
                    <a:lnTo>
                      <a:pt x="7727195" y="2624161"/>
                    </a:lnTo>
                    <a:lnTo>
                      <a:pt x="7726638" y="2630024"/>
                    </a:lnTo>
                    <a:lnTo>
                      <a:pt x="7726758" y="2631172"/>
                    </a:lnTo>
                    <a:lnTo>
                      <a:pt x="7725544" y="2632555"/>
                    </a:lnTo>
                    <a:lnTo>
                      <a:pt x="7722816" y="2633787"/>
                    </a:lnTo>
                    <a:lnTo>
                      <a:pt x="7721926" y="2635238"/>
                    </a:lnTo>
                    <a:lnTo>
                      <a:pt x="7722465" y="2636917"/>
                    </a:lnTo>
                    <a:lnTo>
                      <a:pt x="7724406" y="2638261"/>
                    </a:lnTo>
                    <a:lnTo>
                      <a:pt x="7726722" y="2639095"/>
                    </a:lnTo>
                    <a:lnTo>
                      <a:pt x="7728402" y="2639316"/>
                    </a:lnTo>
                    <a:lnTo>
                      <a:pt x="7730721" y="2639703"/>
                    </a:lnTo>
                    <a:lnTo>
                      <a:pt x="7732205" y="2641221"/>
                    </a:lnTo>
                    <a:lnTo>
                      <a:pt x="7733501" y="2643388"/>
                    </a:lnTo>
                    <a:lnTo>
                      <a:pt x="7735218" y="2645680"/>
                    </a:lnTo>
                    <a:lnTo>
                      <a:pt x="7736359" y="2646500"/>
                    </a:lnTo>
                    <a:lnTo>
                      <a:pt x="7739970" y="2647797"/>
                    </a:lnTo>
                    <a:lnTo>
                      <a:pt x="7737943" y="2649669"/>
                    </a:lnTo>
                    <a:lnTo>
                      <a:pt x="7731762" y="2649256"/>
                    </a:lnTo>
                    <a:lnTo>
                      <a:pt x="7729321" y="2650655"/>
                    </a:lnTo>
                    <a:lnTo>
                      <a:pt x="7731673" y="2652540"/>
                    </a:lnTo>
                    <a:lnTo>
                      <a:pt x="7733983" y="2653468"/>
                    </a:lnTo>
                    <a:lnTo>
                      <a:pt x="7735682" y="2654885"/>
                    </a:lnTo>
                    <a:lnTo>
                      <a:pt x="7736196" y="2658306"/>
                    </a:lnTo>
                    <a:lnTo>
                      <a:pt x="7735354" y="2658646"/>
                    </a:lnTo>
                    <a:lnTo>
                      <a:pt x="7733738" y="2658467"/>
                    </a:lnTo>
                    <a:lnTo>
                      <a:pt x="7732559" y="2659372"/>
                    </a:lnTo>
                    <a:lnTo>
                      <a:pt x="7732962" y="2662941"/>
                    </a:lnTo>
                    <a:lnTo>
                      <a:pt x="7741738" y="2664806"/>
                    </a:lnTo>
                    <a:lnTo>
                      <a:pt x="7744607" y="2666526"/>
                    </a:lnTo>
                    <a:lnTo>
                      <a:pt x="7745763" y="2668771"/>
                    </a:lnTo>
                    <a:lnTo>
                      <a:pt x="7746197" y="2674338"/>
                    </a:lnTo>
                    <a:lnTo>
                      <a:pt x="7747949" y="2676661"/>
                    </a:lnTo>
                    <a:lnTo>
                      <a:pt x="7746065" y="2679697"/>
                    </a:lnTo>
                    <a:lnTo>
                      <a:pt x="7740405" y="2675916"/>
                    </a:lnTo>
                    <a:lnTo>
                      <a:pt x="7733658" y="2669916"/>
                    </a:lnTo>
                    <a:lnTo>
                      <a:pt x="7728547" y="2666321"/>
                    </a:lnTo>
                    <a:lnTo>
                      <a:pt x="7726348" y="2666425"/>
                    </a:lnTo>
                    <a:lnTo>
                      <a:pt x="7726689" y="2668272"/>
                    </a:lnTo>
                    <a:lnTo>
                      <a:pt x="7728264" y="2671232"/>
                    </a:lnTo>
                    <a:lnTo>
                      <a:pt x="7729784" y="2674655"/>
                    </a:lnTo>
                    <a:lnTo>
                      <a:pt x="7730728" y="2679212"/>
                    </a:lnTo>
                    <a:lnTo>
                      <a:pt x="7730934" y="2681743"/>
                    </a:lnTo>
                    <a:lnTo>
                      <a:pt x="7731695" y="2682713"/>
                    </a:lnTo>
                    <a:lnTo>
                      <a:pt x="7734297" y="2682594"/>
                    </a:lnTo>
                    <a:lnTo>
                      <a:pt x="7739040" y="2681376"/>
                    </a:lnTo>
                    <a:lnTo>
                      <a:pt x="7741403" y="2682012"/>
                    </a:lnTo>
                    <a:lnTo>
                      <a:pt x="7747106" y="2690963"/>
                    </a:lnTo>
                    <a:lnTo>
                      <a:pt x="7747353" y="2692976"/>
                    </a:lnTo>
                    <a:lnTo>
                      <a:pt x="7741415" y="2695362"/>
                    </a:lnTo>
                    <a:lnTo>
                      <a:pt x="7742080" y="2697433"/>
                    </a:lnTo>
                    <a:lnTo>
                      <a:pt x="7746695" y="2702697"/>
                    </a:lnTo>
                    <a:lnTo>
                      <a:pt x="7748006" y="2703903"/>
                    </a:lnTo>
                    <a:lnTo>
                      <a:pt x="7749153" y="2705399"/>
                    </a:lnTo>
                    <a:lnTo>
                      <a:pt x="7749336" y="2707133"/>
                    </a:lnTo>
                    <a:lnTo>
                      <a:pt x="7747879" y="2710115"/>
                    </a:lnTo>
                    <a:lnTo>
                      <a:pt x="7747949" y="2711525"/>
                    </a:lnTo>
                    <a:lnTo>
                      <a:pt x="7749486" y="2713565"/>
                    </a:lnTo>
                    <a:lnTo>
                      <a:pt x="7749919" y="2716906"/>
                    </a:lnTo>
                    <a:lnTo>
                      <a:pt x="7749686" y="2719164"/>
                    </a:lnTo>
                    <a:lnTo>
                      <a:pt x="7748477" y="2720528"/>
                    </a:lnTo>
                    <a:lnTo>
                      <a:pt x="7746022" y="2721210"/>
                    </a:lnTo>
                    <a:lnTo>
                      <a:pt x="7743927" y="2720801"/>
                    </a:lnTo>
                    <a:lnTo>
                      <a:pt x="7737700" y="2718069"/>
                    </a:lnTo>
                    <a:lnTo>
                      <a:pt x="7735915" y="2716650"/>
                    </a:lnTo>
                    <a:lnTo>
                      <a:pt x="7735476" y="2714509"/>
                    </a:lnTo>
                    <a:lnTo>
                      <a:pt x="7734561" y="2701775"/>
                    </a:lnTo>
                    <a:lnTo>
                      <a:pt x="7732590" y="2699562"/>
                    </a:lnTo>
                    <a:lnTo>
                      <a:pt x="7730077" y="2697744"/>
                    </a:lnTo>
                    <a:lnTo>
                      <a:pt x="7728151" y="2696099"/>
                    </a:lnTo>
                    <a:lnTo>
                      <a:pt x="7726646" y="2691635"/>
                    </a:lnTo>
                    <a:lnTo>
                      <a:pt x="7724788" y="2684432"/>
                    </a:lnTo>
                    <a:lnTo>
                      <a:pt x="7722267" y="2678053"/>
                    </a:lnTo>
                    <a:lnTo>
                      <a:pt x="7718700" y="2676020"/>
                    </a:lnTo>
                    <a:lnTo>
                      <a:pt x="7717631" y="2679457"/>
                    </a:lnTo>
                    <a:lnTo>
                      <a:pt x="7719976" y="2685141"/>
                    </a:lnTo>
                    <a:lnTo>
                      <a:pt x="7721240" y="2690249"/>
                    </a:lnTo>
                    <a:lnTo>
                      <a:pt x="7716903" y="2691944"/>
                    </a:lnTo>
                    <a:lnTo>
                      <a:pt x="7723008" y="2701623"/>
                    </a:lnTo>
                    <a:lnTo>
                      <a:pt x="7719668" y="2704714"/>
                    </a:lnTo>
                    <a:lnTo>
                      <a:pt x="7713368" y="2704994"/>
                    </a:lnTo>
                    <a:lnTo>
                      <a:pt x="7710543" y="2706165"/>
                    </a:lnTo>
                    <a:lnTo>
                      <a:pt x="7717176" y="2713268"/>
                    </a:lnTo>
                    <a:lnTo>
                      <a:pt x="7718972" y="2713674"/>
                    </a:lnTo>
                    <a:lnTo>
                      <a:pt x="7719454" y="2712990"/>
                    </a:lnTo>
                    <a:lnTo>
                      <a:pt x="7719693" y="2711949"/>
                    </a:lnTo>
                    <a:lnTo>
                      <a:pt x="7720833" y="2711279"/>
                    </a:lnTo>
                    <a:lnTo>
                      <a:pt x="7725111" y="2712233"/>
                    </a:lnTo>
                    <a:lnTo>
                      <a:pt x="7726865" y="2715427"/>
                    </a:lnTo>
                    <a:lnTo>
                      <a:pt x="7728150" y="2719119"/>
                    </a:lnTo>
                    <a:lnTo>
                      <a:pt x="7731036" y="2721484"/>
                    </a:lnTo>
                    <a:lnTo>
                      <a:pt x="7730991" y="2723456"/>
                    </a:lnTo>
                    <a:lnTo>
                      <a:pt x="7730323" y="2724913"/>
                    </a:lnTo>
                    <a:lnTo>
                      <a:pt x="7728343" y="2727484"/>
                    </a:lnTo>
                    <a:lnTo>
                      <a:pt x="7731021" y="2729604"/>
                    </a:lnTo>
                    <a:lnTo>
                      <a:pt x="7733520" y="2733604"/>
                    </a:lnTo>
                    <a:lnTo>
                      <a:pt x="7734934" y="2737907"/>
                    </a:lnTo>
                    <a:lnTo>
                      <a:pt x="7734358" y="2740914"/>
                    </a:lnTo>
                    <a:lnTo>
                      <a:pt x="7732097" y="2740589"/>
                    </a:lnTo>
                    <a:lnTo>
                      <a:pt x="7728571" y="2738486"/>
                    </a:lnTo>
                    <a:lnTo>
                      <a:pt x="7726126" y="2735366"/>
                    </a:lnTo>
                    <a:lnTo>
                      <a:pt x="7727125" y="2732003"/>
                    </a:lnTo>
                    <a:lnTo>
                      <a:pt x="7723458" y="2730407"/>
                    </a:lnTo>
                    <a:lnTo>
                      <a:pt x="7716317" y="2729368"/>
                    </a:lnTo>
                    <a:lnTo>
                      <a:pt x="7713307" y="2726477"/>
                    </a:lnTo>
                    <a:lnTo>
                      <a:pt x="7714591" y="2724516"/>
                    </a:lnTo>
                    <a:lnTo>
                      <a:pt x="7714060" y="2722227"/>
                    </a:lnTo>
                    <a:lnTo>
                      <a:pt x="7712180" y="2720422"/>
                    </a:lnTo>
                    <a:lnTo>
                      <a:pt x="7709419" y="2719880"/>
                    </a:lnTo>
                    <a:lnTo>
                      <a:pt x="7708646" y="2718835"/>
                    </a:lnTo>
                    <a:lnTo>
                      <a:pt x="7709309" y="2716250"/>
                    </a:lnTo>
                    <a:lnTo>
                      <a:pt x="7711243" y="2711798"/>
                    </a:lnTo>
                    <a:lnTo>
                      <a:pt x="7710778" y="2709467"/>
                    </a:lnTo>
                    <a:lnTo>
                      <a:pt x="7708197" y="2708474"/>
                    </a:lnTo>
                    <a:lnTo>
                      <a:pt x="7705547" y="2708434"/>
                    </a:lnTo>
                    <a:lnTo>
                      <a:pt x="7704894" y="2708968"/>
                    </a:lnTo>
                    <a:lnTo>
                      <a:pt x="7702758" y="2707061"/>
                    </a:lnTo>
                    <a:lnTo>
                      <a:pt x="7701648" y="2705163"/>
                    </a:lnTo>
                    <a:lnTo>
                      <a:pt x="7699364" y="2699616"/>
                    </a:lnTo>
                    <a:lnTo>
                      <a:pt x="7697963" y="2697265"/>
                    </a:lnTo>
                    <a:lnTo>
                      <a:pt x="7695576" y="2693863"/>
                    </a:lnTo>
                    <a:lnTo>
                      <a:pt x="7694321" y="2691091"/>
                    </a:lnTo>
                    <a:lnTo>
                      <a:pt x="7694478" y="2688745"/>
                    </a:lnTo>
                    <a:lnTo>
                      <a:pt x="7699920" y="2690983"/>
                    </a:lnTo>
                    <a:lnTo>
                      <a:pt x="7700204" y="2688958"/>
                    </a:lnTo>
                    <a:lnTo>
                      <a:pt x="7699109" y="2685973"/>
                    </a:lnTo>
                    <a:lnTo>
                      <a:pt x="7698777" y="2684142"/>
                    </a:lnTo>
                    <a:lnTo>
                      <a:pt x="7699397" y="2682769"/>
                    </a:lnTo>
                    <a:lnTo>
                      <a:pt x="7701129" y="2681141"/>
                    </a:lnTo>
                    <a:lnTo>
                      <a:pt x="7704480" y="2680385"/>
                    </a:lnTo>
                    <a:lnTo>
                      <a:pt x="7704597" y="2679064"/>
                    </a:lnTo>
                    <a:lnTo>
                      <a:pt x="7701819" y="2675274"/>
                    </a:lnTo>
                    <a:lnTo>
                      <a:pt x="7700322" y="2676739"/>
                    </a:lnTo>
                    <a:lnTo>
                      <a:pt x="7695024" y="2680335"/>
                    </a:lnTo>
                    <a:lnTo>
                      <a:pt x="7693965" y="2682622"/>
                    </a:lnTo>
                    <a:lnTo>
                      <a:pt x="7693269" y="2683381"/>
                    </a:lnTo>
                    <a:lnTo>
                      <a:pt x="7692055" y="2684135"/>
                    </a:lnTo>
                    <a:lnTo>
                      <a:pt x="7690811" y="2684581"/>
                    </a:lnTo>
                    <a:lnTo>
                      <a:pt x="7689415" y="2684592"/>
                    </a:lnTo>
                    <a:lnTo>
                      <a:pt x="7687714" y="2684056"/>
                    </a:lnTo>
                    <a:lnTo>
                      <a:pt x="7687254" y="2682832"/>
                    </a:lnTo>
                    <a:lnTo>
                      <a:pt x="7690821" y="2680021"/>
                    </a:lnTo>
                    <a:lnTo>
                      <a:pt x="7688910" y="2677220"/>
                    </a:lnTo>
                    <a:lnTo>
                      <a:pt x="7685451" y="2674312"/>
                    </a:lnTo>
                    <a:lnTo>
                      <a:pt x="7684348" y="2671103"/>
                    </a:lnTo>
                    <a:lnTo>
                      <a:pt x="7685725" y="2670329"/>
                    </a:lnTo>
                    <a:lnTo>
                      <a:pt x="7690128" y="2669825"/>
                    </a:lnTo>
                    <a:lnTo>
                      <a:pt x="7690722" y="2668910"/>
                    </a:lnTo>
                    <a:lnTo>
                      <a:pt x="7687024" y="2662140"/>
                    </a:lnTo>
                    <a:lnTo>
                      <a:pt x="7686546" y="2660169"/>
                    </a:lnTo>
                    <a:lnTo>
                      <a:pt x="7687299" y="2658846"/>
                    </a:lnTo>
                    <a:lnTo>
                      <a:pt x="7688903" y="2659375"/>
                    </a:lnTo>
                    <a:lnTo>
                      <a:pt x="7690826" y="2660421"/>
                    </a:lnTo>
                    <a:lnTo>
                      <a:pt x="7692548" y="2660716"/>
                    </a:lnTo>
                    <a:lnTo>
                      <a:pt x="7694362" y="2659583"/>
                    </a:lnTo>
                    <a:lnTo>
                      <a:pt x="7694328" y="2658307"/>
                    </a:lnTo>
                    <a:lnTo>
                      <a:pt x="7693281" y="2656666"/>
                    </a:lnTo>
                    <a:lnTo>
                      <a:pt x="7692105" y="2654467"/>
                    </a:lnTo>
                    <a:lnTo>
                      <a:pt x="7692477" y="2653840"/>
                    </a:lnTo>
                    <a:lnTo>
                      <a:pt x="7694242" y="2655014"/>
                    </a:lnTo>
                    <a:lnTo>
                      <a:pt x="7696389" y="2657162"/>
                    </a:lnTo>
                    <a:lnTo>
                      <a:pt x="7697844" y="2659427"/>
                    </a:lnTo>
                    <a:lnTo>
                      <a:pt x="7701234" y="2668391"/>
                    </a:lnTo>
                    <a:lnTo>
                      <a:pt x="7701886" y="2666702"/>
                    </a:lnTo>
                    <a:lnTo>
                      <a:pt x="7704684" y="2662195"/>
                    </a:lnTo>
                    <a:lnTo>
                      <a:pt x="7704375" y="2661760"/>
                    </a:lnTo>
                    <a:lnTo>
                      <a:pt x="7703883" y="2660809"/>
                    </a:lnTo>
                    <a:lnTo>
                      <a:pt x="7703880" y="2659798"/>
                    </a:lnTo>
                    <a:lnTo>
                      <a:pt x="7704994" y="2659189"/>
                    </a:lnTo>
                    <a:lnTo>
                      <a:pt x="7708781" y="2660275"/>
                    </a:lnTo>
                    <a:lnTo>
                      <a:pt x="7711060" y="2662279"/>
                    </a:lnTo>
                    <a:lnTo>
                      <a:pt x="7713318" y="2664835"/>
                    </a:lnTo>
                    <a:lnTo>
                      <a:pt x="7715215" y="2666296"/>
                    </a:lnTo>
                    <a:lnTo>
                      <a:pt x="7716360" y="2664991"/>
                    </a:lnTo>
                    <a:lnTo>
                      <a:pt x="7716077" y="2663019"/>
                    </a:lnTo>
                    <a:lnTo>
                      <a:pt x="7714071" y="2657760"/>
                    </a:lnTo>
                    <a:lnTo>
                      <a:pt x="7713771" y="2655412"/>
                    </a:lnTo>
                    <a:lnTo>
                      <a:pt x="7711667" y="2653251"/>
                    </a:lnTo>
                    <a:lnTo>
                      <a:pt x="7707889" y="2650555"/>
                    </a:lnTo>
                    <a:lnTo>
                      <a:pt x="7706004" y="2647880"/>
                    </a:lnTo>
                    <a:lnTo>
                      <a:pt x="7704728" y="2644827"/>
                    </a:lnTo>
                    <a:lnTo>
                      <a:pt x="7705001" y="2643402"/>
                    </a:lnTo>
                    <a:lnTo>
                      <a:pt x="7706696" y="2643388"/>
                    </a:lnTo>
                    <a:lnTo>
                      <a:pt x="7709658" y="2644606"/>
                    </a:lnTo>
                    <a:lnTo>
                      <a:pt x="7708545" y="2642636"/>
                    </a:lnTo>
                    <a:lnTo>
                      <a:pt x="7706963" y="2640472"/>
                    </a:lnTo>
                    <a:lnTo>
                      <a:pt x="7705259" y="2638743"/>
                    </a:lnTo>
                    <a:lnTo>
                      <a:pt x="7703783" y="2638134"/>
                    </a:lnTo>
                    <a:lnTo>
                      <a:pt x="7702954" y="2637241"/>
                    </a:lnTo>
                    <a:lnTo>
                      <a:pt x="7700645" y="2632925"/>
                    </a:lnTo>
                    <a:lnTo>
                      <a:pt x="7699787" y="2631549"/>
                    </a:lnTo>
                    <a:lnTo>
                      <a:pt x="7697219" y="2630433"/>
                    </a:lnTo>
                    <a:lnTo>
                      <a:pt x="7696933" y="2633703"/>
                    </a:lnTo>
                    <a:lnTo>
                      <a:pt x="7697127" y="2638465"/>
                    </a:lnTo>
                    <a:lnTo>
                      <a:pt x="7696023" y="2641904"/>
                    </a:lnTo>
                    <a:lnTo>
                      <a:pt x="7693466" y="2641839"/>
                    </a:lnTo>
                    <a:lnTo>
                      <a:pt x="7690217" y="2639416"/>
                    </a:lnTo>
                    <a:lnTo>
                      <a:pt x="7686650" y="2636165"/>
                    </a:lnTo>
                    <a:lnTo>
                      <a:pt x="7683157" y="2633596"/>
                    </a:lnTo>
                    <a:lnTo>
                      <a:pt x="7678491" y="2631658"/>
                    </a:lnTo>
                    <a:lnTo>
                      <a:pt x="7674102" y="2630831"/>
                    </a:lnTo>
                    <a:lnTo>
                      <a:pt x="7670076" y="2631189"/>
                    </a:lnTo>
                    <a:lnTo>
                      <a:pt x="7666511" y="2632813"/>
                    </a:lnTo>
                    <a:lnTo>
                      <a:pt x="7666001" y="2631460"/>
                    </a:lnTo>
                    <a:lnTo>
                      <a:pt x="7673403" y="2621808"/>
                    </a:lnTo>
                    <a:lnTo>
                      <a:pt x="7678621" y="2619407"/>
                    </a:lnTo>
                    <a:lnTo>
                      <a:pt x="7680864" y="2616227"/>
                    </a:lnTo>
                    <a:lnTo>
                      <a:pt x="7682959" y="2615135"/>
                    </a:lnTo>
                    <a:lnTo>
                      <a:pt x="7688115" y="2615535"/>
                    </a:lnTo>
                    <a:lnTo>
                      <a:pt x="7689638" y="2614816"/>
                    </a:lnTo>
                    <a:lnTo>
                      <a:pt x="7689399" y="2611636"/>
                    </a:lnTo>
                    <a:lnTo>
                      <a:pt x="7684808" y="2610806"/>
                    </a:lnTo>
                    <a:lnTo>
                      <a:pt x="7681293" y="2611626"/>
                    </a:lnTo>
                    <a:lnTo>
                      <a:pt x="7672573" y="2618543"/>
                    </a:lnTo>
                    <a:lnTo>
                      <a:pt x="7669858" y="2619616"/>
                    </a:lnTo>
                    <a:lnTo>
                      <a:pt x="7666783" y="2618596"/>
                    </a:lnTo>
                    <a:lnTo>
                      <a:pt x="7662623" y="2614930"/>
                    </a:lnTo>
                    <a:lnTo>
                      <a:pt x="7664981" y="2612908"/>
                    </a:lnTo>
                    <a:lnTo>
                      <a:pt x="7667918" y="2612413"/>
                    </a:lnTo>
                    <a:lnTo>
                      <a:pt x="7669787" y="2611022"/>
                    </a:lnTo>
                    <a:lnTo>
                      <a:pt x="7668964" y="2606326"/>
                    </a:lnTo>
                    <a:lnTo>
                      <a:pt x="7667532" y="2604532"/>
                    </a:lnTo>
                    <a:lnTo>
                      <a:pt x="7665763" y="2604220"/>
                    </a:lnTo>
                    <a:lnTo>
                      <a:pt x="7664303" y="2604727"/>
                    </a:lnTo>
                    <a:lnTo>
                      <a:pt x="7663839" y="2605466"/>
                    </a:lnTo>
                    <a:lnTo>
                      <a:pt x="7664748" y="2608611"/>
                    </a:lnTo>
                    <a:lnTo>
                      <a:pt x="7664332" y="2609849"/>
                    </a:lnTo>
                    <a:lnTo>
                      <a:pt x="7658398" y="2611577"/>
                    </a:lnTo>
                    <a:lnTo>
                      <a:pt x="7654546" y="2611510"/>
                    </a:lnTo>
                    <a:lnTo>
                      <a:pt x="7650761" y="2610273"/>
                    </a:lnTo>
                    <a:lnTo>
                      <a:pt x="7648259" y="2607373"/>
                    </a:lnTo>
                    <a:lnTo>
                      <a:pt x="7642990" y="2602440"/>
                    </a:lnTo>
                    <a:lnTo>
                      <a:pt x="7641502" y="2600452"/>
                    </a:lnTo>
                    <a:lnTo>
                      <a:pt x="7640863" y="2598032"/>
                    </a:lnTo>
                    <a:lnTo>
                      <a:pt x="7640666" y="2594903"/>
                    </a:lnTo>
                    <a:lnTo>
                      <a:pt x="7638519" y="2590372"/>
                    </a:lnTo>
                    <a:lnTo>
                      <a:pt x="7633654" y="2582770"/>
                    </a:lnTo>
                    <a:lnTo>
                      <a:pt x="7631498" y="2578250"/>
                    </a:lnTo>
                    <a:lnTo>
                      <a:pt x="7631154" y="2576276"/>
                    </a:lnTo>
                    <a:lnTo>
                      <a:pt x="7631574" y="2574661"/>
                    </a:lnTo>
                    <a:lnTo>
                      <a:pt x="7632525" y="2573552"/>
                    </a:lnTo>
                    <a:lnTo>
                      <a:pt x="7633775" y="2573030"/>
                    </a:lnTo>
                    <a:lnTo>
                      <a:pt x="7636292" y="2573393"/>
                    </a:lnTo>
                    <a:lnTo>
                      <a:pt x="7638267" y="2574841"/>
                    </a:lnTo>
                    <a:lnTo>
                      <a:pt x="7642362" y="2579174"/>
                    </a:lnTo>
                    <a:lnTo>
                      <a:pt x="7648904" y="2584282"/>
                    </a:lnTo>
                    <a:lnTo>
                      <a:pt x="7652349" y="2586053"/>
                    </a:lnTo>
                    <a:lnTo>
                      <a:pt x="7652871" y="2584173"/>
                    </a:lnTo>
                    <a:lnTo>
                      <a:pt x="7650695" y="2580353"/>
                    </a:lnTo>
                    <a:lnTo>
                      <a:pt x="7648004" y="2577909"/>
                    </a:lnTo>
                    <a:lnTo>
                      <a:pt x="7645068" y="2575898"/>
                    </a:lnTo>
                    <a:lnTo>
                      <a:pt x="7642180" y="2573428"/>
                    </a:lnTo>
                    <a:lnTo>
                      <a:pt x="7638810" y="2567889"/>
                    </a:lnTo>
                    <a:lnTo>
                      <a:pt x="7641075" y="2565719"/>
                    </a:lnTo>
                    <a:lnTo>
                      <a:pt x="7650971" y="2565282"/>
                    </a:lnTo>
                    <a:lnTo>
                      <a:pt x="7653139" y="2565873"/>
                    </a:lnTo>
                    <a:lnTo>
                      <a:pt x="7660433" y="2571179"/>
                    </a:lnTo>
                    <a:lnTo>
                      <a:pt x="7663004" y="2572090"/>
                    </a:lnTo>
                    <a:lnTo>
                      <a:pt x="7666094" y="2572750"/>
                    </a:lnTo>
                    <a:lnTo>
                      <a:pt x="7669123" y="2572981"/>
                    </a:lnTo>
                    <a:lnTo>
                      <a:pt x="7671510" y="2572618"/>
                    </a:lnTo>
                    <a:lnTo>
                      <a:pt x="7670998" y="2571285"/>
                    </a:lnTo>
                    <a:lnTo>
                      <a:pt x="7668399" y="2569764"/>
                    </a:lnTo>
                    <a:lnTo>
                      <a:pt x="7664057" y="2565557"/>
                    </a:lnTo>
                    <a:lnTo>
                      <a:pt x="7661505" y="2563980"/>
                    </a:lnTo>
                    <a:lnTo>
                      <a:pt x="7655455" y="2563442"/>
                    </a:lnTo>
                    <a:lnTo>
                      <a:pt x="7652762" y="2562370"/>
                    </a:lnTo>
                    <a:lnTo>
                      <a:pt x="7652025" y="2559383"/>
                    </a:lnTo>
                    <a:lnTo>
                      <a:pt x="7649774" y="2558216"/>
                    </a:lnTo>
                    <a:lnTo>
                      <a:pt x="7643319" y="2556356"/>
                    </a:lnTo>
                    <a:close/>
                    <a:moveTo>
                      <a:pt x="4993709" y="2542762"/>
                    </a:moveTo>
                    <a:lnTo>
                      <a:pt x="4996865" y="2544269"/>
                    </a:lnTo>
                    <a:lnTo>
                      <a:pt x="5000688" y="2545381"/>
                    </a:lnTo>
                    <a:lnTo>
                      <a:pt x="5015747" y="2552279"/>
                    </a:lnTo>
                    <a:lnTo>
                      <a:pt x="5022541" y="2556769"/>
                    </a:lnTo>
                    <a:lnTo>
                      <a:pt x="5025379" y="2559663"/>
                    </a:lnTo>
                    <a:lnTo>
                      <a:pt x="5030338" y="2566223"/>
                    </a:lnTo>
                    <a:lnTo>
                      <a:pt x="5032900" y="2570809"/>
                    </a:lnTo>
                    <a:lnTo>
                      <a:pt x="5033290" y="2574274"/>
                    </a:lnTo>
                    <a:lnTo>
                      <a:pt x="5031705" y="2574533"/>
                    </a:lnTo>
                    <a:lnTo>
                      <a:pt x="5023780" y="2573300"/>
                    </a:lnTo>
                    <a:lnTo>
                      <a:pt x="5023370" y="2572813"/>
                    </a:lnTo>
                    <a:lnTo>
                      <a:pt x="5022803" y="2571857"/>
                    </a:lnTo>
                    <a:lnTo>
                      <a:pt x="5021973" y="2570956"/>
                    </a:lnTo>
                    <a:lnTo>
                      <a:pt x="5020736" y="2570563"/>
                    </a:lnTo>
                    <a:lnTo>
                      <a:pt x="5018269" y="2570363"/>
                    </a:lnTo>
                    <a:lnTo>
                      <a:pt x="5017138" y="2570024"/>
                    </a:lnTo>
                    <a:lnTo>
                      <a:pt x="5015971" y="2569460"/>
                    </a:lnTo>
                    <a:lnTo>
                      <a:pt x="5016601" y="2569075"/>
                    </a:lnTo>
                    <a:lnTo>
                      <a:pt x="5017109" y="2568580"/>
                    </a:lnTo>
                    <a:lnTo>
                      <a:pt x="5017689" y="2568147"/>
                    </a:lnTo>
                    <a:lnTo>
                      <a:pt x="5018554" y="2567924"/>
                    </a:lnTo>
                    <a:lnTo>
                      <a:pt x="5017093" y="2565643"/>
                    </a:lnTo>
                    <a:lnTo>
                      <a:pt x="5014679" y="2564992"/>
                    </a:lnTo>
                    <a:lnTo>
                      <a:pt x="5009520" y="2565472"/>
                    </a:lnTo>
                    <a:lnTo>
                      <a:pt x="5007233" y="2564873"/>
                    </a:lnTo>
                    <a:lnTo>
                      <a:pt x="4989176" y="2554073"/>
                    </a:lnTo>
                    <a:lnTo>
                      <a:pt x="4986280" y="2551259"/>
                    </a:lnTo>
                    <a:lnTo>
                      <a:pt x="4987853" y="2547754"/>
                    </a:lnTo>
                    <a:lnTo>
                      <a:pt x="4990519" y="2544415"/>
                    </a:lnTo>
                    <a:close/>
                    <a:moveTo>
                      <a:pt x="5136630" y="2540433"/>
                    </a:moveTo>
                    <a:lnTo>
                      <a:pt x="5138023" y="2541362"/>
                    </a:lnTo>
                    <a:lnTo>
                      <a:pt x="5138061" y="2543761"/>
                    </a:lnTo>
                    <a:lnTo>
                      <a:pt x="5139202" y="2545323"/>
                    </a:lnTo>
                    <a:lnTo>
                      <a:pt x="5139321" y="2546331"/>
                    </a:lnTo>
                    <a:lnTo>
                      <a:pt x="5138598" y="2547253"/>
                    </a:lnTo>
                    <a:lnTo>
                      <a:pt x="5139473" y="2548004"/>
                    </a:lnTo>
                    <a:lnTo>
                      <a:pt x="5143470" y="2548644"/>
                    </a:lnTo>
                    <a:lnTo>
                      <a:pt x="5147202" y="2548480"/>
                    </a:lnTo>
                    <a:lnTo>
                      <a:pt x="5147969" y="2548608"/>
                    </a:lnTo>
                    <a:lnTo>
                      <a:pt x="5149573" y="2549081"/>
                    </a:lnTo>
                    <a:lnTo>
                      <a:pt x="5150629" y="2549369"/>
                    </a:lnTo>
                    <a:lnTo>
                      <a:pt x="5152239" y="2550443"/>
                    </a:lnTo>
                    <a:lnTo>
                      <a:pt x="5151764" y="2552144"/>
                    </a:lnTo>
                    <a:lnTo>
                      <a:pt x="5148492" y="2554912"/>
                    </a:lnTo>
                    <a:lnTo>
                      <a:pt x="5147983" y="2555924"/>
                    </a:lnTo>
                    <a:lnTo>
                      <a:pt x="5146848" y="2556448"/>
                    </a:lnTo>
                    <a:lnTo>
                      <a:pt x="5145184" y="2555945"/>
                    </a:lnTo>
                    <a:lnTo>
                      <a:pt x="5142849" y="2554668"/>
                    </a:lnTo>
                    <a:lnTo>
                      <a:pt x="5130419" y="2551404"/>
                    </a:lnTo>
                    <a:lnTo>
                      <a:pt x="5127628" y="2549281"/>
                    </a:lnTo>
                    <a:lnTo>
                      <a:pt x="5128996" y="2546302"/>
                    </a:lnTo>
                    <a:lnTo>
                      <a:pt x="5130132" y="2544718"/>
                    </a:lnTo>
                    <a:lnTo>
                      <a:pt x="5129453" y="2544385"/>
                    </a:lnTo>
                    <a:lnTo>
                      <a:pt x="5129214" y="2543654"/>
                    </a:lnTo>
                    <a:lnTo>
                      <a:pt x="5128995" y="2543131"/>
                    </a:lnTo>
                    <a:lnTo>
                      <a:pt x="5128752" y="2543034"/>
                    </a:lnTo>
                    <a:lnTo>
                      <a:pt x="5128400" y="2542851"/>
                    </a:lnTo>
                    <a:lnTo>
                      <a:pt x="5128567" y="2542181"/>
                    </a:lnTo>
                    <a:lnTo>
                      <a:pt x="5129731" y="2541840"/>
                    </a:lnTo>
                    <a:lnTo>
                      <a:pt x="5131036" y="2542242"/>
                    </a:lnTo>
                    <a:lnTo>
                      <a:pt x="5132590" y="2542459"/>
                    </a:lnTo>
                    <a:close/>
                    <a:moveTo>
                      <a:pt x="5093932" y="2538823"/>
                    </a:moveTo>
                    <a:lnTo>
                      <a:pt x="5095904" y="2539078"/>
                    </a:lnTo>
                    <a:lnTo>
                      <a:pt x="5096183" y="2540723"/>
                    </a:lnTo>
                    <a:lnTo>
                      <a:pt x="5094951" y="2541802"/>
                    </a:lnTo>
                    <a:lnTo>
                      <a:pt x="5094703" y="2542989"/>
                    </a:lnTo>
                    <a:lnTo>
                      <a:pt x="5095155" y="2545134"/>
                    </a:lnTo>
                    <a:lnTo>
                      <a:pt x="5094282" y="2547623"/>
                    </a:lnTo>
                    <a:lnTo>
                      <a:pt x="5092261" y="2549472"/>
                    </a:lnTo>
                    <a:lnTo>
                      <a:pt x="5089373" y="2550455"/>
                    </a:lnTo>
                    <a:lnTo>
                      <a:pt x="5086050" y="2549844"/>
                    </a:lnTo>
                    <a:lnTo>
                      <a:pt x="5083561" y="2548367"/>
                    </a:lnTo>
                    <a:lnTo>
                      <a:pt x="5080006" y="2547065"/>
                    </a:lnTo>
                    <a:lnTo>
                      <a:pt x="5078660" y="2545017"/>
                    </a:lnTo>
                    <a:lnTo>
                      <a:pt x="5079386" y="2542477"/>
                    </a:lnTo>
                    <a:lnTo>
                      <a:pt x="5082046" y="2540989"/>
                    </a:lnTo>
                    <a:lnTo>
                      <a:pt x="5092736" y="2539484"/>
                    </a:lnTo>
                    <a:close/>
                    <a:moveTo>
                      <a:pt x="5020076" y="2535635"/>
                    </a:moveTo>
                    <a:lnTo>
                      <a:pt x="5021966" y="2535945"/>
                    </a:lnTo>
                    <a:lnTo>
                      <a:pt x="5023375" y="2536838"/>
                    </a:lnTo>
                    <a:lnTo>
                      <a:pt x="5027724" y="2537885"/>
                    </a:lnTo>
                    <a:lnTo>
                      <a:pt x="5036728" y="2543152"/>
                    </a:lnTo>
                    <a:lnTo>
                      <a:pt x="5043453" y="2544870"/>
                    </a:lnTo>
                    <a:lnTo>
                      <a:pt x="5048492" y="2547524"/>
                    </a:lnTo>
                    <a:lnTo>
                      <a:pt x="5053684" y="2548577"/>
                    </a:lnTo>
                    <a:lnTo>
                      <a:pt x="5058435" y="2550627"/>
                    </a:lnTo>
                    <a:lnTo>
                      <a:pt x="5061099" y="2550616"/>
                    </a:lnTo>
                    <a:lnTo>
                      <a:pt x="5059180" y="2546771"/>
                    </a:lnTo>
                    <a:lnTo>
                      <a:pt x="5062129" y="2546110"/>
                    </a:lnTo>
                    <a:lnTo>
                      <a:pt x="5078817" y="2548984"/>
                    </a:lnTo>
                    <a:lnTo>
                      <a:pt x="5083144" y="2551003"/>
                    </a:lnTo>
                    <a:lnTo>
                      <a:pt x="5086655" y="2553936"/>
                    </a:lnTo>
                    <a:lnTo>
                      <a:pt x="5080588" y="2556639"/>
                    </a:lnTo>
                    <a:lnTo>
                      <a:pt x="5077621" y="2558553"/>
                    </a:lnTo>
                    <a:lnTo>
                      <a:pt x="5076046" y="2560966"/>
                    </a:lnTo>
                    <a:lnTo>
                      <a:pt x="5078490" y="2560527"/>
                    </a:lnTo>
                    <a:lnTo>
                      <a:pt x="5080586" y="2559624"/>
                    </a:lnTo>
                    <a:lnTo>
                      <a:pt x="5080699" y="2560833"/>
                    </a:lnTo>
                    <a:lnTo>
                      <a:pt x="5075933" y="2563682"/>
                    </a:lnTo>
                    <a:lnTo>
                      <a:pt x="5074966" y="2568213"/>
                    </a:lnTo>
                    <a:lnTo>
                      <a:pt x="5075281" y="2573334"/>
                    </a:lnTo>
                    <a:lnTo>
                      <a:pt x="5073291" y="2581942"/>
                    </a:lnTo>
                    <a:lnTo>
                      <a:pt x="5074849" y="2584364"/>
                    </a:lnTo>
                    <a:lnTo>
                      <a:pt x="5077238" y="2586264"/>
                    </a:lnTo>
                    <a:lnTo>
                      <a:pt x="5078635" y="2588691"/>
                    </a:lnTo>
                    <a:lnTo>
                      <a:pt x="5079437" y="2589575"/>
                    </a:lnTo>
                    <a:lnTo>
                      <a:pt x="5081025" y="2589241"/>
                    </a:lnTo>
                    <a:lnTo>
                      <a:pt x="5082542" y="2588242"/>
                    </a:lnTo>
                    <a:lnTo>
                      <a:pt x="5083173" y="2587155"/>
                    </a:lnTo>
                    <a:lnTo>
                      <a:pt x="5082850" y="2585286"/>
                    </a:lnTo>
                    <a:lnTo>
                      <a:pt x="5081913" y="2582237"/>
                    </a:lnTo>
                    <a:lnTo>
                      <a:pt x="5081614" y="2580526"/>
                    </a:lnTo>
                    <a:lnTo>
                      <a:pt x="5081527" y="2572603"/>
                    </a:lnTo>
                    <a:lnTo>
                      <a:pt x="5083003" y="2566467"/>
                    </a:lnTo>
                    <a:lnTo>
                      <a:pt x="5086229" y="2563388"/>
                    </a:lnTo>
                    <a:lnTo>
                      <a:pt x="5091397" y="2564564"/>
                    </a:lnTo>
                    <a:lnTo>
                      <a:pt x="5093604" y="2566531"/>
                    </a:lnTo>
                    <a:lnTo>
                      <a:pt x="5095458" y="2568637"/>
                    </a:lnTo>
                    <a:lnTo>
                      <a:pt x="5097245" y="2569685"/>
                    </a:lnTo>
                    <a:lnTo>
                      <a:pt x="5099228" y="2568383"/>
                    </a:lnTo>
                    <a:lnTo>
                      <a:pt x="5100663" y="2565643"/>
                    </a:lnTo>
                    <a:lnTo>
                      <a:pt x="5102282" y="2559904"/>
                    </a:lnTo>
                    <a:lnTo>
                      <a:pt x="5103781" y="2557467"/>
                    </a:lnTo>
                    <a:lnTo>
                      <a:pt x="5106177" y="2558785"/>
                    </a:lnTo>
                    <a:lnTo>
                      <a:pt x="5110877" y="2560469"/>
                    </a:lnTo>
                    <a:lnTo>
                      <a:pt x="5112671" y="2562599"/>
                    </a:lnTo>
                    <a:lnTo>
                      <a:pt x="5113924" y="2559720"/>
                    </a:lnTo>
                    <a:lnTo>
                      <a:pt x="5113221" y="2556674"/>
                    </a:lnTo>
                    <a:lnTo>
                      <a:pt x="5111532" y="2553906"/>
                    </a:lnTo>
                    <a:lnTo>
                      <a:pt x="5109854" y="2551909"/>
                    </a:lnTo>
                    <a:lnTo>
                      <a:pt x="5111195" y="2548370"/>
                    </a:lnTo>
                    <a:lnTo>
                      <a:pt x="5113424" y="2547870"/>
                    </a:lnTo>
                    <a:lnTo>
                      <a:pt x="5115922" y="2549007"/>
                    </a:lnTo>
                    <a:lnTo>
                      <a:pt x="5118095" y="2550435"/>
                    </a:lnTo>
                    <a:lnTo>
                      <a:pt x="5118889" y="2551431"/>
                    </a:lnTo>
                    <a:lnTo>
                      <a:pt x="5119775" y="2552930"/>
                    </a:lnTo>
                    <a:lnTo>
                      <a:pt x="5120707" y="2553929"/>
                    </a:lnTo>
                    <a:lnTo>
                      <a:pt x="5121661" y="2553507"/>
                    </a:lnTo>
                    <a:lnTo>
                      <a:pt x="5122784" y="2552230"/>
                    </a:lnTo>
                    <a:lnTo>
                      <a:pt x="5124057" y="2551613"/>
                    </a:lnTo>
                    <a:lnTo>
                      <a:pt x="5127550" y="2551378"/>
                    </a:lnTo>
                    <a:lnTo>
                      <a:pt x="5130444" y="2552158"/>
                    </a:lnTo>
                    <a:lnTo>
                      <a:pt x="5132497" y="2554142"/>
                    </a:lnTo>
                    <a:lnTo>
                      <a:pt x="5134356" y="2556551"/>
                    </a:lnTo>
                    <a:lnTo>
                      <a:pt x="5136660" y="2558568"/>
                    </a:lnTo>
                    <a:lnTo>
                      <a:pt x="5139183" y="2560306"/>
                    </a:lnTo>
                    <a:lnTo>
                      <a:pt x="5140111" y="2562012"/>
                    </a:lnTo>
                    <a:lnTo>
                      <a:pt x="5139793" y="2564158"/>
                    </a:lnTo>
                    <a:lnTo>
                      <a:pt x="5138511" y="2567209"/>
                    </a:lnTo>
                    <a:lnTo>
                      <a:pt x="5141081" y="2569346"/>
                    </a:lnTo>
                    <a:lnTo>
                      <a:pt x="5143631" y="2568972"/>
                    </a:lnTo>
                    <a:lnTo>
                      <a:pt x="5146116" y="2566968"/>
                    </a:lnTo>
                    <a:lnTo>
                      <a:pt x="5148473" y="2564203"/>
                    </a:lnTo>
                    <a:lnTo>
                      <a:pt x="5149595" y="2565880"/>
                    </a:lnTo>
                    <a:lnTo>
                      <a:pt x="5150824" y="2567127"/>
                    </a:lnTo>
                    <a:lnTo>
                      <a:pt x="5152141" y="2567921"/>
                    </a:lnTo>
                    <a:lnTo>
                      <a:pt x="5153557" y="2568215"/>
                    </a:lnTo>
                    <a:lnTo>
                      <a:pt x="5150248" y="2573595"/>
                    </a:lnTo>
                    <a:lnTo>
                      <a:pt x="5136981" y="2580100"/>
                    </a:lnTo>
                    <a:lnTo>
                      <a:pt x="5132239" y="2584365"/>
                    </a:lnTo>
                    <a:lnTo>
                      <a:pt x="5127537" y="2589931"/>
                    </a:lnTo>
                    <a:lnTo>
                      <a:pt x="5125654" y="2593241"/>
                    </a:lnTo>
                    <a:lnTo>
                      <a:pt x="5127132" y="2594644"/>
                    </a:lnTo>
                    <a:lnTo>
                      <a:pt x="5129841" y="2593253"/>
                    </a:lnTo>
                    <a:lnTo>
                      <a:pt x="5132670" y="2590547"/>
                    </a:lnTo>
                    <a:lnTo>
                      <a:pt x="5135880" y="2588449"/>
                    </a:lnTo>
                    <a:lnTo>
                      <a:pt x="5137310" y="2589025"/>
                    </a:lnTo>
                    <a:lnTo>
                      <a:pt x="5136746" y="2590793"/>
                    </a:lnTo>
                    <a:lnTo>
                      <a:pt x="5137561" y="2595052"/>
                    </a:lnTo>
                    <a:lnTo>
                      <a:pt x="5137374" y="2597751"/>
                    </a:lnTo>
                    <a:lnTo>
                      <a:pt x="5136423" y="2599097"/>
                    </a:lnTo>
                    <a:lnTo>
                      <a:pt x="5135270" y="2600306"/>
                    </a:lnTo>
                    <a:lnTo>
                      <a:pt x="5134466" y="2602501"/>
                    </a:lnTo>
                    <a:lnTo>
                      <a:pt x="5137964" y="2601984"/>
                    </a:lnTo>
                    <a:lnTo>
                      <a:pt x="5143895" y="2596909"/>
                    </a:lnTo>
                    <a:lnTo>
                      <a:pt x="5146971" y="2595512"/>
                    </a:lnTo>
                    <a:lnTo>
                      <a:pt x="5144765" y="2598265"/>
                    </a:lnTo>
                    <a:lnTo>
                      <a:pt x="5143390" y="2602061"/>
                    </a:lnTo>
                    <a:lnTo>
                      <a:pt x="5142759" y="2606132"/>
                    </a:lnTo>
                    <a:lnTo>
                      <a:pt x="5142781" y="2609741"/>
                    </a:lnTo>
                    <a:lnTo>
                      <a:pt x="5144497" y="2610412"/>
                    </a:lnTo>
                    <a:lnTo>
                      <a:pt x="5155541" y="2606028"/>
                    </a:lnTo>
                    <a:lnTo>
                      <a:pt x="5180592" y="2606594"/>
                    </a:lnTo>
                    <a:lnTo>
                      <a:pt x="5182574" y="2607423"/>
                    </a:lnTo>
                    <a:lnTo>
                      <a:pt x="5181626" y="2609383"/>
                    </a:lnTo>
                    <a:lnTo>
                      <a:pt x="5178767" y="2612056"/>
                    </a:lnTo>
                    <a:lnTo>
                      <a:pt x="5170163" y="2623854"/>
                    </a:lnTo>
                    <a:lnTo>
                      <a:pt x="5167557" y="2626501"/>
                    </a:lnTo>
                    <a:lnTo>
                      <a:pt x="5164920" y="2628296"/>
                    </a:lnTo>
                    <a:lnTo>
                      <a:pt x="5162690" y="2630506"/>
                    </a:lnTo>
                    <a:lnTo>
                      <a:pt x="5161241" y="2634324"/>
                    </a:lnTo>
                    <a:lnTo>
                      <a:pt x="5160927" y="2639185"/>
                    </a:lnTo>
                    <a:lnTo>
                      <a:pt x="5161014" y="2643029"/>
                    </a:lnTo>
                    <a:lnTo>
                      <a:pt x="5160114" y="2645584"/>
                    </a:lnTo>
                    <a:lnTo>
                      <a:pt x="5156864" y="2646601"/>
                    </a:lnTo>
                    <a:lnTo>
                      <a:pt x="5149172" y="2645501"/>
                    </a:lnTo>
                    <a:lnTo>
                      <a:pt x="5148054" y="2645108"/>
                    </a:lnTo>
                    <a:lnTo>
                      <a:pt x="5146970" y="2644417"/>
                    </a:lnTo>
                    <a:lnTo>
                      <a:pt x="5145912" y="2644110"/>
                    </a:lnTo>
                    <a:lnTo>
                      <a:pt x="5144837" y="2644939"/>
                    </a:lnTo>
                    <a:lnTo>
                      <a:pt x="5144247" y="2645657"/>
                    </a:lnTo>
                    <a:lnTo>
                      <a:pt x="5143442" y="2646334"/>
                    </a:lnTo>
                    <a:lnTo>
                      <a:pt x="5142584" y="2646859"/>
                    </a:lnTo>
                    <a:lnTo>
                      <a:pt x="5141791" y="2647059"/>
                    </a:lnTo>
                    <a:lnTo>
                      <a:pt x="5139914" y="2647116"/>
                    </a:lnTo>
                    <a:lnTo>
                      <a:pt x="5141379" y="2645447"/>
                    </a:lnTo>
                    <a:lnTo>
                      <a:pt x="5143122" y="2642650"/>
                    </a:lnTo>
                    <a:lnTo>
                      <a:pt x="5143891" y="2640044"/>
                    </a:lnTo>
                    <a:lnTo>
                      <a:pt x="5142402" y="2638955"/>
                    </a:lnTo>
                    <a:lnTo>
                      <a:pt x="5138863" y="2638579"/>
                    </a:lnTo>
                    <a:lnTo>
                      <a:pt x="5137031" y="2639117"/>
                    </a:lnTo>
                    <a:lnTo>
                      <a:pt x="5136405" y="2641090"/>
                    </a:lnTo>
                    <a:lnTo>
                      <a:pt x="5136381" y="2643071"/>
                    </a:lnTo>
                    <a:lnTo>
                      <a:pt x="5135857" y="2644116"/>
                    </a:lnTo>
                    <a:lnTo>
                      <a:pt x="5134873" y="2644515"/>
                    </a:lnTo>
                    <a:lnTo>
                      <a:pt x="5133500" y="2644605"/>
                    </a:lnTo>
                    <a:lnTo>
                      <a:pt x="5132704" y="2644259"/>
                    </a:lnTo>
                    <a:lnTo>
                      <a:pt x="5130078" y="2642510"/>
                    </a:lnTo>
                    <a:lnTo>
                      <a:pt x="5128872" y="2641927"/>
                    </a:lnTo>
                    <a:lnTo>
                      <a:pt x="5127818" y="2641959"/>
                    </a:lnTo>
                    <a:lnTo>
                      <a:pt x="5127160" y="2642509"/>
                    </a:lnTo>
                    <a:lnTo>
                      <a:pt x="5126604" y="2643153"/>
                    </a:lnTo>
                    <a:lnTo>
                      <a:pt x="5125859" y="2643497"/>
                    </a:lnTo>
                    <a:lnTo>
                      <a:pt x="5125053" y="2643135"/>
                    </a:lnTo>
                    <a:lnTo>
                      <a:pt x="5124651" y="2642286"/>
                    </a:lnTo>
                    <a:lnTo>
                      <a:pt x="5124411" y="2641383"/>
                    </a:lnTo>
                    <a:lnTo>
                      <a:pt x="5124140" y="2640845"/>
                    </a:lnTo>
                    <a:lnTo>
                      <a:pt x="5123376" y="2639958"/>
                    </a:lnTo>
                    <a:lnTo>
                      <a:pt x="5122609" y="2638654"/>
                    </a:lnTo>
                    <a:lnTo>
                      <a:pt x="5121539" y="2637463"/>
                    </a:lnTo>
                    <a:lnTo>
                      <a:pt x="5119904" y="2636923"/>
                    </a:lnTo>
                    <a:lnTo>
                      <a:pt x="5118542" y="2637325"/>
                    </a:lnTo>
                    <a:lnTo>
                      <a:pt x="5116057" y="2639265"/>
                    </a:lnTo>
                    <a:lnTo>
                      <a:pt x="5114622" y="2639781"/>
                    </a:lnTo>
                    <a:lnTo>
                      <a:pt x="5113270" y="2639724"/>
                    </a:lnTo>
                    <a:lnTo>
                      <a:pt x="5111798" y="2639429"/>
                    </a:lnTo>
                    <a:lnTo>
                      <a:pt x="5110390" y="2638836"/>
                    </a:lnTo>
                    <a:lnTo>
                      <a:pt x="5106154" y="2635009"/>
                    </a:lnTo>
                    <a:lnTo>
                      <a:pt x="5106075" y="2634489"/>
                    </a:lnTo>
                    <a:lnTo>
                      <a:pt x="5105399" y="2634106"/>
                    </a:lnTo>
                    <a:lnTo>
                      <a:pt x="5104371" y="2633203"/>
                    </a:lnTo>
                    <a:lnTo>
                      <a:pt x="5103070" y="2632299"/>
                    </a:lnTo>
                    <a:lnTo>
                      <a:pt x="5101555" y="2631933"/>
                    </a:lnTo>
                    <a:lnTo>
                      <a:pt x="5095085" y="2633590"/>
                    </a:lnTo>
                    <a:lnTo>
                      <a:pt x="5093293" y="2633280"/>
                    </a:lnTo>
                    <a:lnTo>
                      <a:pt x="5090663" y="2631594"/>
                    </a:lnTo>
                    <a:lnTo>
                      <a:pt x="5089235" y="2630935"/>
                    </a:lnTo>
                    <a:lnTo>
                      <a:pt x="5087352" y="2630941"/>
                    </a:lnTo>
                    <a:lnTo>
                      <a:pt x="5082706" y="2632471"/>
                    </a:lnTo>
                    <a:lnTo>
                      <a:pt x="5079733" y="2631831"/>
                    </a:lnTo>
                    <a:lnTo>
                      <a:pt x="5076696" y="2630629"/>
                    </a:lnTo>
                    <a:lnTo>
                      <a:pt x="5073788" y="2630091"/>
                    </a:lnTo>
                    <a:lnTo>
                      <a:pt x="5071238" y="2631441"/>
                    </a:lnTo>
                    <a:lnTo>
                      <a:pt x="5073125" y="2632578"/>
                    </a:lnTo>
                    <a:lnTo>
                      <a:pt x="5079263" y="2634578"/>
                    </a:lnTo>
                    <a:lnTo>
                      <a:pt x="5080356" y="2636710"/>
                    </a:lnTo>
                    <a:lnTo>
                      <a:pt x="5078026" y="2638271"/>
                    </a:lnTo>
                    <a:lnTo>
                      <a:pt x="5064471" y="2639853"/>
                    </a:lnTo>
                    <a:lnTo>
                      <a:pt x="5064593" y="2641200"/>
                    </a:lnTo>
                    <a:lnTo>
                      <a:pt x="5065264" y="2641368"/>
                    </a:lnTo>
                    <a:lnTo>
                      <a:pt x="5065653" y="2641614"/>
                    </a:lnTo>
                    <a:lnTo>
                      <a:pt x="5066595" y="2642489"/>
                    </a:lnTo>
                    <a:lnTo>
                      <a:pt x="5063863" y="2645604"/>
                    </a:lnTo>
                    <a:lnTo>
                      <a:pt x="5062857" y="2647714"/>
                    </a:lnTo>
                    <a:lnTo>
                      <a:pt x="5063439" y="2649315"/>
                    </a:lnTo>
                    <a:lnTo>
                      <a:pt x="5065220" y="2649073"/>
                    </a:lnTo>
                    <a:lnTo>
                      <a:pt x="5068648" y="2644749"/>
                    </a:lnTo>
                    <a:lnTo>
                      <a:pt x="5070031" y="2643616"/>
                    </a:lnTo>
                    <a:lnTo>
                      <a:pt x="5091365" y="2639101"/>
                    </a:lnTo>
                    <a:lnTo>
                      <a:pt x="5095845" y="2640059"/>
                    </a:lnTo>
                    <a:lnTo>
                      <a:pt x="5106848" y="2648092"/>
                    </a:lnTo>
                    <a:lnTo>
                      <a:pt x="5119985" y="2652215"/>
                    </a:lnTo>
                    <a:lnTo>
                      <a:pt x="5122668" y="2655725"/>
                    </a:lnTo>
                    <a:lnTo>
                      <a:pt x="5123174" y="2655597"/>
                    </a:lnTo>
                    <a:lnTo>
                      <a:pt x="5123834" y="2655916"/>
                    </a:lnTo>
                    <a:lnTo>
                      <a:pt x="5124707" y="2656791"/>
                    </a:lnTo>
                    <a:lnTo>
                      <a:pt x="5125839" y="2658335"/>
                    </a:lnTo>
                    <a:lnTo>
                      <a:pt x="5124636" y="2660415"/>
                    </a:lnTo>
                    <a:lnTo>
                      <a:pt x="5121483" y="2663236"/>
                    </a:lnTo>
                    <a:lnTo>
                      <a:pt x="5119821" y="2665265"/>
                    </a:lnTo>
                    <a:lnTo>
                      <a:pt x="5120339" y="2669065"/>
                    </a:lnTo>
                    <a:lnTo>
                      <a:pt x="5118007" y="2673280"/>
                    </a:lnTo>
                    <a:lnTo>
                      <a:pt x="5114290" y="2676607"/>
                    </a:lnTo>
                    <a:lnTo>
                      <a:pt x="5110715" y="2677822"/>
                    </a:lnTo>
                    <a:lnTo>
                      <a:pt x="5111155" y="2672834"/>
                    </a:lnTo>
                    <a:lnTo>
                      <a:pt x="5108388" y="2671996"/>
                    </a:lnTo>
                    <a:lnTo>
                      <a:pt x="5099431" y="2675392"/>
                    </a:lnTo>
                    <a:lnTo>
                      <a:pt x="5097101" y="2677954"/>
                    </a:lnTo>
                    <a:lnTo>
                      <a:pt x="5094458" y="2679656"/>
                    </a:lnTo>
                    <a:lnTo>
                      <a:pt x="5090735" y="2678392"/>
                    </a:lnTo>
                    <a:lnTo>
                      <a:pt x="5091112" y="2674936"/>
                    </a:lnTo>
                    <a:lnTo>
                      <a:pt x="5089130" y="2674026"/>
                    </a:lnTo>
                    <a:lnTo>
                      <a:pt x="5086330" y="2673299"/>
                    </a:lnTo>
                    <a:lnTo>
                      <a:pt x="5084233" y="2670340"/>
                    </a:lnTo>
                    <a:lnTo>
                      <a:pt x="5087268" y="2666634"/>
                    </a:lnTo>
                    <a:lnTo>
                      <a:pt x="5087651" y="2665521"/>
                    </a:lnTo>
                    <a:lnTo>
                      <a:pt x="5086794" y="2663702"/>
                    </a:lnTo>
                    <a:lnTo>
                      <a:pt x="5085270" y="2664187"/>
                    </a:lnTo>
                    <a:lnTo>
                      <a:pt x="5082576" y="2666331"/>
                    </a:lnTo>
                    <a:lnTo>
                      <a:pt x="5074142" y="2668038"/>
                    </a:lnTo>
                    <a:lnTo>
                      <a:pt x="5069752" y="2666599"/>
                    </a:lnTo>
                    <a:lnTo>
                      <a:pt x="5067431" y="2666268"/>
                    </a:lnTo>
                    <a:lnTo>
                      <a:pt x="5063098" y="2669533"/>
                    </a:lnTo>
                    <a:lnTo>
                      <a:pt x="5058947" y="2671134"/>
                    </a:lnTo>
                    <a:lnTo>
                      <a:pt x="5054522" y="2671858"/>
                    </a:lnTo>
                    <a:lnTo>
                      <a:pt x="5051255" y="2671246"/>
                    </a:lnTo>
                    <a:lnTo>
                      <a:pt x="5049977" y="2669727"/>
                    </a:lnTo>
                    <a:lnTo>
                      <a:pt x="5048761" y="2665905"/>
                    </a:lnTo>
                    <a:lnTo>
                      <a:pt x="5047758" y="2664718"/>
                    </a:lnTo>
                    <a:lnTo>
                      <a:pt x="5046456" y="2665026"/>
                    </a:lnTo>
                    <a:lnTo>
                      <a:pt x="5046316" y="2667081"/>
                    </a:lnTo>
                    <a:lnTo>
                      <a:pt x="5046826" y="2669619"/>
                    </a:lnTo>
                    <a:lnTo>
                      <a:pt x="5047480" y="2671346"/>
                    </a:lnTo>
                    <a:lnTo>
                      <a:pt x="5045938" y="2672973"/>
                    </a:lnTo>
                    <a:lnTo>
                      <a:pt x="5047512" y="2674154"/>
                    </a:lnTo>
                    <a:lnTo>
                      <a:pt x="5058269" y="2676753"/>
                    </a:lnTo>
                    <a:lnTo>
                      <a:pt x="5061489" y="2676900"/>
                    </a:lnTo>
                    <a:lnTo>
                      <a:pt x="5066894" y="2673662"/>
                    </a:lnTo>
                    <a:lnTo>
                      <a:pt x="5071154" y="2675508"/>
                    </a:lnTo>
                    <a:lnTo>
                      <a:pt x="5075208" y="2679244"/>
                    </a:lnTo>
                    <a:lnTo>
                      <a:pt x="5077899" y="2682808"/>
                    </a:lnTo>
                    <a:lnTo>
                      <a:pt x="5064344" y="2689918"/>
                    </a:lnTo>
                    <a:lnTo>
                      <a:pt x="5059617" y="2691005"/>
                    </a:lnTo>
                    <a:lnTo>
                      <a:pt x="5045723" y="2689066"/>
                    </a:lnTo>
                    <a:lnTo>
                      <a:pt x="5044738" y="2689471"/>
                    </a:lnTo>
                    <a:lnTo>
                      <a:pt x="5043835" y="2690179"/>
                    </a:lnTo>
                    <a:lnTo>
                      <a:pt x="5042921" y="2690516"/>
                    </a:lnTo>
                    <a:lnTo>
                      <a:pt x="5041961" y="2689841"/>
                    </a:lnTo>
                    <a:lnTo>
                      <a:pt x="5037582" y="2687937"/>
                    </a:lnTo>
                    <a:lnTo>
                      <a:pt x="5036099" y="2688749"/>
                    </a:lnTo>
                    <a:lnTo>
                      <a:pt x="5033848" y="2691504"/>
                    </a:lnTo>
                    <a:lnTo>
                      <a:pt x="5031698" y="2692140"/>
                    </a:lnTo>
                    <a:lnTo>
                      <a:pt x="5030524" y="2693015"/>
                    </a:lnTo>
                    <a:lnTo>
                      <a:pt x="5028511" y="2696811"/>
                    </a:lnTo>
                    <a:lnTo>
                      <a:pt x="5026969" y="2697793"/>
                    </a:lnTo>
                    <a:lnTo>
                      <a:pt x="5024943" y="2697281"/>
                    </a:lnTo>
                    <a:lnTo>
                      <a:pt x="5021031" y="2694485"/>
                    </a:lnTo>
                    <a:lnTo>
                      <a:pt x="5018973" y="2693821"/>
                    </a:lnTo>
                    <a:lnTo>
                      <a:pt x="5020956" y="2696853"/>
                    </a:lnTo>
                    <a:lnTo>
                      <a:pt x="5021847" y="2698577"/>
                    </a:lnTo>
                    <a:lnTo>
                      <a:pt x="5021900" y="2699952"/>
                    </a:lnTo>
                    <a:lnTo>
                      <a:pt x="5017626" y="2706019"/>
                    </a:lnTo>
                    <a:lnTo>
                      <a:pt x="5015272" y="2707624"/>
                    </a:lnTo>
                    <a:lnTo>
                      <a:pt x="5013495" y="2710576"/>
                    </a:lnTo>
                    <a:lnTo>
                      <a:pt x="5011609" y="2712323"/>
                    </a:lnTo>
                    <a:lnTo>
                      <a:pt x="5008976" y="2710296"/>
                    </a:lnTo>
                    <a:lnTo>
                      <a:pt x="5007863" y="2707039"/>
                    </a:lnTo>
                    <a:lnTo>
                      <a:pt x="5007440" y="2703556"/>
                    </a:lnTo>
                    <a:lnTo>
                      <a:pt x="5006378" y="2700805"/>
                    </a:lnTo>
                    <a:lnTo>
                      <a:pt x="5003359" y="2699745"/>
                    </a:lnTo>
                    <a:lnTo>
                      <a:pt x="5000005" y="2700168"/>
                    </a:lnTo>
                    <a:lnTo>
                      <a:pt x="4998648" y="2700974"/>
                    </a:lnTo>
                    <a:lnTo>
                      <a:pt x="4997892" y="2702458"/>
                    </a:lnTo>
                    <a:lnTo>
                      <a:pt x="4998497" y="2703232"/>
                    </a:lnTo>
                    <a:lnTo>
                      <a:pt x="5002715" y="2701959"/>
                    </a:lnTo>
                    <a:lnTo>
                      <a:pt x="5004518" y="2702293"/>
                    </a:lnTo>
                    <a:lnTo>
                      <a:pt x="5001671" y="2708506"/>
                    </a:lnTo>
                    <a:lnTo>
                      <a:pt x="5001523" y="2710628"/>
                    </a:lnTo>
                    <a:lnTo>
                      <a:pt x="5002774" y="2712440"/>
                    </a:lnTo>
                    <a:lnTo>
                      <a:pt x="5004458" y="2714137"/>
                    </a:lnTo>
                    <a:lnTo>
                      <a:pt x="5005637" y="2715895"/>
                    </a:lnTo>
                    <a:lnTo>
                      <a:pt x="5006353" y="2720878"/>
                    </a:lnTo>
                    <a:lnTo>
                      <a:pt x="5004342" y="2721830"/>
                    </a:lnTo>
                    <a:lnTo>
                      <a:pt x="4997824" y="2720148"/>
                    </a:lnTo>
                    <a:lnTo>
                      <a:pt x="4976859" y="2723035"/>
                    </a:lnTo>
                    <a:lnTo>
                      <a:pt x="4970195" y="2726221"/>
                    </a:lnTo>
                    <a:lnTo>
                      <a:pt x="4970301" y="2727572"/>
                    </a:lnTo>
                    <a:lnTo>
                      <a:pt x="4991580" y="2725706"/>
                    </a:lnTo>
                    <a:lnTo>
                      <a:pt x="4993842" y="2726358"/>
                    </a:lnTo>
                    <a:lnTo>
                      <a:pt x="4994087" y="2727971"/>
                    </a:lnTo>
                    <a:lnTo>
                      <a:pt x="4993052" y="2729841"/>
                    </a:lnTo>
                    <a:lnTo>
                      <a:pt x="4991511" y="2731232"/>
                    </a:lnTo>
                    <a:lnTo>
                      <a:pt x="4989284" y="2731818"/>
                    </a:lnTo>
                    <a:lnTo>
                      <a:pt x="4987066" y="2731775"/>
                    </a:lnTo>
                    <a:lnTo>
                      <a:pt x="4985006" y="2732180"/>
                    </a:lnTo>
                    <a:lnTo>
                      <a:pt x="4983274" y="2734130"/>
                    </a:lnTo>
                    <a:lnTo>
                      <a:pt x="4996651" y="2735037"/>
                    </a:lnTo>
                    <a:lnTo>
                      <a:pt x="4999656" y="2736001"/>
                    </a:lnTo>
                    <a:lnTo>
                      <a:pt x="4999206" y="2738429"/>
                    </a:lnTo>
                    <a:lnTo>
                      <a:pt x="4995502" y="2743185"/>
                    </a:lnTo>
                    <a:lnTo>
                      <a:pt x="4995093" y="2743341"/>
                    </a:lnTo>
                    <a:lnTo>
                      <a:pt x="4993946" y="2743111"/>
                    </a:lnTo>
                    <a:lnTo>
                      <a:pt x="4993513" y="2743235"/>
                    </a:lnTo>
                    <a:lnTo>
                      <a:pt x="4993474" y="2743752"/>
                    </a:lnTo>
                    <a:lnTo>
                      <a:pt x="4993785" y="2745548"/>
                    </a:lnTo>
                    <a:lnTo>
                      <a:pt x="4993740" y="2746050"/>
                    </a:lnTo>
                    <a:lnTo>
                      <a:pt x="4991856" y="2747989"/>
                    </a:lnTo>
                    <a:lnTo>
                      <a:pt x="4990679" y="2748606"/>
                    </a:lnTo>
                    <a:lnTo>
                      <a:pt x="4988724" y="2748879"/>
                    </a:lnTo>
                    <a:lnTo>
                      <a:pt x="4985061" y="2748443"/>
                    </a:lnTo>
                    <a:lnTo>
                      <a:pt x="4984295" y="2746939"/>
                    </a:lnTo>
                    <a:lnTo>
                      <a:pt x="4984277" y="2744354"/>
                    </a:lnTo>
                    <a:lnTo>
                      <a:pt x="4982849" y="2740787"/>
                    </a:lnTo>
                    <a:lnTo>
                      <a:pt x="4978922" y="2753176"/>
                    </a:lnTo>
                    <a:lnTo>
                      <a:pt x="4975793" y="2758279"/>
                    </a:lnTo>
                    <a:lnTo>
                      <a:pt x="4971574" y="2756163"/>
                    </a:lnTo>
                    <a:lnTo>
                      <a:pt x="4970400" y="2760808"/>
                    </a:lnTo>
                    <a:lnTo>
                      <a:pt x="4973496" y="2761146"/>
                    </a:lnTo>
                    <a:lnTo>
                      <a:pt x="4980864" y="2758529"/>
                    </a:lnTo>
                    <a:lnTo>
                      <a:pt x="4982122" y="2759344"/>
                    </a:lnTo>
                    <a:lnTo>
                      <a:pt x="4982162" y="2761206"/>
                    </a:lnTo>
                    <a:lnTo>
                      <a:pt x="4981406" y="2763085"/>
                    </a:lnTo>
                    <a:lnTo>
                      <a:pt x="4980297" y="2763959"/>
                    </a:lnTo>
                    <a:lnTo>
                      <a:pt x="4972299" y="2765503"/>
                    </a:lnTo>
                    <a:lnTo>
                      <a:pt x="4971641" y="2766034"/>
                    </a:lnTo>
                    <a:lnTo>
                      <a:pt x="4971401" y="2767845"/>
                    </a:lnTo>
                    <a:lnTo>
                      <a:pt x="4970697" y="2768232"/>
                    </a:lnTo>
                    <a:lnTo>
                      <a:pt x="4969830" y="2767995"/>
                    </a:lnTo>
                    <a:lnTo>
                      <a:pt x="4968402" y="2767021"/>
                    </a:lnTo>
                    <a:lnTo>
                      <a:pt x="4964502" y="2766912"/>
                    </a:lnTo>
                    <a:lnTo>
                      <a:pt x="4962690" y="2767493"/>
                    </a:lnTo>
                    <a:lnTo>
                      <a:pt x="4961999" y="2769178"/>
                    </a:lnTo>
                    <a:lnTo>
                      <a:pt x="4961399" y="2773399"/>
                    </a:lnTo>
                    <a:lnTo>
                      <a:pt x="4959354" y="2775986"/>
                    </a:lnTo>
                    <a:lnTo>
                      <a:pt x="4954182" y="2779442"/>
                    </a:lnTo>
                    <a:lnTo>
                      <a:pt x="4949419" y="2784720"/>
                    </a:lnTo>
                    <a:lnTo>
                      <a:pt x="4946684" y="2786870"/>
                    </a:lnTo>
                    <a:lnTo>
                      <a:pt x="4943287" y="2787818"/>
                    </a:lnTo>
                    <a:lnTo>
                      <a:pt x="4939308" y="2786987"/>
                    </a:lnTo>
                    <a:lnTo>
                      <a:pt x="4936393" y="2785311"/>
                    </a:lnTo>
                    <a:lnTo>
                      <a:pt x="4933538" y="2784335"/>
                    </a:lnTo>
                    <a:lnTo>
                      <a:pt x="4929761" y="2785531"/>
                    </a:lnTo>
                    <a:lnTo>
                      <a:pt x="4926333" y="2788042"/>
                    </a:lnTo>
                    <a:lnTo>
                      <a:pt x="4924383" y="2788762"/>
                    </a:lnTo>
                    <a:lnTo>
                      <a:pt x="4922224" y="2788284"/>
                    </a:lnTo>
                    <a:lnTo>
                      <a:pt x="4920484" y="2786920"/>
                    </a:lnTo>
                    <a:lnTo>
                      <a:pt x="4920584" y="2785862"/>
                    </a:lnTo>
                    <a:lnTo>
                      <a:pt x="4921408" y="2784529"/>
                    </a:lnTo>
                    <a:lnTo>
                      <a:pt x="4921792" y="2782256"/>
                    </a:lnTo>
                    <a:lnTo>
                      <a:pt x="4922694" y="2779818"/>
                    </a:lnTo>
                    <a:lnTo>
                      <a:pt x="4931085" y="2767576"/>
                    </a:lnTo>
                    <a:lnTo>
                      <a:pt x="4939533" y="2762318"/>
                    </a:lnTo>
                    <a:lnTo>
                      <a:pt x="4942566" y="2758374"/>
                    </a:lnTo>
                    <a:lnTo>
                      <a:pt x="4943588" y="2755788"/>
                    </a:lnTo>
                    <a:lnTo>
                      <a:pt x="4945218" y="2754841"/>
                    </a:lnTo>
                    <a:lnTo>
                      <a:pt x="4948521" y="2753887"/>
                    </a:lnTo>
                    <a:lnTo>
                      <a:pt x="4954242" y="2750621"/>
                    </a:lnTo>
                    <a:lnTo>
                      <a:pt x="4964560" y="2742358"/>
                    </a:lnTo>
                    <a:lnTo>
                      <a:pt x="4969135" y="2737054"/>
                    </a:lnTo>
                    <a:lnTo>
                      <a:pt x="4968177" y="2735723"/>
                    </a:lnTo>
                    <a:lnTo>
                      <a:pt x="4961294" y="2742168"/>
                    </a:lnTo>
                    <a:lnTo>
                      <a:pt x="4959115" y="2742823"/>
                    </a:lnTo>
                    <a:lnTo>
                      <a:pt x="4958196" y="2741492"/>
                    </a:lnTo>
                    <a:lnTo>
                      <a:pt x="4961100" y="2736373"/>
                    </a:lnTo>
                    <a:lnTo>
                      <a:pt x="4960284" y="2733219"/>
                    </a:lnTo>
                    <a:lnTo>
                      <a:pt x="4957930" y="2732074"/>
                    </a:lnTo>
                    <a:lnTo>
                      <a:pt x="4956727" y="2734575"/>
                    </a:lnTo>
                    <a:lnTo>
                      <a:pt x="4956024" y="2738448"/>
                    </a:lnTo>
                    <a:lnTo>
                      <a:pt x="4955197" y="2741440"/>
                    </a:lnTo>
                    <a:lnTo>
                      <a:pt x="4952605" y="2743626"/>
                    </a:lnTo>
                    <a:lnTo>
                      <a:pt x="4949105" y="2744449"/>
                    </a:lnTo>
                    <a:lnTo>
                      <a:pt x="4942010" y="2744449"/>
                    </a:lnTo>
                    <a:lnTo>
                      <a:pt x="4942366" y="2741075"/>
                    </a:lnTo>
                    <a:lnTo>
                      <a:pt x="4943026" y="2738063"/>
                    </a:lnTo>
                    <a:lnTo>
                      <a:pt x="4944036" y="2735366"/>
                    </a:lnTo>
                    <a:lnTo>
                      <a:pt x="4947038" y="2730064"/>
                    </a:lnTo>
                    <a:lnTo>
                      <a:pt x="4949238" y="2724835"/>
                    </a:lnTo>
                    <a:lnTo>
                      <a:pt x="4950828" y="2722504"/>
                    </a:lnTo>
                    <a:lnTo>
                      <a:pt x="4952869" y="2720935"/>
                    </a:lnTo>
                    <a:lnTo>
                      <a:pt x="4959265" y="2717607"/>
                    </a:lnTo>
                    <a:lnTo>
                      <a:pt x="4961456" y="2716967"/>
                    </a:lnTo>
                    <a:lnTo>
                      <a:pt x="4962557" y="2716434"/>
                    </a:lnTo>
                    <a:lnTo>
                      <a:pt x="4964389" y="2713855"/>
                    </a:lnTo>
                    <a:lnTo>
                      <a:pt x="4965360" y="2712817"/>
                    </a:lnTo>
                    <a:lnTo>
                      <a:pt x="4966907" y="2711984"/>
                    </a:lnTo>
                    <a:lnTo>
                      <a:pt x="4968418" y="2711514"/>
                    </a:lnTo>
                    <a:lnTo>
                      <a:pt x="4971956" y="2711204"/>
                    </a:lnTo>
                    <a:lnTo>
                      <a:pt x="4971859" y="2709966"/>
                    </a:lnTo>
                    <a:lnTo>
                      <a:pt x="4965663" y="2706846"/>
                    </a:lnTo>
                    <a:lnTo>
                      <a:pt x="4962420" y="2706134"/>
                    </a:lnTo>
                    <a:lnTo>
                      <a:pt x="4961192" y="2708062"/>
                    </a:lnTo>
                    <a:lnTo>
                      <a:pt x="4960670" y="2710296"/>
                    </a:lnTo>
                    <a:lnTo>
                      <a:pt x="4959134" y="2711660"/>
                    </a:lnTo>
                    <a:lnTo>
                      <a:pt x="4955796" y="2713042"/>
                    </a:lnTo>
                    <a:lnTo>
                      <a:pt x="4940516" y="2724898"/>
                    </a:lnTo>
                    <a:lnTo>
                      <a:pt x="4936213" y="2729472"/>
                    </a:lnTo>
                    <a:lnTo>
                      <a:pt x="4930920" y="2738151"/>
                    </a:lnTo>
                    <a:lnTo>
                      <a:pt x="4927666" y="2742275"/>
                    </a:lnTo>
                    <a:lnTo>
                      <a:pt x="4924409" y="2744473"/>
                    </a:lnTo>
                    <a:lnTo>
                      <a:pt x="4921963" y="2740379"/>
                    </a:lnTo>
                    <a:lnTo>
                      <a:pt x="4919166" y="2738580"/>
                    </a:lnTo>
                    <a:lnTo>
                      <a:pt x="4918527" y="2736855"/>
                    </a:lnTo>
                    <a:lnTo>
                      <a:pt x="4918871" y="2735906"/>
                    </a:lnTo>
                    <a:lnTo>
                      <a:pt x="4920539" y="2733815"/>
                    </a:lnTo>
                    <a:lnTo>
                      <a:pt x="4921096" y="2732869"/>
                    </a:lnTo>
                    <a:lnTo>
                      <a:pt x="4921842" y="2730035"/>
                    </a:lnTo>
                    <a:lnTo>
                      <a:pt x="4925660" y="2724306"/>
                    </a:lnTo>
                    <a:lnTo>
                      <a:pt x="4941587" y="2713370"/>
                    </a:lnTo>
                    <a:lnTo>
                      <a:pt x="4924340" y="2712303"/>
                    </a:lnTo>
                    <a:lnTo>
                      <a:pt x="4923175" y="2711684"/>
                    </a:lnTo>
                    <a:lnTo>
                      <a:pt x="4920378" y="2708963"/>
                    </a:lnTo>
                    <a:lnTo>
                      <a:pt x="4918881" y="2708368"/>
                    </a:lnTo>
                    <a:lnTo>
                      <a:pt x="4911351" y="2708872"/>
                    </a:lnTo>
                    <a:lnTo>
                      <a:pt x="4902089" y="2707382"/>
                    </a:lnTo>
                    <a:lnTo>
                      <a:pt x="4894093" y="2708905"/>
                    </a:lnTo>
                    <a:lnTo>
                      <a:pt x="4885564" y="2709084"/>
                    </a:lnTo>
                    <a:lnTo>
                      <a:pt x="4883841" y="2709668"/>
                    </a:lnTo>
                    <a:lnTo>
                      <a:pt x="4880685" y="2712372"/>
                    </a:lnTo>
                    <a:lnTo>
                      <a:pt x="4878780" y="2713281"/>
                    </a:lnTo>
                    <a:lnTo>
                      <a:pt x="4870955" y="2714028"/>
                    </a:lnTo>
                    <a:lnTo>
                      <a:pt x="4867393" y="2716249"/>
                    </a:lnTo>
                    <a:lnTo>
                      <a:pt x="4869214" y="2720961"/>
                    </a:lnTo>
                    <a:lnTo>
                      <a:pt x="4872701" y="2724543"/>
                    </a:lnTo>
                    <a:lnTo>
                      <a:pt x="4876074" y="2727210"/>
                    </a:lnTo>
                    <a:lnTo>
                      <a:pt x="4879626" y="2728538"/>
                    </a:lnTo>
                    <a:lnTo>
                      <a:pt x="4883596" y="2728150"/>
                    </a:lnTo>
                    <a:lnTo>
                      <a:pt x="4886683" y="2726637"/>
                    </a:lnTo>
                    <a:lnTo>
                      <a:pt x="4888667" y="2724623"/>
                    </a:lnTo>
                    <a:lnTo>
                      <a:pt x="4892048" y="2719191"/>
                    </a:lnTo>
                    <a:lnTo>
                      <a:pt x="4894887" y="2716330"/>
                    </a:lnTo>
                    <a:lnTo>
                      <a:pt x="4898228" y="2714859"/>
                    </a:lnTo>
                    <a:lnTo>
                      <a:pt x="4919122" y="2713150"/>
                    </a:lnTo>
                    <a:lnTo>
                      <a:pt x="4921691" y="2715049"/>
                    </a:lnTo>
                    <a:lnTo>
                      <a:pt x="4921915" y="2718183"/>
                    </a:lnTo>
                    <a:lnTo>
                      <a:pt x="4921084" y="2722403"/>
                    </a:lnTo>
                    <a:lnTo>
                      <a:pt x="4918893" y="2728747"/>
                    </a:lnTo>
                    <a:lnTo>
                      <a:pt x="4916163" y="2733783"/>
                    </a:lnTo>
                    <a:lnTo>
                      <a:pt x="4915586" y="2735687"/>
                    </a:lnTo>
                    <a:lnTo>
                      <a:pt x="4915477" y="2737960"/>
                    </a:lnTo>
                    <a:lnTo>
                      <a:pt x="4916158" y="2742245"/>
                    </a:lnTo>
                    <a:lnTo>
                      <a:pt x="4916167" y="2743792"/>
                    </a:lnTo>
                    <a:lnTo>
                      <a:pt x="4914430" y="2747108"/>
                    </a:lnTo>
                    <a:lnTo>
                      <a:pt x="4911568" y="2748765"/>
                    </a:lnTo>
                    <a:lnTo>
                      <a:pt x="4904106" y="2749457"/>
                    </a:lnTo>
                    <a:lnTo>
                      <a:pt x="4906643" y="2751150"/>
                    </a:lnTo>
                    <a:lnTo>
                      <a:pt x="4907942" y="2752645"/>
                    </a:lnTo>
                    <a:lnTo>
                      <a:pt x="4908049" y="2754406"/>
                    </a:lnTo>
                    <a:lnTo>
                      <a:pt x="4907053" y="2756893"/>
                    </a:lnTo>
                    <a:lnTo>
                      <a:pt x="4906042" y="2757793"/>
                    </a:lnTo>
                    <a:lnTo>
                      <a:pt x="4904911" y="2757462"/>
                    </a:lnTo>
                    <a:lnTo>
                      <a:pt x="4903747" y="2756673"/>
                    </a:lnTo>
                    <a:lnTo>
                      <a:pt x="4902640" y="2756255"/>
                    </a:lnTo>
                    <a:lnTo>
                      <a:pt x="4900100" y="2760352"/>
                    </a:lnTo>
                    <a:lnTo>
                      <a:pt x="4900683" y="2758261"/>
                    </a:lnTo>
                    <a:lnTo>
                      <a:pt x="4900434" y="2756647"/>
                    </a:lnTo>
                    <a:lnTo>
                      <a:pt x="4899424" y="2755550"/>
                    </a:lnTo>
                    <a:lnTo>
                      <a:pt x="4897733" y="2755005"/>
                    </a:lnTo>
                    <a:lnTo>
                      <a:pt x="4897662" y="2763127"/>
                    </a:lnTo>
                    <a:lnTo>
                      <a:pt x="4897958" y="2764441"/>
                    </a:lnTo>
                    <a:lnTo>
                      <a:pt x="4900237" y="2763853"/>
                    </a:lnTo>
                    <a:lnTo>
                      <a:pt x="4903820" y="2761167"/>
                    </a:lnTo>
                    <a:lnTo>
                      <a:pt x="4905817" y="2760230"/>
                    </a:lnTo>
                    <a:lnTo>
                      <a:pt x="4905921" y="2761702"/>
                    </a:lnTo>
                    <a:lnTo>
                      <a:pt x="4901817" y="2764980"/>
                    </a:lnTo>
                    <a:lnTo>
                      <a:pt x="4900477" y="2765758"/>
                    </a:lnTo>
                    <a:lnTo>
                      <a:pt x="4898064" y="2766703"/>
                    </a:lnTo>
                    <a:lnTo>
                      <a:pt x="4897309" y="2766647"/>
                    </a:lnTo>
                    <a:lnTo>
                      <a:pt x="4897051" y="2762866"/>
                    </a:lnTo>
                    <a:lnTo>
                      <a:pt x="4896659" y="2757452"/>
                    </a:lnTo>
                    <a:lnTo>
                      <a:pt x="4895262" y="2754316"/>
                    </a:lnTo>
                    <a:lnTo>
                      <a:pt x="4893035" y="2752108"/>
                    </a:lnTo>
                    <a:lnTo>
                      <a:pt x="4884153" y="2745528"/>
                    </a:lnTo>
                    <a:lnTo>
                      <a:pt x="4880848" y="2743792"/>
                    </a:lnTo>
                    <a:lnTo>
                      <a:pt x="4875677" y="2742763"/>
                    </a:lnTo>
                    <a:lnTo>
                      <a:pt x="4872070" y="2741058"/>
                    </a:lnTo>
                    <a:lnTo>
                      <a:pt x="4870531" y="2740694"/>
                    </a:lnTo>
                    <a:lnTo>
                      <a:pt x="4866249" y="2740780"/>
                    </a:lnTo>
                    <a:lnTo>
                      <a:pt x="4864320" y="2740433"/>
                    </a:lnTo>
                    <a:lnTo>
                      <a:pt x="4863819" y="2739469"/>
                    </a:lnTo>
                    <a:lnTo>
                      <a:pt x="4863988" y="2738161"/>
                    </a:lnTo>
                    <a:lnTo>
                      <a:pt x="4863973" y="2732277"/>
                    </a:lnTo>
                    <a:lnTo>
                      <a:pt x="4864669" y="2727699"/>
                    </a:lnTo>
                    <a:lnTo>
                      <a:pt x="4864895" y="2723421"/>
                    </a:lnTo>
                    <a:lnTo>
                      <a:pt x="4862075" y="2716663"/>
                    </a:lnTo>
                    <a:lnTo>
                      <a:pt x="4861805" y="2708542"/>
                    </a:lnTo>
                    <a:lnTo>
                      <a:pt x="4861033" y="2704310"/>
                    </a:lnTo>
                    <a:lnTo>
                      <a:pt x="4858918" y="2700757"/>
                    </a:lnTo>
                    <a:lnTo>
                      <a:pt x="4852863" y="2693311"/>
                    </a:lnTo>
                    <a:lnTo>
                      <a:pt x="4851496" y="2690265"/>
                    </a:lnTo>
                    <a:lnTo>
                      <a:pt x="4850730" y="2687853"/>
                    </a:lnTo>
                    <a:lnTo>
                      <a:pt x="4849161" y="2686428"/>
                    </a:lnTo>
                    <a:lnTo>
                      <a:pt x="4847257" y="2685743"/>
                    </a:lnTo>
                    <a:lnTo>
                      <a:pt x="4840747" y="2685685"/>
                    </a:lnTo>
                    <a:lnTo>
                      <a:pt x="4839506" y="2685315"/>
                    </a:lnTo>
                    <a:lnTo>
                      <a:pt x="4839039" y="2684416"/>
                    </a:lnTo>
                    <a:lnTo>
                      <a:pt x="4838916" y="2683494"/>
                    </a:lnTo>
                    <a:lnTo>
                      <a:pt x="4838735" y="2683039"/>
                    </a:lnTo>
                    <a:lnTo>
                      <a:pt x="4834596" y="2683674"/>
                    </a:lnTo>
                    <a:lnTo>
                      <a:pt x="4829802" y="2685318"/>
                    </a:lnTo>
                    <a:lnTo>
                      <a:pt x="4825422" y="2685578"/>
                    </a:lnTo>
                    <a:lnTo>
                      <a:pt x="4822511" y="2681999"/>
                    </a:lnTo>
                    <a:lnTo>
                      <a:pt x="4824568" y="2681913"/>
                    </a:lnTo>
                    <a:lnTo>
                      <a:pt x="4827205" y="2681187"/>
                    </a:lnTo>
                    <a:lnTo>
                      <a:pt x="4828933" y="2679643"/>
                    </a:lnTo>
                    <a:lnTo>
                      <a:pt x="4828351" y="2677098"/>
                    </a:lnTo>
                    <a:lnTo>
                      <a:pt x="4826394" y="2675198"/>
                    </a:lnTo>
                    <a:lnTo>
                      <a:pt x="4822531" y="2673158"/>
                    </a:lnTo>
                    <a:lnTo>
                      <a:pt x="4820804" y="2671117"/>
                    </a:lnTo>
                    <a:lnTo>
                      <a:pt x="4823769" y="2668860"/>
                    </a:lnTo>
                    <a:lnTo>
                      <a:pt x="4827134" y="2669495"/>
                    </a:lnTo>
                    <a:lnTo>
                      <a:pt x="4830917" y="2671214"/>
                    </a:lnTo>
                    <a:lnTo>
                      <a:pt x="4835119" y="2672186"/>
                    </a:lnTo>
                    <a:lnTo>
                      <a:pt x="4834463" y="2670631"/>
                    </a:lnTo>
                    <a:lnTo>
                      <a:pt x="4833544" y="2669444"/>
                    </a:lnTo>
                    <a:lnTo>
                      <a:pt x="4832408" y="2668630"/>
                    </a:lnTo>
                    <a:lnTo>
                      <a:pt x="4831099" y="2668222"/>
                    </a:lnTo>
                    <a:lnTo>
                      <a:pt x="4831014" y="2666873"/>
                    </a:lnTo>
                    <a:lnTo>
                      <a:pt x="4833572" y="2664646"/>
                    </a:lnTo>
                    <a:lnTo>
                      <a:pt x="4834214" y="2661163"/>
                    </a:lnTo>
                    <a:lnTo>
                      <a:pt x="4833324" y="2657516"/>
                    </a:lnTo>
                    <a:lnTo>
                      <a:pt x="4831259" y="2654736"/>
                    </a:lnTo>
                    <a:lnTo>
                      <a:pt x="4836569" y="2649861"/>
                    </a:lnTo>
                    <a:lnTo>
                      <a:pt x="4840978" y="2648185"/>
                    </a:lnTo>
                    <a:lnTo>
                      <a:pt x="4842159" y="2646981"/>
                    </a:lnTo>
                    <a:lnTo>
                      <a:pt x="4840070" y="2645142"/>
                    </a:lnTo>
                    <a:lnTo>
                      <a:pt x="4840964" y="2641221"/>
                    </a:lnTo>
                    <a:lnTo>
                      <a:pt x="4842883" y="2637690"/>
                    </a:lnTo>
                    <a:lnTo>
                      <a:pt x="4845455" y="2635110"/>
                    </a:lnTo>
                    <a:lnTo>
                      <a:pt x="4849727" y="2633539"/>
                    </a:lnTo>
                    <a:lnTo>
                      <a:pt x="4852414" y="2631543"/>
                    </a:lnTo>
                    <a:lnTo>
                      <a:pt x="4854218" y="2631377"/>
                    </a:lnTo>
                    <a:lnTo>
                      <a:pt x="4855560" y="2632353"/>
                    </a:lnTo>
                    <a:lnTo>
                      <a:pt x="4858401" y="2636560"/>
                    </a:lnTo>
                    <a:lnTo>
                      <a:pt x="4859870" y="2634458"/>
                    </a:lnTo>
                    <a:lnTo>
                      <a:pt x="4857440" y="2626293"/>
                    </a:lnTo>
                    <a:lnTo>
                      <a:pt x="4858491" y="2624441"/>
                    </a:lnTo>
                    <a:lnTo>
                      <a:pt x="4866675" y="2624779"/>
                    </a:lnTo>
                    <a:lnTo>
                      <a:pt x="4874652" y="2626669"/>
                    </a:lnTo>
                    <a:lnTo>
                      <a:pt x="4872999" y="2625403"/>
                    </a:lnTo>
                    <a:lnTo>
                      <a:pt x="4867739" y="2622902"/>
                    </a:lnTo>
                    <a:lnTo>
                      <a:pt x="4874011" y="2617377"/>
                    </a:lnTo>
                    <a:lnTo>
                      <a:pt x="4878510" y="2614585"/>
                    </a:lnTo>
                    <a:lnTo>
                      <a:pt x="4878779" y="2613809"/>
                    </a:lnTo>
                    <a:lnTo>
                      <a:pt x="4879347" y="2610955"/>
                    </a:lnTo>
                    <a:lnTo>
                      <a:pt x="4879241" y="2610403"/>
                    </a:lnTo>
                    <a:lnTo>
                      <a:pt x="4881864" y="2609962"/>
                    </a:lnTo>
                    <a:lnTo>
                      <a:pt x="4886994" y="2610744"/>
                    </a:lnTo>
                    <a:lnTo>
                      <a:pt x="4889541" y="2610184"/>
                    </a:lnTo>
                    <a:lnTo>
                      <a:pt x="4891297" y="2608718"/>
                    </a:lnTo>
                    <a:lnTo>
                      <a:pt x="4893018" y="2606761"/>
                    </a:lnTo>
                    <a:lnTo>
                      <a:pt x="4895013" y="2605129"/>
                    </a:lnTo>
                    <a:lnTo>
                      <a:pt x="4897587" y="2604632"/>
                    </a:lnTo>
                    <a:lnTo>
                      <a:pt x="4900065" y="2605308"/>
                    </a:lnTo>
                    <a:lnTo>
                      <a:pt x="4904813" y="2607684"/>
                    </a:lnTo>
                    <a:lnTo>
                      <a:pt x="4907320" y="2608447"/>
                    </a:lnTo>
                    <a:lnTo>
                      <a:pt x="4920423" y="2608153"/>
                    </a:lnTo>
                    <a:lnTo>
                      <a:pt x="4925644" y="2609592"/>
                    </a:lnTo>
                    <a:lnTo>
                      <a:pt x="4928381" y="2612982"/>
                    </a:lnTo>
                    <a:lnTo>
                      <a:pt x="4932969" y="2624168"/>
                    </a:lnTo>
                    <a:lnTo>
                      <a:pt x="4929564" y="2627571"/>
                    </a:lnTo>
                    <a:lnTo>
                      <a:pt x="4914541" y="2630095"/>
                    </a:lnTo>
                    <a:lnTo>
                      <a:pt x="4920439" y="2631449"/>
                    </a:lnTo>
                    <a:lnTo>
                      <a:pt x="4933104" y="2628614"/>
                    </a:lnTo>
                    <a:lnTo>
                      <a:pt x="4938730" y="2631440"/>
                    </a:lnTo>
                    <a:lnTo>
                      <a:pt x="4941242" y="2636862"/>
                    </a:lnTo>
                    <a:lnTo>
                      <a:pt x="4944167" y="2651065"/>
                    </a:lnTo>
                    <a:lnTo>
                      <a:pt x="4946807" y="2656324"/>
                    </a:lnTo>
                    <a:lnTo>
                      <a:pt x="4949066" y="2658025"/>
                    </a:lnTo>
                    <a:lnTo>
                      <a:pt x="4954053" y="2660376"/>
                    </a:lnTo>
                    <a:lnTo>
                      <a:pt x="4956251" y="2662181"/>
                    </a:lnTo>
                    <a:lnTo>
                      <a:pt x="4963697" y="2672859"/>
                    </a:lnTo>
                    <a:lnTo>
                      <a:pt x="4968205" y="2676492"/>
                    </a:lnTo>
                    <a:lnTo>
                      <a:pt x="4984831" y="2682517"/>
                    </a:lnTo>
                    <a:lnTo>
                      <a:pt x="4982712" y="2679978"/>
                    </a:lnTo>
                    <a:lnTo>
                      <a:pt x="4979099" y="2677436"/>
                    </a:lnTo>
                    <a:lnTo>
                      <a:pt x="4975204" y="2675479"/>
                    </a:lnTo>
                    <a:lnTo>
                      <a:pt x="4968453" y="2673421"/>
                    </a:lnTo>
                    <a:lnTo>
                      <a:pt x="4966783" y="2670012"/>
                    </a:lnTo>
                    <a:lnTo>
                      <a:pt x="4965832" y="2665596"/>
                    </a:lnTo>
                    <a:lnTo>
                      <a:pt x="4964161" y="2661302"/>
                    </a:lnTo>
                    <a:lnTo>
                      <a:pt x="4961628" y="2658676"/>
                    </a:lnTo>
                    <a:lnTo>
                      <a:pt x="4959400" y="2657355"/>
                    </a:lnTo>
                    <a:lnTo>
                      <a:pt x="4957682" y="2655218"/>
                    </a:lnTo>
                    <a:lnTo>
                      <a:pt x="4955406" y="2640933"/>
                    </a:lnTo>
                    <a:lnTo>
                      <a:pt x="4955275" y="2636717"/>
                    </a:lnTo>
                    <a:lnTo>
                      <a:pt x="4956405" y="2634401"/>
                    </a:lnTo>
                    <a:lnTo>
                      <a:pt x="4951103" y="2627994"/>
                    </a:lnTo>
                    <a:lnTo>
                      <a:pt x="4950144" y="2626467"/>
                    </a:lnTo>
                    <a:lnTo>
                      <a:pt x="4949723" y="2622830"/>
                    </a:lnTo>
                    <a:lnTo>
                      <a:pt x="4950791" y="2621880"/>
                    </a:lnTo>
                    <a:lnTo>
                      <a:pt x="4952565" y="2622667"/>
                    </a:lnTo>
                    <a:lnTo>
                      <a:pt x="4954253" y="2624281"/>
                    </a:lnTo>
                    <a:lnTo>
                      <a:pt x="4958069" y="2626841"/>
                    </a:lnTo>
                    <a:lnTo>
                      <a:pt x="4964132" y="2628985"/>
                    </a:lnTo>
                    <a:lnTo>
                      <a:pt x="4970158" y="2629892"/>
                    </a:lnTo>
                    <a:lnTo>
                      <a:pt x="4973907" y="2628708"/>
                    </a:lnTo>
                    <a:lnTo>
                      <a:pt x="4972034" y="2626938"/>
                    </a:lnTo>
                    <a:lnTo>
                      <a:pt x="4970028" y="2626167"/>
                    </a:lnTo>
                    <a:lnTo>
                      <a:pt x="4965147" y="2626109"/>
                    </a:lnTo>
                    <a:lnTo>
                      <a:pt x="4963258" y="2625536"/>
                    </a:lnTo>
                    <a:lnTo>
                      <a:pt x="4946480" y="2612779"/>
                    </a:lnTo>
                    <a:lnTo>
                      <a:pt x="4944005" y="2608959"/>
                    </a:lnTo>
                    <a:lnTo>
                      <a:pt x="4948209" y="2606805"/>
                    </a:lnTo>
                    <a:lnTo>
                      <a:pt x="4953942" y="2606604"/>
                    </a:lnTo>
                    <a:lnTo>
                      <a:pt x="4973856" y="2609513"/>
                    </a:lnTo>
                    <a:lnTo>
                      <a:pt x="4977689" y="2611907"/>
                    </a:lnTo>
                    <a:lnTo>
                      <a:pt x="4979586" y="2617667"/>
                    </a:lnTo>
                    <a:lnTo>
                      <a:pt x="4981309" y="2616557"/>
                    </a:lnTo>
                    <a:lnTo>
                      <a:pt x="4985005" y="2617220"/>
                    </a:lnTo>
                    <a:lnTo>
                      <a:pt x="4986027" y="2616023"/>
                    </a:lnTo>
                    <a:lnTo>
                      <a:pt x="4985635" y="2614104"/>
                    </a:lnTo>
                    <a:lnTo>
                      <a:pt x="4984252" y="2611922"/>
                    </a:lnTo>
                    <a:lnTo>
                      <a:pt x="4982546" y="2610133"/>
                    </a:lnTo>
                    <a:lnTo>
                      <a:pt x="4978784" y="2608411"/>
                    </a:lnTo>
                    <a:lnTo>
                      <a:pt x="4968914" y="2601635"/>
                    </a:lnTo>
                    <a:lnTo>
                      <a:pt x="4960920" y="2599693"/>
                    </a:lnTo>
                    <a:lnTo>
                      <a:pt x="4944319" y="2598523"/>
                    </a:lnTo>
                    <a:lnTo>
                      <a:pt x="4940150" y="2596622"/>
                    </a:lnTo>
                    <a:lnTo>
                      <a:pt x="4937166" y="2593079"/>
                    </a:lnTo>
                    <a:lnTo>
                      <a:pt x="4934734" y="2584052"/>
                    </a:lnTo>
                    <a:lnTo>
                      <a:pt x="4936063" y="2577145"/>
                    </a:lnTo>
                    <a:lnTo>
                      <a:pt x="4939768" y="2571715"/>
                    </a:lnTo>
                    <a:lnTo>
                      <a:pt x="4946224" y="2565058"/>
                    </a:lnTo>
                    <a:lnTo>
                      <a:pt x="4947168" y="2564329"/>
                    </a:lnTo>
                    <a:lnTo>
                      <a:pt x="4948017" y="2564101"/>
                    </a:lnTo>
                    <a:lnTo>
                      <a:pt x="4949985" y="2564302"/>
                    </a:lnTo>
                    <a:lnTo>
                      <a:pt x="4950893" y="2564240"/>
                    </a:lnTo>
                    <a:lnTo>
                      <a:pt x="4952478" y="2563352"/>
                    </a:lnTo>
                    <a:lnTo>
                      <a:pt x="4956619" y="2560060"/>
                    </a:lnTo>
                    <a:lnTo>
                      <a:pt x="4962043" y="2558469"/>
                    </a:lnTo>
                    <a:lnTo>
                      <a:pt x="4962657" y="2558702"/>
                    </a:lnTo>
                    <a:lnTo>
                      <a:pt x="4965093" y="2560528"/>
                    </a:lnTo>
                    <a:lnTo>
                      <a:pt x="4966541" y="2561326"/>
                    </a:lnTo>
                    <a:lnTo>
                      <a:pt x="4967918" y="2560884"/>
                    </a:lnTo>
                    <a:lnTo>
                      <a:pt x="4969140" y="2560059"/>
                    </a:lnTo>
                    <a:lnTo>
                      <a:pt x="4970113" y="2559731"/>
                    </a:lnTo>
                    <a:lnTo>
                      <a:pt x="4973068" y="2561824"/>
                    </a:lnTo>
                    <a:lnTo>
                      <a:pt x="4974254" y="2564963"/>
                    </a:lnTo>
                    <a:lnTo>
                      <a:pt x="4975918" y="2567770"/>
                    </a:lnTo>
                    <a:lnTo>
                      <a:pt x="4980321" y="2568903"/>
                    </a:lnTo>
                    <a:lnTo>
                      <a:pt x="4983421" y="2570270"/>
                    </a:lnTo>
                    <a:lnTo>
                      <a:pt x="4985059" y="2573768"/>
                    </a:lnTo>
                    <a:lnTo>
                      <a:pt x="4985746" y="2578197"/>
                    </a:lnTo>
                    <a:lnTo>
                      <a:pt x="4986056" y="2582346"/>
                    </a:lnTo>
                    <a:lnTo>
                      <a:pt x="4987268" y="2590134"/>
                    </a:lnTo>
                    <a:lnTo>
                      <a:pt x="4989464" y="2597859"/>
                    </a:lnTo>
                    <a:lnTo>
                      <a:pt x="4992480" y="2605203"/>
                    </a:lnTo>
                    <a:lnTo>
                      <a:pt x="4996085" y="2611858"/>
                    </a:lnTo>
                    <a:lnTo>
                      <a:pt x="4997070" y="2608789"/>
                    </a:lnTo>
                    <a:lnTo>
                      <a:pt x="4992910" y="2598422"/>
                    </a:lnTo>
                    <a:lnTo>
                      <a:pt x="4991705" y="2592984"/>
                    </a:lnTo>
                    <a:lnTo>
                      <a:pt x="4998425" y="2596885"/>
                    </a:lnTo>
                    <a:lnTo>
                      <a:pt x="5002487" y="2598388"/>
                    </a:lnTo>
                    <a:lnTo>
                      <a:pt x="5004161" y="2597389"/>
                    </a:lnTo>
                    <a:lnTo>
                      <a:pt x="5002664" y="2594128"/>
                    </a:lnTo>
                    <a:lnTo>
                      <a:pt x="4999562" y="2591678"/>
                    </a:lnTo>
                    <a:lnTo>
                      <a:pt x="4993235" y="2588900"/>
                    </a:lnTo>
                    <a:lnTo>
                      <a:pt x="4994991" y="2585492"/>
                    </a:lnTo>
                    <a:lnTo>
                      <a:pt x="4998172" y="2582899"/>
                    </a:lnTo>
                    <a:lnTo>
                      <a:pt x="5001946" y="2582055"/>
                    </a:lnTo>
                    <a:lnTo>
                      <a:pt x="5005449" y="2583940"/>
                    </a:lnTo>
                    <a:lnTo>
                      <a:pt x="5007410" y="2586989"/>
                    </a:lnTo>
                    <a:lnTo>
                      <a:pt x="5009214" y="2590442"/>
                    </a:lnTo>
                    <a:lnTo>
                      <a:pt x="5011388" y="2593420"/>
                    </a:lnTo>
                    <a:lnTo>
                      <a:pt x="5014445" y="2595100"/>
                    </a:lnTo>
                    <a:lnTo>
                      <a:pt x="5018420" y="2594170"/>
                    </a:lnTo>
                    <a:lnTo>
                      <a:pt x="5019813" y="2590768"/>
                    </a:lnTo>
                    <a:lnTo>
                      <a:pt x="5018881" y="2587139"/>
                    </a:lnTo>
                    <a:lnTo>
                      <a:pt x="5015914" y="2585516"/>
                    </a:lnTo>
                    <a:lnTo>
                      <a:pt x="5013959" y="2584948"/>
                    </a:lnTo>
                    <a:lnTo>
                      <a:pt x="5011180" y="2582323"/>
                    </a:lnTo>
                    <a:lnTo>
                      <a:pt x="5009071" y="2581318"/>
                    </a:lnTo>
                    <a:lnTo>
                      <a:pt x="5008622" y="2580366"/>
                    </a:lnTo>
                    <a:lnTo>
                      <a:pt x="5008303" y="2579412"/>
                    </a:lnTo>
                    <a:lnTo>
                      <a:pt x="5007831" y="2578983"/>
                    </a:lnTo>
                    <a:lnTo>
                      <a:pt x="5003634" y="2579091"/>
                    </a:lnTo>
                    <a:lnTo>
                      <a:pt x="4999806" y="2577102"/>
                    </a:lnTo>
                    <a:lnTo>
                      <a:pt x="4997061" y="2573512"/>
                    </a:lnTo>
                    <a:lnTo>
                      <a:pt x="4996802" y="2570037"/>
                    </a:lnTo>
                    <a:lnTo>
                      <a:pt x="5000390" y="2568396"/>
                    </a:lnTo>
                    <a:lnTo>
                      <a:pt x="5003757" y="2569128"/>
                    </a:lnTo>
                    <a:lnTo>
                      <a:pt x="5014475" y="2574772"/>
                    </a:lnTo>
                    <a:lnTo>
                      <a:pt x="5022742" y="2577300"/>
                    </a:lnTo>
                    <a:lnTo>
                      <a:pt x="5031274" y="2578367"/>
                    </a:lnTo>
                    <a:lnTo>
                      <a:pt x="5033940" y="2579603"/>
                    </a:lnTo>
                    <a:lnTo>
                      <a:pt x="5034358" y="2582780"/>
                    </a:lnTo>
                    <a:lnTo>
                      <a:pt x="5034097" y="2586833"/>
                    </a:lnTo>
                    <a:lnTo>
                      <a:pt x="5034733" y="2590638"/>
                    </a:lnTo>
                    <a:lnTo>
                      <a:pt x="5035685" y="2592323"/>
                    </a:lnTo>
                    <a:lnTo>
                      <a:pt x="5036777" y="2593546"/>
                    </a:lnTo>
                    <a:lnTo>
                      <a:pt x="5038080" y="2594275"/>
                    </a:lnTo>
                    <a:lnTo>
                      <a:pt x="5039667" y="2594432"/>
                    </a:lnTo>
                    <a:lnTo>
                      <a:pt x="5037113" y="2591056"/>
                    </a:lnTo>
                    <a:lnTo>
                      <a:pt x="5036357" y="2586339"/>
                    </a:lnTo>
                    <a:lnTo>
                      <a:pt x="5036215" y="2575665"/>
                    </a:lnTo>
                    <a:lnTo>
                      <a:pt x="5034382" y="2565480"/>
                    </a:lnTo>
                    <a:lnTo>
                      <a:pt x="5033385" y="2563268"/>
                    </a:lnTo>
                    <a:lnTo>
                      <a:pt x="5029306" y="2559381"/>
                    </a:lnTo>
                    <a:lnTo>
                      <a:pt x="5027927" y="2556787"/>
                    </a:lnTo>
                    <a:lnTo>
                      <a:pt x="5031790" y="2556739"/>
                    </a:lnTo>
                    <a:lnTo>
                      <a:pt x="5035360" y="2558273"/>
                    </a:lnTo>
                    <a:lnTo>
                      <a:pt x="5041645" y="2563158"/>
                    </a:lnTo>
                    <a:lnTo>
                      <a:pt x="5051590" y="2568889"/>
                    </a:lnTo>
                    <a:lnTo>
                      <a:pt x="5053648" y="2571144"/>
                    </a:lnTo>
                    <a:lnTo>
                      <a:pt x="5055297" y="2569630"/>
                    </a:lnTo>
                    <a:lnTo>
                      <a:pt x="5053485" y="2568018"/>
                    </a:lnTo>
                    <a:lnTo>
                      <a:pt x="5049958" y="2565980"/>
                    </a:lnTo>
                    <a:lnTo>
                      <a:pt x="5048201" y="2564439"/>
                    </a:lnTo>
                    <a:lnTo>
                      <a:pt x="5047931" y="2562705"/>
                    </a:lnTo>
                    <a:lnTo>
                      <a:pt x="5046081" y="2559987"/>
                    </a:lnTo>
                    <a:lnTo>
                      <a:pt x="5043605" y="2557487"/>
                    </a:lnTo>
                    <a:lnTo>
                      <a:pt x="5039300" y="2555341"/>
                    </a:lnTo>
                    <a:lnTo>
                      <a:pt x="5032312" y="2547972"/>
                    </a:lnTo>
                    <a:lnTo>
                      <a:pt x="5029619" y="2546136"/>
                    </a:lnTo>
                    <a:lnTo>
                      <a:pt x="5023760" y="2544294"/>
                    </a:lnTo>
                    <a:lnTo>
                      <a:pt x="5019009" y="2540403"/>
                    </a:lnTo>
                    <a:lnTo>
                      <a:pt x="5018267" y="2539339"/>
                    </a:lnTo>
                    <a:lnTo>
                      <a:pt x="5017865" y="2537594"/>
                    </a:lnTo>
                    <a:lnTo>
                      <a:pt x="5018457" y="2536135"/>
                    </a:lnTo>
                    <a:close/>
                    <a:moveTo>
                      <a:pt x="7682324" y="2520874"/>
                    </a:moveTo>
                    <a:lnTo>
                      <a:pt x="7699599" y="2521429"/>
                    </a:lnTo>
                    <a:lnTo>
                      <a:pt x="7713187" y="2523133"/>
                    </a:lnTo>
                    <a:lnTo>
                      <a:pt x="7725809" y="2523641"/>
                    </a:lnTo>
                    <a:lnTo>
                      <a:pt x="7731660" y="2525372"/>
                    </a:lnTo>
                    <a:lnTo>
                      <a:pt x="7739526" y="2525783"/>
                    </a:lnTo>
                    <a:lnTo>
                      <a:pt x="7743483" y="2526658"/>
                    </a:lnTo>
                    <a:lnTo>
                      <a:pt x="7751943" y="2529974"/>
                    </a:lnTo>
                    <a:lnTo>
                      <a:pt x="7755789" y="2530761"/>
                    </a:lnTo>
                    <a:lnTo>
                      <a:pt x="7762818" y="2529807"/>
                    </a:lnTo>
                    <a:lnTo>
                      <a:pt x="7765880" y="2530762"/>
                    </a:lnTo>
                    <a:lnTo>
                      <a:pt x="7769859" y="2534745"/>
                    </a:lnTo>
                    <a:lnTo>
                      <a:pt x="7772407" y="2538239"/>
                    </a:lnTo>
                    <a:lnTo>
                      <a:pt x="7775174" y="2541495"/>
                    </a:lnTo>
                    <a:lnTo>
                      <a:pt x="7778017" y="2542798"/>
                    </a:lnTo>
                    <a:lnTo>
                      <a:pt x="7780780" y="2540417"/>
                    </a:lnTo>
                    <a:lnTo>
                      <a:pt x="7773210" y="2534921"/>
                    </a:lnTo>
                    <a:lnTo>
                      <a:pt x="7769082" y="2530872"/>
                    </a:lnTo>
                    <a:lnTo>
                      <a:pt x="7766646" y="2526657"/>
                    </a:lnTo>
                    <a:lnTo>
                      <a:pt x="7775643" y="2528354"/>
                    </a:lnTo>
                    <a:lnTo>
                      <a:pt x="7792719" y="2525658"/>
                    </a:lnTo>
                    <a:lnTo>
                      <a:pt x="7801507" y="2527806"/>
                    </a:lnTo>
                    <a:lnTo>
                      <a:pt x="7804056" y="2531013"/>
                    </a:lnTo>
                    <a:lnTo>
                      <a:pt x="7807669" y="2533717"/>
                    </a:lnTo>
                    <a:lnTo>
                      <a:pt x="7811547" y="2535525"/>
                    </a:lnTo>
                    <a:lnTo>
                      <a:pt x="7814850" y="2535990"/>
                    </a:lnTo>
                    <a:lnTo>
                      <a:pt x="7816954" y="2537599"/>
                    </a:lnTo>
                    <a:lnTo>
                      <a:pt x="7820475" y="2541473"/>
                    </a:lnTo>
                    <a:lnTo>
                      <a:pt x="7826202" y="2548669"/>
                    </a:lnTo>
                    <a:lnTo>
                      <a:pt x="7827336" y="2551960"/>
                    </a:lnTo>
                    <a:lnTo>
                      <a:pt x="7827028" y="2555255"/>
                    </a:lnTo>
                    <a:lnTo>
                      <a:pt x="7825553" y="2557873"/>
                    </a:lnTo>
                    <a:lnTo>
                      <a:pt x="7823179" y="2559121"/>
                    </a:lnTo>
                    <a:lnTo>
                      <a:pt x="7823450" y="2561165"/>
                    </a:lnTo>
                    <a:lnTo>
                      <a:pt x="7826736" y="2565225"/>
                    </a:lnTo>
                    <a:lnTo>
                      <a:pt x="7832176" y="2570730"/>
                    </a:lnTo>
                    <a:lnTo>
                      <a:pt x="7833436" y="2572680"/>
                    </a:lnTo>
                    <a:lnTo>
                      <a:pt x="7836903" y="2580059"/>
                    </a:lnTo>
                    <a:lnTo>
                      <a:pt x="7837228" y="2581488"/>
                    </a:lnTo>
                    <a:lnTo>
                      <a:pt x="7837944" y="2582748"/>
                    </a:lnTo>
                    <a:lnTo>
                      <a:pt x="7838709" y="2583562"/>
                    </a:lnTo>
                    <a:lnTo>
                      <a:pt x="7839588" y="2584158"/>
                    </a:lnTo>
                    <a:lnTo>
                      <a:pt x="7840445" y="2584841"/>
                    </a:lnTo>
                    <a:lnTo>
                      <a:pt x="7841139" y="2585934"/>
                    </a:lnTo>
                    <a:lnTo>
                      <a:pt x="7844254" y="2593126"/>
                    </a:lnTo>
                    <a:lnTo>
                      <a:pt x="7844446" y="2596230"/>
                    </a:lnTo>
                    <a:lnTo>
                      <a:pt x="7842627" y="2599292"/>
                    </a:lnTo>
                    <a:lnTo>
                      <a:pt x="7841498" y="2600166"/>
                    </a:lnTo>
                    <a:lnTo>
                      <a:pt x="7838368" y="2601384"/>
                    </a:lnTo>
                    <a:lnTo>
                      <a:pt x="7836765" y="2601474"/>
                    </a:lnTo>
                    <a:lnTo>
                      <a:pt x="7834393" y="2600403"/>
                    </a:lnTo>
                    <a:lnTo>
                      <a:pt x="7829208" y="2596381"/>
                    </a:lnTo>
                    <a:lnTo>
                      <a:pt x="7827236" y="2595621"/>
                    </a:lnTo>
                    <a:lnTo>
                      <a:pt x="7823617" y="2594855"/>
                    </a:lnTo>
                    <a:lnTo>
                      <a:pt x="7819092" y="2592438"/>
                    </a:lnTo>
                    <a:lnTo>
                      <a:pt x="7804318" y="2581668"/>
                    </a:lnTo>
                    <a:lnTo>
                      <a:pt x="7801469" y="2578893"/>
                    </a:lnTo>
                    <a:lnTo>
                      <a:pt x="7797548" y="2572304"/>
                    </a:lnTo>
                    <a:lnTo>
                      <a:pt x="7794773" y="2569190"/>
                    </a:lnTo>
                    <a:lnTo>
                      <a:pt x="7791628" y="2566640"/>
                    </a:lnTo>
                    <a:lnTo>
                      <a:pt x="7788592" y="2564894"/>
                    </a:lnTo>
                    <a:lnTo>
                      <a:pt x="7788488" y="2567297"/>
                    </a:lnTo>
                    <a:lnTo>
                      <a:pt x="7785765" y="2566829"/>
                    </a:lnTo>
                    <a:lnTo>
                      <a:pt x="7776067" y="2561904"/>
                    </a:lnTo>
                    <a:lnTo>
                      <a:pt x="7773798" y="2561528"/>
                    </a:lnTo>
                    <a:lnTo>
                      <a:pt x="7773638" y="2562655"/>
                    </a:lnTo>
                    <a:lnTo>
                      <a:pt x="7779842" y="2568746"/>
                    </a:lnTo>
                    <a:lnTo>
                      <a:pt x="7780970" y="2571167"/>
                    </a:lnTo>
                    <a:lnTo>
                      <a:pt x="7781387" y="2573411"/>
                    </a:lnTo>
                    <a:lnTo>
                      <a:pt x="7782183" y="2575773"/>
                    </a:lnTo>
                    <a:lnTo>
                      <a:pt x="7784177" y="2578321"/>
                    </a:lnTo>
                    <a:lnTo>
                      <a:pt x="7787282" y="2580996"/>
                    </a:lnTo>
                    <a:lnTo>
                      <a:pt x="7790383" y="2582321"/>
                    </a:lnTo>
                    <a:lnTo>
                      <a:pt x="7792370" y="2580833"/>
                    </a:lnTo>
                    <a:lnTo>
                      <a:pt x="7793929" y="2578622"/>
                    </a:lnTo>
                    <a:lnTo>
                      <a:pt x="7796217" y="2578480"/>
                    </a:lnTo>
                    <a:lnTo>
                      <a:pt x="7798707" y="2580313"/>
                    </a:lnTo>
                    <a:lnTo>
                      <a:pt x="7800881" y="2584063"/>
                    </a:lnTo>
                    <a:lnTo>
                      <a:pt x="7803547" y="2590800"/>
                    </a:lnTo>
                    <a:lnTo>
                      <a:pt x="7803641" y="2592452"/>
                    </a:lnTo>
                    <a:lnTo>
                      <a:pt x="7802191" y="2595283"/>
                    </a:lnTo>
                    <a:lnTo>
                      <a:pt x="7802328" y="2597411"/>
                    </a:lnTo>
                    <a:lnTo>
                      <a:pt x="7803576" y="2599938"/>
                    </a:lnTo>
                    <a:lnTo>
                      <a:pt x="7804416" y="2599526"/>
                    </a:lnTo>
                    <a:lnTo>
                      <a:pt x="7804894" y="2597969"/>
                    </a:lnTo>
                    <a:lnTo>
                      <a:pt x="7805060" y="2597060"/>
                    </a:lnTo>
                    <a:lnTo>
                      <a:pt x="7806594" y="2596999"/>
                    </a:lnTo>
                    <a:lnTo>
                      <a:pt x="7809710" y="2597628"/>
                    </a:lnTo>
                    <a:lnTo>
                      <a:pt x="7814028" y="2597766"/>
                    </a:lnTo>
                    <a:lnTo>
                      <a:pt x="7818420" y="2598535"/>
                    </a:lnTo>
                    <a:lnTo>
                      <a:pt x="7822709" y="2600197"/>
                    </a:lnTo>
                    <a:lnTo>
                      <a:pt x="7825713" y="2602904"/>
                    </a:lnTo>
                    <a:lnTo>
                      <a:pt x="7824467" y="2604603"/>
                    </a:lnTo>
                    <a:lnTo>
                      <a:pt x="7822227" y="2603573"/>
                    </a:lnTo>
                    <a:lnTo>
                      <a:pt x="7819725" y="2602898"/>
                    </a:lnTo>
                    <a:lnTo>
                      <a:pt x="7817249" y="2602616"/>
                    </a:lnTo>
                    <a:lnTo>
                      <a:pt x="7815125" y="2602848"/>
                    </a:lnTo>
                    <a:lnTo>
                      <a:pt x="7815660" y="2604200"/>
                    </a:lnTo>
                    <a:lnTo>
                      <a:pt x="7823965" y="2605852"/>
                    </a:lnTo>
                    <a:lnTo>
                      <a:pt x="7826330" y="2607077"/>
                    </a:lnTo>
                    <a:lnTo>
                      <a:pt x="7828184" y="2609324"/>
                    </a:lnTo>
                    <a:lnTo>
                      <a:pt x="7831463" y="2615142"/>
                    </a:lnTo>
                    <a:lnTo>
                      <a:pt x="7833566" y="2617636"/>
                    </a:lnTo>
                    <a:lnTo>
                      <a:pt x="7826152" y="2618591"/>
                    </a:lnTo>
                    <a:lnTo>
                      <a:pt x="7829019" y="2622299"/>
                    </a:lnTo>
                    <a:lnTo>
                      <a:pt x="7830576" y="2626039"/>
                    </a:lnTo>
                    <a:lnTo>
                      <a:pt x="7830804" y="2629495"/>
                    </a:lnTo>
                    <a:lnTo>
                      <a:pt x="7829658" y="2632324"/>
                    </a:lnTo>
                    <a:lnTo>
                      <a:pt x="7828377" y="2633401"/>
                    </a:lnTo>
                    <a:lnTo>
                      <a:pt x="7826790" y="2634010"/>
                    </a:lnTo>
                    <a:lnTo>
                      <a:pt x="7823255" y="2634566"/>
                    </a:lnTo>
                    <a:lnTo>
                      <a:pt x="7819474" y="2633629"/>
                    </a:lnTo>
                    <a:lnTo>
                      <a:pt x="7818515" y="2633041"/>
                    </a:lnTo>
                    <a:lnTo>
                      <a:pt x="7817600" y="2632203"/>
                    </a:lnTo>
                    <a:lnTo>
                      <a:pt x="7816671" y="2631155"/>
                    </a:lnTo>
                    <a:lnTo>
                      <a:pt x="7812699" y="2630970"/>
                    </a:lnTo>
                    <a:lnTo>
                      <a:pt x="7805766" y="2633325"/>
                    </a:lnTo>
                    <a:lnTo>
                      <a:pt x="7801899" y="2633041"/>
                    </a:lnTo>
                    <a:lnTo>
                      <a:pt x="7799755" y="2631641"/>
                    </a:lnTo>
                    <a:lnTo>
                      <a:pt x="7798403" y="2629902"/>
                    </a:lnTo>
                    <a:lnTo>
                      <a:pt x="7796958" y="2628515"/>
                    </a:lnTo>
                    <a:lnTo>
                      <a:pt x="7794564" y="2628178"/>
                    </a:lnTo>
                    <a:lnTo>
                      <a:pt x="7787730" y="2629046"/>
                    </a:lnTo>
                    <a:lnTo>
                      <a:pt x="7789360" y="2629853"/>
                    </a:lnTo>
                    <a:lnTo>
                      <a:pt x="7790875" y="2630927"/>
                    </a:lnTo>
                    <a:lnTo>
                      <a:pt x="7792270" y="2632322"/>
                    </a:lnTo>
                    <a:lnTo>
                      <a:pt x="7793562" y="2634101"/>
                    </a:lnTo>
                    <a:lnTo>
                      <a:pt x="7790828" y="2634583"/>
                    </a:lnTo>
                    <a:lnTo>
                      <a:pt x="7792632" y="2636737"/>
                    </a:lnTo>
                    <a:lnTo>
                      <a:pt x="7790854" y="2638998"/>
                    </a:lnTo>
                    <a:lnTo>
                      <a:pt x="7780435" y="2643382"/>
                    </a:lnTo>
                    <a:lnTo>
                      <a:pt x="7767524" y="2644350"/>
                    </a:lnTo>
                    <a:lnTo>
                      <a:pt x="7760704" y="2640647"/>
                    </a:lnTo>
                    <a:lnTo>
                      <a:pt x="7754326" y="2622256"/>
                    </a:lnTo>
                    <a:lnTo>
                      <a:pt x="7748451" y="2619830"/>
                    </a:lnTo>
                    <a:lnTo>
                      <a:pt x="7748838" y="2617276"/>
                    </a:lnTo>
                    <a:lnTo>
                      <a:pt x="7752660" y="2615023"/>
                    </a:lnTo>
                    <a:lnTo>
                      <a:pt x="7753164" y="2612159"/>
                    </a:lnTo>
                    <a:lnTo>
                      <a:pt x="7750517" y="2612610"/>
                    </a:lnTo>
                    <a:lnTo>
                      <a:pt x="7749223" y="2610867"/>
                    </a:lnTo>
                    <a:lnTo>
                      <a:pt x="7748321" y="2608180"/>
                    </a:lnTo>
                    <a:lnTo>
                      <a:pt x="7746892" y="2605879"/>
                    </a:lnTo>
                    <a:lnTo>
                      <a:pt x="7744614" y="2604496"/>
                    </a:lnTo>
                    <a:lnTo>
                      <a:pt x="7742725" y="2603848"/>
                    </a:lnTo>
                    <a:lnTo>
                      <a:pt x="7740888" y="2602663"/>
                    </a:lnTo>
                    <a:lnTo>
                      <a:pt x="7738725" y="2599696"/>
                    </a:lnTo>
                    <a:lnTo>
                      <a:pt x="7737398" y="2595790"/>
                    </a:lnTo>
                    <a:lnTo>
                      <a:pt x="7737268" y="2592365"/>
                    </a:lnTo>
                    <a:lnTo>
                      <a:pt x="7736506" y="2588550"/>
                    </a:lnTo>
                    <a:lnTo>
                      <a:pt x="7733274" y="2583409"/>
                    </a:lnTo>
                    <a:lnTo>
                      <a:pt x="7735010" y="2582634"/>
                    </a:lnTo>
                    <a:lnTo>
                      <a:pt x="7735213" y="2581428"/>
                    </a:lnTo>
                    <a:lnTo>
                      <a:pt x="7734350" y="2579968"/>
                    </a:lnTo>
                    <a:lnTo>
                      <a:pt x="7732863" y="2578436"/>
                    </a:lnTo>
                    <a:lnTo>
                      <a:pt x="7731042" y="2576255"/>
                    </a:lnTo>
                    <a:lnTo>
                      <a:pt x="7731084" y="2575010"/>
                    </a:lnTo>
                    <a:lnTo>
                      <a:pt x="7732630" y="2574909"/>
                    </a:lnTo>
                    <a:lnTo>
                      <a:pt x="7735297" y="2576072"/>
                    </a:lnTo>
                    <a:lnTo>
                      <a:pt x="7732485" y="2571799"/>
                    </a:lnTo>
                    <a:lnTo>
                      <a:pt x="7730235" y="2567127"/>
                    </a:lnTo>
                    <a:lnTo>
                      <a:pt x="7728149" y="2564002"/>
                    </a:lnTo>
                    <a:lnTo>
                      <a:pt x="7725879" y="2564415"/>
                    </a:lnTo>
                    <a:lnTo>
                      <a:pt x="7726025" y="2565130"/>
                    </a:lnTo>
                    <a:lnTo>
                      <a:pt x="7727291" y="2567777"/>
                    </a:lnTo>
                    <a:lnTo>
                      <a:pt x="7727501" y="2568577"/>
                    </a:lnTo>
                    <a:lnTo>
                      <a:pt x="7726977" y="2569182"/>
                    </a:lnTo>
                    <a:lnTo>
                      <a:pt x="7725507" y="2570177"/>
                    </a:lnTo>
                    <a:lnTo>
                      <a:pt x="7725068" y="2570940"/>
                    </a:lnTo>
                    <a:lnTo>
                      <a:pt x="7724482" y="2572556"/>
                    </a:lnTo>
                    <a:lnTo>
                      <a:pt x="7723406" y="2573880"/>
                    </a:lnTo>
                    <a:lnTo>
                      <a:pt x="7721881" y="2574401"/>
                    </a:lnTo>
                    <a:lnTo>
                      <a:pt x="7719895" y="2573640"/>
                    </a:lnTo>
                    <a:lnTo>
                      <a:pt x="7721244" y="2572180"/>
                    </a:lnTo>
                    <a:lnTo>
                      <a:pt x="7720676" y="2570719"/>
                    </a:lnTo>
                    <a:lnTo>
                      <a:pt x="7718713" y="2571151"/>
                    </a:lnTo>
                    <a:lnTo>
                      <a:pt x="7716621" y="2571077"/>
                    </a:lnTo>
                    <a:lnTo>
                      <a:pt x="7714462" y="2570405"/>
                    </a:lnTo>
                    <a:lnTo>
                      <a:pt x="7712254" y="2568947"/>
                    </a:lnTo>
                    <a:lnTo>
                      <a:pt x="7712336" y="2568144"/>
                    </a:lnTo>
                    <a:lnTo>
                      <a:pt x="7712207" y="2566138"/>
                    </a:lnTo>
                    <a:lnTo>
                      <a:pt x="7710540" y="2566467"/>
                    </a:lnTo>
                    <a:lnTo>
                      <a:pt x="7709214" y="2566035"/>
                    </a:lnTo>
                    <a:lnTo>
                      <a:pt x="7708322" y="2564732"/>
                    </a:lnTo>
                    <a:lnTo>
                      <a:pt x="7707945" y="2562556"/>
                    </a:lnTo>
                    <a:lnTo>
                      <a:pt x="7705791" y="2563053"/>
                    </a:lnTo>
                    <a:lnTo>
                      <a:pt x="7704210" y="2564028"/>
                    </a:lnTo>
                    <a:lnTo>
                      <a:pt x="7702491" y="2564326"/>
                    </a:lnTo>
                    <a:lnTo>
                      <a:pt x="7699945" y="2562852"/>
                    </a:lnTo>
                    <a:lnTo>
                      <a:pt x="7696926" y="2559719"/>
                    </a:lnTo>
                    <a:lnTo>
                      <a:pt x="7696615" y="2558091"/>
                    </a:lnTo>
                    <a:lnTo>
                      <a:pt x="7698054" y="2557608"/>
                    </a:lnTo>
                    <a:lnTo>
                      <a:pt x="7700302" y="2557856"/>
                    </a:lnTo>
                    <a:lnTo>
                      <a:pt x="7710503" y="2560473"/>
                    </a:lnTo>
                    <a:lnTo>
                      <a:pt x="7714948" y="2560208"/>
                    </a:lnTo>
                    <a:lnTo>
                      <a:pt x="7717256" y="2557011"/>
                    </a:lnTo>
                    <a:lnTo>
                      <a:pt x="7714448" y="2556026"/>
                    </a:lnTo>
                    <a:lnTo>
                      <a:pt x="7701765" y="2553706"/>
                    </a:lnTo>
                    <a:lnTo>
                      <a:pt x="7692447" y="2547425"/>
                    </a:lnTo>
                    <a:lnTo>
                      <a:pt x="7670427" y="2537349"/>
                    </a:lnTo>
                    <a:lnTo>
                      <a:pt x="7669950" y="2536113"/>
                    </a:lnTo>
                    <a:lnTo>
                      <a:pt x="7670203" y="2534962"/>
                    </a:lnTo>
                    <a:lnTo>
                      <a:pt x="7669939" y="2533574"/>
                    </a:lnTo>
                    <a:lnTo>
                      <a:pt x="7668470" y="2529822"/>
                    </a:lnTo>
                    <a:lnTo>
                      <a:pt x="7668746" y="2528029"/>
                    </a:lnTo>
                    <a:lnTo>
                      <a:pt x="7670695" y="2527204"/>
                    </a:lnTo>
                    <a:lnTo>
                      <a:pt x="7674995" y="2526893"/>
                    </a:lnTo>
                    <a:lnTo>
                      <a:pt x="7676344" y="2526413"/>
                    </a:lnTo>
                    <a:lnTo>
                      <a:pt x="7677693" y="2525443"/>
                    </a:lnTo>
                    <a:lnTo>
                      <a:pt x="7678801" y="2524152"/>
                    </a:lnTo>
                    <a:lnTo>
                      <a:pt x="7679477" y="2522738"/>
                    </a:lnTo>
                    <a:lnTo>
                      <a:pt x="7680561" y="2521238"/>
                    </a:lnTo>
                    <a:close/>
                    <a:moveTo>
                      <a:pt x="5018602" y="2508812"/>
                    </a:moveTo>
                    <a:lnTo>
                      <a:pt x="5021000" y="2509877"/>
                    </a:lnTo>
                    <a:lnTo>
                      <a:pt x="5026346" y="2515432"/>
                    </a:lnTo>
                    <a:lnTo>
                      <a:pt x="5029611" y="2517965"/>
                    </a:lnTo>
                    <a:lnTo>
                      <a:pt x="5032524" y="2518985"/>
                    </a:lnTo>
                    <a:lnTo>
                      <a:pt x="5039304" y="2517422"/>
                    </a:lnTo>
                    <a:lnTo>
                      <a:pt x="5041243" y="2517401"/>
                    </a:lnTo>
                    <a:lnTo>
                      <a:pt x="5042776" y="2518433"/>
                    </a:lnTo>
                    <a:lnTo>
                      <a:pt x="5045577" y="2522004"/>
                    </a:lnTo>
                    <a:lnTo>
                      <a:pt x="5046873" y="2522746"/>
                    </a:lnTo>
                    <a:lnTo>
                      <a:pt x="5047589" y="2523535"/>
                    </a:lnTo>
                    <a:lnTo>
                      <a:pt x="5050196" y="2528587"/>
                    </a:lnTo>
                    <a:lnTo>
                      <a:pt x="5051757" y="2529531"/>
                    </a:lnTo>
                    <a:lnTo>
                      <a:pt x="5058315" y="2530503"/>
                    </a:lnTo>
                    <a:lnTo>
                      <a:pt x="5073769" y="2536668"/>
                    </a:lnTo>
                    <a:lnTo>
                      <a:pt x="5072174" y="2538101"/>
                    </a:lnTo>
                    <a:lnTo>
                      <a:pt x="5070376" y="2537912"/>
                    </a:lnTo>
                    <a:lnTo>
                      <a:pt x="5068422" y="2537157"/>
                    </a:lnTo>
                    <a:lnTo>
                      <a:pt x="5066350" y="2536878"/>
                    </a:lnTo>
                    <a:lnTo>
                      <a:pt x="5061362" y="2539377"/>
                    </a:lnTo>
                    <a:lnTo>
                      <a:pt x="5059169" y="2539775"/>
                    </a:lnTo>
                    <a:lnTo>
                      <a:pt x="5055433" y="2538949"/>
                    </a:lnTo>
                    <a:lnTo>
                      <a:pt x="5047665" y="2535522"/>
                    </a:lnTo>
                    <a:lnTo>
                      <a:pt x="5042944" y="2534385"/>
                    </a:lnTo>
                    <a:lnTo>
                      <a:pt x="5035394" y="2530837"/>
                    </a:lnTo>
                    <a:lnTo>
                      <a:pt x="5030820" y="2531539"/>
                    </a:lnTo>
                    <a:lnTo>
                      <a:pt x="5028919" y="2530580"/>
                    </a:lnTo>
                    <a:lnTo>
                      <a:pt x="5024421" y="2523444"/>
                    </a:lnTo>
                    <a:lnTo>
                      <a:pt x="5021717" y="2520831"/>
                    </a:lnTo>
                    <a:lnTo>
                      <a:pt x="5018250" y="2520716"/>
                    </a:lnTo>
                    <a:lnTo>
                      <a:pt x="5022100" y="2525983"/>
                    </a:lnTo>
                    <a:lnTo>
                      <a:pt x="5023560" y="2527292"/>
                    </a:lnTo>
                    <a:lnTo>
                      <a:pt x="5011844" y="2528757"/>
                    </a:lnTo>
                    <a:lnTo>
                      <a:pt x="5006459" y="2528297"/>
                    </a:lnTo>
                    <a:lnTo>
                      <a:pt x="5000917" y="2525194"/>
                    </a:lnTo>
                    <a:lnTo>
                      <a:pt x="5012915" y="2512785"/>
                    </a:lnTo>
                    <a:lnTo>
                      <a:pt x="5011778" y="2511348"/>
                    </a:lnTo>
                    <a:lnTo>
                      <a:pt x="5013909" y="2509922"/>
                    </a:lnTo>
                    <a:lnTo>
                      <a:pt x="5016210" y="2508947"/>
                    </a:lnTo>
                    <a:close/>
                    <a:moveTo>
                      <a:pt x="7420367" y="2503350"/>
                    </a:moveTo>
                    <a:lnTo>
                      <a:pt x="7438118" y="2510406"/>
                    </a:lnTo>
                    <a:lnTo>
                      <a:pt x="7441229" y="2512625"/>
                    </a:lnTo>
                    <a:lnTo>
                      <a:pt x="7447415" y="2518213"/>
                    </a:lnTo>
                    <a:lnTo>
                      <a:pt x="7450211" y="2520201"/>
                    </a:lnTo>
                    <a:lnTo>
                      <a:pt x="7448434" y="2521838"/>
                    </a:lnTo>
                    <a:lnTo>
                      <a:pt x="7445650" y="2521886"/>
                    </a:lnTo>
                    <a:lnTo>
                      <a:pt x="7439804" y="2520019"/>
                    </a:lnTo>
                    <a:lnTo>
                      <a:pt x="7442596" y="2522393"/>
                    </a:lnTo>
                    <a:lnTo>
                      <a:pt x="7444684" y="2525050"/>
                    </a:lnTo>
                    <a:lnTo>
                      <a:pt x="7446389" y="2528278"/>
                    </a:lnTo>
                    <a:lnTo>
                      <a:pt x="7448026" y="2532442"/>
                    </a:lnTo>
                    <a:lnTo>
                      <a:pt x="7450039" y="2535693"/>
                    </a:lnTo>
                    <a:lnTo>
                      <a:pt x="7452461" y="2536741"/>
                    </a:lnTo>
                    <a:lnTo>
                      <a:pt x="7455051" y="2536915"/>
                    </a:lnTo>
                    <a:lnTo>
                      <a:pt x="7457582" y="2537591"/>
                    </a:lnTo>
                    <a:lnTo>
                      <a:pt x="7457146" y="2543562"/>
                    </a:lnTo>
                    <a:lnTo>
                      <a:pt x="7457735" y="2559264"/>
                    </a:lnTo>
                    <a:lnTo>
                      <a:pt x="7455979" y="2564678"/>
                    </a:lnTo>
                    <a:lnTo>
                      <a:pt x="7454270" y="2565285"/>
                    </a:lnTo>
                    <a:lnTo>
                      <a:pt x="7449721" y="2565093"/>
                    </a:lnTo>
                    <a:lnTo>
                      <a:pt x="7448353" y="2566212"/>
                    </a:lnTo>
                    <a:lnTo>
                      <a:pt x="7447464" y="2567544"/>
                    </a:lnTo>
                    <a:lnTo>
                      <a:pt x="7446198" y="2568225"/>
                    </a:lnTo>
                    <a:lnTo>
                      <a:pt x="7428905" y="2572011"/>
                    </a:lnTo>
                    <a:lnTo>
                      <a:pt x="7425900" y="2559870"/>
                    </a:lnTo>
                    <a:lnTo>
                      <a:pt x="7424949" y="2553964"/>
                    </a:lnTo>
                    <a:lnTo>
                      <a:pt x="7425711" y="2549815"/>
                    </a:lnTo>
                    <a:lnTo>
                      <a:pt x="7427336" y="2548283"/>
                    </a:lnTo>
                    <a:lnTo>
                      <a:pt x="7430682" y="2546244"/>
                    </a:lnTo>
                    <a:lnTo>
                      <a:pt x="7433325" y="2540114"/>
                    </a:lnTo>
                    <a:lnTo>
                      <a:pt x="7433840" y="2537807"/>
                    </a:lnTo>
                    <a:lnTo>
                      <a:pt x="7433671" y="2534752"/>
                    </a:lnTo>
                    <a:lnTo>
                      <a:pt x="7424667" y="2536351"/>
                    </a:lnTo>
                    <a:lnTo>
                      <a:pt x="7420141" y="2535379"/>
                    </a:lnTo>
                    <a:lnTo>
                      <a:pt x="7417068" y="2531063"/>
                    </a:lnTo>
                    <a:lnTo>
                      <a:pt x="7416968" y="2528620"/>
                    </a:lnTo>
                    <a:lnTo>
                      <a:pt x="7417781" y="2524192"/>
                    </a:lnTo>
                    <a:lnTo>
                      <a:pt x="7416895" y="2522674"/>
                    </a:lnTo>
                    <a:lnTo>
                      <a:pt x="7415128" y="2522494"/>
                    </a:lnTo>
                    <a:lnTo>
                      <a:pt x="7411992" y="2525335"/>
                    </a:lnTo>
                    <a:lnTo>
                      <a:pt x="7410498" y="2526208"/>
                    </a:lnTo>
                    <a:lnTo>
                      <a:pt x="7411052" y="2521511"/>
                    </a:lnTo>
                    <a:lnTo>
                      <a:pt x="7410581" y="2519545"/>
                    </a:lnTo>
                    <a:lnTo>
                      <a:pt x="7408540" y="2517911"/>
                    </a:lnTo>
                    <a:lnTo>
                      <a:pt x="7410184" y="2513730"/>
                    </a:lnTo>
                    <a:lnTo>
                      <a:pt x="7407445" y="2509479"/>
                    </a:lnTo>
                    <a:lnTo>
                      <a:pt x="7404842" y="2506016"/>
                    </a:lnTo>
                    <a:lnTo>
                      <a:pt x="7406913" y="2504207"/>
                    </a:lnTo>
                    <a:close/>
                    <a:moveTo>
                      <a:pt x="5212393" y="2479540"/>
                    </a:moveTo>
                    <a:lnTo>
                      <a:pt x="5214778" y="2479988"/>
                    </a:lnTo>
                    <a:lnTo>
                      <a:pt x="5217398" y="2483492"/>
                    </a:lnTo>
                    <a:lnTo>
                      <a:pt x="5216421" y="2489950"/>
                    </a:lnTo>
                    <a:lnTo>
                      <a:pt x="5215547" y="2493133"/>
                    </a:lnTo>
                    <a:lnTo>
                      <a:pt x="5213991" y="2495962"/>
                    </a:lnTo>
                    <a:lnTo>
                      <a:pt x="5211797" y="2497383"/>
                    </a:lnTo>
                    <a:lnTo>
                      <a:pt x="5208764" y="2497814"/>
                    </a:lnTo>
                    <a:lnTo>
                      <a:pt x="5205974" y="2496857"/>
                    </a:lnTo>
                    <a:lnTo>
                      <a:pt x="5204533" y="2494146"/>
                    </a:lnTo>
                    <a:lnTo>
                      <a:pt x="5204936" y="2491349"/>
                    </a:lnTo>
                    <a:lnTo>
                      <a:pt x="5207310" y="2481259"/>
                    </a:lnTo>
                    <a:close/>
                    <a:moveTo>
                      <a:pt x="5065314" y="2469051"/>
                    </a:moveTo>
                    <a:lnTo>
                      <a:pt x="5067574" y="2469170"/>
                    </a:lnTo>
                    <a:lnTo>
                      <a:pt x="5071024" y="2470273"/>
                    </a:lnTo>
                    <a:lnTo>
                      <a:pt x="5071918" y="2470303"/>
                    </a:lnTo>
                    <a:lnTo>
                      <a:pt x="5073513" y="2469721"/>
                    </a:lnTo>
                    <a:lnTo>
                      <a:pt x="5074065" y="2469968"/>
                    </a:lnTo>
                    <a:lnTo>
                      <a:pt x="5074203" y="2470381"/>
                    </a:lnTo>
                    <a:lnTo>
                      <a:pt x="5074031" y="2470611"/>
                    </a:lnTo>
                    <a:lnTo>
                      <a:pt x="5073677" y="2470532"/>
                    </a:lnTo>
                    <a:lnTo>
                      <a:pt x="5074034" y="2470690"/>
                    </a:lnTo>
                    <a:lnTo>
                      <a:pt x="5076177" y="2471173"/>
                    </a:lnTo>
                    <a:lnTo>
                      <a:pt x="5076681" y="2471743"/>
                    </a:lnTo>
                    <a:lnTo>
                      <a:pt x="5077427" y="2472851"/>
                    </a:lnTo>
                    <a:lnTo>
                      <a:pt x="5078673" y="2473752"/>
                    </a:lnTo>
                    <a:lnTo>
                      <a:pt x="5080134" y="2473661"/>
                    </a:lnTo>
                    <a:lnTo>
                      <a:pt x="5080809" y="2474506"/>
                    </a:lnTo>
                    <a:lnTo>
                      <a:pt x="5082030" y="2477283"/>
                    </a:lnTo>
                    <a:lnTo>
                      <a:pt x="5083016" y="2479081"/>
                    </a:lnTo>
                    <a:lnTo>
                      <a:pt x="5081503" y="2479365"/>
                    </a:lnTo>
                    <a:lnTo>
                      <a:pt x="5081277" y="2479308"/>
                    </a:lnTo>
                    <a:lnTo>
                      <a:pt x="5080351" y="2479134"/>
                    </a:lnTo>
                    <a:lnTo>
                      <a:pt x="5079079" y="2478859"/>
                    </a:lnTo>
                    <a:lnTo>
                      <a:pt x="5073746" y="2476850"/>
                    </a:lnTo>
                    <a:lnTo>
                      <a:pt x="5066431" y="2475811"/>
                    </a:lnTo>
                    <a:lnTo>
                      <a:pt x="5064082" y="2474364"/>
                    </a:lnTo>
                    <a:lnTo>
                      <a:pt x="5062278" y="2471821"/>
                    </a:lnTo>
                    <a:lnTo>
                      <a:pt x="5062901" y="2469880"/>
                    </a:lnTo>
                    <a:close/>
                    <a:moveTo>
                      <a:pt x="7449718" y="2453793"/>
                    </a:moveTo>
                    <a:lnTo>
                      <a:pt x="7457978" y="2455937"/>
                    </a:lnTo>
                    <a:lnTo>
                      <a:pt x="7466272" y="2460565"/>
                    </a:lnTo>
                    <a:lnTo>
                      <a:pt x="7463628" y="2465025"/>
                    </a:lnTo>
                    <a:lnTo>
                      <a:pt x="7455615" y="2469986"/>
                    </a:lnTo>
                    <a:lnTo>
                      <a:pt x="7453538" y="2474828"/>
                    </a:lnTo>
                    <a:lnTo>
                      <a:pt x="7455807" y="2475846"/>
                    </a:lnTo>
                    <a:lnTo>
                      <a:pt x="7457361" y="2475128"/>
                    </a:lnTo>
                    <a:lnTo>
                      <a:pt x="7459856" y="2471272"/>
                    </a:lnTo>
                    <a:lnTo>
                      <a:pt x="7463750" y="2467584"/>
                    </a:lnTo>
                    <a:lnTo>
                      <a:pt x="7466352" y="2466598"/>
                    </a:lnTo>
                    <a:lnTo>
                      <a:pt x="7468237" y="2468179"/>
                    </a:lnTo>
                    <a:lnTo>
                      <a:pt x="7470164" y="2470316"/>
                    </a:lnTo>
                    <a:lnTo>
                      <a:pt x="7472335" y="2469039"/>
                    </a:lnTo>
                    <a:lnTo>
                      <a:pt x="7474401" y="2466551"/>
                    </a:lnTo>
                    <a:lnTo>
                      <a:pt x="7476068" y="2465141"/>
                    </a:lnTo>
                    <a:lnTo>
                      <a:pt x="7481601" y="2464974"/>
                    </a:lnTo>
                    <a:lnTo>
                      <a:pt x="7487459" y="2466589"/>
                    </a:lnTo>
                    <a:lnTo>
                      <a:pt x="7487205" y="2470006"/>
                    </a:lnTo>
                    <a:lnTo>
                      <a:pt x="7482899" y="2472528"/>
                    </a:lnTo>
                    <a:lnTo>
                      <a:pt x="7482322" y="2475607"/>
                    </a:lnTo>
                    <a:lnTo>
                      <a:pt x="7484594" y="2473647"/>
                    </a:lnTo>
                    <a:lnTo>
                      <a:pt x="7487670" y="2472343"/>
                    </a:lnTo>
                    <a:lnTo>
                      <a:pt x="7491121" y="2471972"/>
                    </a:lnTo>
                    <a:lnTo>
                      <a:pt x="7501710" y="2474441"/>
                    </a:lnTo>
                    <a:lnTo>
                      <a:pt x="7503025" y="2475171"/>
                    </a:lnTo>
                    <a:lnTo>
                      <a:pt x="7504570" y="2476458"/>
                    </a:lnTo>
                    <a:lnTo>
                      <a:pt x="7510060" y="2477438"/>
                    </a:lnTo>
                    <a:lnTo>
                      <a:pt x="7512248" y="2478346"/>
                    </a:lnTo>
                    <a:lnTo>
                      <a:pt x="7527828" y="2488398"/>
                    </a:lnTo>
                    <a:lnTo>
                      <a:pt x="7528379" y="2489864"/>
                    </a:lnTo>
                    <a:lnTo>
                      <a:pt x="7521933" y="2488556"/>
                    </a:lnTo>
                    <a:lnTo>
                      <a:pt x="7515568" y="2488477"/>
                    </a:lnTo>
                    <a:lnTo>
                      <a:pt x="7516068" y="2489815"/>
                    </a:lnTo>
                    <a:lnTo>
                      <a:pt x="7523457" y="2491864"/>
                    </a:lnTo>
                    <a:lnTo>
                      <a:pt x="7523916" y="2493089"/>
                    </a:lnTo>
                    <a:lnTo>
                      <a:pt x="7521683" y="2494765"/>
                    </a:lnTo>
                    <a:lnTo>
                      <a:pt x="7521064" y="2495995"/>
                    </a:lnTo>
                    <a:lnTo>
                      <a:pt x="7520947" y="2497793"/>
                    </a:lnTo>
                    <a:lnTo>
                      <a:pt x="7523401" y="2497472"/>
                    </a:lnTo>
                    <a:lnTo>
                      <a:pt x="7524253" y="2496918"/>
                    </a:lnTo>
                    <a:lnTo>
                      <a:pt x="7524925" y="2495782"/>
                    </a:lnTo>
                    <a:lnTo>
                      <a:pt x="7526881" y="2496802"/>
                    </a:lnTo>
                    <a:lnTo>
                      <a:pt x="7528301" y="2498332"/>
                    </a:lnTo>
                    <a:lnTo>
                      <a:pt x="7529410" y="2500342"/>
                    </a:lnTo>
                    <a:lnTo>
                      <a:pt x="7530426" y="2502908"/>
                    </a:lnTo>
                    <a:lnTo>
                      <a:pt x="7531921" y="2504487"/>
                    </a:lnTo>
                    <a:lnTo>
                      <a:pt x="7534103" y="2504819"/>
                    </a:lnTo>
                    <a:lnTo>
                      <a:pt x="7541221" y="2503139"/>
                    </a:lnTo>
                    <a:lnTo>
                      <a:pt x="7543251" y="2503414"/>
                    </a:lnTo>
                    <a:lnTo>
                      <a:pt x="7544854" y="2505515"/>
                    </a:lnTo>
                    <a:lnTo>
                      <a:pt x="7545916" y="2508237"/>
                    </a:lnTo>
                    <a:lnTo>
                      <a:pt x="7546581" y="2510460"/>
                    </a:lnTo>
                    <a:lnTo>
                      <a:pt x="7546220" y="2511786"/>
                    </a:lnTo>
                    <a:lnTo>
                      <a:pt x="7544216" y="2511852"/>
                    </a:lnTo>
                    <a:lnTo>
                      <a:pt x="7549420" y="2515095"/>
                    </a:lnTo>
                    <a:lnTo>
                      <a:pt x="7552990" y="2517975"/>
                    </a:lnTo>
                    <a:lnTo>
                      <a:pt x="7554276" y="2521398"/>
                    </a:lnTo>
                    <a:lnTo>
                      <a:pt x="7552661" y="2526313"/>
                    </a:lnTo>
                    <a:lnTo>
                      <a:pt x="7556177" y="2527356"/>
                    </a:lnTo>
                    <a:lnTo>
                      <a:pt x="7560579" y="2530119"/>
                    </a:lnTo>
                    <a:lnTo>
                      <a:pt x="7563531" y="2533863"/>
                    </a:lnTo>
                    <a:lnTo>
                      <a:pt x="7562705" y="2537887"/>
                    </a:lnTo>
                    <a:lnTo>
                      <a:pt x="7565045" y="2537579"/>
                    </a:lnTo>
                    <a:lnTo>
                      <a:pt x="7567288" y="2538617"/>
                    </a:lnTo>
                    <a:lnTo>
                      <a:pt x="7569315" y="2540435"/>
                    </a:lnTo>
                    <a:lnTo>
                      <a:pt x="7571013" y="2542512"/>
                    </a:lnTo>
                    <a:lnTo>
                      <a:pt x="7571816" y="2544033"/>
                    </a:lnTo>
                    <a:lnTo>
                      <a:pt x="7572271" y="2546545"/>
                    </a:lnTo>
                    <a:lnTo>
                      <a:pt x="7573079" y="2548017"/>
                    </a:lnTo>
                    <a:lnTo>
                      <a:pt x="7573845" y="2548469"/>
                    </a:lnTo>
                    <a:lnTo>
                      <a:pt x="7574709" y="2548458"/>
                    </a:lnTo>
                    <a:lnTo>
                      <a:pt x="7575715" y="2548822"/>
                    </a:lnTo>
                    <a:lnTo>
                      <a:pt x="7576906" y="2550364"/>
                    </a:lnTo>
                    <a:lnTo>
                      <a:pt x="7577942" y="2553159"/>
                    </a:lnTo>
                    <a:lnTo>
                      <a:pt x="7578224" y="2557102"/>
                    </a:lnTo>
                    <a:lnTo>
                      <a:pt x="7579407" y="2559804"/>
                    </a:lnTo>
                    <a:lnTo>
                      <a:pt x="7581185" y="2561654"/>
                    </a:lnTo>
                    <a:lnTo>
                      <a:pt x="7583009" y="2562861"/>
                    </a:lnTo>
                    <a:lnTo>
                      <a:pt x="7584240" y="2564508"/>
                    </a:lnTo>
                    <a:lnTo>
                      <a:pt x="7584254" y="2567662"/>
                    </a:lnTo>
                    <a:lnTo>
                      <a:pt x="7588486" y="2569962"/>
                    </a:lnTo>
                    <a:lnTo>
                      <a:pt x="7590577" y="2572783"/>
                    </a:lnTo>
                    <a:lnTo>
                      <a:pt x="7593338" y="2581492"/>
                    </a:lnTo>
                    <a:lnTo>
                      <a:pt x="7595258" y="2584157"/>
                    </a:lnTo>
                    <a:lnTo>
                      <a:pt x="7603663" y="2590945"/>
                    </a:lnTo>
                    <a:lnTo>
                      <a:pt x="7603704" y="2595022"/>
                    </a:lnTo>
                    <a:lnTo>
                      <a:pt x="7605421" y="2597443"/>
                    </a:lnTo>
                    <a:lnTo>
                      <a:pt x="7607920" y="2599208"/>
                    </a:lnTo>
                    <a:lnTo>
                      <a:pt x="7610319" y="2601288"/>
                    </a:lnTo>
                    <a:lnTo>
                      <a:pt x="7612178" y="2604240"/>
                    </a:lnTo>
                    <a:lnTo>
                      <a:pt x="7623088" y="2630307"/>
                    </a:lnTo>
                    <a:lnTo>
                      <a:pt x="7624735" y="2636473"/>
                    </a:lnTo>
                    <a:lnTo>
                      <a:pt x="7624946" y="2637852"/>
                    </a:lnTo>
                    <a:lnTo>
                      <a:pt x="7624456" y="2640156"/>
                    </a:lnTo>
                    <a:lnTo>
                      <a:pt x="7623819" y="2639997"/>
                    </a:lnTo>
                    <a:lnTo>
                      <a:pt x="7622719" y="2638523"/>
                    </a:lnTo>
                    <a:lnTo>
                      <a:pt x="7620837" y="2636934"/>
                    </a:lnTo>
                    <a:lnTo>
                      <a:pt x="7620281" y="2635899"/>
                    </a:lnTo>
                    <a:lnTo>
                      <a:pt x="7618369" y="2633692"/>
                    </a:lnTo>
                    <a:lnTo>
                      <a:pt x="7616766" y="2632682"/>
                    </a:lnTo>
                    <a:lnTo>
                      <a:pt x="7617154" y="2635258"/>
                    </a:lnTo>
                    <a:lnTo>
                      <a:pt x="7619081" y="2642786"/>
                    </a:lnTo>
                    <a:lnTo>
                      <a:pt x="7628708" y="2652292"/>
                    </a:lnTo>
                    <a:lnTo>
                      <a:pt x="7629862" y="2654963"/>
                    </a:lnTo>
                    <a:lnTo>
                      <a:pt x="7629759" y="2658516"/>
                    </a:lnTo>
                    <a:lnTo>
                      <a:pt x="7631278" y="2661724"/>
                    </a:lnTo>
                    <a:lnTo>
                      <a:pt x="7633348" y="2664596"/>
                    </a:lnTo>
                    <a:lnTo>
                      <a:pt x="7634842" y="2667067"/>
                    </a:lnTo>
                    <a:lnTo>
                      <a:pt x="7636210" y="2671127"/>
                    </a:lnTo>
                    <a:lnTo>
                      <a:pt x="7637040" y="2674881"/>
                    </a:lnTo>
                    <a:lnTo>
                      <a:pt x="7637170" y="2678399"/>
                    </a:lnTo>
                    <a:lnTo>
                      <a:pt x="7636431" y="2681768"/>
                    </a:lnTo>
                    <a:lnTo>
                      <a:pt x="7639948" y="2683165"/>
                    </a:lnTo>
                    <a:lnTo>
                      <a:pt x="7640933" y="2687415"/>
                    </a:lnTo>
                    <a:lnTo>
                      <a:pt x="7640490" y="2698224"/>
                    </a:lnTo>
                    <a:lnTo>
                      <a:pt x="7643440" y="2695296"/>
                    </a:lnTo>
                    <a:lnTo>
                      <a:pt x="7645166" y="2696799"/>
                    </a:lnTo>
                    <a:lnTo>
                      <a:pt x="7645779" y="2700985"/>
                    </a:lnTo>
                    <a:lnTo>
                      <a:pt x="7645427" y="2706112"/>
                    </a:lnTo>
                    <a:lnTo>
                      <a:pt x="7646980" y="2707458"/>
                    </a:lnTo>
                    <a:lnTo>
                      <a:pt x="7647454" y="2714474"/>
                    </a:lnTo>
                    <a:lnTo>
                      <a:pt x="7646241" y="2715511"/>
                    </a:lnTo>
                    <a:lnTo>
                      <a:pt x="7642393" y="2713662"/>
                    </a:lnTo>
                    <a:lnTo>
                      <a:pt x="7642971" y="2708610"/>
                    </a:lnTo>
                    <a:lnTo>
                      <a:pt x="7642645" y="2706443"/>
                    </a:lnTo>
                    <a:lnTo>
                      <a:pt x="7641808" y="2705894"/>
                    </a:lnTo>
                    <a:lnTo>
                      <a:pt x="7639835" y="2704085"/>
                    </a:lnTo>
                    <a:lnTo>
                      <a:pt x="7637950" y="2703476"/>
                    </a:lnTo>
                    <a:lnTo>
                      <a:pt x="7637496" y="2704136"/>
                    </a:lnTo>
                    <a:lnTo>
                      <a:pt x="7637509" y="2705195"/>
                    </a:lnTo>
                    <a:lnTo>
                      <a:pt x="7637047" y="2705831"/>
                    </a:lnTo>
                    <a:lnTo>
                      <a:pt x="7633497" y="2707195"/>
                    </a:lnTo>
                    <a:lnTo>
                      <a:pt x="7631597" y="2707538"/>
                    </a:lnTo>
                    <a:lnTo>
                      <a:pt x="7629118" y="2706773"/>
                    </a:lnTo>
                    <a:lnTo>
                      <a:pt x="7630062" y="2703833"/>
                    </a:lnTo>
                    <a:lnTo>
                      <a:pt x="7627143" y="2703962"/>
                    </a:lnTo>
                    <a:lnTo>
                      <a:pt x="7624522" y="2702699"/>
                    </a:lnTo>
                    <a:lnTo>
                      <a:pt x="7622347" y="2700307"/>
                    </a:lnTo>
                    <a:lnTo>
                      <a:pt x="7620703" y="2697045"/>
                    </a:lnTo>
                    <a:lnTo>
                      <a:pt x="7619672" y="2695678"/>
                    </a:lnTo>
                    <a:lnTo>
                      <a:pt x="7618263" y="2695138"/>
                    </a:lnTo>
                    <a:lnTo>
                      <a:pt x="7616844" y="2694853"/>
                    </a:lnTo>
                    <a:lnTo>
                      <a:pt x="7615799" y="2694237"/>
                    </a:lnTo>
                    <a:lnTo>
                      <a:pt x="7614862" y="2692531"/>
                    </a:lnTo>
                    <a:lnTo>
                      <a:pt x="7614106" y="2690484"/>
                    </a:lnTo>
                    <a:lnTo>
                      <a:pt x="7613267" y="2687338"/>
                    </a:lnTo>
                    <a:lnTo>
                      <a:pt x="7610223" y="2686983"/>
                    </a:lnTo>
                    <a:lnTo>
                      <a:pt x="7607784" y="2688029"/>
                    </a:lnTo>
                    <a:lnTo>
                      <a:pt x="7605455" y="2687440"/>
                    </a:lnTo>
                    <a:lnTo>
                      <a:pt x="7602717" y="2682248"/>
                    </a:lnTo>
                    <a:lnTo>
                      <a:pt x="7601846" y="2681360"/>
                    </a:lnTo>
                    <a:lnTo>
                      <a:pt x="7598095" y="2678558"/>
                    </a:lnTo>
                    <a:lnTo>
                      <a:pt x="7596812" y="2678004"/>
                    </a:lnTo>
                    <a:lnTo>
                      <a:pt x="7595558" y="2677127"/>
                    </a:lnTo>
                    <a:lnTo>
                      <a:pt x="7594034" y="2675022"/>
                    </a:lnTo>
                    <a:lnTo>
                      <a:pt x="7591935" y="2671539"/>
                    </a:lnTo>
                    <a:lnTo>
                      <a:pt x="7590659" y="2670185"/>
                    </a:lnTo>
                    <a:lnTo>
                      <a:pt x="7579402" y="2660971"/>
                    </a:lnTo>
                    <a:lnTo>
                      <a:pt x="7577324" y="2657488"/>
                    </a:lnTo>
                    <a:lnTo>
                      <a:pt x="7574104" y="2654088"/>
                    </a:lnTo>
                    <a:lnTo>
                      <a:pt x="7570505" y="2651120"/>
                    </a:lnTo>
                    <a:lnTo>
                      <a:pt x="7567297" y="2648946"/>
                    </a:lnTo>
                    <a:lnTo>
                      <a:pt x="7568463" y="2648514"/>
                    </a:lnTo>
                    <a:lnTo>
                      <a:pt x="7569452" y="2647785"/>
                    </a:lnTo>
                    <a:lnTo>
                      <a:pt x="7570244" y="2646801"/>
                    </a:lnTo>
                    <a:lnTo>
                      <a:pt x="7570787" y="2645595"/>
                    </a:lnTo>
                    <a:lnTo>
                      <a:pt x="7568313" y="2644192"/>
                    </a:lnTo>
                    <a:lnTo>
                      <a:pt x="7567144" y="2642625"/>
                    </a:lnTo>
                    <a:lnTo>
                      <a:pt x="7567201" y="2640906"/>
                    </a:lnTo>
                    <a:lnTo>
                      <a:pt x="7568353" y="2638956"/>
                    </a:lnTo>
                    <a:lnTo>
                      <a:pt x="7570971" y="2638035"/>
                    </a:lnTo>
                    <a:lnTo>
                      <a:pt x="7577994" y="2637471"/>
                    </a:lnTo>
                    <a:lnTo>
                      <a:pt x="7578740" y="2635611"/>
                    </a:lnTo>
                    <a:lnTo>
                      <a:pt x="7578201" y="2630611"/>
                    </a:lnTo>
                    <a:lnTo>
                      <a:pt x="7579395" y="2625179"/>
                    </a:lnTo>
                    <a:lnTo>
                      <a:pt x="7584018" y="2615837"/>
                    </a:lnTo>
                    <a:lnTo>
                      <a:pt x="7581207" y="2616273"/>
                    </a:lnTo>
                    <a:lnTo>
                      <a:pt x="7579355" y="2617048"/>
                    </a:lnTo>
                    <a:lnTo>
                      <a:pt x="7578097" y="2618701"/>
                    </a:lnTo>
                    <a:lnTo>
                      <a:pt x="7577014" y="2621668"/>
                    </a:lnTo>
                    <a:lnTo>
                      <a:pt x="7575955" y="2626848"/>
                    </a:lnTo>
                    <a:lnTo>
                      <a:pt x="7575008" y="2628925"/>
                    </a:lnTo>
                    <a:lnTo>
                      <a:pt x="7573252" y="2629939"/>
                    </a:lnTo>
                    <a:lnTo>
                      <a:pt x="7570482" y="2629143"/>
                    </a:lnTo>
                    <a:lnTo>
                      <a:pt x="7568855" y="2626666"/>
                    </a:lnTo>
                    <a:lnTo>
                      <a:pt x="7567986" y="2623495"/>
                    </a:lnTo>
                    <a:lnTo>
                      <a:pt x="7566978" y="2617059"/>
                    </a:lnTo>
                    <a:lnTo>
                      <a:pt x="7567254" y="2614970"/>
                    </a:lnTo>
                    <a:lnTo>
                      <a:pt x="7568274" y="2613506"/>
                    </a:lnTo>
                    <a:lnTo>
                      <a:pt x="7569990" y="2611875"/>
                    </a:lnTo>
                    <a:lnTo>
                      <a:pt x="7566145" y="2611266"/>
                    </a:lnTo>
                    <a:lnTo>
                      <a:pt x="7563653" y="2612922"/>
                    </a:lnTo>
                    <a:lnTo>
                      <a:pt x="7562835" y="2616519"/>
                    </a:lnTo>
                    <a:lnTo>
                      <a:pt x="7564618" y="2626077"/>
                    </a:lnTo>
                    <a:lnTo>
                      <a:pt x="7563811" y="2630067"/>
                    </a:lnTo>
                    <a:lnTo>
                      <a:pt x="7562222" y="2633385"/>
                    </a:lnTo>
                    <a:lnTo>
                      <a:pt x="7560509" y="2635661"/>
                    </a:lnTo>
                    <a:lnTo>
                      <a:pt x="7557558" y="2637687"/>
                    </a:lnTo>
                    <a:lnTo>
                      <a:pt x="7554988" y="2637209"/>
                    </a:lnTo>
                    <a:lnTo>
                      <a:pt x="7552631" y="2634314"/>
                    </a:lnTo>
                    <a:lnTo>
                      <a:pt x="7550348" y="2629121"/>
                    </a:lnTo>
                    <a:lnTo>
                      <a:pt x="7549285" y="2625353"/>
                    </a:lnTo>
                    <a:lnTo>
                      <a:pt x="7549095" y="2622037"/>
                    </a:lnTo>
                    <a:lnTo>
                      <a:pt x="7549749" y="2618890"/>
                    </a:lnTo>
                    <a:lnTo>
                      <a:pt x="7551243" y="2615625"/>
                    </a:lnTo>
                    <a:lnTo>
                      <a:pt x="7557872" y="2608481"/>
                    </a:lnTo>
                    <a:lnTo>
                      <a:pt x="7559466" y="2605389"/>
                    </a:lnTo>
                    <a:lnTo>
                      <a:pt x="7558323" y="2603838"/>
                    </a:lnTo>
                    <a:lnTo>
                      <a:pt x="7555518" y="2602233"/>
                    </a:lnTo>
                    <a:lnTo>
                      <a:pt x="7552914" y="2601703"/>
                    </a:lnTo>
                    <a:lnTo>
                      <a:pt x="7552397" y="2603333"/>
                    </a:lnTo>
                    <a:lnTo>
                      <a:pt x="7552298" y="2605056"/>
                    </a:lnTo>
                    <a:lnTo>
                      <a:pt x="7544606" y="2619303"/>
                    </a:lnTo>
                    <a:lnTo>
                      <a:pt x="7541630" y="2621574"/>
                    </a:lnTo>
                    <a:lnTo>
                      <a:pt x="7540510" y="2622980"/>
                    </a:lnTo>
                    <a:lnTo>
                      <a:pt x="7539040" y="2623623"/>
                    </a:lnTo>
                    <a:lnTo>
                      <a:pt x="7536749" y="2622214"/>
                    </a:lnTo>
                    <a:lnTo>
                      <a:pt x="7535809" y="2620296"/>
                    </a:lnTo>
                    <a:lnTo>
                      <a:pt x="7536326" y="2618565"/>
                    </a:lnTo>
                    <a:lnTo>
                      <a:pt x="7537323" y="2617014"/>
                    </a:lnTo>
                    <a:lnTo>
                      <a:pt x="7537842" y="2615678"/>
                    </a:lnTo>
                    <a:lnTo>
                      <a:pt x="7536905" y="2613726"/>
                    </a:lnTo>
                    <a:lnTo>
                      <a:pt x="7535306" y="2612069"/>
                    </a:lnTo>
                    <a:lnTo>
                      <a:pt x="7534691" y="2610808"/>
                    </a:lnTo>
                    <a:lnTo>
                      <a:pt x="7538513" y="2609427"/>
                    </a:lnTo>
                    <a:lnTo>
                      <a:pt x="7538449" y="2608253"/>
                    </a:lnTo>
                    <a:lnTo>
                      <a:pt x="7537449" y="2606585"/>
                    </a:lnTo>
                    <a:lnTo>
                      <a:pt x="7534606" y="2600380"/>
                    </a:lnTo>
                    <a:lnTo>
                      <a:pt x="7534047" y="2598760"/>
                    </a:lnTo>
                    <a:lnTo>
                      <a:pt x="7534226" y="2596978"/>
                    </a:lnTo>
                    <a:lnTo>
                      <a:pt x="7534999" y="2595478"/>
                    </a:lnTo>
                    <a:lnTo>
                      <a:pt x="7535790" y="2594623"/>
                    </a:lnTo>
                    <a:lnTo>
                      <a:pt x="7536413" y="2593694"/>
                    </a:lnTo>
                    <a:lnTo>
                      <a:pt x="7536705" y="2591898"/>
                    </a:lnTo>
                    <a:lnTo>
                      <a:pt x="7530068" y="2593848"/>
                    </a:lnTo>
                    <a:lnTo>
                      <a:pt x="7519995" y="2602726"/>
                    </a:lnTo>
                    <a:lnTo>
                      <a:pt x="7512412" y="2601797"/>
                    </a:lnTo>
                    <a:lnTo>
                      <a:pt x="7512582" y="2597034"/>
                    </a:lnTo>
                    <a:lnTo>
                      <a:pt x="7509788" y="2596406"/>
                    </a:lnTo>
                    <a:lnTo>
                      <a:pt x="7506166" y="2597106"/>
                    </a:lnTo>
                    <a:lnTo>
                      <a:pt x="7503917" y="2596389"/>
                    </a:lnTo>
                    <a:lnTo>
                      <a:pt x="7500646" y="2587491"/>
                    </a:lnTo>
                    <a:lnTo>
                      <a:pt x="7500679" y="2584690"/>
                    </a:lnTo>
                    <a:lnTo>
                      <a:pt x="7503836" y="2585919"/>
                    </a:lnTo>
                    <a:lnTo>
                      <a:pt x="7505239" y="2583502"/>
                    </a:lnTo>
                    <a:lnTo>
                      <a:pt x="7507750" y="2583224"/>
                    </a:lnTo>
                    <a:lnTo>
                      <a:pt x="7509171" y="2582756"/>
                    </a:lnTo>
                    <a:lnTo>
                      <a:pt x="7507326" y="2579773"/>
                    </a:lnTo>
                    <a:lnTo>
                      <a:pt x="7504526" y="2577421"/>
                    </a:lnTo>
                    <a:lnTo>
                      <a:pt x="7501044" y="2575703"/>
                    </a:lnTo>
                    <a:lnTo>
                      <a:pt x="7497565" y="2574619"/>
                    </a:lnTo>
                    <a:lnTo>
                      <a:pt x="7494801" y="2574207"/>
                    </a:lnTo>
                    <a:lnTo>
                      <a:pt x="7495456" y="2573729"/>
                    </a:lnTo>
                    <a:lnTo>
                      <a:pt x="7495990" y="2573164"/>
                    </a:lnTo>
                    <a:lnTo>
                      <a:pt x="7496555" y="2571196"/>
                    </a:lnTo>
                    <a:lnTo>
                      <a:pt x="7496093" y="2568186"/>
                    </a:lnTo>
                    <a:lnTo>
                      <a:pt x="7498064" y="2566271"/>
                    </a:lnTo>
                    <a:lnTo>
                      <a:pt x="7500746" y="2565228"/>
                    </a:lnTo>
                    <a:lnTo>
                      <a:pt x="7503312" y="2564775"/>
                    </a:lnTo>
                    <a:lnTo>
                      <a:pt x="7504079" y="2564183"/>
                    </a:lnTo>
                    <a:lnTo>
                      <a:pt x="7505837" y="2561589"/>
                    </a:lnTo>
                    <a:lnTo>
                      <a:pt x="7506111" y="2560803"/>
                    </a:lnTo>
                    <a:lnTo>
                      <a:pt x="7506539" y="2560099"/>
                    </a:lnTo>
                    <a:lnTo>
                      <a:pt x="7509746" y="2559554"/>
                    </a:lnTo>
                    <a:lnTo>
                      <a:pt x="7512602" y="2557373"/>
                    </a:lnTo>
                    <a:lnTo>
                      <a:pt x="7517849" y="2556727"/>
                    </a:lnTo>
                    <a:lnTo>
                      <a:pt x="7518334" y="2555213"/>
                    </a:lnTo>
                    <a:lnTo>
                      <a:pt x="7515630" y="2551203"/>
                    </a:lnTo>
                    <a:lnTo>
                      <a:pt x="7512601" y="2550758"/>
                    </a:lnTo>
                    <a:lnTo>
                      <a:pt x="7507576" y="2552910"/>
                    </a:lnTo>
                    <a:lnTo>
                      <a:pt x="7502058" y="2553192"/>
                    </a:lnTo>
                    <a:lnTo>
                      <a:pt x="7495855" y="2552383"/>
                    </a:lnTo>
                    <a:lnTo>
                      <a:pt x="7489601" y="2549711"/>
                    </a:lnTo>
                    <a:lnTo>
                      <a:pt x="7483935" y="2544452"/>
                    </a:lnTo>
                    <a:lnTo>
                      <a:pt x="7480913" y="2537402"/>
                    </a:lnTo>
                    <a:lnTo>
                      <a:pt x="7483145" y="2532897"/>
                    </a:lnTo>
                    <a:lnTo>
                      <a:pt x="7488152" y="2530375"/>
                    </a:lnTo>
                    <a:lnTo>
                      <a:pt x="7493475" y="2529277"/>
                    </a:lnTo>
                    <a:lnTo>
                      <a:pt x="7492937" y="2527817"/>
                    </a:lnTo>
                    <a:lnTo>
                      <a:pt x="7489394" y="2526964"/>
                    </a:lnTo>
                    <a:lnTo>
                      <a:pt x="7486443" y="2526685"/>
                    </a:lnTo>
                    <a:lnTo>
                      <a:pt x="7484020" y="2527297"/>
                    </a:lnTo>
                    <a:lnTo>
                      <a:pt x="7482026" y="2529105"/>
                    </a:lnTo>
                    <a:lnTo>
                      <a:pt x="7479543" y="2533170"/>
                    </a:lnTo>
                    <a:lnTo>
                      <a:pt x="7477434" y="2533979"/>
                    </a:lnTo>
                    <a:lnTo>
                      <a:pt x="7474170" y="2532195"/>
                    </a:lnTo>
                    <a:lnTo>
                      <a:pt x="7473370" y="2529880"/>
                    </a:lnTo>
                    <a:lnTo>
                      <a:pt x="7474456" y="2527193"/>
                    </a:lnTo>
                    <a:lnTo>
                      <a:pt x="7476338" y="2524964"/>
                    </a:lnTo>
                    <a:lnTo>
                      <a:pt x="7477904" y="2523977"/>
                    </a:lnTo>
                    <a:lnTo>
                      <a:pt x="7477336" y="2522337"/>
                    </a:lnTo>
                    <a:lnTo>
                      <a:pt x="7477988" y="2512734"/>
                    </a:lnTo>
                    <a:lnTo>
                      <a:pt x="7467896" y="2515077"/>
                    </a:lnTo>
                    <a:lnTo>
                      <a:pt x="7465545" y="2514969"/>
                    </a:lnTo>
                    <a:lnTo>
                      <a:pt x="7461554" y="2514067"/>
                    </a:lnTo>
                    <a:lnTo>
                      <a:pt x="7458466" y="2515324"/>
                    </a:lnTo>
                    <a:lnTo>
                      <a:pt x="7455776" y="2517269"/>
                    </a:lnTo>
                    <a:lnTo>
                      <a:pt x="7452998" y="2518480"/>
                    </a:lnTo>
                    <a:lnTo>
                      <a:pt x="7450733" y="2517458"/>
                    </a:lnTo>
                    <a:lnTo>
                      <a:pt x="7442864" y="2509151"/>
                    </a:lnTo>
                    <a:lnTo>
                      <a:pt x="7432606" y="2504408"/>
                    </a:lnTo>
                    <a:lnTo>
                      <a:pt x="7430474" y="2502176"/>
                    </a:lnTo>
                    <a:lnTo>
                      <a:pt x="7425738" y="2498468"/>
                    </a:lnTo>
                    <a:lnTo>
                      <a:pt x="7424864" y="2496733"/>
                    </a:lnTo>
                    <a:lnTo>
                      <a:pt x="7426162" y="2495530"/>
                    </a:lnTo>
                    <a:lnTo>
                      <a:pt x="7428193" y="2494792"/>
                    </a:lnTo>
                    <a:lnTo>
                      <a:pt x="7433606" y="2493842"/>
                    </a:lnTo>
                    <a:lnTo>
                      <a:pt x="7450556" y="2495290"/>
                    </a:lnTo>
                    <a:lnTo>
                      <a:pt x="7451692" y="2494479"/>
                    </a:lnTo>
                    <a:lnTo>
                      <a:pt x="7451573" y="2492588"/>
                    </a:lnTo>
                    <a:lnTo>
                      <a:pt x="7450248" y="2491775"/>
                    </a:lnTo>
                    <a:lnTo>
                      <a:pt x="7443578" y="2491406"/>
                    </a:lnTo>
                    <a:lnTo>
                      <a:pt x="7436981" y="2488988"/>
                    </a:lnTo>
                    <a:lnTo>
                      <a:pt x="7434264" y="2488671"/>
                    </a:lnTo>
                    <a:lnTo>
                      <a:pt x="7431548" y="2490007"/>
                    </a:lnTo>
                    <a:lnTo>
                      <a:pt x="7431709" y="2487875"/>
                    </a:lnTo>
                    <a:lnTo>
                      <a:pt x="7432604" y="2486318"/>
                    </a:lnTo>
                    <a:lnTo>
                      <a:pt x="7436687" y="2481981"/>
                    </a:lnTo>
                    <a:lnTo>
                      <a:pt x="7436828" y="2481213"/>
                    </a:lnTo>
                    <a:lnTo>
                      <a:pt x="7436535" y="2480354"/>
                    </a:lnTo>
                    <a:lnTo>
                      <a:pt x="7436754" y="2478190"/>
                    </a:lnTo>
                    <a:lnTo>
                      <a:pt x="7437311" y="2477097"/>
                    </a:lnTo>
                    <a:lnTo>
                      <a:pt x="7439007" y="2475420"/>
                    </a:lnTo>
                    <a:lnTo>
                      <a:pt x="7439656" y="2474291"/>
                    </a:lnTo>
                    <a:lnTo>
                      <a:pt x="7439691" y="2472859"/>
                    </a:lnTo>
                    <a:lnTo>
                      <a:pt x="7439021" y="2471734"/>
                    </a:lnTo>
                    <a:lnTo>
                      <a:pt x="7438132" y="2470737"/>
                    </a:lnTo>
                    <a:lnTo>
                      <a:pt x="7437511" y="2469708"/>
                    </a:lnTo>
                    <a:lnTo>
                      <a:pt x="7436889" y="2468270"/>
                    </a:lnTo>
                    <a:lnTo>
                      <a:pt x="7435420" y="2466155"/>
                    </a:lnTo>
                    <a:lnTo>
                      <a:pt x="7434847" y="2465053"/>
                    </a:lnTo>
                    <a:lnTo>
                      <a:pt x="7434732" y="2463363"/>
                    </a:lnTo>
                    <a:lnTo>
                      <a:pt x="7435716" y="2462804"/>
                    </a:lnTo>
                    <a:lnTo>
                      <a:pt x="7437045" y="2462598"/>
                    </a:lnTo>
                    <a:lnTo>
                      <a:pt x="7437928" y="2461884"/>
                    </a:lnTo>
                    <a:lnTo>
                      <a:pt x="7442668" y="2455371"/>
                    </a:lnTo>
                    <a:close/>
                    <a:moveTo>
                      <a:pt x="5099389" y="2440028"/>
                    </a:moveTo>
                    <a:lnTo>
                      <a:pt x="5101586" y="2441115"/>
                    </a:lnTo>
                    <a:lnTo>
                      <a:pt x="5103214" y="2443091"/>
                    </a:lnTo>
                    <a:lnTo>
                      <a:pt x="5103896" y="2445448"/>
                    </a:lnTo>
                    <a:lnTo>
                      <a:pt x="5106628" y="2443347"/>
                    </a:lnTo>
                    <a:lnTo>
                      <a:pt x="5110116" y="2442978"/>
                    </a:lnTo>
                    <a:lnTo>
                      <a:pt x="5117690" y="2443683"/>
                    </a:lnTo>
                    <a:lnTo>
                      <a:pt x="5117111" y="2446415"/>
                    </a:lnTo>
                    <a:lnTo>
                      <a:pt x="5115473" y="2450574"/>
                    </a:lnTo>
                    <a:lnTo>
                      <a:pt x="5114985" y="2453296"/>
                    </a:lnTo>
                    <a:lnTo>
                      <a:pt x="5119483" y="2453302"/>
                    </a:lnTo>
                    <a:lnTo>
                      <a:pt x="5121565" y="2454015"/>
                    </a:lnTo>
                    <a:lnTo>
                      <a:pt x="5123522" y="2455725"/>
                    </a:lnTo>
                    <a:lnTo>
                      <a:pt x="5121657" y="2458169"/>
                    </a:lnTo>
                    <a:lnTo>
                      <a:pt x="5121510" y="2461233"/>
                    </a:lnTo>
                    <a:lnTo>
                      <a:pt x="5122800" y="2463549"/>
                    </a:lnTo>
                    <a:lnTo>
                      <a:pt x="5125255" y="2463730"/>
                    </a:lnTo>
                    <a:lnTo>
                      <a:pt x="5126453" y="2462539"/>
                    </a:lnTo>
                    <a:lnTo>
                      <a:pt x="5126927" y="2461203"/>
                    </a:lnTo>
                    <a:lnTo>
                      <a:pt x="5127642" y="2460404"/>
                    </a:lnTo>
                    <a:lnTo>
                      <a:pt x="5129586" y="2460921"/>
                    </a:lnTo>
                    <a:lnTo>
                      <a:pt x="5130984" y="2461695"/>
                    </a:lnTo>
                    <a:lnTo>
                      <a:pt x="5132366" y="2462909"/>
                    </a:lnTo>
                    <a:lnTo>
                      <a:pt x="5133082" y="2464617"/>
                    </a:lnTo>
                    <a:lnTo>
                      <a:pt x="5131280" y="2470874"/>
                    </a:lnTo>
                    <a:lnTo>
                      <a:pt x="5134004" y="2469588"/>
                    </a:lnTo>
                    <a:lnTo>
                      <a:pt x="5136842" y="2466367"/>
                    </a:lnTo>
                    <a:lnTo>
                      <a:pt x="5136002" y="2464623"/>
                    </a:lnTo>
                    <a:lnTo>
                      <a:pt x="5136722" y="2463085"/>
                    </a:lnTo>
                    <a:lnTo>
                      <a:pt x="5137674" y="2459563"/>
                    </a:lnTo>
                    <a:lnTo>
                      <a:pt x="5138053" y="2455570"/>
                    </a:lnTo>
                    <a:lnTo>
                      <a:pt x="5137022" y="2452615"/>
                    </a:lnTo>
                    <a:lnTo>
                      <a:pt x="5138765" y="2451310"/>
                    </a:lnTo>
                    <a:lnTo>
                      <a:pt x="5142391" y="2452558"/>
                    </a:lnTo>
                    <a:lnTo>
                      <a:pt x="5143875" y="2451662"/>
                    </a:lnTo>
                    <a:lnTo>
                      <a:pt x="5145455" y="2450074"/>
                    </a:lnTo>
                    <a:lnTo>
                      <a:pt x="5147129" y="2450133"/>
                    </a:lnTo>
                    <a:lnTo>
                      <a:pt x="5150884" y="2452177"/>
                    </a:lnTo>
                    <a:lnTo>
                      <a:pt x="5150554" y="2452957"/>
                    </a:lnTo>
                    <a:lnTo>
                      <a:pt x="5150449" y="2453568"/>
                    </a:lnTo>
                    <a:lnTo>
                      <a:pt x="5150397" y="2454170"/>
                    </a:lnTo>
                    <a:lnTo>
                      <a:pt x="5150246" y="2454889"/>
                    </a:lnTo>
                    <a:lnTo>
                      <a:pt x="5153214" y="2456003"/>
                    </a:lnTo>
                    <a:lnTo>
                      <a:pt x="5151366" y="2457240"/>
                    </a:lnTo>
                    <a:lnTo>
                      <a:pt x="5150513" y="2457435"/>
                    </a:lnTo>
                    <a:lnTo>
                      <a:pt x="5152225" y="2460554"/>
                    </a:lnTo>
                    <a:lnTo>
                      <a:pt x="5155262" y="2462813"/>
                    </a:lnTo>
                    <a:lnTo>
                      <a:pt x="5158652" y="2463995"/>
                    </a:lnTo>
                    <a:lnTo>
                      <a:pt x="5161422" y="2463817"/>
                    </a:lnTo>
                    <a:lnTo>
                      <a:pt x="5166083" y="2457369"/>
                    </a:lnTo>
                    <a:lnTo>
                      <a:pt x="5167430" y="2456123"/>
                    </a:lnTo>
                    <a:lnTo>
                      <a:pt x="5170458" y="2454239"/>
                    </a:lnTo>
                    <a:lnTo>
                      <a:pt x="5171932" y="2456458"/>
                    </a:lnTo>
                    <a:lnTo>
                      <a:pt x="5174243" y="2458137"/>
                    </a:lnTo>
                    <a:lnTo>
                      <a:pt x="5175561" y="2459505"/>
                    </a:lnTo>
                    <a:lnTo>
                      <a:pt x="5174088" y="2460715"/>
                    </a:lnTo>
                    <a:lnTo>
                      <a:pt x="5169922" y="2473587"/>
                    </a:lnTo>
                    <a:lnTo>
                      <a:pt x="5168350" y="2481797"/>
                    </a:lnTo>
                    <a:lnTo>
                      <a:pt x="5170363" y="2487193"/>
                    </a:lnTo>
                    <a:lnTo>
                      <a:pt x="5171842" y="2486327"/>
                    </a:lnTo>
                    <a:lnTo>
                      <a:pt x="5172964" y="2482851"/>
                    </a:lnTo>
                    <a:lnTo>
                      <a:pt x="5173617" y="2478485"/>
                    </a:lnTo>
                    <a:lnTo>
                      <a:pt x="5173687" y="2474971"/>
                    </a:lnTo>
                    <a:lnTo>
                      <a:pt x="5174609" y="2471670"/>
                    </a:lnTo>
                    <a:lnTo>
                      <a:pt x="5177094" y="2470676"/>
                    </a:lnTo>
                    <a:lnTo>
                      <a:pt x="5179351" y="2472614"/>
                    </a:lnTo>
                    <a:lnTo>
                      <a:pt x="5179566" y="2478138"/>
                    </a:lnTo>
                    <a:lnTo>
                      <a:pt x="5181605" y="2475931"/>
                    </a:lnTo>
                    <a:lnTo>
                      <a:pt x="5183968" y="2472390"/>
                    </a:lnTo>
                    <a:lnTo>
                      <a:pt x="5185864" y="2468456"/>
                    </a:lnTo>
                    <a:lnTo>
                      <a:pt x="5186477" y="2465141"/>
                    </a:lnTo>
                    <a:lnTo>
                      <a:pt x="5187115" y="2463389"/>
                    </a:lnTo>
                    <a:lnTo>
                      <a:pt x="5189044" y="2464014"/>
                    </a:lnTo>
                    <a:lnTo>
                      <a:pt x="5191120" y="2465645"/>
                    </a:lnTo>
                    <a:lnTo>
                      <a:pt x="5192210" y="2466971"/>
                    </a:lnTo>
                    <a:lnTo>
                      <a:pt x="5192486" y="2469343"/>
                    </a:lnTo>
                    <a:lnTo>
                      <a:pt x="5192008" y="2471499"/>
                    </a:lnTo>
                    <a:lnTo>
                      <a:pt x="5190419" y="2475096"/>
                    </a:lnTo>
                    <a:lnTo>
                      <a:pt x="5192878" y="2476545"/>
                    </a:lnTo>
                    <a:lnTo>
                      <a:pt x="5191894" y="2482519"/>
                    </a:lnTo>
                    <a:lnTo>
                      <a:pt x="5193422" y="2485765"/>
                    </a:lnTo>
                    <a:lnTo>
                      <a:pt x="5190874" y="2488231"/>
                    </a:lnTo>
                    <a:lnTo>
                      <a:pt x="5186027" y="2491446"/>
                    </a:lnTo>
                    <a:lnTo>
                      <a:pt x="5184071" y="2494150"/>
                    </a:lnTo>
                    <a:lnTo>
                      <a:pt x="5184206" y="2494321"/>
                    </a:lnTo>
                    <a:lnTo>
                      <a:pt x="5184147" y="2495462"/>
                    </a:lnTo>
                    <a:lnTo>
                      <a:pt x="5183940" y="2496961"/>
                    </a:lnTo>
                    <a:lnTo>
                      <a:pt x="5183575" y="2498192"/>
                    </a:lnTo>
                    <a:lnTo>
                      <a:pt x="5183261" y="2498660"/>
                    </a:lnTo>
                    <a:lnTo>
                      <a:pt x="5175775" y="2503956"/>
                    </a:lnTo>
                    <a:lnTo>
                      <a:pt x="5173609" y="2500425"/>
                    </a:lnTo>
                    <a:lnTo>
                      <a:pt x="5164216" y="2496821"/>
                    </a:lnTo>
                    <a:lnTo>
                      <a:pt x="5160776" y="2493555"/>
                    </a:lnTo>
                    <a:lnTo>
                      <a:pt x="5158061" y="2485038"/>
                    </a:lnTo>
                    <a:lnTo>
                      <a:pt x="5155793" y="2480877"/>
                    </a:lnTo>
                    <a:lnTo>
                      <a:pt x="5154114" y="2482998"/>
                    </a:lnTo>
                    <a:lnTo>
                      <a:pt x="5152804" y="2481894"/>
                    </a:lnTo>
                    <a:lnTo>
                      <a:pt x="5151773" y="2481798"/>
                    </a:lnTo>
                    <a:lnTo>
                      <a:pt x="5151039" y="2482687"/>
                    </a:lnTo>
                    <a:lnTo>
                      <a:pt x="5150563" y="2484458"/>
                    </a:lnTo>
                    <a:lnTo>
                      <a:pt x="5148153" y="2483228"/>
                    </a:lnTo>
                    <a:lnTo>
                      <a:pt x="5146692" y="2484925"/>
                    </a:lnTo>
                    <a:lnTo>
                      <a:pt x="5145931" y="2488115"/>
                    </a:lnTo>
                    <a:lnTo>
                      <a:pt x="5145648" y="2491339"/>
                    </a:lnTo>
                    <a:lnTo>
                      <a:pt x="5148309" y="2491624"/>
                    </a:lnTo>
                    <a:lnTo>
                      <a:pt x="5150217" y="2493103"/>
                    </a:lnTo>
                    <a:lnTo>
                      <a:pt x="5150701" y="2495013"/>
                    </a:lnTo>
                    <a:lnTo>
                      <a:pt x="5149046" y="2496621"/>
                    </a:lnTo>
                    <a:lnTo>
                      <a:pt x="5146818" y="2496410"/>
                    </a:lnTo>
                    <a:lnTo>
                      <a:pt x="5142535" y="2493698"/>
                    </a:lnTo>
                    <a:lnTo>
                      <a:pt x="5140385" y="2494197"/>
                    </a:lnTo>
                    <a:lnTo>
                      <a:pt x="5141418" y="2496073"/>
                    </a:lnTo>
                    <a:lnTo>
                      <a:pt x="5142798" y="2496897"/>
                    </a:lnTo>
                    <a:lnTo>
                      <a:pt x="5144431" y="2496990"/>
                    </a:lnTo>
                    <a:lnTo>
                      <a:pt x="5146203" y="2496710"/>
                    </a:lnTo>
                    <a:lnTo>
                      <a:pt x="5145692" y="2499949"/>
                    </a:lnTo>
                    <a:lnTo>
                      <a:pt x="5146421" y="2501515"/>
                    </a:lnTo>
                    <a:lnTo>
                      <a:pt x="5149740" y="2503319"/>
                    </a:lnTo>
                    <a:lnTo>
                      <a:pt x="5153531" y="2506473"/>
                    </a:lnTo>
                    <a:lnTo>
                      <a:pt x="5154785" y="2507203"/>
                    </a:lnTo>
                    <a:lnTo>
                      <a:pt x="5153113" y="2508074"/>
                    </a:lnTo>
                    <a:lnTo>
                      <a:pt x="5149951" y="2507283"/>
                    </a:lnTo>
                    <a:lnTo>
                      <a:pt x="5148775" y="2508130"/>
                    </a:lnTo>
                    <a:lnTo>
                      <a:pt x="5146695" y="2512245"/>
                    </a:lnTo>
                    <a:lnTo>
                      <a:pt x="5146025" y="2512989"/>
                    </a:lnTo>
                    <a:lnTo>
                      <a:pt x="5145090" y="2512449"/>
                    </a:lnTo>
                    <a:lnTo>
                      <a:pt x="5143284" y="2509681"/>
                    </a:lnTo>
                    <a:lnTo>
                      <a:pt x="5141957" y="2509073"/>
                    </a:lnTo>
                    <a:lnTo>
                      <a:pt x="5138121" y="2509673"/>
                    </a:lnTo>
                    <a:lnTo>
                      <a:pt x="5136440" y="2509581"/>
                    </a:lnTo>
                    <a:lnTo>
                      <a:pt x="5134481" y="2508575"/>
                    </a:lnTo>
                    <a:lnTo>
                      <a:pt x="5130203" y="2507471"/>
                    </a:lnTo>
                    <a:lnTo>
                      <a:pt x="5125736" y="2509380"/>
                    </a:lnTo>
                    <a:lnTo>
                      <a:pt x="5121662" y="2513201"/>
                    </a:lnTo>
                    <a:lnTo>
                      <a:pt x="5118588" y="2517867"/>
                    </a:lnTo>
                    <a:lnTo>
                      <a:pt x="5116964" y="2515180"/>
                    </a:lnTo>
                    <a:lnTo>
                      <a:pt x="5116186" y="2512902"/>
                    </a:lnTo>
                    <a:lnTo>
                      <a:pt x="5114786" y="2499777"/>
                    </a:lnTo>
                    <a:lnTo>
                      <a:pt x="5114721" y="2496340"/>
                    </a:lnTo>
                    <a:lnTo>
                      <a:pt x="5115245" y="2493622"/>
                    </a:lnTo>
                    <a:lnTo>
                      <a:pt x="5112387" y="2494351"/>
                    </a:lnTo>
                    <a:lnTo>
                      <a:pt x="5111002" y="2496235"/>
                    </a:lnTo>
                    <a:lnTo>
                      <a:pt x="5110584" y="2499206"/>
                    </a:lnTo>
                    <a:lnTo>
                      <a:pt x="5110619" y="2506589"/>
                    </a:lnTo>
                    <a:lnTo>
                      <a:pt x="5110244" y="2509007"/>
                    </a:lnTo>
                    <a:lnTo>
                      <a:pt x="5109293" y="2511425"/>
                    </a:lnTo>
                    <a:lnTo>
                      <a:pt x="5107568" y="2514836"/>
                    </a:lnTo>
                    <a:lnTo>
                      <a:pt x="5107013" y="2516577"/>
                    </a:lnTo>
                    <a:lnTo>
                      <a:pt x="5106987" y="2518006"/>
                    </a:lnTo>
                    <a:lnTo>
                      <a:pt x="5106811" y="2519423"/>
                    </a:lnTo>
                    <a:lnTo>
                      <a:pt x="5105821" y="2521057"/>
                    </a:lnTo>
                    <a:lnTo>
                      <a:pt x="5104614" y="2521613"/>
                    </a:lnTo>
                    <a:lnTo>
                      <a:pt x="5101156" y="2522253"/>
                    </a:lnTo>
                    <a:lnTo>
                      <a:pt x="5097565" y="2525262"/>
                    </a:lnTo>
                    <a:lnTo>
                      <a:pt x="5094124" y="2525107"/>
                    </a:lnTo>
                    <a:lnTo>
                      <a:pt x="5090871" y="2523229"/>
                    </a:lnTo>
                    <a:lnTo>
                      <a:pt x="5089008" y="2520091"/>
                    </a:lnTo>
                    <a:lnTo>
                      <a:pt x="5088272" y="2523320"/>
                    </a:lnTo>
                    <a:lnTo>
                      <a:pt x="5090281" y="2531236"/>
                    </a:lnTo>
                    <a:lnTo>
                      <a:pt x="5089104" y="2535617"/>
                    </a:lnTo>
                    <a:lnTo>
                      <a:pt x="5085559" y="2537549"/>
                    </a:lnTo>
                    <a:lnTo>
                      <a:pt x="5068561" y="2533431"/>
                    </a:lnTo>
                    <a:lnTo>
                      <a:pt x="5056117" y="2527749"/>
                    </a:lnTo>
                    <a:lnTo>
                      <a:pt x="5052825" y="2525179"/>
                    </a:lnTo>
                    <a:lnTo>
                      <a:pt x="5049557" y="2521405"/>
                    </a:lnTo>
                    <a:lnTo>
                      <a:pt x="5048132" y="2517796"/>
                    </a:lnTo>
                    <a:lnTo>
                      <a:pt x="5050385" y="2515809"/>
                    </a:lnTo>
                    <a:lnTo>
                      <a:pt x="5045876" y="2515116"/>
                    </a:lnTo>
                    <a:lnTo>
                      <a:pt x="5039733" y="2515791"/>
                    </a:lnTo>
                    <a:lnTo>
                      <a:pt x="5034174" y="2515413"/>
                    </a:lnTo>
                    <a:lnTo>
                      <a:pt x="5031441" y="2511560"/>
                    </a:lnTo>
                    <a:lnTo>
                      <a:pt x="5024744" y="2504296"/>
                    </a:lnTo>
                    <a:lnTo>
                      <a:pt x="5024510" y="2501610"/>
                    </a:lnTo>
                    <a:lnTo>
                      <a:pt x="5029417" y="2494130"/>
                    </a:lnTo>
                    <a:lnTo>
                      <a:pt x="5033026" y="2494096"/>
                    </a:lnTo>
                    <a:lnTo>
                      <a:pt x="5051538" y="2498168"/>
                    </a:lnTo>
                    <a:lnTo>
                      <a:pt x="5052225" y="2498982"/>
                    </a:lnTo>
                    <a:lnTo>
                      <a:pt x="5053723" y="2501577"/>
                    </a:lnTo>
                    <a:lnTo>
                      <a:pt x="5054265" y="2502115"/>
                    </a:lnTo>
                    <a:lnTo>
                      <a:pt x="5055337" y="2501652"/>
                    </a:lnTo>
                    <a:lnTo>
                      <a:pt x="5055514" y="2500702"/>
                    </a:lnTo>
                    <a:lnTo>
                      <a:pt x="5055592" y="2499754"/>
                    </a:lnTo>
                    <a:lnTo>
                      <a:pt x="5056368" y="2499379"/>
                    </a:lnTo>
                    <a:lnTo>
                      <a:pt x="5059354" y="2500145"/>
                    </a:lnTo>
                    <a:lnTo>
                      <a:pt x="5065459" y="2502905"/>
                    </a:lnTo>
                    <a:lnTo>
                      <a:pt x="5068681" y="2503174"/>
                    </a:lnTo>
                    <a:lnTo>
                      <a:pt x="5068544" y="2501711"/>
                    </a:lnTo>
                    <a:lnTo>
                      <a:pt x="5054084" y="2494731"/>
                    </a:lnTo>
                    <a:lnTo>
                      <a:pt x="5053112" y="2493028"/>
                    </a:lnTo>
                    <a:lnTo>
                      <a:pt x="5051063" y="2491578"/>
                    </a:lnTo>
                    <a:lnTo>
                      <a:pt x="5048799" y="2490569"/>
                    </a:lnTo>
                    <a:lnTo>
                      <a:pt x="5044933" y="2489715"/>
                    </a:lnTo>
                    <a:lnTo>
                      <a:pt x="5042897" y="2488248"/>
                    </a:lnTo>
                    <a:lnTo>
                      <a:pt x="5039116" y="2483723"/>
                    </a:lnTo>
                    <a:lnTo>
                      <a:pt x="5045480" y="2478148"/>
                    </a:lnTo>
                    <a:lnTo>
                      <a:pt x="5047713" y="2476756"/>
                    </a:lnTo>
                    <a:lnTo>
                      <a:pt x="5050680" y="2476337"/>
                    </a:lnTo>
                    <a:lnTo>
                      <a:pt x="5054766" y="2476766"/>
                    </a:lnTo>
                    <a:lnTo>
                      <a:pt x="5058756" y="2477928"/>
                    </a:lnTo>
                    <a:lnTo>
                      <a:pt x="5061480" y="2479725"/>
                    </a:lnTo>
                    <a:lnTo>
                      <a:pt x="5066996" y="2481274"/>
                    </a:lnTo>
                    <a:lnTo>
                      <a:pt x="5074376" y="2479475"/>
                    </a:lnTo>
                    <a:lnTo>
                      <a:pt x="5080241" y="2479186"/>
                    </a:lnTo>
                    <a:lnTo>
                      <a:pt x="5081296" y="2479404"/>
                    </a:lnTo>
                    <a:lnTo>
                      <a:pt x="5081585" y="2479483"/>
                    </a:lnTo>
                    <a:lnTo>
                      <a:pt x="5085640" y="2485085"/>
                    </a:lnTo>
                    <a:lnTo>
                      <a:pt x="5087451" y="2482100"/>
                    </a:lnTo>
                    <a:lnTo>
                      <a:pt x="5086979" y="2479607"/>
                    </a:lnTo>
                    <a:lnTo>
                      <a:pt x="5085555" y="2476972"/>
                    </a:lnTo>
                    <a:lnTo>
                      <a:pt x="5084534" y="2473629"/>
                    </a:lnTo>
                    <a:lnTo>
                      <a:pt x="5083990" y="2470513"/>
                    </a:lnTo>
                    <a:lnTo>
                      <a:pt x="5083121" y="2469545"/>
                    </a:lnTo>
                    <a:lnTo>
                      <a:pt x="5081625" y="2468787"/>
                    </a:lnTo>
                    <a:lnTo>
                      <a:pt x="5079215" y="2466335"/>
                    </a:lnTo>
                    <a:lnTo>
                      <a:pt x="5080712" y="2466459"/>
                    </a:lnTo>
                    <a:lnTo>
                      <a:pt x="5082148" y="2466346"/>
                    </a:lnTo>
                    <a:lnTo>
                      <a:pt x="5083455" y="2465875"/>
                    </a:lnTo>
                    <a:lnTo>
                      <a:pt x="5084620" y="2464952"/>
                    </a:lnTo>
                    <a:lnTo>
                      <a:pt x="5081100" y="2462957"/>
                    </a:lnTo>
                    <a:lnTo>
                      <a:pt x="5069578" y="2458662"/>
                    </a:lnTo>
                    <a:lnTo>
                      <a:pt x="5067160" y="2455930"/>
                    </a:lnTo>
                    <a:lnTo>
                      <a:pt x="5069948" y="2454760"/>
                    </a:lnTo>
                    <a:lnTo>
                      <a:pt x="5075958" y="2454779"/>
                    </a:lnTo>
                    <a:lnTo>
                      <a:pt x="5081773" y="2453712"/>
                    </a:lnTo>
                    <a:lnTo>
                      <a:pt x="5084029" y="2449331"/>
                    </a:lnTo>
                    <a:lnTo>
                      <a:pt x="5084606" y="2446968"/>
                    </a:lnTo>
                    <a:lnTo>
                      <a:pt x="5086363" y="2446427"/>
                    </a:lnTo>
                    <a:lnTo>
                      <a:pt x="5088280" y="2446803"/>
                    </a:lnTo>
                    <a:lnTo>
                      <a:pt x="5089342" y="2447228"/>
                    </a:lnTo>
                    <a:lnTo>
                      <a:pt x="5090943" y="2448654"/>
                    </a:lnTo>
                    <a:lnTo>
                      <a:pt x="5091678" y="2450106"/>
                    </a:lnTo>
                    <a:lnTo>
                      <a:pt x="5092332" y="2450567"/>
                    </a:lnTo>
                    <a:lnTo>
                      <a:pt x="5093714" y="2449044"/>
                    </a:lnTo>
                    <a:lnTo>
                      <a:pt x="5094503" y="2446819"/>
                    </a:lnTo>
                    <a:lnTo>
                      <a:pt x="5094734" y="2444314"/>
                    </a:lnTo>
                    <a:lnTo>
                      <a:pt x="5095290" y="2441984"/>
                    </a:lnTo>
                    <a:lnTo>
                      <a:pt x="5097031" y="2440291"/>
                    </a:lnTo>
                    <a:close/>
                    <a:moveTo>
                      <a:pt x="5131640" y="2408849"/>
                    </a:moveTo>
                    <a:lnTo>
                      <a:pt x="5134595" y="2410676"/>
                    </a:lnTo>
                    <a:lnTo>
                      <a:pt x="5134511" y="2412231"/>
                    </a:lnTo>
                    <a:lnTo>
                      <a:pt x="5134741" y="2413648"/>
                    </a:lnTo>
                    <a:lnTo>
                      <a:pt x="5135240" y="2414945"/>
                    </a:lnTo>
                    <a:lnTo>
                      <a:pt x="5136000" y="2416137"/>
                    </a:lnTo>
                    <a:lnTo>
                      <a:pt x="5132815" y="2421167"/>
                    </a:lnTo>
                    <a:lnTo>
                      <a:pt x="5132442" y="2423436"/>
                    </a:lnTo>
                    <a:lnTo>
                      <a:pt x="5134238" y="2425709"/>
                    </a:lnTo>
                    <a:lnTo>
                      <a:pt x="5122781" y="2435720"/>
                    </a:lnTo>
                    <a:lnTo>
                      <a:pt x="5119604" y="2440214"/>
                    </a:lnTo>
                    <a:lnTo>
                      <a:pt x="5117191" y="2441681"/>
                    </a:lnTo>
                    <a:lnTo>
                      <a:pt x="5113850" y="2441175"/>
                    </a:lnTo>
                    <a:lnTo>
                      <a:pt x="5099248" y="2435453"/>
                    </a:lnTo>
                    <a:lnTo>
                      <a:pt x="5097191" y="2433434"/>
                    </a:lnTo>
                    <a:lnTo>
                      <a:pt x="5097691" y="2431354"/>
                    </a:lnTo>
                    <a:lnTo>
                      <a:pt x="5097009" y="2429734"/>
                    </a:lnTo>
                    <a:lnTo>
                      <a:pt x="5095628" y="2428598"/>
                    </a:lnTo>
                    <a:lnTo>
                      <a:pt x="5093980" y="2428040"/>
                    </a:lnTo>
                    <a:lnTo>
                      <a:pt x="5103519" y="2426009"/>
                    </a:lnTo>
                    <a:lnTo>
                      <a:pt x="5104736" y="2424547"/>
                    </a:lnTo>
                    <a:lnTo>
                      <a:pt x="5105610" y="2421032"/>
                    </a:lnTo>
                    <a:lnTo>
                      <a:pt x="5108273" y="2418926"/>
                    </a:lnTo>
                    <a:lnTo>
                      <a:pt x="5113966" y="2416823"/>
                    </a:lnTo>
                    <a:lnTo>
                      <a:pt x="5115296" y="2415870"/>
                    </a:lnTo>
                    <a:lnTo>
                      <a:pt x="5118212" y="2412660"/>
                    </a:lnTo>
                    <a:lnTo>
                      <a:pt x="5120585" y="2411147"/>
                    </a:lnTo>
                    <a:lnTo>
                      <a:pt x="5123131" y="2411035"/>
                    </a:lnTo>
                    <a:lnTo>
                      <a:pt x="5126219" y="2410306"/>
                    </a:lnTo>
                    <a:lnTo>
                      <a:pt x="5128952" y="2409158"/>
                    </a:lnTo>
                    <a:close/>
                    <a:moveTo>
                      <a:pt x="4068465" y="2403600"/>
                    </a:moveTo>
                    <a:lnTo>
                      <a:pt x="4071516" y="2405735"/>
                    </a:lnTo>
                    <a:lnTo>
                      <a:pt x="4071726" y="2408492"/>
                    </a:lnTo>
                    <a:lnTo>
                      <a:pt x="4071464" y="2411133"/>
                    </a:lnTo>
                    <a:lnTo>
                      <a:pt x="4071621" y="2413409"/>
                    </a:lnTo>
                    <a:lnTo>
                      <a:pt x="4073912" y="2413586"/>
                    </a:lnTo>
                    <a:lnTo>
                      <a:pt x="4075299" y="2414937"/>
                    </a:lnTo>
                    <a:lnTo>
                      <a:pt x="4075833" y="2416727"/>
                    </a:lnTo>
                    <a:lnTo>
                      <a:pt x="4074624" y="2418964"/>
                    </a:lnTo>
                    <a:lnTo>
                      <a:pt x="4072469" y="2421510"/>
                    </a:lnTo>
                    <a:lnTo>
                      <a:pt x="4071238" y="2421786"/>
                    </a:lnTo>
                    <a:lnTo>
                      <a:pt x="4072099" y="2418837"/>
                    </a:lnTo>
                    <a:lnTo>
                      <a:pt x="4071282" y="2416190"/>
                    </a:lnTo>
                    <a:lnTo>
                      <a:pt x="4069113" y="2415020"/>
                    </a:lnTo>
                    <a:lnTo>
                      <a:pt x="4066226" y="2412573"/>
                    </a:lnTo>
                    <a:lnTo>
                      <a:pt x="4066538" y="2411346"/>
                    </a:lnTo>
                    <a:lnTo>
                      <a:pt x="4066580" y="2409687"/>
                    </a:lnTo>
                    <a:lnTo>
                      <a:pt x="4067490" y="2408329"/>
                    </a:lnTo>
                    <a:lnTo>
                      <a:pt x="4068324" y="2407598"/>
                    </a:lnTo>
                    <a:lnTo>
                      <a:pt x="4067125" y="2406236"/>
                    </a:lnTo>
                    <a:close/>
                    <a:moveTo>
                      <a:pt x="4054555" y="2399193"/>
                    </a:moveTo>
                    <a:lnTo>
                      <a:pt x="4056428" y="2401871"/>
                    </a:lnTo>
                    <a:lnTo>
                      <a:pt x="4057312" y="2403218"/>
                    </a:lnTo>
                    <a:lnTo>
                      <a:pt x="4057645" y="2404049"/>
                    </a:lnTo>
                    <a:lnTo>
                      <a:pt x="4057683" y="2405103"/>
                    </a:lnTo>
                    <a:lnTo>
                      <a:pt x="4057257" y="2407157"/>
                    </a:lnTo>
                    <a:lnTo>
                      <a:pt x="4056021" y="2409324"/>
                    </a:lnTo>
                    <a:lnTo>
                      <a:pt x="4054315" y="2411321"/>
                    </a:lnTo>
                    <a:lnTo>
                      <a:pt x="4052688" y="2412799"/>
                    </a:lnTo>
                    <a:lnTo>
                      <a:pt x="4051482" y="2413069"/>
                    </a:lnTo>
                    <a:lnTo>
                      <a:pt x="4050572" y="2412223"/>
                    </a:lnTo>
                    <a:lnTo>
                      <a:pt x="4050280" y="2410946"/>
                    </a:lnTo>
                    <a:lnTo>
                      <a:pt x="4052041" y="2404515"/>
                    </a:lnTo>
                    <a:lnTo>
                      <a:pt x="4053233" y="2401717"/>
                    </a:lnTo>
                    <a:close/>
                    <a:moveTo>
                      <a:pt x="4017262" y="2385650"/>
                    </a:moveTo>
                    <a:lnTo>
                      <a:pt x="4017462" y="2387197"/>
                    </a:lnTo>
                    <a:lnTo>
                      <a:pt x="4015533" y="2390715"/>
                    </a:lnTo>
                    <a:lnTo>
                      <a:pt x="4012492" y="2395718"/>
                    </a:lnTo>
                    <a:lnTo>
                      <a:pt x="4005268" y="2405607"/>
                    </a:lnTo>
                    <a:lnTo>
                      <a:pt x="4001245" y="2412700"/>
                    </a:lnTo>
                    <a:lnTo>
                      <a:pt x="3997953" y="2417623"/>
                    </a:lnTo>
                    <a:lnTo>
                      <a:pt x="3995017" y="2421627"/>
                    </a:lnTo>
                    <a:lnTo>
                      <a:pt x="3992811" y="2425400"/>
                    </a:lnTo>
                    <a:lnTo>
                      <a:pt x="3991598" y="2429825"/>
                    </a:lnTo>
                    <a:lnTo>
                      <a:pt x="3987503" y="2434047"/>
                    </a:lnTo>
                    <a:lnTo>
                      <a:pt x="3982289" y="2436216"/>
                    </a:lnTo>
                    <a:lnTo>
                      <a:pt x="3978166" y="2438035"/>
                    </a:lnTo>
                    <a:lnTo>
                      <a:pt x="3971150" y="2436113"/>
                    </a:lnTo>
                    <a:lnTo>
                      <a:pt x="3968240" y="2436249"/>
                    </a:lnTo>
                    <a:lnTo>
                      <a:pt x="3966438" y="2437639"/>
                    </a:lnTo>
                    <a:lnTo>
                      <a:pt x="3963644" y="2438381"/>
                    </a:lnTo>
                    <a:lnTo>
                      <a:pt x="3962097" y="2437108"/>
                    </a:lnTo>
                    <a:lnTo>
                      <a:pt x="3963504" y="2433425"/>
                    </a:lnTo>
                    <a:lnTo>
                      <a:pt x="3963046" y="2431800"/>
                    </a:lnTo>
                    <a:lnTo>
                      <a:pt x="3961819" y="2429939"/>
                    </a:lnTo>
                    <a:lnTo>
                      <a:pt x="3963866" y="2427825"/>
                    </a:lnTo>
                    <a:lnTo>
                      <a:pt x="3963620" y="2425808"/>
                    </a:lnTo>
                    <a:lnTo>
                      <a:pt x="3963536" y="2422126"/>
                    </a:lnTo>
                    <a:lnTo>
                      <a:pt x="3959578" y="2417866"/>
                    </a:lnTo>
                    <a:lnTo>
                      <a:pt x="3955672" y="2414355"/>
                    </a:lnTo>
                    <a:lnTo>
                      <a:pt x="3951604" y="2410031"/>
                    </a:lnTo>
                    <a:lnTo>
                      <a:pt x="3952917" y="2410089"/>
                    </a:lnTo>
                    <a:lnTo>
                      <a:pt x="3963801" y="2420267"/>
                    </a:lnTo>
                    <a:lnTo>
                      <a:pt x="3965998" y="2412948"/>
                    </a:lnTo>
                    <a:lnTo>
                      <a:pt x="3966445" y="2408291"/>
                    </a:lnTo>
                    <a:lnTo>
                      <a:pt x="3968846" y="2407998"/>
                    </a:lnTo>
                    <a:lnTo>
                      <a:pt x="3974127" y="2405165"/>
                    </a:lnTo>
                    <a:lnTo>
                      <a:pt x="3978534" y="2402292"/>
                    </a:lnTo>
                    <a:lnTo>
                      <a:pt x="3981980" y="2401181"/>
                    </a:lnTo>
                    <a:lnTo>
                      <a:pt x="3987136" y="2399681"/>
                    </a:lnTo>
                    <a:lnTo>
                      <a:pt x="3994011" y="2399404"/>
                    </a:lnTo>
                    <a:lnTo>
                      <a:pt x="3997333" y="2397693"/>
                    </a:lnTo>
                    <a:lnTo>
                      <a:pt x="4000664" y="2395978"/>
                    </a:lnTo>
                    <a:lnTo>
                      <a:pt x="4003637" y="2394377"/>
                    </a:lnTo>
                    <a:lnTo>
                      <a:pt x="4006402" y="2393972"/>
                    </a:lnTo>
                    <a:lnTo>
                      <a:pt x="4010268" y="2389665"/>
                    </a:lnTo>
                    <a:lnTo>
                      <a:pt x="4013902" y="2388500"/>
                    </a:lnTo>
                    <a:lnTo>
                      <a:pt x="4015049" y="2386683"/>
                    </a:lnTo>
                    <a:close/>
                    <a:moveTo>
                      <a:pt x="7266912" y="2363643"/>
                    </a:moveTo>
                    <a:lnTo>
                      <a:pt x="7269568" y="2364279"/>
                    </a:lnTo>
                    <a:lnTo>
                      <a:pt x="7273573" y="2368066"/>
                    </a:lnTo>
                    <a:lnTo>
                      <a:pt x="7286452" y="2375021"/>
                    </a:lnTo>
                    <a:lnTo>
                      <a:pt x="7290706" y="2377917"/>
                    </a:lnTo>
                    <a:lnTo>
                      <a:pt x="7291444" y="2379385"/>
                    </a:lnTo>
                    <a:lnTo>
                      <a:pt x="7287586" y="2381272"/>
                    </a:lnTo>
                    <a:lnTo>
                      <a:pt x="7287246" y="2383330"/>
                    </a:lnTo>
                    <a:lnTo>
                      <a:pt x="7287546" y="2388704"/>
                    </a:lnTo>
                    <a:lnTo>
                      <a:pt x="7290943" y="2394094"/>
                    </a:lnTo>
                    <a:lnTo>
                      <a:pt x="7291731" y="2401441"/>
                    </a:lnTo>
                    <a:lnTo>
                      <a:pt x="7290457" y="2408394"/>
                    </a:lnTo>
                    <a:lnTo>
                      <a:pt x="7287631" y="2412529"/>
                    </a:lnTo>
                    <a:lnTo>
                      <a:pt x="7286160" y="2409380"/>
                    </a:lnTo>
                    <a:lnTo>
                      <a:pt x="7284145" y="2407663"/>
                    </a:lnTo>
                    <a:lnTo>
                      <a:pt x="7282616" y="2406091"/>
                    </a:lnTo>
                    <a:lnTo>
                      <a:pt x="7282583" y="2403336"/>
                    </a:lnTo>
                    <a:lnTo>
                      <a:pt x="7281285" y="2402602"/>
                    </a:lnTo>
                    <a:lnTo>
                      <a:pt x="7279761" y="2402151"/>
                    </a:lnTo>
                    <a:lnTo>
                      <a:pt x="7278151" y="2402084"/>
                    </a:lnTo>
                    <a:lnTo>
                      <a:pt x="7276583" y="2402503"/>
                    </a:lnTo>
                    <a:lnTo>
                      <a:pt x="7276742" y="2400724"/>
                    </a:lnTo>
                    <a:lnTo>
                      <a:pt x="7277044" y="2399318"/>
                    </a:lnTo>
                    <a:lnTo>
                      <a:pt x="7277548" y="2398090"/>
                    </a:lnTo>
                    <a:lnTo>
                      <a:pt x="7278316" y="2396856"/>
                    </a:lnTo>
                    <a:lnTo>
                      <a:pt x="7277838" y="2395515"/>
                    </a:lnTo>
                    <a:lnTo>
                      <a:pt x="7275223" y="2395213"/>
                    </a:lnTo>
                    <a:lnTo>
                      <a:pt x="7273857" y="2396489"/>
                    </a:lnTo>
                    <a:lnTo>
                      <a:pt x="7272697" y="2398207"/>
                    </a:lnTo>
                    <a:lnTo>
                      <a:pt x="7270713" y="2399236"/>
                    </a:lnTo>
                    <a:lnTo>
                      <a:pt x="7268808" y="2398679"/>
                    </a:lnTo>
                    <a:lnTo>
                      <a:pt x="7268212" y="2396986"/>
                    </a:lnTo>
                    <a:lnTo>
                      <a:pt x="7268619" y="2395030"/>
                    </a:lnTo>
                    <a:lnTo>
                      <a:pt x="7269708" y="2393644"/>
                    </a:lnTo>
                    <a:lnTo>
                      <a:pt x="7267082" y="2391324"/>
                    </a:lnTo>
                    <a:lnTo>
                      <a:pt x="7266544" y="2388121"/>
                    </a:lnTo>
                    <a:lnTo>
                      <a:pt x="7267303" y="2384946"/>
                    </a:lnTo>
                    <a:lnTo>
                      <a:pt x="7268578" y="2382627"/>
                    </a:lnTo>
                    <a:lnTo>
                      <a:pt x="7266878" y="2380859"/>
                    </a:lnTo>
                    <a:lnTo>
                      <a:pt x="7263527" y="2381462"/>
                    </a:lnTo>
                    <a:lnTo>
                      <a:pt x="7261279" y="2380670"/>
                    </a:lnTo>
                    <a:lnTo>
                      <a:pt x="7261547" y="2379270"/>
                    </a:lnTo>
                    <a:lnTo>
                      <a:pt x="7261574" y="2377706"/>
                    </a:lnTo>
                    <a:lnTo>
                      <a:pt x="7261369" y="2376052"/>
                    </a:lnTo>
                    <a:lnTo>
                      <a:pt x="7260236" y="2372046"/>
                    </a:lnTo>
                    <a:lnTo>
                      <a:pt x="7260304" y="2370910"/>
                    </a:lnTo>
                    <a:lnTo>
                      <a:pt x="7262530" y="2366407"/>
                    </a:lnTo>
                    <a:lnTo>
                      <a:pt x="7264474" y="2364518"/>
                    </a:lnTo>
                    <a:close/>
                    <a:moveTo>
                      <a:pt x="5169636" y="2345991"/>
                    </a:moveTo>
                    <a:lnTo>
                      <a:pt x="5172720" y="2347143"/>
                    </a:lnTo>
                    <a:lnTo>
                      <a:pt x="5172826" y="2348210"/>
                    </a:lnTo>
                    <a:lnTo>
                      <a:pt x="5169142" y="2350315"/>
                    </a:lnTo>
                    <a:lnTo>
                      <a:pt x="5168196" y="2351729"/>
                    </a:lnTo>
                    <a:lnTo>
                      <a:pt x="5167793" y="2353397"/>
                    </a:lnTo>
                    <a:lnTo>
                      <a:pt x="5166538" y="2354030"/>
                    </a:lnTo>
                    <a:lnTo>
                      <a:pt x="5165202" y="2353483"/>
                    </a:lnTo>
                    <a:lnTo>
                      <a:pt x="5165022" y="2352434"/>
                    </a:lnTo>
                    <a:lnTo>
                      <a:pt x="5165536" y="2351066"/>
                    </a:lnTo>
                    <a:lnTo>
                      <a:pt x="5166256" y="2349876"/>
                    </a:lnTo>
                    <a:lnTo>
                      <a:pt x="5166395" y="2348768"/>
                    </a:lnTo>
                    <a:lnTo>
                      <a:pt x="5166209" y="2347855"/>
                    </a:lnTo>
                    <a:lnTo>
                      <a:pt x="5166444" y="2347527"/>
                    </a:lnTo>
                    <a:lnTo>
                      <a:pt x="5168198" y="2347502"/>
                    </a:lnTo>
                    <a:lnTo>
                      <a:pt x="5168476" y="2347068"/>
                    </a:lnTo>
                    <a:lnTo>
                      <a:pt x="5168764" y="2346044"/>
                    </a:lnTo>
                    <a:close/>
                    <a:moveTo>
                      <a:pt x="5130224" y="2343504"/>
                    </a:moveTo>
                    <a:lnTo>
                      <a:pt x="5132891" y="2343514"/>
                    </a:lnTo>
                    <a:lnTo>
                      <a:pt x="5137854" y="2345512"/>
                    </a:lnTo>
                    <a:lnTo>
                      <a:pt x="5140602" y="2345959"/>
                    </a:lnTo>
                    <a:lnTo>
                      <a:pt x="5153259" y="2345548"/>
                    </a:lnTo>
                    <a:lnTo>
                      <a:pt x="5153331" y="2346401"/>
                    </a:lnTo>
                    <a:lnTo>
                      <a:pt x="5153217" y="2347004"/>
                    </a:lnTo>
                    <a:lnTo>
                      <a:pt x="5152721" y="2348251"/>
                    </a:lnTo>
                    <a:lnTo>
                      <a:pt x="5151085" y="2349071"/>
                    </a:lnTo>
                    <a:lnTo>
                      <a:pt x="5147868" y="2348393"/>
                    </a:lnTo>
                    <a:lnTo>
                      <a:pt x="5146297" y="2348460"/>
                    </a:lnTo>
                    <a:lnTo>
                      <a:pt x="5145163" y="2349375"/>
                    </a:lnTo>
                    <a:lnTo>
                      <a:pt x="5143024" y="2352050"/>
                    </a:lnTo>
                    <a:lnTo>
                      <a:pt x="5141774" y="2352633"/>
                    </a:lnTo>
                    <a:lnTo>
                      <a:pt x="5141768" y="2352634"/>
                    </a:lnTo>
                    <a:lnTo>
                      <a:pt x="5130756" y="2355064"/>
                    </a:lnTo>
                    <a:lnTo>
                      <a:pt x="5126817" y="2354446"/>
                    </a:lnTo>
                    <a:lnTo>
                      <a:pt x="5126678" y="2353115"/>
                    </a:lnTo>
                    <a:lnTo>
                      <a:pt x="5129701" y="2352573"/>
                    </a:lnTo>
                    <a:lnTo>
                      <a:pt x="5131209" y="2350511"/>
                    </a:lnTo>
                    <a:lnTo>
                      <a:pt x="5131332" y="2347350"/>
                    </a:lnTo>
                    <a:close/>
                    <a:moveTo>
                      <a:pt x="7344285" y="2318287"/>
                    </a:moveTo>
                    <a:lnTo>
                      <a:pt x="7348234" y="2319343"/>
                    </a:lnTo>
                    <a:lnTo>
                      <a:pt x="7356768" y="2326286"/>
                    </a:lnTo>
                    <a:lnTo>
                      <a:pt x="7360356" y="2326568"/>
                    </a:lnTo>
                    <a:lnTo>
                      <a:pt x="7363582" y="2325413"/>
                    </a:lnTo>
                    <a:lnTo>
                      <a:pt x="7367044" y="2324926"/>
                    </a:lnTo>
                    <a:lnTo>
                      <a:pt x="7368954" y="2325807"/>
                    </a:lnTo>
                    <a:lnTo>
                      <a:pt x="7373210" y="2328988"/>
                    </a:lnTo>
                    <a:lnTo>
                      <a:pt x="7374853" y="2329584"/>
                    </a:lnTo>
                    <a:lnTo>
                      <a:pt x="7379637" y="2329772"/>
                    </a:lnTo>
                    <a:lnTo>
                      <a:pt x="7381170" y="2330231"/>
                    </a:lnTo>
                    <a:lnTo>
                      <a:pt x="7380694" y="2331686"/>
                    </a:lnTo>
                    <a:lnTo>
                      <a:pt x="7383464" y="2333054"/>
                    </a:lnTo>
                    <a:lnTo>
                      <a:pt x="7388591" y="2333942"/>
                    </a:lnTo>
                    <a:lnTo>
                      <a:pt x="7391675" y="2335972"/>
                    </a:lnTo>
                    <a:lnTo>
                      <a:pt x="7390958" y="2338364"/>
                    </a:lnTo>
                    <a:lnTo>
                      <a:pt x="7391145" y="2340899"/>
                    </a:lnTo>
                    <a:lnTo>
                      <a:pt x="7391606" y="2343477"/>
                    </a:lnTo>
                    <a:lnTo>
                      <a:pt x="7391702" y="2345981"/>
                    </a:lnTo>
                    <a:lnTo>
                      <a:pt x="7391013" y="2348262"/>
                    </a:lnTo>
                    <a:lnTo>
                      <a:pt x="7389847" y="2349017"/>
                    </a:lnTo>
                    <a:lnTo>
                      <a:pt x="7388414" y="2349412"/>
                    </a:lnTo>
                    <a:lnTo>
                      <a:pt x="7386828" y="2350642"/>
                    </a:lnTo>
                    <a:lnTo>
                      <a:pt x="7385337" y="2354518"/>
                    </a:lnTo>
                    <a:lnTo>
                      <a:pt x="7384235" y="2358979"/>
                    </a:lnTo>
                    <a:lnTo>
                      <a:pt x="7381893" y="2361838"/>
                    </a:lnTo>
                    <a:lnTo>
                      <a:pt x="7372516" y="2360490"/>
                    </a:lnTo>
                    <a:lnTo>
                      <a:pt x="7362949" y="2363040"/>
                    </a:lnTo>
                    <a:lnTo>
                      <a:pt x="7361478" y="2364112"/>
                    </a:lnTo>
                    <a:lnTo>
                      <a:pt x="7366505" y="2366543"/>
                    </a:lnTo>
                    <a:lnTo>
                      <a:pt x="7373369" y="2363112"/>
                    </a:lnTo>
                    <a:lnTo>
                      <a:pt x="7378042" y="2364384"/>
                    </a:lnTo>
                    <a:lnTo>
                      <a:pt x="7377526" y="2365719"/>
                    </a:lnTo>
                    <a:lnTo>
                      <a:pt x="7379460" y="2366324"/>
                    </a:lnTo>
                    <a:lnTo>
                      <a:pt x="7382005" y="2366639"/>
                    </a:lnTo>
                    <a:lnTo>
                      <a:pt x="7384269" y="2367339"/>
                    </a:lnTo>
                    <a:lnTo>
                      <a:pt x="7385390" y="2369105"/>
                    </a:lnTo>
                    <a:lnTo>
                      <a:pt x="7384521" y="2370540"/>
                    </a:lnTo>
                    <a:lnTo>
                      <a:pt x="7382254" y="2371175"/>
                    </a:lnTo>
                    <a:lnTo>
                      <a:pt x="7369819" y="2371274"/>
                    </a:lnTo>
                    <a:lnTo>
                      <a:pt x="7366543" y="2372483"/>
                    </a:lnTo>
                    <a:lnTo>
                      <a:pt x="7364322" y="2375650"/>
                    </a:lnTo>
                    <a:lnTo>
                      <a:pt x="7375787" y="2375486"/>
                    </a:lnTo>
                    <a:lnTo>
                      <a:pt x="7382467" y="2376364"/>
                    </a:lnTo>
                    <a:lnTo>
                      <a:pt x="7384802" y="2380354"/>
                    </a:lnTo>
                    <a:lnTo>
                      <a:pt x="7386620" y="2379565"/>
                    </a:lnTo>
                    <a:lnTo>
                      <a:pt x="7387870" y="2378025"/>
                    </a:lnTo>
                    <a:lnTo>
                      <a:pt x="7387760" y="2376239"/>
                    </a:lnTo>
                    <a:lnTo>
                      <a:pt x="7385511" y="2374688"/>
                    </a:lnTo>
                    <a:lnTo>
                      <a:pt x="7384968" y="2373220"/>
                    </a:lnTo>
                    <a:lnTo>
                      <a:pt x="7387769" y="2372930"/>
                    </a:lnTo>
                    <a:lnTo>
                      <a:pt x="7390319" y="2371887"/>
                    </a:lnTo>
                    <a:lnTo>
                      <a:pt x="7392335" y="2370040"/>
                    </a:lnTo>
                    <a:lnTo>
                      <a:pt x="7393517" y="2367375"/>
                    </a:lnTo>
                    <a:lnTo>
                      <a:pt x="7395250" y="2356746"/>
                    </a:lnTo>
                    <a:lnTo>
                      <a:pt x="7404039" y="2351391"/>
                    </a:lnTo>
                    <a:lnTo>
                      <a:pt x="7404460" y="2348157"/>
                    </a:lnTo>
                    <a:lnTo>
                      <a:pt x="7402858" y="2346515"/>
                    </a:lnTo>
                    <a:lnTo>
                      <a:pt x="7400301" y="2345046"/>
                    </a:lnTo>
                    <a:lnTo>
                      <a:pt x="7397784" y="2342347"/>
                    </a:lnTo>
                    <a:lnTo>
                      <a:pt x="7399981" y="2341777"/>
                    </a:lnTo>
                    <a:lnTo>
                      <a:pt x="7403411" y="2339383"/>
                    </a:lnTo>
                    <a:lnTo>
                      <a:pt x="7405674" y="2338603"/>
                    </a:lnTo>
                    <a:lnTo>
                      <a:pt x="7408466" y="2338618"/>
                    </a:lnTo>
                    <a:lnTo>
                      <a:pt x="7411711" y="2339187"/>
                    </a:lnTo>
                    <a:lnTo>
                      <a:pt x="7417859" y="2341340"/>
                    </a:lnTo>
                    <a:lnTo>
                      <a:pt x="7417082" y="2341925"/>
                    </a:lnTo>
                    <a:lnTo>
                      <a:pt x="7415386" y="2344438"/>
                    </a:lnTo>
                    <a:lnTo>
                      <a:pt x="7418111" y="2345411"/>
                    </a:lnTo>
                    <a:lnTo>
                      <a:pt x="7420219" y="2345015"/>
                    </a:lnTo>
                    <a:lnTo>
                      <a:pt x="7424203" y="2343377"/>
                    </a:lnTo>
                    <a:lnTo>
                      <a:pt x="7426998" y="2343464"/>
                    </a:lnTo>
                    <a:lnTo>
                      <a:pt x="7432818" y="2344688"/>
                    </a:lnTo>
                    <a:lnTo>
                      <a:pt x="7435615" y="2344792"/>
                    </a:lnTo>
                    <a:lnTo>
                      <a:pt x="7444049" y="2342368"/>
                    </a:lnTo>
                    <a:lnTo>
                      <a:pt x="7446581" y="2342770"/>
                    </a:lnTo>
                    <a:lnTo>
                      <a:pt x="7448567" y="2344055"/>
                    </a:lnTo>
                    <a:lnTo>
                      <a:pt x="7449004" y="2345471"/>
                    </a:lnTo>
                    <a:lnTo>
                      <a:pt x="7446872" y="2346231"/>
                    </a:lnTo>
                    <a:lnTo>
                      <a:pt x="7447423" y="2347682"/>
                    </a:lnTo>
                    <a:lnTo>
                      <a:pt x="7465751" y="2349924"/>
                    </a:lnTo>
                    <a:lnTo>
                      <a:pt x="7474657" y="2353529"/>
                    </a:lnTo>
                    <a:lnTo>
                      <a:pt x="7481700" y="2363826"/>
                    </a:lnTo>
                    <a:lnTo>
                      <a:pt x="7481526" y="2364531"/>
                    </a:lnTo>
                    <a:lnTo>
                      <a:pt x="7480672" y="2364803"/>
                    </a:lnTo>
                    <a:lnTo>
                      <a:pt x="7479899" y="2365298"/>
                    </a:lnTo>
                    <a:lnTo>
                      <a:pt x="7479993" y="2366698"/>
                    </a:lnTo>
                    <a:lnTo>
                      <a:pt x="7480807" y="2367961"/>
                    </a:lnTo>
                    <a:lnTo>
                      <a:pt x="7482885" y="2369879"/>
                    </a:lnTo>
                    <a:lnTo>
                      <a:pt x="7483528" y="2371304"/>
                    </a:lnTo>
                    <a:lnTo>
                      <a:pt x="7483799" y="2374262"/>
                    </a:lnTo>
                    <a:lnTo>
                      <a:pt x="7483192" y="2375780"/>
                    </a:lnTo>
                    <a:lnTo>
                      <a:pt x="7480680" y="2378536"/>
                    </a:lnTo>
                    <a:lnTo>
                      <a:pt x="7479958" y="2381914"/>
                    </a:lnTo>
                    <a:lnTo>
                      <a:pt x="7481655" y="2384665"/>
                    </a:lnTo>
                    <a:lnTo>
                      <a:pt x="7485018" y="2386913"/>
                    </a:lnTo>
                    <a:lnTo>
                      <a:pt x="7489349" y="2388816"/>
                    </a:lnTo>
                    <a:lnTo>
                      <a:pt x="7485071" y="2388478"/>
                    </a:lnTo>
                    <a:lnTo>
                      <a:pt x="7468080" y="2380067"/>
                    </a:lnTo>
                    <a:lnTo>
                      <a:pt x="7458647" y="2377711"/>
                    </a:lnTo>
                    <a:lnTo>
                      <a:pt x="7455976" y="2377583"/>
                    </a:lnTo>
                    <a:lnTo>
                      <a:pt x="7453558" y="2377124"/>
                    </a:lnTo>
                    <a:lnTo>
                      <a:pt x="7444852" y="2373192"/>
                    </a:lnTo>
                    <a:lnTo>
                      <a:pt x="7444502" y="2374511"/>
                    </a:lnTo>
                    <a:lnTo>
                      <a:pt x="7448632" y="2378412"/>
                    </a:lnTo>
                    <a:lnTo>
                      <a:pt x="7453082" y="2381531"/>
                    </a:lnTo>
                    <a:lnTo>
                      <a:pt x="7457522" y="2383851"/>
                    </a:lnTo>
                    <a:lnTo>
                      <a:pt x="7461661" y="2385312"/>
                    </a:lnTo>
                    <a:lnTo>
                      <a:pt x="7469043" y="2385846"/>
                    </a:lnTo>
                    <a:lnTo>
                      <a:pt x="7471526" y="2386665"/>
                    </a:lnTo>
                    <a:lnTo>
                      <a:pt x="7476435" y="2390563"/>
                    </a:lnTo>
                    <a:lnTo>
                      <a:pt x="7478652" y="2391522"/>
                    </a:lnTo>
                    <a:lnTo>
                      <a:pt x="7480329" y="2389914"/>
                    </a:lnTo>
                    <a:lnTo>
                      <a:pt x="7481988" y="2393382"/>
                    </a:lnTo>
                    <a:lnTo>
                      <a:pt x="7484511" y="2394913"/>
                    </a:lnTo>
                    <a:lnTo>
                      <a:pt x="7490021" y="2395755"/>
                    </a:lnTo>
                    <a:lnTo>
                      <a:pt x="7488842" y="2397151"/>
                    </a:lnTo>
                    <a:lnTo>
                      <a:pt x="7485439" y="2398477"/>
                    </a:lnTo>
                    <a:lnTo>
                      <a:pt x="7483933" y="2399428"/>
                    </a:lnTo>
                    <a:lnTo>
                      <a:pt x="7482098" y="2401631"/>
                    </a:lnTo>
                    <a:lnTo>
                      <a:pt x="7481027" y="2402355"/>
                    </a:lnTo>
                    <a:lnTo>
                      <a:pt x="7456238" y="2405504"/>
                    </a:lnTo>
                    <a:lnTo>
                      <a:pt x="7448039" y="2404259"/>
                    </a:lnTo>
                    <a:lnTo>
                      <a:pt x="7421865" y="2393584"/>
                    </a:lnTo>
                    <a:lnTo>
                      <a:pt x="7417541" y="2392480"/>
                    </a:lnTo>
                    <a:lnTo>
                      <a:pt x="7413212" y="2392378"/>
                    </a:lnTo>
                    <a:lnTo>
                      <a:pt x="7411604" y="2391918"/>
                    </a:lnTo>
                    <a:lnTo>
                      <a:pt x="7408730" y="2389374"/>
                    </a:lnTo>
                    <a:lnTo>
                      <a:pt x="7380477" y="2383563"/>
                    </a:lnTo>
                    <a:lnTo>
                      <a:pt x="7356861" y="2374859"/>
                    </a:lnTo>
                    <a:lnTo>
                      <a:pt x="7353927" y="2374361"/>
                    </a:lnTo>
                    <a:lnTo>
                      <a:pt x="7350732" y="2374443"/>
                    </a:lnTo>
                    <a:lnTo>
                      <a:pt x="7351270" y="2375912"/>
                    </a:lnTo>
                    <a:lnTo>
                      <a:pt x="7358719" y="2377971"/>
                    </a:lnTo>
                    <a:lnTo>
                      <a:pt x="7362694" y="2380028"/>
                    </a:lnTo>
                    <a:lnTo>
                      <a:pt x="7365256" y="2383284"/>
                    </a:lnTo>
                    <a:lnTo>
                      <a:pt x="7368060" y="2385420"/>
                    </a:lnTo>
                    <a:lnTo>
                      <a:pt x="7394229" y="2390165"/>
                    </a:lnTo>
                    <a:lnTo>
                      <a:pt x="7398483" y="2392088"/>
                    </a:lnTo>
                    <a:lnTo>
                      <a:pt x="7400428" y="2392692"/>
                    </a:lnTo>
                    <a:lnTo>
                      <a:pt x="7404451" y="2393083"/>
                    </a:lnTo>
                    <a:lnTo>
                      <a:pt x="7409045" y="2395415"/>
                    </a:lnTo>
                    <a:lnTo>
                      <a:pt x="7409691" y="2395597"/>
                    </a:lnTo>
                    <a:lnTo>
                      <a:pt x="7410215" y="2396019"/>
                    </a:lnTo>
                    <a:lnTo>
                      <a:pt x="7410730" y="2398518"/>
                    </a:lnTo>
                    <a:lnTo>
                      <a:pt x="7411673" y="2399682"/>
                    </a:lnTo>
                    <a:lnTo>
                      <a:pt x="7413614" y="2400402"/>
                    </a:lnTo>
                    <a:lnTo>
                      <a:pt x="7427812" y="2402937"/>
                    </a:lnTo>
                    <a:lnTo>
                      <a:pt x="7429836" y="2403003"/>
                    </a:lnTo>
                    <a:lnTo>
                      <a:pt x="7432516" y="2404211"/>
                    </a:lnTo>
                    <a:lnTo>
                      <a:pt x="7440823" y="2410506"/>
                    </a:lnTo>
                    <a:lnTo>
                      <a:pt x="7442731" y="2412675"/>
                    </a:lnTo>
                    <a:lnTo>
                      <a:pt x="7442391" y="2414100"/>
                    </a:lnTo>
                    <a:lnTo>
                      <a:pt x="7439675" y="2415450"/>
                    </a:lnTo>
                    <a:lnTo>
                      <a:pt x="7438962" y="2417439"/>
                    </a:lnTo>
                    <a:lnTo>
                      <a:pt x="7439414" y="2419598"/>
                    </a:lnTo>
                    <a:lnTo>
                      <a:pt x="7440677" y="2419747"/>
                    </a:lnTo>
                    <a:lnTo>
                      <a:pt x="7443955" y="2418371"/>
                    </a:lnTo>
                    <a:lnTo>
                      <a:pt x="7450990" y="2417398"/>
                    </a:lnTo>
                    <a:lnTo>
                      <a:pt x="7454335" y="2417732"/>
                    </a:lnTo>
                    <a:lnTo>
                      <a:pt x="7458503" y="2419312"/>
                    </a:lnTo>
                    <a:lnTo>
                      <a:pt x="7459829" y="2420256"/>
                    </a:lnTo>
                    <a:lnTo>
                      <a:pt x="7460457" y="2420957"/>
                    </a:lnTo>
                    <a:lnTo>
                      <a:pt x="7461102" y="2421055"/>
                    </a:lnTo>
                    <a:lnTo>
                      <a:pt x="7462518" y="2420234"/>
                    </a:lnTo>
                    <a:lnTo>
                      <a:pt x="7464454" y="2416744"/>
                    </a:lnTo>
                    <a:lnTo>
                      <a:pt x="7465629" y="2415776"/>
                    </a:lnTo>
                    <a:lnTo>
                      <a:pt x="7471467" y="2414171"/>
                    </a:lnTo>
                    <a:lnTo>
                      <a:pt x="7473152" y="2413341"/>
                    </a:lnTo>
                    <a:lnTo>
                      <a:pt x="7474918" y="2410330"/>
                    </a:lnTo>
                    <a:lnTo>
                      <a:pt x="7475704" y="2409967"/>
                    </a:lnTo>
                    <a:lnTo>
                      <a:pt x="7477414" y="2409744"/>
                    </a:lnTo>
                    <a:lnTo>
                      <a:pt x="7478156" y="2409178"/>
                    </a:lnTo>
                    <a:lnTo>
                      <a:pt x="7479972" y="2408657"/>
                    </a:lnTo>
                    <a:lnTo>
                      <a:pt x="7482293" y="2409538"/>
                    </a:lnTo>
                    <a:lnTo>
                      <a:pt x="7484464" y="2410018"/>
                    </a:lnTo>
                    <a:lnTo>
                      <a:pt x="7486872" y="2406643"/>
                    </a:lnTo>
                    <a:lnTo>
                      <a:pt x="7488701" y="2405853"/>
                    </a:lnTo>
                    <a:lnTo>
                      <a:pt x="7492772" y="2405358"/>
                    </a:lnTo>
                    <a:lnTo>
                      <a:pt x="7496371" y="2406659"/>
                    </a:lnTo>
                    <a:lnTo>
                      <a:pt x="7499331" y="2410496"/>
                    </a:lnTo>
                    <a:lnTo>
                      <a:pt x="7502004" y="2415288"/>
                    </a:lnTo>
                    <a:lnTo>
                      <a:pt x="7504742" y="2419470"/>
                    </a:lnTo>
                    <a:lnTo>
                      <a:pt x="7505453" y="2422570"/>
                    </a:lnTo>
                    <a:lnTo>
                      <a:pt x="7507820" y="2426146"/>
                    </a:lnTo>
                    <a:lnTo>
                      <a:pt x="7515855" y="2435308"/>
                    </a:lnTo>
                    <a:lnTo>
                      <a:pt x="7517918" y="2438445"/>
                    </a:lnTo>
                    <a:lnTo>
                      <a:pt x="7519647" y="2441825"/>
                    </a:lnTo>
                    <a:lnTo>
                      <a:pt x="7521196" y="2445528"/>
                    </a:lnTo>
                    <a:lnTo>
                      <a:pt x="7522201" y="2449222"/>
                    </a:lnTo>
                    <a:lnTo>
                      <a:pt x="7523103" y="2451340"/>
                    </a:lnTo>
                    <a:lnTo>
                      <a:pt x="7524233" y="2452190"/>
                    </a:lnTo>
                    <a:lnTo>
                      <a:pt x="7524858" y="2452800"/>
                    </a:lnTo>
                    <a:lnTo>
                      <a:pt x="7528783" y="2455838"/>
                    </a:lnTo>
                    <a:lnTo>
                      <a:pt x="7528879" y="2458171"/>
                    </a:lnTo>
                    <a:lnTo>
                      <a:pt x="7523060" y="2456400"/>
                    </a:lnTo>
                    <a:lnTo>
                      <a:pt x="7521304" y="2458295"/>
                    </a:lnTo>
                    <a:lnTo>
                      <a:pt x="7526440" y="2461891"/>
                    </a:lnTo>
                    <a:lnTo>
                      <a:pt x="7523891" y="2463932"/>
                    </a:lnTo>
                    <a:lnTo>
                      <a:pt x="7519599" y="2465223"/>
                    </a:lnTo>
                    <a:lnTo>
                      <a:pt x="7503097" y="2466544"/>
                    </a:lnTo>
                    <a:lnTo>
                      <a:pt x="7498957" y="2465788"/>
                    </a:lnTo>
                    <a:lnTo>
                      <a:pt x="7478390" y="2457432"/>
                    </a:lnTo>
                    <a:lnTo>
                      <a:pt x="7455413" y="2446693"/>
                    </a:lnTo>
                    <a:lnTo>
                      <a:pt x="7433798" y="2439187"/>
                    </a:lnTo>
                    <a:lnTo>
                      <a:pt x="7425557" y="2437232"/>
                    </a:lnTo>
                    <a:lnTo>
                      <a:pt x="7418271" y="2433259"/>
                    </a:lnTo>
                    <a:lnTo>
                      <a:pt x="7416779" y="2432676"/>
                    </a:lnTo>
                    <a:lnTo>
                      <a:pt x="7413707" y="2431995"/>
                    </a:lnTo>
                    <a:lnTo>
                      <a:pt x="7406094" y="2427677"/>
                    </a:lnTo>
                    <a:lnTo>
                      <a:pt x="7383768" y="2419297"/>
                    </a:lnTo>
                    <a:lnTo>
                      <a:pt x="7377507" y="2419086"/>
                    </a:lnTo>
                    <a:lnTo>
                      <a:pt x="7379153" y="2420994"/>
                    </a:lnTo>
                    <a:lnTo>
                      <a:pt x="7381213" y="2422854"/>
                    </a:lnTo>
                    <a:lnTo>
                      <a:pt x="7383398" y="2424383"/>
                    </a:lnTo>
                    <a:lnTo>
                      <a:pt x="7385391" y="2425283"/>
                    </a:lnTo>
                    <a:lnTo>
                      <a:pt x="7387857" y="2425295"/>
                    </a:lnTo>
                    <a:lnTo>
                      <a:pt x="7390000" y="2424828"/>
                    </a:lnTo>
                    <a:lnTo>
                      <a:pt x="7392007" y="2425360"/>
                    </a:lnTo>
                    <a:lnTo>
                      <a:pt x="7394025" y="2428350"/>
                    </a:lnTo>
                    <a:lnTo>
                      <a:pt x="7392964" y="2429934"/>
                    </a:lnTo>
                    <a:lnTo>
                      <a:pt x="7394111" y="2431416"/>
                    </a:lnTo>
                    <a:lnTo>
                      <a:pt x="7396287" y="2432988"/>
                    </a:lnTo>
                    <a:lnTo>
                      <a:pt x="7398284" y="2434848"/>
                    </a:lnTo>
                    <a:lnTo>
                      <a:pt x="7390814" y="2436788"/>
                    </a:lnTo>
                    <a:lnTo>
                      <a:pt x="7387883" y="2439222"/>
                    </a:lnTo>
                    <a:lnTo>
                      <a:pt x="7387132" y="2443135"/>
                    </a:lnTo>
                    <a:lnTo>
                      <a:pt x="7395940" y="2440108"/>
                    </a:lnTo>
                    <a:lnTo>
                      <a:pt x="7399342" y="2440311"/>
                    </a:lnTo>
                    <a:lnTo>
                      <a:pt x="7410268" y="2445262"/>
                    </a:lnTo>
                    <a:lnTo>
                      <a:pt x="7413611" y="2445772"/>
                    </a:lnTo>
                    <a:lnTo>
                      <a:pt x="7416297" y="2446767"/>
                    </a:lnTo>
                    <a:lnTo>
                      <a:pt x="7419954" y="2449232"/>
                    </a:lnTo>
                    <a:lnTo>
                      <a:pt x="7422849" y="2451771"/>
                    </a:lnTo>
                    <a:lnTo>
                      <a:pt x="7423336" y="2453033"/>
                    </a:lnTo>
                    <a:lnTo>
                      <a:pt x="7416402" y="2453154"/>
                    </a:lnTo>
                    <a:lnTo>
                      <a:pt x="7413773" y="2454556"/>
                    </a:lnTo>
                    <a:lnTo>
                      <a:pt x="7413477" y="2458378"/>
                    </a:lnTo>
                    <a:lnTo>
                      <a:pt x="7417975" y="2455582"/>
                    </a:lnTo>
                    <a:lnTo>
                      <a:pt x="7420564" y="2454994"/>
                    </a:lnTo>
                    <a:lnTo>
                      <a:pt x="7423605" y="2456490"/>
                    </a:lnTo>
                    <a:lnTo>
                      <a:pt x="7425764" y="2458365"/>
                    </a:lnTo>
                    <a:lnTo>
                      <a:pt x="7427772" y="2460533"/>
                    </a:lnTo>
                    <a:lnTo>
                      <a:pt x="7428262" y="2462538"/>
                    </a:lnTo>
                    <a:lnTo>
                      <a:pt x="7425876" y="2463936"/>
                    </a:lnTo>
                    <a:lnTo>
                      <a:pt x="7426369" y="2465281"/>
                    </a:lnTo>
                    <a:lnTo>
                      <a:pt x="7428885" y="2465586"/>
                    </a:lnTo>
                    <a:lnTo>
                      <a:pt x="7430966" y="2467279"/>
                    </a:lnTo>
                    <a:lnTo>
                      <a:pt x="7432724" y="2470062"/>
                    </a:lnTo>
                    <a:lnTo>
                      <a:pt x="7434215" y="2473594"/>
                    </a:lnTo>
                    <a:lnTo>
                      <a:pt x="7433836" y="2476177"/>
                    </a:lnTo>
                    <a:lnTo>
                      <a:pt x="7431234" y="2477459"/>
                    </a:lnTo>
                    <a:lnTo>
                      <a:pt x="7425491" y="2478124"/>
                    </a:lnTo>
                    <a:lnTo>
                      <a:pt x="7430500" y="2481728"/>
                    </a:lnTo>
                    <a:lnTo>
                      <a:pt x="7430585" y="2483623"/>
                    </a:lnTo>
                    <a:lnTo>
                      <a:pt x="7429691" y="2484262"/>
                    </a:lnTo>
                    <a:lnTo>
                      <a:pt x="7428514" y="2484583"/>
                    </a:lnTo>
                    <a:lnTo>
                      <a:pt x="7427710" y="2485495"/>
                    </a:lnTo>
                    <a:lnTo>
                      <a:pt x="7426735" y="2485601"/>
                    </a:lnTo>
                    <a:lnTo>
                      <a:pt x="7424833" y="2485214"/>
                    </a:lnTo>
                    <a:lnTo>
                      <a:pt x="7423127" y="2485120"/>
                    </a:lnTo>
                    <a:lnTo>
                      <a:pt x="7422721" y="2486077"/>
                    </a:lnTo>
                    <a:lnTo>
                      <a:pt x="7423552" y="2487768"/>
                    </a:lnTo>
                    <a:lnTo>
                      <a:pt x="7424593" y="2489049"/>
                    </a:lnTo>
                    <a:lnTo>
                      <a:pt x="7425791" y="2489961"/>
                    </a:lnTo>
                    <a:lnTo>
                      <a:pt x="7427101" y="2490526"/>
                    </a:lnTo>
                    <a:lnTo>
                      <a:pt x="7425654" y="2490636"/>
                    </a:lnTo>
                    <a:lnTo>
                      <a:pt x="7423932" y="2491088"/>
                    </a:lnTo>
                    <a:lnTo>
                      <a:pt x="7422626" y="2491942"/>
                    </a:lnTo>
                    <a:lnTo>
                      <a:pt x="7422162" y="2495326"/>
                    </a:lnTo>
                    <a:lnTo>
                      <a:pt x="7419985" y="2495680"/>
                    </a:lnTo>
                    <a:lnTo>
                      <a:pt x="7403153" y="2493600"/>
                    </a:lnTo>
                    <a:lnTo>
                      <a:pt x="7399328" y="2492365"/>
                    </a:lnTo>
                    <a:lnTo>
                      <a:pt x="7398868" y="2488288"/>
                    </a:lnTo>
                    <a:lnTo>
                      <a:pt x="7396364" y="2486417"/>
                    </a:lnTo>
                    <a:lnTo>
                      <a:pt x="7389996" y="2485050"/>
                    </a:lnTo>
                    <a:lnTo>
                      <a:pt x="7383740" y="2482301"/>
                    </a:lnTo>
                    <a:lnTo>
                      <a:pt x="7381113" y="2480627"/>
                    </a:lnTo>
                    <a:lnTo>
                      <a:pt x="7380409" y="2479158"/>
                    </a:lnTo>
                    <a:lnTo>
                      <a:pt x="7377966" y="2476562"/>
                    </a:lnTo>
                    <a:lnTo>
                      <a:pt x="7374857" y="2474119"/>
                    </a:lnTo>
                    <a:lnTo>
                      <a:pt x="7368744" y="2470571"/>
                    </a:lnTo>
                    <a:lnTo>
                      <a:pt x="7372263" y="2468882"/>
                    </a:lnTo>
                    <a:lnTo>
                      <a:pt x="7377556" y="2469873"/>
                    </a:lnTo>
                    <a:lnTo>
                      <a:pt x="7387014" y="2474192"/>
                    </a:lnTo>
                    <a:lnTo>
                      <a:pt x="7396209" y="2480295"/>
                    </a:lnTo>
                    <a:lnTo>
                      <a:pt x="7401100" y="2482823"/>
                    </a:lnTo>
                    <a:lnTo>
                      <a:pt x="7405478" y="2483259"/>
                    </a:lnTo>
                    <a:lnTo>
                      <a:pt x="7400489" y="2477580"/>
                    </a:lnTo>
                    <a:lnTo>
                      <a:pt x="7394123" y="2473620"/>
                    </a:lnTo>
                    <a:lnTo>
                      <a:pt x="7360995" y="2459377"/>
                    </a:lnTo>
                    <a:lnTo>
                      <a:pt x="7354281" y="2453915"/>
                    </a:lnTo>
                    <a:lnTo>
                      <a:pt x="7355686" y="2452896"/>
                    </a:lnTo>
                    <a:lnTo>
                      <a:pt x="7357325" y="2452359"/>
                    </a:lnTo>
                    <a:lnTo>
                      <a:pt x="7361070" y="2451878"/>
                    </a:lnTo>
                    <a:lnTo>
                      <a:pt x="7361256" y="2454356"/>
                    </a:lnTo>
                    <a:lnTo>
                      <a:pt x="7362548" y="2455699"/>
                    </a:lnTo>
                    <a:lnTo>
                      <a:pt x="7364379" y="2456021"/>
                    </a:lnTo>
                    <a:lnTo>
                      <a:pt x="7366221" y="2455484"/>
                    </a:lnTo>
                    <a:lnTo>
                      <a:pt x="7364513" y="2452705"/>
                    </a:lnTo>
                    <a:lnTo>
                      <a:pt x="7365552" y="2451411"/>
                    </a:lnTo>
                    <a:lnTo>
                      <a:pt x="7370183" y="2450826"/>
                    </a:lnTo>
                    <a:lnTo>
                      <a:pt x="7369654" y="2449363"/>
                    </a:lnTo>
                    <a:lnTo>
                      <a:pt x="7366999" y="2449245"/>
                    </a:lnTo>
                    <a:lnTo>
                      <a:pt x="7361531" y="2447984"/>
                    </a:lnTo>
                    <a:lnTo>
                      <a:pt x="7359616" y="2447846"/>
                    </a:lnTo>
                    <a:lnTo>
                      <a:pt x="7355882" y="2449375"/>
                    </a:lnTo>
                    <a:lnTo>
                      <a:pt x="7354855" y="2449094"/>
                    </a:lnTo>
                    <a:lnTo>
                      <a:pt x="7353128" y="2447535"/>
                    </a:lnTo>
                    <a:lnTo>
                      <a:pt x="7351204" y="2446140"/>
                    </a:lnTo>
                    <a:lnTo>
                      <a:pt x="7349956" y="2445983"/>
                    </a:lnTo>
                    <a:lnTo>
                      <a:pt x="7350243" y="2448174"/>
                    </a:lnTo>
                    <a:lnTo>
                      <a:pt x="7350164" y="2451190"/>
                    </a:lnTo>
                    <a:lnTo>
                      <a:pt x="7347770" y="2451730"/>
                    </a:lnTo>
                    <a:lnTo>
                      <a:pt x="7344686" y="2450352"/>
                    </a:lnTo>
                    <a:lnTo>
                      <a:pt x="7342523" y="2447601"/>
                    </a:lnTo>
                    <a:lnTo>
                      <a:pt x="7342448" y="2444995"/>
                    </a:lnTo>
                    <a:lnTo>
                      <a:pt x="7343577" y="2442351"/>
                    </a:lnTo>
                    <a:lnTo>
                      <a:pt x="7345304" y="2440288"/>
                    </a:lnTo>
                    <a:lnTo>
                      <a:pt x="7347081" y="2439385"/>
                    </a:lnTo>
                    <a:lnTo>
                      <a:pt x="7346643" y="2438168"/>
                    </a:lnTo>
                    <a:lnTo>
                      <a:pt x="7326665" y="2428238"/>
                    </a:lnTo>
                    <a:lnTo>
                      <a:pt x="7322993" y="2424914"/>
                    </a:lnTo>
                    <a:lnTo>
                      <a:pt x="7321837" y="2421319"/>
                    </a:lnTo>
                    <a:lnTo>
                      <a:pt x="7319513" y="2420070"/>
                    </a:lnTo>
                    <a:lnTo>
                      <a:pt x="7317751" y="2423566"/>
                    </a:lnTo>
                    <a:lnTo>
                      <a:pt x="7315578" y="2423972"/>
                    </a:lnTo>
                    <a:lnTo>
                      <a:pt x="7312818" y="2422232"/>
                    </a:lnTo>
                    <a:lnTo>
                      <a:pt x="7309350" y="2419266"/>
                    </a:lnTo>
                    <a:lnTo>
                      <a:pt x="7307740" y="2418426"/>
                    </a:lnTo>
                    <a:lnTo>
                      <a:pt x="7304015" y="2417079"/>
                    </a:lnTo>
                    <a:lnTo>
                      <a:pt x="7302920" y="2415807"/>
                    </a:lnTo>
                    <a:lnTo>
                      <a:pt x="7301560" y="2413542"/>
                    </a:lnTo>
                    <a:lnTo>
                      <a:pt x="7299806" y="2412519"/>
                    </a:lnTo>
                    <a:lnTo>
                      <a:pt x="7297940" y="2412466"/>
                    </a:lnTo>
                    <a:lnTo>
                      <a:pt x="7296250" y="2413073"/>
                    </a:lnTo>
                    <a:lnTo>
                      <a:pt x="7296395" y="2416747"/>
                    </a:lnTo>
                    <a:lnTo>
                      <a:pt x="7295807" y="2418011"/>
                    </a:lnTo>
                    <a:lnTo>
                      <a:pt x="7293691" y="2416157"/>
                    </a:lnTo>
                    <a:lnTo>
                      <a:pt x="7292945" y="2414345"/>
                    </a:lnTo>
                    <a:lnTo>
                      <a:pt x="7293074" y="2410358"/>
                    </a:lnTo>
                    <a:lnTo>
                      <a:pt x="7292344" y="2404065"/>
                    </a:lnTo>
                    <a:lnTo>
                      <a:pt x="7295200" y="2398030"/>
                    </a:lnTo>
                    <a:lnTo>
                      <a:pt x="7295448" y="2394910"/>
                    </a:lnTo>
                    <a:lnTo>
                      <a:pt x="7294598" y="2393610"/>
                    </a:lnTo>
                    <a:lnTo>
                      <a:pt x="7291441" y="2390480"/>
                    </a:lnTo>
                    <a:lnTo>
                      <a:pt x="7290229" y="2388399"/>
                    </a:lnTo>
                    <a:lnTo>
                      <a:pt x="7290029" y="2385929"/>
                    </a:lnTo>
                    <a:lnTo>
                      <a:pt x="7290979" y="2384300"/>
                    </a:lnTo>
                    <a:lnTo>
                      <a:pt x="7292276" y="2383080"/>
                    </a:lnTo>
                    <a:lnTo>
                      <a:pt x="7293106" y="2381864"/>
                    </a:lnTo>
                    <a:lnTo>
                      <a:pt x="7295522" y="2381271"/>
                    </a:lnTo>
                    <a:lnTo>
                      <a:pt x="7300181" y="2383564"/>
                    </a:lnTo>
                    <a:lnTo>
                      <a:pt x="7321819" y="2397278"/>
                    </a:lnTo>
                    <a:lnTo>
                      <a:pt x="7339069" y="2405924"/>
                    </a:lnTo>
                    <a:lnTo>
                      <a:pt x="7340937" y="2406325"/>
                    </a:lnTo>
                    <a:lnTo>
                      <a:pt x="7342693" y="2406230"/>
                    </a:lnTo>
                    <a:lnTo>
                      <a:pt x="7338048" y="2402398"/>
                    </a:lnTo>
                    <a:lnTo>
                      <a:pt x="7323765" y="2395957"/>
                    </a:lnTo>
                    <a:lnTo>
                      <a:pt x="7309394" y="2385184"/>
                    </a:lnTo>
                    <a:lnTo>
                      <a:pt x="7306957" y="2383835"/>
                    </a:lnTo>
                    <a:lnTo>
                      <a:pt x="7304492" y="2382938"/>
                    </a:lnTo>
                    <a:lnTo>
                      <a:pt x="7296424" y="2378093"/>
                    </a:lnTo>
                    <a:lnTo>
                      <a:pt x="7290654" y="2372888"/>
                    </a:lnTo>
                    <a:lnTo>
                      <a:pt x="7276772" y="2366182"/>
                    </a:lnTo>
                    <a:lnTo>
                      <a:pt x="7272111" y="2361208"/>
                    </a:lnTo>
                    <a:lnTo>
                      <a:pt x="7271879" y="2358055"/>
                    </a:lnTo>
                    <a:lnTo>
                      <a:pt x="7273547" y="2355523"/>
                    </a:lnTo>
                    <a:lnTo>
                      <a:pt x="7276367" y="2353889"/>
                    </a:lnTo>
                    <a:lnTo>
                      <a:pt x="7279526" y="2353387"/>
                    </a:lnTo>
                    <a:lnTo>
                      <a:pt x="7282757" y="2354187"/>
                    </a:lnTo>
                    <a:lnTo>
                      <a:pt x="7289215" y="2357534"/>
                    </a:lnTo>
                    <a:lnTo>
                      <a:pt x="7292817" y="2358840"/>
                    </a:lnTo>
                    <a:lnTo>
                      <a:pt x="7290846" y="2356798"/>
                    </a:lnTo>
                    <a:lnTo>
                      <a:pt x="7288724" y="2355422"/>
                    </a:lnTo>
                    <a:lnTo>
                      <a:pt x="7287261" y="2353820"/>
                    </a:lnTo>
                    <a:lnTo>
                      <a:pt x="7287234" y="2351107"/>
                    </a:lnTo>
                    <a:lnTo>
                      <a:pt x="7279870" y="2345534"/>
                    </a:lnTo>
                    <a:lnTo>
                      <a:pt x="7276499" y="2342432"/>
                    </a:lnTo>
                    <a:lnTo>
                      <a:pt x="7273962" y="2337941"/>
                    </a:lnTo>
                    <a:lnTo>
                      <a:pt x="7281398" y="2337719"/>
                    </a:lnTo>
                    <a:lnTo>
                      <a:pt x="7284719" y="2336490"/>
                    </a:lnTo>
                    <a:lnTo>
                      <a:pt x="7286244" y="2337128"/>
                    </a:lnTo>
                    <a:lnTo>
                      <a:pt x="7287945" y="2340453"/>
                    </a:lnTo>
                    <a:lnTo>
                      <a:pt x="7289171" y="2342189"/>
                    </a:lnTo>
                    <a:lnTo>
                      <a:pt x="7292990" y="2345537"/>
                    </a:lnTo>
                    <a:lnTo>
                      <a:pt x="7294499" y="2348054"/>
                    </a:lnTo>
                    <a:lnTo>
                      <a:pt x="7296072" y="2349817"/>
                    </a:lnTo>
                    <a:lnTo>
                      <a:pt x="7301311" y="2352271"/>
                    </a:lnTo>
                    <a:lnTo>
                      <a:pt x="7303534" y="2354814"/>
                    </a:lnTo>
                    <a:lnTo>
                      <a:pt x="7303506" y="2355408"/>
                    </a:lnTo>
                    <a:lnTo>
                      <a:pt x="7303854" y="2361268"/>
                    </a:lnTo>
                    <a:lnTo>
                      <a:pt x="7304777" y="2362209"/>
                    </a:lnTo>
                    <a:lnTo>
                      <a:pt x="7309628" y="2365032"/>
                    </a:lnTo>
                    <a:lnTo>
                      <a:pt x="7318672" y="2365733"/>
                    </a:lnTo>
                    <a:lnTo>
                      <a:pt x="7311112" y="2362011"/>
                    </a:lnTo>
                    <a:lnTo>
                      <a:pt x="7308810" y="2360481"/>
                    </a:lnTo>
                    <a:lnTo>
                      <a:pt x="7307261" y="2358182"/>
                    </a:lnTo>
                    <a:lnTo>
                      <a:pt x="7305948" y="2354835"/>
                    </a:lnTo>
                    <a:lnTo>
                      <a:pt x="7305141" y="2351787"/>
                    </a:lnTo>
                    <a:lnTo>
                      <a:pt x="7305167" y="2350438"/>
                    </a:lnTo>
                    <a:lnTo>
                      <a:pt x="7303446" y="2349440"/>
                    </a:lnTo>
                    <a:lnTo>
                      <a:pt x="7301488" y="2346849"/>
                    </a:lnTo>
                    <a:lnTo>
                      <a:pt x="7299921" y="2343757"/>
                    </a:lnTo>
                    <a:lnTo>
                      <a:pt x="7299369" y="2341229"/>
                    </a:lnTo>
                    <a:lnTo>
                      <a:pt x="7300548" y="2339630"/>
                    </a:lnTo>
                    <a:lnTo>
                      <a:pt x="7302643" y="2338391"/>
                    </a:lnTo>
                    <a:lnTo>
                      <a:pt x="7303934" y="2337078"/>
                    </a:lnTo>
                    <a:lnTo>
                      <a:pt x="7302768" y="2335253"/>
                    </a:lnTo>
                    <a:lnTo>
                      <a:pt x="7302320" y="2334025"/>
                    </a:lnTo>
                    <a:lnTo>
                      <a:pt x="7306809" y="2333795"/>
                    </a:lnTo>
                    <a:lnTo>
                      <a:pt x="7311710" y="2335312"/>
                    </a:lnTo>
                    <a:lnTo>
                      <a:pt x="7326413" y="2342544"/>
                    </a:lnTo>
                    <a:lnTo>
                      <a:pt x="7328887" y="2342994"/>
                    </a:lnTo>
                    <a:lnTo>
                      <a:pt x="7329282" y="2341294"/>
                    </a:lnTo>
                    <a:lnTo>
                      <a:pt x="7327276" y="2336457"/>
                    </a:lnTo>
                    <a:lnTo>
                      <a:pt x="7327227" y="2334966"/>
                    </a:lnTo>
                    <a:lnTo>
                      <a:pt x="7327849" y="2332333"/>
                    </a:lnTo>
                    <a:lnTo>
                      <a:pt x="7329543" y="2329042"/>
                    </a:lnTo>
                    <a:lnTo>
                      <a:pt x="7340704" y="2319059"/>
                    </a:lnTo>
                    <a:close/>
                    <a:moveTo>
                      <a:pt x="7307403" y="2313927"/>
                    </a:moveTo>
                    <a:lnTo>
                      <a:pt x="7311326" y="2318294"/>
                    </a:lnTo>
                    <a:lnTo>
                      <a:pt x="7309102" y="2324104"/>
                    </a:lnTo>
                    <a:lnTo>
                      <a:pt x="7302997" y="2326702"/>
                    </a:lnTo>
                    <a:lnTo>
                      <a:pt x="7299191" y="2325805"/>
                    </a:lnTo>
                    <a:lnTo>
                      <a:pt x="7296947" y="2321927"/>
                    </a:lnTo>
                    <a:lnTo>
                      <a:pt x="7300436" y="2317838"/>
                    </a:lnTo>
                    <a:close/>
                    <a:moveTo>
                      <a:pt x="5208954" y="2309493"/>
                    </a:moveTo>
                    <a:lnTo>
                      <a:pt x="5211706" y="2309606"/>
                    </a:lnTo>
                    <a:lnTo>
                      <a:pt x="5214309" y="2311787"/>
                    </a:lnTo>
                    <a:lnTo>
                      <a:pt x="5217857" y="2312119"/>
                    </a:lnTo>
                    <a:lnTo>
                      <a:pt x="5217703" y="2314444"/>
                    </a:lnTo>
                    <a:lnTo>
                      <a:pt x="5215766" y="2315640"/>
                    </a:lnTo>
                    <a:lnTo>
                      <a:pt x="5213639" y="2315376"/>
                    </a:lnTo>
                    <a:lnTo>
                      <a:pt x="5210843" y="2315863"/>
                    </a:lnTo>
                    <a:lnTo>
                      <a:pt x="5208838" y="2314383"/>
                    </a:lnTo>
                    <a:lnTo>
                      <a:pt x="5207425" y="2311280"/>
                    </a:lnTo>
                    <a:close/>
                    <a:moveTo>
                      <a:pt x="5240934" y="2306886"/>
                    </a:moveTo>
                    <a:lnTo>
                      <a:pt x="5243222" y="2307147"/>
                    </a:lnTo>
                    <a:lnTo>
                      <a:pt x="5245172" y="2307301"/>
                    </a:lnTo>
                    <a:lnTo>
                      <a:pt x="5244750" y="2308909"/>
                    </a:lnTo>
                    <a:lnTo>
                      <a:pt x="5246293" y="2310792"/>
                    </a:lnTo>
                    <a:lnTo>
                      <a:pt x="5245122" y="2312803"/>
                    </a:lnTo>
                    <a:lnTo>
                      <a:pt x="5242356" y="2312564"/>
                    </a:lnTo>
                    <a:lnTo>
                      <a:pt x="5239229" y="2310875"/>
                    </a:lnTo>
                    <a:lnTo>
                      <a:pt x="5235431" y="2308975"/>
                    </a:lnTo>
                    <a:lnTo>
                      <a:pt x="5236317" y="2307224"/>
                    </a:lnTo>
                    <a:close/>
                    <a:moveTo>
                      <a:pt x="5193750" y="2302183"/>
                    </a:moveTo>
                    <a:lnTo>
                      <a:pt x="5197845" y="2305497"/>
                    </a:lnTo>
                    <a:lnTo>
                      <a:pt x="5196582" y="2308321"/>
                    </a:lnTo>
                    <a:lnTo>
                      <a:pt x="5189506" y="2307412"/>
                    </a:lnTo>
                    <a:lnTo>
                      <a:pt x="5184247" y="2307671"/>
                    </a:lnTo>
                    <a:lnTo>
                      <a:pt x="5184561" y="2305145"/>
                    </a:lnTo>
                    <a:lnTo>
                      <a:pt x="5188332" y="2303704"/>
                    </a:lnTo>
                    <a:close/>
                    <a:moveTo>
                      <a:pt x="7365279" y="2295949"/>
                    </a:moveTo>
                    <a:lnTo>
                      <a:pt x="7371403" y="2303053"/>
                    </a:lnTo>
                    <a:lnTo>
                      <a:pt x="7365578" y="2305196"/>
                    </a:lnTo>
                    <a:lnTo>
                      <a:pt x="7355170" y="2305791"/>
                    </a:lnTo>
                    <a:lnTo>
                      <a:pt x="7347842" y="2303544"/>
                    </a:lnTo>
                    <a:lnTo>
                      <a:pt x="7346624" y="2298716"/>
                    </a:lnTo>
                    <a:lnTo>
                      <a:pt x="7353639" y="2295977"/>
                    </a:lnTo>
                    <a:close/>
                    <a:moveTo>
                      <a:pt x="7497605" y="2285618"/>
                    </a:moveTo>
                    <a:lnTo>
                      <a:pt x="7508988" y="2286462"/>
                    </a:lnTo>
                    <a:lnTo>
                      <a:pt x="7514995" y="2289474"/>
                    </a:lnTo>
                    <a:lnTo>
                      <a:pt x="7526766" y="2296977"/>
                    </a:lnTo>
                    <a:lnTo>
                      <a:pt x="7543866" y="2305244"/>
                    </a:lnTo>
                    <a:lnTo>
                      <a:pt x="7548463" y="2309673"/>
                    </a:lnTo>
                    <a:lnTo>
                      <a:pt x="7518730" y="2307350"/>
                    </a:lnTo>
                    <a:lnTo>
                      <a:pt x="7513503" y="2308573"/>
                    </a:lnTo>
                    <a:lnTo>
                      <a:pt x="7510427" y="2308741"/>
                    </a:lnTo>
                    <a:lnTo>
                      <a:pt x="7504092" y="2307360"/>
                    </a:lnTo>
                    <a:lnTo>
                      <a:pt x="7501402" y="2307169"/>
                    </a:lnTo>
                    <a:lnTo>
                      <a:pt x="7497698" y="2305751"/>
                    </a:lnTo>
                    <a:lnTo>
                      <a:pt x="7492148" y="2302067"/>
                    </a:lnTo>
                    <a:lnTo>
                      <a:pt x="7487185" y="2297740"/>
                    </a:lnTo>
                    <a:lnTo>
                      <a:pt x="7485226" y="2294403"/>
                    </a:lnTo>
                    <a:lnTo>
                      <a:pt x="7486639" y="2292097"/>
                    </a:lnTo>
                    <a:lnTo>
                      <a:pt x="7491767" y="2290724"/>
                    </a:lnTo>
                    <a:lnTo>
                      <a:pt x="7493462" y="2289167"/>
                    </a:lnTo>
                    <a:lnTo>
                      <a:pt x="7495165" y="2286658"/>
                    </a:lnTo>
                    <a:close/>
                    <a:moveTo>
                      <a:pt x="7442789" y="2279107"/>
                    </a:moveTo>
                    <a:lnTo>
                      <a:pt x="7444732" y="2279702"/>
                    </a:lnTo>
                    <a:lnTo>
                      <a:pt x="7446738" y="2281390"/>
                    </a:lnTo>
                    <a:lnTo>
                      <a:pt x="7448118" y="2283529"/>
                    </a:lnTo>
                    <a:lnTo>
                      <a:pt x="7449666" y="2285632"/>
                    </a:lnTo>
                    <a:lnTo>
                      <a:pt x="7451521" y="2285820"/>
                    </a:lnTo>
                    <a:lnTo>
                      <a:pt x="7453536" y="2285512"/>
                    </a:lnTo>
                    <a:lnTo>
                      <a:pt x="7455586" y="2286111"/>
                    </a:lnTo>
                    <a:lnTo>
                      <a:pt x="7458795" y="2288309"/>
                    </a:lnTo>
                    <a:lnTo>
                      <a:pt x="7462863" y="2290016"/>
                    </a:lnTo>
                    <a:lnTo>
                      <a:pt x="7466832" y="2292303"/>
                    </a:lnTo>
                    <a:lnTo>
                      <a:pt x="7469716" y="2296328"/>
                    </a:lnTo>
                    <a:lnTo>
                      <a:pt x="7470985" y="2298349"/>
                    </a:lnTo>
                    <a:lnTo>
                      <a:pt x="7472562" y="2299489"/>
                    </a:lnTo>
                    <a:lnTo>
                      <a:pt x="7474237" y="2300274"/>
                    </a:lnTo>
                    <a:lnTo>
                      <a:pt x="7475785" y="2301235"/>
                    </a:lnTo>
                    <a:lnTo>
                      <a:pt x="7482574" y="2307982"/>
                    </a:lnTo>
                    <a:lnTo>
                      <a:pt x="7484755" y="2309665"/>
                    </a:lnTo>
                    <a:lnTo>
                      <a:pt x="7486277" y="2310596"/>
                    </a:lnTo>
                    <a:lnTo>
                      <a:pt x="7487694" y="2311781"/>
                    </a:lnTo>
                    <a:lnTo>
                      <a:pt x="7489635" y="2314238"/>
                    </a:lnTo>
                    <a:lnTo>
                      <a:pt x="7493379" y="2321148"/>
                    </a:lnTo>
                    <a:lnTo>
                      <a:pt x="7494189" y="2322200"/>
                    </a:lnTo>
                    <a:lnTo>
                      <a:pt x="7505550" y="2320246"/>
                    </a:lnTo>
                    <a:lnTo>
                      <a:pt x="7510526" y="2318062"/>
                    </a:lnTo>
                    <a:lnTo>
                      <a:pt x="7511020" y="2317591"/>
                    </a:lnTo>
                    <a:lnTo>
                      <a:pt x="7511598" y="2317285"/>
                    </a:lnTo>
                    <a:lnTo>
                      <a:pt x="7521558" y="2315989"/>
                    </a:lnTo>
                    <a:lnTo>
                      <a:pt x="7525766" y="2316414"/>
                    </a:lnTo>
                    <a:lnTo>
                      <a:pt x="7534453" y="2319855"/>
                    </a:lnTo>
                    <a:lnTo>
                      <a:pt x="7538831" y="2320835"/>
                    </a:lnTo>
                    <a:lnTo>
                      <a:pt x="7542678" y="2320300"/>
                    </a:lnTo>
                    <a:lnTo>
                      <a:pt x="7559952" y="2313948"/>
                    </a:lnTo>
                    <a:lnTo>
                      <a:pt x="7561548" y="2314749"/>
                    </a:lnTo>
                    <a:lnTo>
                      <a:pt x="7563722" y="2316833"/>
                    </a:lnTo>
                    <a:lnTo>
                      <a:pt x="7565590" y="2319384"/>
                    </a:lnTo>
                    <a:lnTo>
                      <a:pt x="7566264" y="2321583"/>
                    </a:lnTo>
                    <a:lnTo>
                      <a:pt x="7565556" y="2322485"/>
                    </a:lnTo>
                    <a:lnTo>
                      <a:pt x="7564130" y="2322608"/>
                    </a:lnTo>
                    <a:lnTo>
                      <a:pt x="7560869" y="2322268"/>
                    </a:lnTo>
                    <a:lnTo>
                      <a:pt x="7563491" y="2324346"/>
                    </a:lnTo>
                    <a:lnTo>
                      <a:pt x="7566076" y="2325826"/>
                    </a:lnTo>
                    <a:lnTo>
                      <a:pt x="7569172" y="2331420"/>
                    </a:lnTo>
                    <a:lnTo>
                      <a:pt x="7583455" y="2340251"/>
                    </a:lnTo>
                    <a:lnTo>
                      <a:pt x="7586150" y="2345748"/>
                    </a:lnTo>
                    <a:lnTo>
                      <a:pt x="7596198" y="2351441"/>
                    </a:lnTo>
                    <a:lnTo>
                      <a:pt x="7601623" y="2355796"/>
                    </a:lnTo>
                    <a:lnTo>
                      <a:pt x="7609361" y="2367487"/>
                    </a:lnTo>
                    <a:lnTo>
                      <a:pt x="7615494" y="2373515"/>
                    </a:lnTo>
                    <a:lnTo>
                      <a:pt x="7622059" y="2378440"/>
                    </a:lnTo>
                    <a:lnTo>
                      <a:pt x="7627431" y="2381555"/>
                    </a:lnTo>
                    <a:lnTo>
                      <a:pt x="7627560" y="2383376"/>
                    </a:lnTo>
                    <a:lnTo>
                      <a:pt x="7628040" y="2385379"/>
                    </a:lnTo>
                    <a:lnTo>
                      <a:pt x="7628780" y="2387450"/>
                    </a:lnTo>
                    <a:lnTo>
                      <a:pt x="7629755" y="2389584"/>
                    </a:lnTo>
                    <a:lnTo>
                      <a:pt x="7631068" y="2391790"/>
                    </a:lnTo>
                    <a:lnTo>
                      <a:pt x="7633484" y="2394898"/>
                    </a:lnTo>
                    <a:lnTo>
                      <a:pt x="7634504" y="2396841"/>
                    </a:lnTo>
                    <a:lnTo>
                      <a:pt x="7636820" y="2402060"/>
                    </a:lnTo>
                    <a:lnTo>
                      <a:pt x="7639175" y="2405757"/>
                    </a:lnTo>
                    <a:lnTo>
                      <a:pt x="7642054" y="2408647"/>
                    </a:lnTo>
                    <a:lnTo>
                      <a:pt x="7653138" y="2417143"/>
                    </a:lnTo>
                    <a:lnTo>
                      <a:pt x="7656705" y="2421056"/>
                    </a:lnTo>
                    <a:lnTo>
                      <a:pt x="7655673" y="2423161"/>
                    </a:lnTo>
                    <a:lnTo>
                      <a:pt x="7652094" y="2422249"/>
                    </a:lnTo>
                    <a:lnTo>
                      <a:pt x="7648737" y="2419333"/>
                    </a:lnTo>
                    <a:lnTo>
                      <a:pt x="7645307" y="2415588"/>
                    </a:lnTo>
                    <a:lnTo>
                      <a:pt x="7641487" y="2412145"/>
                    </a:lnTo>
                    <a:lnTo>
                      <a:pt x="7625905" y="2403626"/>
                    </a:lnTo>
                    <a:lnTo>
                      <a:pt x="7624611" y="2401474"/>
                    </a:lnTo>
                    <a:lnTo>
                      <a:pt x="7621798" y="2399390"/>
                    </a:lnTo>
                    <a:lnTo>
                      <a:pt x="7620505" y="2397272"/>
                    </a:lnTo>
                    <a:lnTo>
                      <a:pt x="7619418" y="2395010"/>
                    </a:lnTo>
                    <a:lnTo>
                      <a:pt x="7618344" y="2393561"/>
                    </a:lnTo>
                    <a:lnTo>
                      <a:pt x="7617155" y="2392160"/>
                    </a:lnTo>
                    <a:lnTo>
                      <a:pt x="7615714" y="2390078"/>
                    </a:lnTo>
                    <a:lnTo>
                      <a:pt x="7610830" y="2381983"/>
                    </a:lnTo>
                    <a:lnTo>
                      <a:pt x="7608031" y="2379471"/>
                    </a:lnTo>
                    <a:lnTo>
                      <a:pt x="7601288" y="2378037"/>
                    </a:lnTo>
                    <a:lnTo>
                      <a:pt x="7597676" y="2375552"/>
                    </a:lnTo>
                    <a:lnTo>
                      <a:pt x="7594203" y="2372313"/>
                    </a:lnTo>
                    <a:lnTo>
                      <a:pt x="7591583" y="2369233"/>
                    </a:lnTo>
                    <a:lnTo>
                      <a:pt x="7585010" y="2358351"/>
                    </a:lnTo>
                    <a:lnTo>
                      <a:pt x="7582122" y="2354695"/>
                    </a:lnTo>
                    <a:lnTo>
                      <a:pt x="7578294" y="2351101"/>
                    </a:lnTo>
                    <a:lnTo>
                      <a:pt x="7573871" y="2347773"/>
                    </a:lnTo>
                    <a:lnTo>
                      <a:pt x="7565223" y="2342788"/>
                    </a:lnTo>
                    <a:lnTo>
                      <a:pt x="7564743" y="2341567"/>
                    </a:lnTo>
                    <a:lnTo>
                      <a:pt x="7567652" y="2342096"/>
                    </a:lnTo>
                    <a:lnTo>
                      <a:pt x="7571145" y="2343873"/>
                    </a:lnTo>
                    <a:lnTo>
                      <a:pt x="7577756" y="2348354"/>
                    </a:lnTo>
                    <a:lnTo>
                      <a:pt x="7573684" y="2344029"/>
                    </a:lnTo>
                    <a:lnTo>
                      <a:pt x="7568100" y="2339183"/>
                    </a:lnTo>
                    <a:lnTo>
                      <a:pt x="7562424" y="2335330"/>
                    </a:lnTo>
                    <a:lnTo>
                      <a:pt x="7558079" y="2333980"/>
                    </a:lnTo>
                    <a:lnTo>
                      <a:pt x="7556176" y="2334010"/>
                    </a:lnTo>
                    <a:lnTo>
                      <a:pt x="7554742" y="2333538"/>
                    </a:lnTo>
                    <a:lnTo>
                      <a:pt x="7553415" y="2332576"/>
                    </a:lnTo>
                    <a:lnTo>
                      <a:pt x="7551835" y="2331135"/>
                    </a:lnTo>
                    <a:lnTo>
                      <a:pt x="7549756" y="2329699"/>
                    </a:lnTo>
                    <a:lnTo>
                      <a:pt x="7549676" y="2330671"/>
                    </a:lnTo>
                    <a:lnTo>
                      <a:pt x="7550642" y="2332373"/>
                    </a:lnTo>
                    <a:lnTo>
                      <a:pt x="7551745" y="2333256"/>
                    </a:lnTo>
                    <a:lnTo>
                      <a:pt x="7553906" y="2334155"/>
                    </a:lnTo>
                    <a:lnTo>
                      <a:pt x="7556652" y="2336737"/>
                    </a:lnTo>
                    <a:lnTo>
                      <a:pt x="7559219" y="2340079"/>
                    </a:lnTo>
                    <a:lnTo>
                      <a:pt x="7560865" y="2343338"/>
                    </a:lnTo>
                    <a:lnTo>
                      <a:pt x="7556599" y="2341615"/>
                    </a:lnTo>
                    <a:lnTo>
                      <a:pt x="7554621" y="2341212"/>
                    </a:lnTo>
                    <a:lnTo>
                      <a:pt x="7552704" y="2341553"/>
                    </a:lnTo>
                    <a:lnTo>
                      <a:pt x="7553276" y="2343013"/>
                    </a:lnTo>
                    <a:lnTo>
                      <a:pt x="7562473" y="2346417"/>
                    </a:lnTo>
                    <a:lnTo>
                      <a:pt x="7566780" y="2349206"/>
                    </a:lnTo>
                    <a:lnTo>
                      <a:pt x="7570368" y="2353510"/>
                    </a:lnTo>
                    <a:lnTo>
                      <a:pt x="7567770" y="2353770"/>
                    </a:lnTo>
                    <a:lnTo>
                      <a:pt x="7564771" y="2352942"/>
                    </a:lnTo>
                    <a:lnTo>
                      <a:pt x="7558713" y="2349988"/>
                    </a:lnTo>
                    <a:lnTo>
                      <a:pt x="7556261" y="2349744"/>
                    </a:lnTo>
                    <a:lnTo>
                      <a:pt x="7558154" y="2353046"/>
                    </a:lnTo>
                    <a:lnTo>
                      <a:pt x="7563270" y="2359244"/>
                    </a:lnTo>
                    <a:lnTo>
                      <a:pt x="7564561" y="2361276"/>
                    </a:lnTo>
                    <a:lnTo>
                      <a:pt x="7568752" y="2366794"/>
                    </a:lnTo>
                    <a:lnTo>
                      <a:pt x="7570421" y="2370353"/>
                    </a:lnTo>
                    <a:lnTo>
                      <a:pt x="7571040" y="2373961"/>
                    </a:lnTo>
                    <a:lnTo>
                      <a:pt x="7571300" y="2377597"/>
                    </a:lnTo>
                    <a:lnTo>
                      <a:pt x="7572107" y="2380679"/>
                    </a:lnTo>
                    <a:lnTo>
                      <a:pt x="7574373" y="2382640"/>
                    </a:lnTo>
                    <a:lnTo>
                      <a:pt x="7575440" y="2376089"/>
                    </a:lnTo>
                    <a:lnTo>
                      <a:pt x="7582372" y="2378718"/>
                    </a:lnTo>
                    <a:lnTo>
                      <a:pt x="7613312" y="2404492"/>
                    </a:lnTo>
                    <a:lnTo>
                      <a:pt x="7615574" y="2406790"/>
                    </a:lnTo>
                    <a:lnTo>
                      <a:pt x="7615625" y="2408931"/>
                    </a:lnTo>
                    <a:lnTo>
                      <a:pt x="7612879" y="2411544"/>
                    </a:lnTo>
                    <a:lnTo>
                      <a:pt x="7615703" y="2413586"/>
                    </a:lnTo>
                    <a:lnTo>
                      <a:pt x="7622568" y="2411997"/>
                    </a:lnTo>
                    <a:lnTo>
                      <a:pt x="7626378" y="2413377"/>
                    </a:lnTo>
                    <a:lnTo>
                      <a:pt x="7629784" y="2415413"/>
                    </a:lnTo>
                    <a:lnTo>
                      <a:pt x="7632406" y="2416095"/>
                    </a:lnTo>
                    <a:lnTo>
                      <a:pt x="7634905" y="2417701"/>
                    </a:lnTo>
                    <a:lnTo>
                      <a:pt x="7637990" y="2422590"/>
                    </a:lnTo>
                    <a:lnTo>
                      <a:pt x="7640887" y="2429956"/>
                    </a:lnTo>
                    <a:lnTo>
                      <a:pt x="7642169" y="2432078"/>
                    </a:lnTo>
                    <a:lnTo>
                      <a:pt x="7648632" y="2439086"/>
                    </a:lnTo>
                    <a:lnTo>
                      <a:pt x="7656922" y="2444326"/>
                    </a:lnTo>
                    <a:lnTo>
                      <a:pt x="7659833" y="2446721"/>
                    </a:lnTo>
                    <a:lnTo>
                      <a:pt x="7657590" y="2448299"/>
                    </a:lnTo>
                    <a:lnTo>
                      <a:pt x="7655262" y="2446410"/>
                    </a:lnTo>
                    <a:lnTo>
                      <a:pt x="7652996" y="2443556"/>
                    </a:lnTo>
                    <a:lnTo>
                      <a:pt x="7650929" y="2442213"/>
                    </a:lnTo>
                    <a:lnTo>
                      <a:pt x="7649640" y="2442226"/>
                    </a:lnTo>
                    <a:lnTo>
                      <a:pt x="7648780" y="2442108"/>
                    </a:lnTo>
                    <a:lnTo>
                      <a:pt x="7647974" y="2442160"/>
                    </a:lnTo>
                    <a:lnTo>
                      <a:pt x="7646849" y="2442730"/>
                    </a:lnTo>
                    <a:lnTo>
                      <a:pt x="7647754" y="2443447"/>
                    </a:lnTo>
                    <a:lnTo>
                      <a:pt x="7648530" y="2445441"/>
                    </a:lnTo>
                    <a:lnTo>
                      <a:pt x="7648463" y="2446961"/>
                    </a:lnTo>
                    <a:lnTo>
                      <a:pt x="7646866" y="2446256"/>
                    </a:lnTo>
                    <a:lnTo>
                      <a:pt x="7641969" y="2444953"/>
                    </a:lnTo>
                    <a:lnTo>
                      <a:pt x="7630997" y="2443625"/>
                    </a:lnTo>
                    <a:lnTo>
                      <a:pt x="7628500" y="2442941"/>
                    </a:lnTo>
                    <a:lnTo>
                      <a:pt x="7625448" y="2441076"/>
                    </a:lnTo>
                    <a:lnTo>
                      <a:pt x="7625195" y="2441662"/>
                    </a:lnTo>
                    <a:lnTo>
                      <a:pt x="7624704" y="2443973"/>
                    </a:lnTo>
                    <a:lnTo>
                      <a:pt x="7627990" y="2445515"/>
                    </a:lnTo>
                    <a:lnTo>
                      <a:pt x="7629618" y="2446024"/>
                    </a:lnTo>
                    <a:lnTo>
                      <a:pt x="7631195" y="2446119"/>
                    </a:lnTo>
                    <a:lnTo>
                      <a:pt x="7631720" y="2447463"/>
                    </a:lnTo>
                    <a:lnTo>
                      <a:pt x="7624447" y="2448379"/>
                    </a:lnTo>
                    <a:lnTo>
                      <a:pt x="7630125" y="2450737"/>
                    </a:lnTo>
                    <a:lnTo>
                      <a:pt x="7637450" y="2450411"/>
                    </a:lnTo>
                    <a:lnTo>
                      <a:pt x="7642818" y="2451649"/>
                    </a:lnTo>
                    <a:lnTo>
                      <a:pt x="7642613" y="2458637"/>
                    </a:lnTo>
                    <a:lnTo>
                      <a:pt x="7645244" y="2458759"/>
                    </a:lnTo>
                    <a:lnTo>
                      <a:pt x="7649394" y="2455808"/>
                    </a:lnTo>
                    <a:lnTo>
                      <a:pt x="7651992" y="2454756"/>
                    </a:lnTo>
                    <a:lnTo>
                      <a:pt x="7652460" y="2454167"/>
                    </a:lnTo>
                    <a:lnTo>
                      <a:pt x="7653555" y="2453197"/>
                    </a:lnTo>
                    <a:lnTo>
                      <a:pt x="7654958" y="2453044"/>
                    </a:lnTo>
                    <a:lnTo>
                      <a:pt x="7656355" y="2454909"/>
                    </a:lnTo>
                    <a:lnTo>
                      <a:pt x="7656795" y="2455375"/>
                    </a:lnTo>
                    <a:lnTo>
                      <a:pt x="7659157" y="2458638"/>
                    </a:lnTo>
                    <a:lnTo>
                      <a:pt x="7659634" y="2459435"/>
                    </a:lnTo>
                    <a:lnTo>
                      <a:pt x="7661222" y="2460999"/>
                    </a:lnTo>
                    <a:lnTo>
                      <a:pt x="7663462" y="2464581"/>
                    </a:lnTo>
                    <a:lnTo>
                      <a:pt x="7664849" y="2468289"/>
                    </a:lnTo>
                    <a:lnTo>
                      <a:pt x="7663847" y="2470181"/>
                    </a:lnTo>
                    <a:lnTo>
                      <a:pt x="7660907" y="2471226"/>
                    </a:lnTo>
                    <a:lnTo>
                      <a:pt x="7659731" y="2473139"/>
                    </a:lnTo>
                    <a:lnTo>
                      <a:pt x="7658607" y="2478677"/>
                    </a:lnTo>
                    <a:lnTo>
                      <a:pt x="7656508" y="2479968"/>
                    </a:lnTo>
                    <a:lnTo>
                      <a:pt x="7652924" y="2479427"/>
                    </a:lnTo>
                    <a:lnTo>
                      <a:pt x="7641283" y="2474429"/>
                    </a:lnTo>
                    <a:lnTo>
                      <a:pt x="7639746" y="2473186"/>
                    </a:lnTo>
                    <a:lnTo>
                      <a:pt x="7638792" y="2471878"/>
                    </a:lnTo>
                    <a:lnTo>
                      <a:pt x="7637914" y="2471333"/>
                    </a:lnTo>
                    <a:lnTo>
                      <a:pt x="7636602" y="2472337"/>
                    </a:lnTo>
                    <a:lnTo>
                      <a:pt x="7637244" y="2473525"/>
                    </a:lnTo>
                    <a:lnTo>
                      <a:pt x="7638619" y="2475671"/>
                    </a:lnTo>
                    <a:lnTo>
                      <a:pt x="7639053" y="2477540"/>
                    </a:lnTo>
                    <a:lnTo>
                      <a:pt x="7636881" y="2477930"/>
                    </a:lnTo>
                    <a:lnTo>
                      <a:pt x="7635829" y="2477255"/>
                    </a:lnTo>
                    <a:lnTo>
                      <a:pt x="7634227" y="2474306"/>
                    </a:lnTo>
                    <a:lnTo>
                      <a:pt x="7632996" y="2472789"/>
                    </a:lnTo>
                    <a:lnTo>
                      <a:pt x="7630607" y="2470922"/>
                    </a:lnTo>
                    <a:lnTo>
                      <a:pt x="7627404" y="2468837"/>
                    </a:lnTo>
                    <a:lnTo>
                      <a:pt x="7624078" y="2467314"/>
                    </a:lnTo>
                    <a:lnTo>
                      <a:pt x="7621311" y="2467065"/>
                    </a:lnTo>
                    <a:lnTo>
                      <a:pt x="7628608" y="2473876"/>
                    </a:lnTo>
                    <a:lnTo>
                      <a:pt x="7631736" y="2478221"/>
                    </a:lnTo>
                    <a:lnTo>
                      <a:pt x="7630617" y="2481535"/>
                    </a:lnTo>
                    <a:lnTo>
                      <a:pt x="7632079" y="2482865"/>
                    </a:lnTo>
                    <a:lnTo>
                      <a:pt x="7633548" y="2483991"/>
                    </a:lnTo>
                    <a:lnTo>
                      <a:pt x="7635260" y="2482114"/>
                    </a:lnTo>
                    <a:lnTo>
                      <a:pt x="7637815" y="2483029"/>
                    </a:lnTo>
                    <a:lnTo>
                      <a:pt x="7643324" y="2487002"/>
                    </a:lnTo>
                    <a:lnTo>
                      <a:pt x="7643363" y="2491383"/>
                    </a:lnTo>
                    <a:lnTo>
                      <a:pt x="7641445" y="2491691"/>
                    </a:lnTo>
                    <a:lnTo>
                      <a:pt x="7638900" y="2490505"/>
                    </a:lnTo>
                    <a:lnTo>
                      <a:pt x="7637091" y="2490471"/>
                    </a:lnTo>
                    <a:lnTo>
                      <a:pt x="7636888" y="2492696"/>
                    </a:lnTo>
                    <a:lnTo>
                      <a:pt x="7638119" y="2500204"/>
                    </a:lnTo>
                    <a:lnTo>
                      <a:pt x="7638161" y="2503274"/>
                    </a:lnTo>
                    <a:lnTo>
                      <a:pt x="7637357" y="2505526"/>
                    </a:lnTo>
                    <a:lnTo>
                      <a:pt x="7636031" y="2507371"/>
                    </a:lnTo>
                    <a:lnTo>
                      <a:pt x="7634234" y="2508771"/>
                    </a:lnTo>
                    <a:lnTo>
                      <a:pt x="7632007" y="2509686"/>
                    </a:lnTo>
                    <a:lnTo>
                      <a:pt x="7630666" y="2509483"/>
                    </a:lnTo>
                    <a:lnTo>
                      <a:pt x="7629087" y="2508822"/>
                    </a:lnTo>
                    <a:lnTo>
                      <a:pt x="7627662" y="2508587"/>
                    </a:lnTo>
                    <a:lnTo>
                      <a:pt x="7626760" y="2509631"/>
                    </a:lnTo>
                    <a:lnTo>
                      <a:pt x="7626280" y="2510732"/>
                    </a:lnTo>
                    <a:lnTo>
                      <a:pt x="7623963" y="2513489"/>
                    </a:lnTo>
                    <a:lnTo>
                      <a:pt x="7627484" y="2517001"/>
                    </a:lnTo>
                    <a:lnTo>
                      <a:pt x="7625985" y="2518421"/>
                    </a:lnTo>
                    <a:lnTo>
                      <a:pt x="7622633" y="2518894"/>
                    </a:lnTo>
                    <a:lnTo>
                      <a:pt x="7620590" y="2519550"/>
                    </a:lnTo>
                    <a:lnTo>
                      <a:pt x="7621291" y="2520261"/>
                    </a:lnTo>
                    <a:lnTo>
                      <a:pt x="7622608" y="2522114"/>
                    </a:lnTo>
                    <a:lnTo>
                      <a:pt x="7620923" y="2522171"/>
                    </a:lnTo>
                    <a:lnTo>
                      <a:pt x="7619471" y="2521821"/>
                    </a:lnTo>
                    <a:lnTo>
                      <a:pt x="7615970" y="2520120"/>
                    </a:lnTo>
                    <a:lnTo>
                      <a:pt x="7616353" y="2522281"/>
                    </a:lnTo>
                    <a:lnTo>
                      <a:pt x="7616236" y="2523933"/>
                    </a:lnTo>
                    <a:lnTo>
                      <a:pt x="7615611" y="2525144"/>
                    </a:lnTo>
                    <a:lnTo>
                      <a:pt x="7614475" y="2525939"/>
                    </a:lnTo>
                    <a:lnTo>
                      <a:pt x="7615863" y="2526876"/>
                    </a:lnTo>
                    <a:lnTo>
                      <a:pt x="7617290" y="2527550"/>
                    </a:lnTo>
                    <a:lnTo>
                      <a:pt x="7618693" y="2527964"/>
                    </a:lnTo>
                    <a:lnTo>
                      <a:pt x="7620041" y="2528075"/>
                    </a:lnTo>
                    <a:lnTo>
                      <a:pt x="7620510" y="2529303"/>
                    </a:lnTo>
                    <a:lnTo>
                      <a:pt x="7615194" y="2533786"/>
                    </a:lnTo>
                    <a:lnTo>
                      <a:pt x="7611329" y="2535705"/>
                    </a:lnTo>
                    <a:lnTo>
                      <a:pt x="7608799" y="2540516"/>
                    </a:lnTo>
                    <a:lnTo>
                      <a:pt x="7607214" y="2542339"/>
                    </a:lnTo>
                    <a:lnTo>
                      <a:pt x="7605135" y="2543064"/>
                    </a:lnTo>
                    <a:lnTo>
                      <a:pt x="7597699" y="2543502"/>
                    </a:lnTo>
                    <a:lnTo>
                      <a:pt x="7595415" y="2544216"/>
                    </a:lnTo>
                    <a:lnTo>
                      <a:pt x="7591488" y="2548596"/>
                    </a:lnTo>
                    <a:lnTo>
                      <a:pt x="7590716" y="2540583"/>
                    </a:lnTo>
                    <a:lnTo>
                      <a:pt x="7589187" y="2536547"/>
                    </a:lnTo>
                    <a:lnTo>
                      <a:pt x="7582892" y="2528890"/>
                    </a:lnTo>
                    <a:lnTo>
                      <a:pt x="7583010" y="2525503"/>
                    </a:lnTo>
                    <a:lnTo>
                      <a:pt x="7584470" y="2522455"/>
                    </a:lnTo>
                    <a:lnTo>
                      <a:pt x="7585337" y="2519530"/>
                    </a:lnTo>
                    <a:lnTo>
                      <a:pt x="7579225" y="2516048"/>
                    </a:lnTo>
                    <a:lnTo>
                      <a:pt x="7577108" y="2514326"/>
                    </a:lnTo>
                    <a:lnTo>
                      <a:pt x="7575408" y="2512286"/>
                    </a:lnTo>
                    <a:lnTo>
                      <a:pt x="7573760" y="2509400"/>
                    </a:lnTo>
                    <a:lnTo>
                      <a:pt x="7573062" y="2506718"/>
                    </a:lnTo>
                    <a:lnTo>
                      <a:pt x="7574200" y="2505396"/>
                    </a:lnTo>
                    <a:lnTo>
                      <a:pt x="7583738" y="2507175"/>
                    </a:lnTo>
                    <a:lnTo>
                      <a:pt x="7587998" y="2506628"/>
                    </a:lnTo>
                    <a:lnTo>
                      <a:pt x="7589187" y="2502162"/>
                    </a:lnTo>
                    <a:lnTo>
                      <a:pt x="7584307" y="2502097"/>
                    </a:lnTo>
                    <a:lnTo>
                      <a:pt x="7581693" y="2501436"/>
                    </a:lnTo>
                    <a:lnTo>
                      <a:pt x="7579252" y="2499856"/>
                    </a:lnTo>
                    <a:lnTo>
                      <a:pt x="7577049" y="2497895"/>
                    </a:lnTo>
                    <a:lnTo>
                      <a:pt x="7576339" y="2497009"/>
                    </a:lnTo>
                    <a:lnTo>
                      <a:pt x="7577365" y="2493764"/>
                    </a:lnTo>
                    <a:lnTo>
                      <a:pt x="7579211" y="2490116"/>
                    </a:lnTo>
                    <a:lnTo>
                      <a:pt x="7582191" y="2488089"/>
                    </a:lnTo>
                    <a:lnTo>
                      <a:pt x="7589869" y="2486591"/>
                    </a:lnTo>
                    <a:lnTo>
                      <a:pt x="7588395" y="2485188"/>
                    </a:lnTo>
                    <a:lnTo>
                      <a:pt x="7583783" y="2482358"/>
                    </a:lnTo>
                    <a:lnTo>
                      <a:pt x="7582345" y="2481755"/>
                    </a:lnTo>
                    <a:lnTo>
                      <a:pt x="7578118" y="2482275"/>
                    </a:lnTo>
                    <a:lnTo>
                      <a:pt x="7575777" y="2482009"/>
                    </a:lnTo>
                    <a:lnTo>
                      <a:pt x="7573237" y="2480199"/>
                    </a:lnTo>
                    <a:lnTo>
                      <a:pt x="7573207" y="2478091"/>
                    </a:lnTo>
                    <a:lnTo>
                      <a:pt x="7570629" y="2473637"/>
                    </a:lnTo>
                    <a:lnTo>
                      <a:pt x="7570268" y="2471291"/>
                    </a:lnTo>
                    <a:lnTo>
                      <a:pt x="7571725" y="2469956"/>
                    </a:lnTo>
                    <a:lnTo>
                      <a:pt x="7574384" y="2469679"/>
                    </a:lnTo>
                    <a:lnTo>
                      <a:pt x="7576762" y="2470862"/>
                    </a:lnTo>
                    <a:lnTo>
                      <a:pt x="7577368" y="2473923"/>
                    </a:lnTo>
                    <a:lnTo>
                      <a:pt x="7593444" y="2476168"/>
                    </a:lnTo>
                    <a:lnTo>
                      <a:pt x="7603363" y="2480074"/>
                    </a:lnTo>
                    <a:lnTo>
                      <a:pt x="7607387" y="2480196"/>
                    </a:lnTo>
                    <a:lnTo>
                      <a:pt x="7605372" y="2477862"/>
                    </a:lnTo>
                    <a:lnTo>
                      <a:pt x="7602761" y="2476264"/>
                    </a:lnTo>
                    <a:lnTo>
                      <a:pt x="7597533" y="2474253"/>
                    </a:lnTo>
                    <a:lnTo>
                      <a:pt x="7597016" y="2472907"/>
                    </a:lnTo>
                    <a:lnTo>
                      <a:pt x="7599054" y="2472386"/>
                    </a:lnTo>
                    <a:lnTo>
                      <a:pt x="7600978" y="2471400"/>
                    </a:lnTo>
                    <a:lnTo>
                      <a:pt x="7602571" y="2469919"/>
                    </a:lnTo>
                    <a:lnTo>
                      <a:pt x="7603589" y="2467879"/>
                    </a:lnTo>
                    <a:lnTo>
                      <a:pt x="7598783" y="2467922"/>
                    </a:lnTo>
                    <a:lnTo>
                      <a:pt x="7588965" y="2471571"/>
                    </a:lnTo>
                    <a:lnTo>
                      <a:pt x="7582748" y="2470459"/>
                    </a:lnTo>
                    <a:lnTo>
                      <a:pt x="7581096" y="2469355"/>
                    </a:lnTo>
                    <a:lnTo>
                      <a:pt x="7575666" y="2464290"/>
                    </a:lnTo>
                    <a:lnTo>
                      <a:pt x="7568752" y="2459131"/>
                    </a:lnTo>
                    <a:lnTo>
                      <a:pt x="7568141" y="2458193"/>
                    </a:lnTo>
                    <a:lnTo>
                      <a:pt x="7565962" y="2457337"/>
                    </a:lnTo>
                    <a:lnTo>
                      <a:pt x="7563237" y="2455209"/>
                    </a:lnTo>
                    <a:lnTo>
                      <a:pt x="7561488" y="2452960"/>
                    </a:lnTo>
                    <a:lnTo>
                      <a:pt x="7562281" y="2451740"/>
                    </a:lnTo>
                    <a:lnTo>
                      <a:pt x="7563553" y="2451835"/>
                    </a:lnTo>
                    <a:lnTo>
                      <a:pt x="7566383" y="2452542"/>
                    </a:lnTo>
                    <a:lnTo>
                      <a:pt x="7567889" y="2452600"/>
                    </a:lnTo>
                    <a:lnTo>
                      <a:pt x="7568972" y="2452013"/>
                    </a:lnTo>
                    <a:lnTo>
                      <a:pt x="7570434" y="2449914"/>
                    </a:lnTo>
                    <a:lnTo>
                      <a:pt x="7573025" y="2448495"/>
                    </a:lnTo>
                    <a:lnTo>
                      <a:pt x="7576110" y="2445197"/>
                    </a:lnTo>
                    <a:lnTo>
                      <a:pt x="7580596" y="2443509"/>
                    </a:lnTo>
                    <a:lnTo>
                      <a:pt x="7585875" y="2439114"/>
                    </a:lnTo>
                    <a:lnTo>
                      <a:pt x="7582077" y="2437861"/>
                    </a:lnTo>
                    <a:lnTo>
                      <a:pt x="7569105" y="2443642"/>
                    </a:lnTo>
                    <a:lnTo>
                      <a:pt x="7563754" y="2448760"/>
                    </a:lnTo>
                    <a:lnTo>
                      <a:pt x="7560357" y="2449178"/>
                    </a:lnTo>
                    <a:lnTo>
                      <a:pt x="7557761" y="2447034"/>
                    </a:lnTo>
                    <a:lnTo>
                      <a:pt x="7551433" y="2439444"/>
                    </a:lnTo>
                    <a:lnTo>
                      <a:pt x="7548997" y="2437926"/>
                    </a:lnTo>
                    <a:lnTo>
                      <a:pt x="7545705" y="2436790"/>
                    </a:lnTo>
                    <a:lnTo>
                      <a:pt x="7542387" y="2433446"/>
                    </a:lnTo>
                    <a:lnTo>
                      <a:pt x="7539384" y="2429167"/>
                    </a:lnTo>
                    <a:lnTo>
                      <a:pt x="7537074" y="2425207"/>
                    </a:lnTo>
                    <a:lnTo>
                      <a:pt x="7534167" y="2419185"/>
                    </a:lnTo>
                    <a:lnTo>
                      <a:pt x="7533027" y="2417284"/>
                    </a:lnTo>
                    <a:lnTo>
                      <a:pt x="7528107" y="2412833"/>
                    </a:lnTo>
                    <a:lnTo>
                      <a:pt x="7527127" y="2411689"/>
                    </a:lnTo>
                    <a:lnTo>
                      <a:pt x="7523089" y="2405458"/>
                    </a:lnTo>
                    <a:lnTo>
                      <a:pt x="7522998" y="2404474"/>
                    </a:lnTo>
                    <a:lnTo>
                      <a:pt x="7523379" y="2403356"/>
                    </a:lnTo>
                    <a:lnTo>
                      <a:pt x="7523170" y="2400880"/>
                    </a:lnTo>
                    <a:lnTo>
                      <a:pt x="7522149" y="2396029"/>
                    </a:lnTo>
                    <a:lnTo>
                      <a:pt x="7520327" y="2392087"/>
                    </a:lnTo>
                    <a:lnTo>
                      <a:pt x="7515066" y="2383810"/>
                    </a:lnTo>
                    <a:lnTo>
                      <a:pt x="7511006" y="2375789"/>
                    </a:lnTo>
                    <a:lnTo>
                      <a:pt x="7502624" y="2364624"/>
                    </a:lnTo>
                    <a:lnTo>
                      <a:pt x="7500029" y="2361777"/>
                    </a:lnTo>
                    <a:lnTo>
                      <a:pt x="7499466" y="2360224"/>
                    </a:lnTo>
                    <a:lnTo>
                      <a:pt x="7500101" y="2358057"/>
                    </a:lnTo>
                    <a:lnTo>
                      <a:pt x="7496921" y="2355248"/>
                    </a:lnTo>
                    <a:lnTo>
                      <a:pt x="7493495" y="2352812"/>
                    </a:lnTo>
                    <a:lnTo>
                      <a:pt x="7490345" y="2350016"/>
                    </a:lnTo>
                    <a:lnTo>
                      <a:pt x="7487987" y="2346164"/>
                    </a:lnTo>
                    <a:lnTo>
                      <a:pt x="7487928" y="2342813"/>
                    </a:lnTo>
                    <a:lnTo>
                      <a:pt x="7491556" y="2337662"/>
                    </a:lnTo>
                    <a:lnTo>
                      <a:pt x="7491635" y="2333852"/>
                    </a:lnTo>
                    <a:lnTo>
                      <a:pt x="7490617" y="2331688"/>
                    </a:lnTo>
                    <a:lnTo>
                      <a:pt x="7489120" y="2329485"/>
                    </a:lnTo>
                    <a:lnTo>
                      <a:pt x="7487780" y="2327813"/>
                    </a:lnTo>
                    <a:lnTo>
                      <a:pt x="7487235" y="2327271"/>
                    </a:lnTo>
                    <a:lnTo>
                      <a:pt x="7486987" y="2324645"/>
                    </a:lnTo>
                    <a:lnTo>
                      <a:pt x="7487712" y="2323253"/>
                    </a:lnTo>
                    <a:lnTo>
                      <a:pt x="7488494" y="2322254"/>
                    </a:lnTo>
                    <a:lnTo>
                      <a:pt x="7488443" y="2320757"/>
                    </a:lnTo>
                    <a:lnTo>
                      <a:pt x="7487074" y="2318922"/>
                    </a:lnTo>
                    <a:lnTo>
                      <a:pt x="7485813" y="2319529"/>
                    </a:lnTo>
                    <a:lnTo>
                      <a:pt x="7483790" y="2321960"/>
                    </a:lnTo>
                    <a:lnTo>
                      <a:pt x="7483346" y="2322949"/>
                    </a:lnTo>
                    <a:lnTo>
                      <a:pt x="7484203" y="2325098"/>
                    </a:lnTo>
                    <a:lnTo>
                      <a:pt x="7485507" y="2327693"/>
                    </a:lnTo>
                    <a:lnTo>
                      <a:pt x="7486444" y="2330050"/>
                    </a:lnTo>
                    <a:lnTo>
                      <a:pt x="7486804" y="2335000"/>
                    </a:lnTo>
                    <a:lnTo>
                      <a:pt x="7484789" y="2334780"/>
                    </a:lnTo>
                    <a:lnTo>
                      <a:pt x="7477683" y="2327690"/>
                    </a:lnTo>
                    <a:lnTo>
                      <a:pt x="7474412" y="2323852"/>
                    </a:lnTo>
                    <a:lnTo>
                      <a:pt x="7472965" y="2322577"/>
                    </a:lnTo>
                    <a:lnTo>
                      <a:pt x="7469481" y="2321854"/>
                    </a:lnTo>
                    <a:lnTo>
                      <a:pt x="7466646" y="2320742"/>
                    </a:lnTo>
                    <a:lnTo>
                      <a:pt x="7463859" y="2319206"/>
                    </a:lnTo>
                    <a:lnTo>
                      <a:pt x="7462158" y="2317630"/>
                    </a:lnTo>
                    <a:lnTo>
                      <a:pt x="7461605" y="2313450"/>
                    </a:lnTo>
                    <a:lnTo>
                      <a:pt x="7462858" y="2310234"/>
                    </a:lnTo>
                    <a:lnTo>
                      <a:pt x="7462951" y="2308353"/>
                    </a:lnTo>
                    <a:lnTo>
                      <a:pt x="7458964" y="2308218"/>
                    </a:lnTo>
                    <a:lnTo>
                      <a:pt x="7456023" y="2307378"/>
                    </a:lnTo>
                    <a:lnTo>
                      <a:pt x="7453203" y="2304646"/>
                    </a:lnTo>
                    <a:lnTo>
                      <a:pt x="7450679" y="2300886"/>
                    </a:lnTo>
                    <a:lnTo>
                      <a:pt x="7443703" y="2288475"/>
                    </a:lnTo>
                    <a:lnTo>
                      <a:pt x="7441840" y="2284126"/>
                    </a:lnTo>
                    <a:lnTo>
                      <a:pt x="7441623" y="2280202"/>
                    </a:lnTo>
                    <a:close/>
                    <a:moveTo>
                      <a:pt x="4980732" y="2262103"/>
                    </a:moveTo>
                    <a:lnTo>
                      <a:pt x="4986589" y="2267895"/>
                    </a:lnTo>
                    <a:lnTo>
                      <a:pt x="4987185" y="2270412"/>
                    </a:lnTo>
                    <a:lnTo>
                      <a:pt x="4984564" y="2273900"/>
                    </a:lnTo>
                    <a:lnTo>
                      <a:pt x="4980898" y="2275790"/>
                    </a:lnTo>
                    <a:lnTo>
                      <a:pt x="4968872" y="2278682"/>
                    </a:lnTo>
                    <a:lnTo>
                      <a:pt x="4965413" y="2277824"/>
                    </a:lnTo>
                    <a:lnTo>
                      <a:pt x="4963901" y="2276501"/>
                    </a:lnTo>
                    <a:lnTo>
                      <a:pt x="4962554" y="2276202"/>
                    </a:lnTo>
                    <a:lnTo>
                      <a:pt x="4961488" y="2275417"/>
                    </a:lnTo>
                    <a:lnTo>
                      <a:pt x="4960858" y="2272590"/>
                    </a:lnTo>
                    <a:lnTo>
                      <a:pt x="4961421" y="2270760"/>
                    </a:lnTo>
                    <a:lnTo>
                      <a:pt x="4962827" y="2268724"/>
                    </a:lnTo>
                    <a:lnTo>
                      <a:pt x="4964376" y="2267090"/>
                    </a:lnTo>
                    <a:lnTo>
                      <a:pt x="4965314" y="2266405"/>
                    </a:lnTo>
                    <a:lnTo>
                      <a:pt x="4967011" y="2265747"/>
                    </a:lnTo>
                    <a:lnTo>
                      <a:pt x="4970422" y="2262982"/>
                    </a:lnTo>
                    <a:lnTo>
                      <a:pt x="4972118" y="2262331"/>
                    </a:lnTo>
                    <a:close/>
                    <a:moveTo>
                      <a:pt x="5341019" y="2250229"/>
                    </a:moveTo>
                    <a:lnTo>
                      <a:pt x="5344737" y="2251523"/>
                    </a:lnTo>
                    <a:lnTo>
                      <a:pt x="5347630" y="2255071"/>
                    </a:lnTo>
                    <a:lnTo>
                      <a:pt x="5342789" y="2264726"/>
                    </a:lnTo>
                    <a:lnTo>
                      <a:pt x="5340196" y="2267428"/>
                    </a:lnTo>
                    <a:lnTo>
                      <a:pt x="5337398" y="2268691"/>
                    </a:lnTo>
                    <a:lnTo>
                      <a:pt x="5333294" y="2269328"/>
                    </a:lnTo>
                    <a:lnTo>
                      <a:pt x="5329191" y="2268453"/>
                    </a:lnTo>
                    <a:lnTo>
                      <a:pt x="5326377" y="2265178"/>
                    </a:lnTo>
                    <a:lnTo>
                      <a:pt x="5330182" y="2260353"/>
                    </a:lnTo>
                    <a:lnTo>
                      <a:pt x="5332938" y="2258637"/>
                    </a:lnTo>
                    <a:lnTo>
                      <a:pt x="5333791" y="2256479"/>
                    </a:lnTo>
                    <a:lnTo>
                      <a:pt x="5334720" y="2252792"/>
                    </a:lnTo>
                    <a:lnTo>
                      <a:pt x="5337376" y="2250776"/>
                    </a:lnTo>
                    <a:close/>
                    <a:moveTo>
                      <a:pt x="5386521" y="2237077"/>
                    </a:moveTo>
                    <a:lnTo>
                      <a:pt x="5386825" y="2238558"/>
                    </a:lnTo>
                    <a:lnTo>
                      <a:pt x="5385953" y="2240128"/>
                    </a:lnTo>
                    <a:lnTo>
                      <a:pt x="5386267" y="2243781"/>
                    </a:lnTo>
                    <a:lnTo>
                      <a:pt x="5385091" y="2245461"/>
                    </a:lnTo>
                    <a:lnTo>
                      <a:pt x="5384187" y="2245468"/>
                    </a:lnTo>
                    <a:lnTo>
                      <a:pt x="5383520" y="2244489"/>
                    </a:lnTo>
                    <a:lnTo>
                      <a:pt x="5382975" y="2243321"/>
                    </a:lnTo>
                    <a:lnTo>
                      <a:pt x="5382477" y="2242776"/>
                    </a:lnTo>
                    <a:lnTo>
                      <a:pt x="5381602" y="2243044"/>
                    </a:lnTo>
                    <a:lnTo>
                      <a:pt x="5380327" y="2244081"/>
                    </a:lnTo>
                    <a:lnTo>
                      <a:pt x="5379528" y="2244234"/>
                    </a:lnTo>
                    <a:lnTo>
                      <a:pt x="5376367" y="2244024"/>
                    </a:lnTo>
                    <a:lnTo>
                      <a:pt x="5375594" y="2244591"/>
                    </a:lnTo>
                    <a:lnTo>
                      <a:pt x="5374282" y="2245916"/>
                    </a:lnTo>
                    <a:lnTo>
                      <a:pt x="5372273" y="2248957"/>
                    </a:lnTo>
                    <a:lnTo>
                      <a:pt x="5370896" y="2250084"/>
                    </a:lnTo>
                    <a:lnTo>
                      <a:pt x="5368719" y="2250055"/>
                    </a:lnTo>
                    <a:lnTo>
                      <a:pt x="5370404" y="2243371"/>
                    </a:lnTo>
                    <a:lnTo>
                      <a:pt x="5371853" y="2241290"/>
                    </a:lnTo>
                    <a:lnTo>
                      <a:pt x="5381469" y="2238784"/>
                    </a:lnTo>
                    <a:lnTo>
                      <a:pt x="5384977" y="2237206"/>
                    </a:lnTo>
                    <a:close/>
                    <a:moveTo>
                      <a:pt x="5906298" y="2211429"/>
                    </a:moveTo>
                    <a:lnTo>
                      <a:pt x="5907282" y="2213080"/>
                    </a:lnTo>
                    <a:lnTo>
                      <a:pt x="5906288" y="2217338"/>
                    </a:lnTo>
                    <a:lnTo>
                      <a:pt x="5904488" y="2220298"/>
                    </a:lnTo>
                    <a:lnTo>
                      <a:pt x="5902216" y="2220706"/>
                    </a:lnTo>
                    <a:lnTo>
                      <a:pt x="5901712" y="2218302"/>
                    </a:lnTo>
                    <a:lnTo>
                      <a:pt x="5905078" y="2212222"/>
                    </a:lnTo>
                    <a:close/>
                    <a:moveTo>
                      <a:pt x="5665267" y="2109261"/>
                    </a:moveTo>
                    <a:lnTo>
                      <a:pt x="5666875" y="2109564"/>
                    </a:lnTo>
                    <a:lnTo>
                      <a:pt x="5667389" y="2110534"/>
                    </a:lnTo>
                    <a:lnTo>
                      <a:pt x="5667043" y="2111897"/>
                    </a:lnTo>
                    <a:lnTo>
                      <a:pt x="5658097" y="2124367"/>
                    </a:lnTo>
                    <a:lnTo>
                      <a:pt x="5654386" y="2126695"/>
                    </a:lnTo>
                    <a:lnTo>
                      <a:pt x="5651105" y="2129646"/>
                    </a:lnTo>
                    <a:lnTo>
                      <a:pt x="5649437" y="2130359"/>
                    </a:lnTo>
                    <a:lnTo>
                      <a:pt x="5637963" y="2130977"/>
                    </a:lnTo>
                    <a:lnTo>
                      <a:pt x="5639809" y="2129734"/>
                    </a:lnTo>
                    <a:lnTo>
                      <a:pt x="5643907" y="2128731"/>
                    </a:lnTo>
                    <a:lnTo>
                      <a:pt x="5645331" y="2126552"/>
                    </a:lnTo>
                    <a:lnTo>
                      <a:pt x="5644471" y="2126719"/>
                    </a:lnTo>
                    <a:lnTo>
                      <a:pt x="5642616" y="2126643"/>
                    </a:lnTo>
                    <a:lnTo>
                      <a:pt x="5641741" y="2126745"/>
                    </a:lnTo>
                    <a:lnTo>
                      <a:pt x="5642156" y="2125661"/>
                    </a:lnTo>
                    <a:lnTo>
                      <a:pt x="5642319" y="2124989"/>
                    </a:lnTo>
                    <a:lnTo>
                      <a:pt x="5642724" y="2124496"/>
                    </a:lnTo>
                    <a:lnTo>
                      <a:pt x="5643901" y="2123952"/>
                    </a:lnTo>
                    <a:lnTo>
                      <a:pt x="5643665" y="2122622"/>
                    </a:lnTo>
                    <a:lnTo>
                      <a:pt x="5642628" y="2122790"/>
                    </a:lnTo>
                    <a:lnTo>
                      <a:pt x="5640405" y="2122693"/>
                    </a:lnTo>
                    <a:lnTo>
                      <a:pt x="5639355" y="2122854"/>
                    </a:lnTo>
                    <a:lnTo>
                      <a:pt x="5639119" y="2121524"/>
                    </a:lnTo>
                    <a:lnTo>
                      <a:pt x="5641583" y="2120569"/>
                    </a:lnTo>
                    <a:lnTo>
                      <a:pt x="5643745" y="2120924"/>
                    </a:lnTo>
                    <a:lnTo>
                      <a:pt x="5645806" y="2122283"/>
                    </a:lnTo>
                    <a:lnTo>
                      <a:pt x="5647934" y="2124407"/>
                    </a:lnTo>
                    <a:lnTo>
                      <a:pt x="5649869" y="2124669"/>
                    </a:lnTo>
                    <a:lnTo>
                      <a:pt x="5654179" y="2120568"/>
                    </a:lnTo>
                    <a:lnTo>
                      <a:pt x="5657453" y="2118631"/>
                    </a:lnTo>
                    <a:lnTo>
                      <a:pt x="5662531" y="2113558"/>
                    </a:lnTo>
                    <a:lnTo>
                      <a:pt x="5663115" y="2112471"/>
                    </a:lnTo>
                    <a:lnTo>
                      <a:pt x="5663640" y="2111077"/>
                    </a:lnTo>
                    <a:lnTo>
                      <a:pt x="5664283" y="2109834"/>
                    </a:lnTo>
                    <a:close/>
                    <a:moveTo>
                      <a:pt x="5067495" y="2108979"/>
                    </a:moveTo>
                    <a:lnTo>
                      <a:pt x="5069553" y="2109042"/>
                    </a:lnTo>
                    <a:lnTo>
                      <a:pt x="5072060" y="2110241"/>
                    </a:lnTo>
                    <a:lnTo>
                      <a:pt x="5074486" y="2112761"/>
                    </a:lnTo>
                    <a:lnTo>
                      <a:pt x="5075471" y="2114446"/>
                    </a:lnTo>
                    <a:lnTo>
                      <a:pt x="5076405" y="2117339"/>
                    </a:lnTo>
                    <a:lnTo>
                      <a:pt x="5076958" y="2122524"/>
                    </a:lnTo>
                    <a:lnTo>
                      <a:pt x="5074148" y="2122826"/>
                    </a:lnTo>
                    <a:lnTo>
                      <a:pt x="5069666" y="2118321"/>
                    </a:lnTo>
                    <a:lnTo>
                      <a:pt x="5067104" y="2114970"/>
                    </a:lnTo>
                    <a:lnTo>
                      <a:pt x="5065961" y="2113187"/>
                    </a:lnTo>
                    <a:lnTo>
                      <a:pt x="5065458" y="2111376"/>
                    </a:lnTo>
                    <a:lnTo>
                      <a:pt x="5066047" y="2109897"/>
                    </a:lnTo>
                    <a:close/>
                    <a:moveTo>
                      <a:pt x="5684390" y="2101394"/>
                    </a:moveTo>
                    <a:lnTo>
                      <a:pt x="5686679" y="2101930"/>
                    </a:lnTo>
                    <a:lnTo>
                      <a:pt x="5688247" y="2103601"/>
                    </a:lnTo>
                    <a:lnTo>
                      <a:pt x="5687967" y="2106781"/>
                    </a:lnTo>
                    <a:lnTo>
                      <a:pt x="5686632" y="2111246"/>
                    </a:lnTo>
                    <a:lnTo>
                      <a:pt x="5684282" y="2115621"/>
                    </a:lnTo>
                    <a:lnTo>
                      <a:pt x="5681379" y="2119403"/>
                    </a:lnTo>
                    <a:lnTo>
                      <a:pt x="5676447" y="2123315"/>
                    </a:lnTo>
                    <a:lnTo>
                      <a:pt x="5671340" y="2126122"/>
                    </a:lnTo>
                    <a:lnTo>
                      <a:pt x="5664617" y="2127761"/>
                    </a:lnTo>
                    <a:lnTo>
                      <a:pt x="5663086" y="2126957"/>
                    </a:lnTo>
                    <a:lnTo>
                      <a:pt x="5663885" y="2123541"/>
                    </a:lnTo>
                    <a:lnTo>
                      <a:pt x="5666716" y="2119068"/>
                    </a:lnTo>
                    <a:lnTo>
                      <a:pt x="5673313" y="2112264"/>
                    </a:lnTo>
                    <a:lnTo>
                      <a:pt x="5679026" y="2104091"/>
                    </a:lnTo>
                    <a:lnTo>
                      <a:pt x="5680714" y="2102558"/>
                    </a:lnTo>
                    <a:lnTo>
                      <a:pt x="5682505" y="2101595"/>
                    </a:lnTo>
                    <a:close/>
                    <a:moveTo>
                      <a:pt x="5666338" y="2087605"/>
                    </a:moveTo>
                    <a:lnTo>
                      <a:pt x="5667677" y="2089807"/>
                    </a:lnTo>
                    <a:lnTo>
                      <a:pt x="5669009" y="2092779"/>
                    </a:lnTo>
                    <a:lnTo>
                      <a:pt x="5669269" y="2094297"/>
                    </a:lnTo>
                    <a:lnTo>
                      <a:pt x="5674065" y="2093282"/>
                    </a:lnTo>
                    <a:lnTo>
                      <a:pt x="5676209" y="2093849"/>
                    </a:lnTo>
                    <a:lnTo>
                      <a:pt x="5679009" y="2096562"/>
                    </a:lnTo>
                    <a:lnTo>
                      <a:pt x="5677476" y="2098957"/>
                    </a:lnTo>
                    <a:lnTo>
                      <a:pt x="5675006" y="2100979"/>
                    </a:lnTo>
                    <a:lnTo>
                      <a:pt x="5669604" y="2103652"/>
                    </a:lnTo>
                    <a:lnTo>
                      <a:pt x="5662467" y="2103900"/>
                    </a:lnTo>
                    <a:lnTo>
                      <a:pt x="5659374" y="2104925"/>
                    </a:lnTo>
                    <a:lnTo>
                      <a:pt x="5658062" y="2108432"/>
                    </a:lnTo>
                    <a:lnTo>
                      <a:pt x="5659108" y="2108088"/>
                    </a:lnTo>
                    <a:lnTo>
                      <a:pt x="5661571" y="2108240"/>
                    </a:lnTo>
                    <a:lnTo>
                      <a:pt x="5654922" y="2115484"/>
                    </a:lnTo>
                    <a:lnTo>
                      <a:pt x="5651341" y="2118356"/>
                    </a:lnTo>
                    <a:lnTo>
                      <a:pt x="5648959" y="2116981"/>
                    </a:lnTo>
                    <a:lnTo>
                      <a:pt x="5649341" y="2113173"/>
                    </a:lnTo>
                    <a:lnTo>
                      <a:pt x="5651492" y="2108104"/>
                    </a:lnTo>
                    <a:lnTo>
                      <a:pt x="5654457" y="2103644"/>
                    </a:lnTo>
                    <a:lnTo>
                      <a:pt x="5658495" y="2100755"/>
                    </a:lnTo>
                    <a:lnTo>
                      <a:pt x="5661317" y="2096908"/>
                    </a:lnTo>
                    <a:lnTo>
                      <a:pt x="5663341" y="2095967"/>
                    </a:lnTo>
                    <a:lnTo>
                      <a:pt x="5663466" y="2094714"/>
                    </a:lnTo>
                    <a:lnTo>
                      <a:pt x="5665465" y="2089354"/>
                    </a:lnTo>
                    <a:lnTo>
                      <a:pt x="5666014" y="2088374"/>
                    </a:lnTo>
                    <a:close/>
                    <a:moveTo>
                      <a:pt x="6153108" y="2084489"/>
                    </a:moveTo>
                    <a:lnTo>
                      <a:pt x="6152962" y="2086384"/>
                    </a:lnTo>
                    <a:lnTo>
                      <a:pt x="6152308" y="2087714"/>
                    </a:lnTo>
                    <a:lnTo>
                      <a:pt x="6151218" y="2088472"/>
                    </a:lnTo>
                    <a:lnTo>
                      <a:pt x="6149790" y="2088780"/>
                    </a:lnTo>
                    <a:lnTo>
                      <a:pt x="6135319" y="2101532"/>
                    </a:lnTo>
                    <a:lnTo>
                      <a:pt x="6132155" y="2102788"/>
                    </a:lnTo>
                    <a:lnTo>
                      <a:pt x="6131390" y="2104198"/>
                    </a:lnTo>
                    <a:lnTo>
                      <a:pt x="6130940" y="2105978"/>
                    </a:lnTo>
                    <a:lnTo>
                      <a:pt x="6130235" y="2107810"/>
                    </a:lnTo>
                    <a:lnTo>
                      <a:pt x="6117471" y="2123674"/>
                    </a:lnTo>
                    <a:lnTo>
                      <a:pt x="6114788" y="2125714"/>
                    </a:lnTo>
                    <a:lnTo>
                      <a:pt x="6111602" y="2126855"/>
                    </a:lnTo>
                    <a:lnTo>
                      <a:pt x="6115624" y="2114678"/>
                    </a:lnTo>
                    <a:lnTo>
                      <a:pt x="6117588" y="2112787"/>
                    </a:lnTo>
                    <a:lnTo>
                      <a:pt x="6120407" y="2111212"/>
                    </a:lnTo>
                    <a:lnTo>
                      <a:pt x="6126781" y="2101179"/>
                    </a:lnTo>
                    <a:lnTo>
                      <a:pt x="6132151" y="2096966"/>
                    </a:lnTo>
                    <a:lnTo>
                      <a:pt x="6137385" y="2091057"/>
                    </a:lnTo>
                    <a:lnTo>
                      <a:pt x="6141491" y="2089914"/>
                    </a:lnTo>
                    <a:lnTo>
                      <a:pt x="6148565" y="2085667"/>
                    </a:lnTo>
                    <a:close/>
                    <a:moveTo>
                      <a:pt x="5654257" y="2080586"/>
                    </a:moveTo>
                    <a:lnTo>
                      <a:pt x="5655734" y="2082294"/>
                    </a:lnTo>
                    <a:lnTo>
                      <a:pt x="5654978" y="2085802"/>
                    </a:lnTo>
                    <a:lnTo>
                      <a:pt x="5652381" y="2092605"/>
                    </a:lnTo>
                    <a:lnTo>
                      <a:pt x="5652184" y="2095905"/>
                    </a:lnTo>
                    <a:lnTo>
                      <a:pt x="5652421" y="2099423"/>
                    </a:lnTo>
                    <a:lnTo>
                      <a:pt x="5651874" y="2102745"/>
                    </a:lnTo>
                    <a:lnTo>
                      <a:pt x="5650501" y="2105224"/>
                    </a:lnTo>
                    <a:lnTo>
                      <a:pt x="5648295" y="2106279"/>
                    </a:lnTo>
                    <a:lnTo>
                      <a:pt x="5647676" y="2106887"/>
                    </a:lnTo>
                    <a:lnTo>
                      <a:pt x="5645553" y="2111006"/>
                    </a:lnTo>
                    <a:lnTo>
                      <a:pt x="5645547" y="2111006"/>
                    </a:lnTo>
                    <a:lnTo>
                      <a:pt x="5644522" y="2112124"/>
                    </a:lnTo>
                    <a:lnTo>
                      <a:pt x="5633475" y="2115586"/>
                    </a:lnTo>
                    <a:lnTo>
                      <a:pt x="5629924" y="2115609"/>
                    </a:lnTo>
                    <a:lnTo>
                      <a:pt x="5626060" y="2114185"/>
                    </a:lnTo>
                    <a:lnTo>
                      <a:pt x="5629112" y="2111984"/>
                    </a:lnTo>
                    <a:lnTo>
                      <a:pt x="5637876" y="2112082"/>
                    </a:lnTo>
                    <a:lnTo>
                      <a:pt x="5641521" y="2110551"/>
                    </a:lnTo>
                    <a:lnTo>
                      <a:pt x="5638239" y="2109219"/>
                    </a:lnTo>
                    <a:lnTo>
                      <a:pt x="5627184" y="2110098"/>
                    </a:lnTo>
                    <a:lnTo>
                      <a:pt x="5626929" y="2108650"/>
                    </a:lnTo>
                    <a:lnTo>
                      <a:pt x="5630346" y="2107102"/>
                    </a:lnTo>
                    <a:lnTo>
                      <a:pt x="5637240" y="2105462"/>
                    </a:lnTo>
                    <a:lnTo>
                      <a:pt x="5640104" y="2102584"/>
                    </a:lnTo>
                    <a:lnTo>
                      <a:pt x="5630659" y="2102868"/>
                    </a:lnTo>
                    <a:lnTo>
                      <a:pt x="5627516" y="2101918"/>
                    </a:lnTo>
                    <a:lnTo>
                      <a:pt x="5629114" y="2100147"/>
                    </a:lnTo>
                    <a:lnTo>
                      <a:pt x="5644292" y="2090513"/>
                    </a:lnTo>
                    <a:lnTo>
                      <a:pt x="5647041" y="2089893"/>
                    </a:lnTo>
                    <a:lnTo>
                      <a:pt x="5648387" y="2093980"/>
                    </a:lnTo>
                    <a:lnTo>
                      <a:pt x="5649758" y="2092611"/>
                    </a:lnTo>
                    <a:lnTo>
                      <a:pt x="5651094" y="2090375"/>
                    </a:lnTo>
                    <a:lnTo>
                      <a:pt x="5651992" y="2087721"/>
                    </a:lnTo>
                    <a:lnTo>
                      <a:pt x="5652091" y="2082422"/>
                    </a:lnTo>
                    <a:lnTo>
                      <a:pt x="5652917" y="2080771"/>
                    </a:lnTo>
                    <a:close/>
                    <a:moveTo>
                      <a:pt x="5739960" y="2054918"/>
                    </a:moveTo>
                    <a:lnTo>
                      <a:pt x="5740813" y="2055453"/>
                    </a:lnTo>
                    <a:lnTo>
                      <a:pt x="5741267" y="2058102"/>
                    </a:lnTo>
                    <a:lnTo>
                      <a:pt x="5741195" y="2060369"/>
                    </a:lnTo>
                    <a:lnTo>
                      <a:pt x="5738730" y="2062623"/>
                    </a:lnTo>
                    <a:lnTo>
                      <a:pt x="5726881" y="2069849"/>
                    </a:lnTo>
                    <a:lnTo>
                      <a:pt x="5724470" y="2070133"/>
                    </a:lnTo>
                    <a:lnTo>
                      <a:pt x="5723773" y="2068542"/>
                    </a:lnTo>
                    <a:lnTo>
                      <a:pt x="5723533" y="2065519"/>
                    </a:lnTo>
                    <a:lnTo>
                      <a:pt x="5722208" y="2064461"/>
                    </a:lnTo>
                    <a:lnTo>
                      <a:pt x="5722936" y="2063485"/>
                    </a:lnTo>
                    <a:lnTo>
                      <a:pt x="5726129" y="2062605"/>
                    </a:lnTo>
                    <a:lnTo>
                      <a:pt x="5728192" y="2061382"/>
                    </a:lnTo>
                    <a:lnTo>
                      <a:pt x="5728863" y="2061184"/>
                    </a:lnTo>
                    <a:lnTo>
                      <a:pt x="5729571" y="2061095"/>
                    </a:lnTo>
                    <a:lnTo>
                      <a:pt x="5737916" y="2055565"/>
                    </a:lnTo>
                    <a:lnTo>
                      <a:pt x="5738568" y="2055192"/>
                    </a:lnTo>
                    <a:close/>
                    <a:moveTo>
                      <a:pt x="3326536" y="2053304"/>
                    </a:moveTo>
                    <a:lnTo>
                      <a:pt x="3329742" y="2054498"/>
                    </a:lnTo>
                    <a:lnTo>
                      <a:pt x="3331187" y="2055576"/>
                    </a:lnTo>
                    <a:lnTo>
                      <a:pt x="3332232" y="2057514"/>
                    </a:lnTo>
                    <a:lnTo>
                      <a:pt x="3331113" y="2058805"/>
                    </a:lnTo>
                    <a:lnTo>
                      <a:pt x="3332439" y="2062301"/>
                    </a:lnTo>
                    <a:lnTo>
                      <a:pt x="3333375" y="2065719"/>
                    </a:lnTo>
                    <a:lnTo>
                      <a:pt x="3334542" y="2068755"/>
                    </a:lnTo>
                    <a:lnTo>
                      <a:pt x="3336606" y="2071120"/>
                    </a:lnTo>
                    <a:lnTo>
                      <a:pt x="3335753" y="2071661"/>
                    </a:lnTo>
                    <a:lnTo>
                      <a:pt x="3335335" y="2072240"/>
                    </a:lnTo>
                    <a:lnTo>
                      <a:pt x="3335027" y="2072920"/>
                    </a:lnTo>
                    <a:lnTo>
                      <a:pt x="3334524" y="2073711"/>
                    </a:lnTo>
                    <a:lnTo>
                      <a:pt x="3337428" y="2074987"/>
                    </a:lnTo>
                    <a:lnTo>
                      <a:pt x="3345396" y="2076712"/>
                    </a:lnTo>
                    <a:lnTo>
                      <a:pt x="3354140" y="2075770"/>
                    </a:lnTo>
                    <a:lnTo>
                      <a:pt x="3357631" y="2072515"/>
                    </a:lnTo>
                    <a:lnTo>
                      <a:pt x="3359039" y="2071946"/>
                    </a:lnTo>
                    <a:lnTo>
                      <a:pt x="3368779" y="2072631"/>
                    </a:lnTo>
                    <a:lnTo>
                      <a:pt x="3371616" y="2073614"/>
                    </a:lnTo>
                    <a:lnTo>
                      <a:pt x="3372575" y="2074506"/>
                    </a:lnTo>
                    <a:lnTo>
                      <a:pt x="3373934" y="2076961"/>
                    </a:lnTo>
                    <a:lnTo>
                      <a:pt x="3374651" y="2077710"/>
                    </a:lnTo>
                    <a:lnTo>
                      <a:pt x="3376486" y="2078148"/>
                    </a:lnTo>
                    <a:lnTo>
                      <a:pt x="3379974" y="2078177"/>
                    </a:lnTo>
                    <a:lnTo>
                      <a:pt x="3381491" y="2079415"/>
                    </a:lnTo>
                    <a:lnTo>
                      <a:pt x="3378703" y="2080649"/>
                    </a:lnTo>
                    <a:lnTo>
                      <a:pt x="3383889" y="2082167"/>
                    </a:lnTo>
                    <a:lnTo>
                      <a:pt x="3383407" y="2083500"/>
                    </a:lnTo>
                    <a:lnTo>
                      <a:pt x="3383137" y="2084054"/>
                    </a:lnTo>
                    <a:lnTo>
                      <a:pt x="3382624" y="2084774"/>
                    </a:lnTo>
                    <a:lnTo>
                      <a:pt x="3384079" y="2086325"/>
                    </a:lnTo>
                    <a:lnTo>
                      <a:pt x="3383014" y="2088568"/>
                    </a:lnTo>
                    <a:lnTo>
                      <a:pt x="3380781" y="2090586"/>
                    </a:lnTo>
                    <a:lnTo>
                      <a:pt x="3378756" y="2091427"/>
                    </a:lnTo>
                    <a:lnTo>
                      <a:pt x="3378313" y="2092556"/>
                    </a:lnTo>
                    <a:lnTo>
                      <a:pt x="3379643" y="2095176"/>
                    </a:lnTo>
                    <a:lnTo>
                      <a:pt x="3382660" y="2099437"/>
                    </a:lnTo>
                    <a:lnTo>
                      <a:pt x="3376458" y="2104978"/>
                    </a:lnTo>
                    <a:lnTo>
                      <a:pt x="3374841" y="2105946"/>
                    </a:lnTo>
                    <a:lnTo>
                      <a:pt x="3375613" y="2108404"/>
                    </a:lnTo>
                    <a:lnTo>
                      <a:pt x="3377171" y="2109794"/>
                    </a:lnTo>
                    <a:lnTo>
                      <a:pt x="3379210" y="2110320"/>
                    </a:lnTo>
                    <a:lnTo>
                      <a:pt x="3381405" y="2110181"/>
                    </a:lnTo>
                    <a:lnTo>
                      <a:pt x="3380695" y="2111086"/>
                    </a:lnTo>
                    <a:lnTo>
                      <a:pt x="3379968" y="2112205"/>
                    </a:lnTo>
                    <a:lnTo>
                      <a:pt x="3379344" y="2112780"/>
                    </a:lnTo>
                    <a:lnTo>
                      <a:pt x="3379189" y="2114108"/>
                    </a:lnTo>
                    <a:lnTo>
                      <a:pt x="3380320" y="2114435"/>
                    </a:lnTo>
                    <a:lnTo>
                      <a:pt x="3380703" y="2114847"/>
                    </a:lnTo>
                    <a:lnTo>
                      <a:pt x="3380919" y="2115569"/>
                    </a:lnTo>
                    <a:lnTo>
                      <a:pt x="3381511" y="2116860"/>
                    </a:lnTo>
                    <a:lnTo>
                      <a:pt x="3379914" y="2119714"/>
                    </a:lnTo>
                    <a:lnTo>
                      <a:pt x="3377996" y="2122293"/>
                    </a:lnTo>
                    <a:lnTo>
                      <a:pt x="3373212" y="2127348"/>
                    </a:lnTo>
                    <a:lnTo>
                      <a:pt x="3377718" y="2127251"/>
                    </a:lnTo>
                    <a:lnTo>
                      <a:pt x="3379446" y="2128211"/>
                    </a:lnTo>
                    <a:lnTo>
                      <a:pt x="3380312" y="2133011"/>
                    </a:lnTo>
                    <a:lnTo>
                      <a:pt x="3381821" y="2134208"/>
                    </a:lnTo>
                    <a:lnTo>
                      <a:pt x="3385593" y="2135796"/>
                    </a:lnTo>
                    <a:lnTo>
                      <a:pt x="3384332" y="2137835"/>
                    </a:lnTo>
                    <a:lnTo>
                      <a:pt x="3383506" y="2138807"/>
                    </a:lnTo>
                    <a:lnTo>
                      <a:pt x="3382485" y="2139695"/>
                    </a:lnTo>
                    <a:lnTo>
                      <a:pt x="3382317" y="2141143"/>
                    </a:lnTo>
                    <a:lnTo>
                      <a:pt x="3384108" y="2142104"/>
                    </a:lnTo>
                    <a:lnTo>
                      <a:pt x="3385723" y="2145532"/>
                    </a:lnTo>
                    <a:lnTo>
                      <a:pt x="3387023" y="2146507"/>
                    </a:lnTo>
                    <a:lnTo>
                      <a:pt x="3388831" y="2146237"/>
                    </a:lnTo>
                    <a:lnTo>
                      <a:pt x="3393077" y="2144339"/>
                    </a:lnTo>
                    <a:lnTo>
                      <a:pt x="3395278" y="2144129"/>
                    </a:lnTo>
                    <a:lnTo>
                      <a:pt x="3393453" y="2145632"/>
                    </a:lnTo>
                    <a:lnTo>
                      <a:pt x="3391529" y="2146814"/>
                    </a:lnTo>
                    <a:lnTo>
                      <a:pt x="3389970" y="2148239"/>
                    </a:lnTo>
                    <a:lnTo>
                      <a:pt x="3389222" y="2150473"/>
                    </a:lnTo>
                    <a:lnTo>
                      <a:pt x="3390910" y="2150531"/>
                    </a:lnTo>
                    <a:lnTo>
                      <a:pt x="3392076" y="2150881"/>
                    </a:lnTo>
                    <a:lnTo>
                      <a:pt x="3392598" y="2152045"/>
                    </a:lnTo>
                    <a:lnTo>
                      <a:pt x="3392381" y="2153779"/>
                    </a:lnTo>
                    <a:lnTo>
                      <a:pt x="3391783" y="2154737"/>
                    </a:lnTo>
                    <a:lnTo>
                      <a:pt x="3390917" y="2155511"/>
                    </a:lnTo>
                    <a:lnTo>
                      <a:pt x="3389893" y="2156684"/>
                    </a:lnTo>
                    <a:lnTo>
                      <a:pt x="3386160" y="2158449"/>
                    </a:lnTo>
                    <a:lnTo>
                      <a:pt x="3373871" y="2159326"/>
                    </a:lnTo>
                    <a:lnTo>
                      <a:pt x="3370885" y="2158633"/>
                    </a:lnTo>
                    <a:lnTo>
                      <a:pt x="3369592" y="2156678"/>
                    </a:lnTo>
                    <a:lnTo>
                      <a:pt x="3367871" y="2154962"/>
                    </a:lnTo>
                    <a:lnTo>
                      <a:pt x="3366262" y="2154729"/>
                    </a:lnTo>
                    <a:lnTo>
                      <a:pt x="3365279" y="2157153"/>
                    </a:lnTo>
                    <a:lnTo>
                      <a:pt x="3363743" y="2158190"/>
                    </a:lnTo>
                    <a:lnTo>
                      <a:pt x="3351014" y="2162470"/>
                    </a:lnTo>
                    <a:lnTo>
                      <a:pt x="3348531" y="2162722"/>
                    </a:lnTo>
                    <a:lnTo>
                      <a:pt x="3342844" y="2162311"/>
                    </a:lnTo>
                    <a:lnTo>
                      <a:pt x="3340829" y="2161186"/>
                    </a:lnTo>
                    <a:lnTo>
                      <a:pt x="3339218" y="2159154"/>
                    </a:lnTo>
                    <a:lnTo>
                      <a:pt x="3337377" y="2157917"/>
                    </a:lnTo>
                    <a:lnTo>
                      <a:pt x="3334648" y="2159226"/>
                    </a:lnTo>
                    <a:lnTo>
                      <a:pt x="3338327" y="2161008"/>
                    </a:lnTo>
                    <a:lnTo>
                      <a:pt x="3336052" y="2163217"/>
                    </a:lnTo>
                    <a:lnTo>
                      <a:pt x="3331805" y="2164925"/>
                    </a:lnTo>
                    <a:lnTo>
                      <a:pt x="3329558" y="2165224"/>
                    </a:lnTo>
                    <a:lnTo>
                      <a:pt x="3327664" y="2166539"/>
                    </a:lnTo>
                    <a:lnTo>
                      <a:pt x="3316593" y="2169354"/>
                    </a:lnTo>
                    <a:lnTo>
                      <a:pt x="3315725" y="2165978"/>
                    </a:lnTo>
                    <a:lnTo>
                      <a:pt x="3308648" y="2164925"/>
                    </a:lnTo>
                    <a:lnTo>
                      <a:pt x="3300808" y="2166262"/>
                    </a:lnTo>
                    <a:lnTo>
                      <a:pt x="3297641" y="2170100"/>
                    </a:lnTo>
                    <a:lnTo>
                      <a:pt x="3298615" y="2170328"/>
                    </a:lnTo>
                    <a:lnTo>
                      <a:pt x="3303995" y="2173016"/>
                    </a:lnTo>
                    <a:lnTo>
                      <a:pt x="3311752" y="2171850"/>
                    </a:lnTo>
                    <a:lnTo>
                      <a:pt x="3314640" y="2172961"/>
                    </a:lnTo>
                    <a:lnTo>
                      <a:pt x="3317155" y="2175300"/>
                    </a:lnTo>
                    <a:lnTo>
                      <a:pt x="3319137" y="2178360"/>
                    </a:lnTo>
                    <a:lnTo>
                      <a:pt x="3320423" y="2181649"/>
                    </a:lnTo>
                    <a:lnTo>
                      <a:pt x="3317184" y="2184109"/>
                    </a:lnTo>
                    <a:lnTo>
                      <a:pt x="3311807" y="2185455"/>
                    </a:lnTo>
                    <a:lnTo>
                      <a:pt x="3306829" y="2185595"/>
                    </a:lnTo>
                    <a:lnTo>
                      <a:pt x="3304753" y="2184466"/>
                    </a:lnTo>
                    <a:lnTo>
                      <a:pt x="3304258" y="2181269"/>
                    </a:lnTo>
                    <a:lnTo>
                      <a:pt x="3302473" y="2177904"/>
                    </a:lnTo>
                    <a:lnTo>
                      <a:pt x="3300033" y="2175248"/>
                    </a:lnTo>
                    <a:lnTo>
                      <a:pt x="3296198" y="2173438"/>
                    </a:lnTo>
                    <a:lnTo>
                      <a:pt x="3293522" y="2170564"/>
                    </a:lnTo>
                    <a:lnTo>
                      <a:pt x="3291874" y="2169880"/>
                    </a:lnTo>
                    <a:lnTo>
                      <a:pt x="3289539" y="2169552"/>
                    </a:lnTo>
                    <a:lnTo>
                      <a:pt x="3280106" y="2165295"/>
                    </a:lnTo>
                    <a:lnTo>
                      <a:pt x="3276024" y="2164468"/>
                    </a:lnTo>
                    <a:lnTo>
                      <a:pt x="3271824" y="2164615"/>
                    </a:lnTo>
                    <a:lnTo>
                      <a:pt x="3267790" y="2166154"/>
                    </a:lnTo>
                    <a:lnTo>
                      <a:pt x="3267291" y="2163745"/>
                    </a:lnTo>
                    <a:lnTo>
                      <a:pt x="3265393" y="2163503"/>
                    </a:lnTo>
                    <a:lnTo>
                      <a:pt x="3260788" y="2164660"/>
                    </a:lnTo>
                    <a:lnTo>
                      <a:pt x="3253313" y="2163934"/>
                    </a:lnTo>
                    <a:lnTo>
                      <a:pt x="3251215" y="2162942"/>
                    </a:lnTo>
                    <a:lnTo>
                      <a:pt x="3246619" y="2157980"/>
                    </a:lnTo>
                    <a:lnTo>
                      <a:pt x="3244862" y="2157233"/>
                    </a:lnTo>
                    <a:lnTo>
                      <a:pt x="3239560" y="2156334"/>
                    </a:lnTo>
                    <a:lnTo>
                      <a:pt x="3236850" y="2155206"/>
                    </a:lnTo>
                    <a:lnTo>
                      <a:pt x="3232387" y="2150420"/>
                    </a:lnTo>
                    <a:lnTo>
                      <a:pt x="3204130" y="2135505"/>
                    </a:lnTo>
                    <a:lnTo>
                      <a:pt x="3206992" y="2133475"/>
                    </a:lnTo>
                    <a:lnTo>
                      <a:pt x="3208023" y="2133008"/>
                    </a:lnTo>
                    <a:lnTo>
                      <a:pt x="3205904" y="2131485"/>
                    </a:lnTo>
                    <a:lnTo>
                      <a:pt x="3203643" y="2132044"/>
                    </a:lnTo>
                    <a:lnTo>
                      <a:pt x="3201314" y="2133371"/>
                    </a:lnTo>
                    <a:lnTo>
                      <a:pt x="3198932" y="2134083"/>
                    </a:lnTo>
                    <a:lnTo>
                      <a:pt x="3199412" y="2132718"/>
                    </a:lnTo>
                    <a:lnTo>
                      <a:pt x="3199429" y="2132025"/>
                    </a:lnTo>
                    <a:lnTo>
                      <a:pt x="3199353" y="2131290"/>
                    </a:lnTo>
                    <a:lnTo>
                      <a:pt x="3199523" y="2129848"/>
                    </a:lnTo>
                    <a:lnTo>
                      <a:pt x="3197650" y="2131568"/>
                    </a:lnTo>
                    <a:lnTo>
                      <a:pt x="3196901" y="2132844"/>
                    </a:lnTo>
                    <a:lnTo>
                      <a:pt x="3195987" y="2133624"/>
                    </a:lnTo>
                    <a:lnTo>
                      <a:pt x="3193635" y="2133859"/>
                    </a:lnTo>
                    <a:lnTo>
                      <a:pt x="3191327" y="2133133"/>
                    </a:lnTo>
                    <a:lnTo>
                      <a:pt x="3187738" y="2130024"/>
                    </a:lnTo>
                    <a:lnTo>
                      <a:pt x="3185899" y="2129271"/>
                    </a:lnTo>
                    <a:lnTo>
                      <a:pt x="3183310" y="2127493"/>
                    </a:lnTo>
                    <a:lnTo>
                      <a:pt x="3180355" y="2123456"/>
                    </a:lnTo>
                    <a:lnTo>
                      <a:pt x="3177882" y="2118898"/>
                    </a:lnTo>
                    <a:lnTo>
                      <a:pt x="3176661" y="2115509"/>
                    </a:lnTo>
                    <a:lnTo>
                      <a:pt x="3175792" y="2115470"/>
                    </a:lnTo>
                    <a:lnTo>
                      <a:pt x="3174419" y="2118789"/>
                    </a:lnTo>
                    <a:lnTo>
                      <a:pt x="3171942" y="2119620"/>
                    </a:lnTo>
                    <a:lnTo>
                      <a:pt x="3169378" y="2118625"/>
                    </a:lnTo>
                    <a:lnTo>
                      <a:pt x="3167760" y="2116452"/>
                    </a:lnTo>
                    <a:lnTo>
                      <a:pt x="3167967" y="2115753"/>
                    </a:lnTo>
                    <a:lnTo>
                      <a:pt x="3168610" y="2110556"/>
                    </a:lnTo>
                    <a:lnTo>
                      <a:pt x="3168649" y="2108615"/>
                    </a:lnTo>
                    <a:lnTo>
                      <a:pt x="3168219" y="2107107"/>
                    </a:lnTo>
                    <a:lnTo>
                      <a:pt x="3166688" y="2104389"/>
                    </a:lnTo>
                    <a:lnTo>
                      <a:pt x="3156299" y="2093517"/>
                    </a:lnTo>
                    <a:lnTo>
                      <a:pt x="3154778" y="2089176"/>
                    </a:lnTo>
                    <a:lnTo>
                      <a:pt x="3156731" y="2090272"/>
                    </a:lnTo>
                    <a:lnTo>
                      <a:pt x="3158696" y="2090423"/>
                    </a:lnTo>
                    <a:lnTo>
                      <a:pt x="3169091" y="2088429"/>
                    </a:lnTo>
                    <a:lnTo>
                      <a:pt x="3170513" y="2087671"/>
                    </a:lnTo>
                    <a:lnTo>
                      <a:pt x="3172197" y="2086384"/>
                    </a:lnTo>
                    <a:lnTo>
                      <a:pt x="3174372" y="2085811"/>
                    </a:lnTo>
                    <a:lnTo>
                      <a:pt x="3176531" y="2085928"/>
                    </a:lnTo>
                    <a:lnTo>
                      <a:pt x="3178193" y="2086670"/>
                    </a:lnTo>
                    <a:lnTo>
                      <a:pt x="3180007" y="2087870"/>
                    </a:lnTo>
                    <a:lnTo>
                      <a:pt x="3181522" y="2088190"/>
                    </a:lnTo>
                    <a:lnTo>
                      <a:pt x="3193086" y="2087463"/>
                    </a:lnTo>
                    <a:lnTo>
                      <a:pt x="3228930" y="2093642"/>
                    </a:lnTo>
                    <a:lnTo>
                      <a:pt x="3235995" y="2092573"/>
                    </a:lnTo>
                    <a:lnTo>
                      <a:pt x="3240365" y="2084687"/>
                    </a:lnTo>
                    <a:lnTo>
                      <a:pt x="3240184" y="2083122"/>
                    </a:lnTo>
                    <a:lnTo>
                      <a:pt x="3239457" y="2082328"/>
                    </a:lnTo>
                    <a:lnTo>
                      <a:pt x="3239144" y="2081393"/>
                    </a:lnTo>
                    <a:lnTo>
                      <a:pt x="3240211" y="2079338"/>
                    </a:lnTo>
                    <a:lnTo>
                      <a:pt x="3241577" y="2078200"/>
                    </a:lnTo>
                    <a:lnTo>
                      <a:pt x="3245931" y="2076010"/>
                    </a:lnTo>
                    <a:lnTo>
                      <a:pt x="3251175" y="2074920"/>
                    </a:lnTo>
                    <a:lnTo>
                      <a:pt x="3258480" y="2071972"/>
                    </a:lnTo>
                    <a:lnTo>
                      <a:pt x="3262448" y="2072252"/>
                    </a:lnTo>
                    <a:lnTo>
                      <a:pt x="3267098" y="2074775"/>
                    </a:lnTo>
                    <a:lnTo>
                      <a:pt x="3269686" y="2074854"/>
                    </a:lnTo>
                    <a:lnTo>
                      <a:pt x="3271201" y="2071934"/>
                    </a:lnTo>
                    <a:lnTo>
                      <a:pt x="3272027" y="2068066"/>
                    </a:lnTo>
                    <a:lnTo>
                      <a:pt x="3273226" y="2066366"/>
                    </a:lnTo>
                    <a:lnTo>
                      <a:pt x="3286699" y="2061488"/>
                    </a:lnTo>
                    <a:lnTo>
                      <a:pt x="3291392" y="2062221"/>
                    </a:lnTo>
                    <a:lnTo>
                      <a:pt x="3294878" y="2066860"/>
                    </a:lnTo>
                    <a:lnTo>
                      <a:pt x="3294234" y="2067432"/>
                    </a:lnTo>
                    <a:lnTo>
                      <a:pt x="3293521" y="2068571"/>
                    </a:lnTo>
                    <a:lnTo>
                      <a:pt x="3292783" y="2069448"/>
                    </a:lnTo>
                    <a:lnTo>
                      <a:pt x="3295897" y="2069308"/>
                    </a:lnTo>
                    <a:lnTo>
                      <a:pt x="3305904" y="2063165"/>
                    </a:lnTo>
                    <a:lnTo>
                      <a:pt x="3322111" y="2059926"/>
                    </a:lnTo>
                    <a:lnTo>
                      <a:pt x="3321234" y="2063118"/>
                    </a:lnTo>
                    <a:lnTo>
                      <a:pt x="3323085" y="2064411"/>
                    </a:lnTo>
                    <a:lnTo>
                      <a:pt x="3325926" y="2064168"/>
                    </a:lnTo>
                    <a:lnTo>
                      <a:pt x="3327977" y="2062800"/>
                    </a:lnTo>
                    <a:lnTo>
                      <a:pt x="3328578" y="2060289"/>
                    </a:lnTo>
                    <a:lnTo>
                      <a:pt x="3328135" y="2057534"/>
                    </a:lnTo>
                    <a:close/>
                    <a:moveTo>
                      <a:pt x="5652031" y="2043003"/>
                    </a:moveTo>
                    <a:lnTo>
                      <a:pt x="5657176" y="2045143"/>
                    </a:lnTo>
                    <a:lnTo>
                      <a:pt x="5656784" y="2046953"/>
                    </a:lnTo>
                    <a:lnTo>
                      <a:pt x="5654797" y="2051371"/>
                    </a:lnTo>
                    <a:lnTo>
                      <a:pt x="5654923" y="2053096"/>
                    </a:lnTo>
                    <a:lnTo>
                      <a:pt x="5654879" y="2058454"/>
                    </a:lnTo>
                    <a:lnTo>
                      <a:pt x="5654631" y="2060144"/>
                    </a:lnTo>
                    <a:lnTo>
                      <a:pt x="5652057" y="2062880"/>
                    </a:lnTo>
                    <a:lnTo>
                      <a:pt x="5648135" y="2063374"/>
                    </a:lnTo>
                    <a:lnTo>
                      <a:pt x="5643888" y="2062090"/>
                    </a:lnTo>
                    <a:lnTo>
                      <a:pt x="5640363" y="2059586"/>
                    </a:lnTo>
                    <a:lnTo>
                      <a:pt x="5639729" y="2060960"/>
                    </a:lnTo>
                    <a:lnTo>
                      <a:pt x="5639529" y="2054077"/>
                    </a:lnTo>
                    <a:lnTo>
                      <a:pt x="5644880" y="2047034"/>
                    </a:lnTo>
                    <a:close/>
                    <a:moveTo>
                      <a:pt x="5150062" y="2041343"/>
                    </a:moveTo>
                    <a:lnTo>
                      <a:pt x="5152290" y="2041567"/>
                    </a:lnTo>
                    <a:lnTo>
                      <a:pt x="5154973" y="2042424"/>
                    </a:lnTo>
                    <a:lnTo>
                      <a:pt x="5157439" y="2043972"/>
                    </a:lnTo>
                    <a:lnTo>
                      <a:pt x="5158992" y="2046233"/>
                    </a:lnTo>
                    <a:lnTo>
                      <a:pt x="5157251" y="2046294"/>
                    </a:lnTo>
                    <a:lnTo>
                      <a:pt x="5157245" y="2046294"/>
                    </a:lnTo>
                    <a:lnTo>
                      <a:pt x="5156165" y="2047903"/>
                    </a:lnTo>
                    <a:lnTo>
                      <a:pt x="5155097" y="2051772"/>
                    </a:lnTo>
                    <a:lnTo>
                      <a:pt x="5154551" y="2053172"/>
                    </a:lnTo>
                    <a:lnTo>
                      <a:pt x="5153212" y="2054591"/>
                    </a:lnTo>
                    <a:lnTo>
                      <a:pt x="5151998" y="2055078"/>
                    </a:lnTo>
                    <a:lnTo>
                      <a:pt x="5150605" y="2055333"/>
                    </a:lnTo>
                    <a:lnTo>
                      <a:pt x="5148739" y="2056041"/>
                    </a:lnTo>
                    <a:lnTo>
                      <a:pt x="5146607" y="2058217"/>
                    </a:lnTo>
                    <a:lnTo>
                      <a:pt x="5145070" y="2061761"/>
                    </a:lnTo>
                    <a:lnTo>
                      <a:pt x="5145037" y="2065429"/>
                    </a:lnTo>
                    <a:lnTo>
                      <a:pt x="5147416" y="2068061"/>
                    </a:lnTo>
                    <a:lnTo>
                      <a:pt x="5138677" y="2073266"/>
                    </a:lnTo>
                    <a:lnTo>
                      <a:pt x="5135784" y="2073912"/>
                    </a:lnTo>
                    <a:lnTo>
                      <a:pt x="5134297" y="2073544"/>
                    </a:lnTo>
                    <a:lnTo>
                      <a:pt x="5132785" y="2072682"/>
                    </a:lnTo>
                    <a:lnTo>
                      <a:pt x="5131932" y="2071799"/>
                    </a:lnTo>
                    <a:lnTo>
                      <a:pt x="5132416" y="2071361"/>
                    </a:lnTo>
                    <a:lnTo>
                      <a:pt x="5138437" y="2070291"/>
                    </a:lnTo>
                    <a:lnTo>
                      <a:pt x="5139709" y="2069778"/>
                    </a:lnTo>
                    <a:lnTo>
                      <a:pt x="5140281" y="2068179"/>
                    </a:lnTo>
                    <a:lnTo>
                      <a:pt x="5140063" y="2066410"/>
                    </a:lnTo>
                    <a:lnTo>
                      <a:pt x="5139692" y="2064676"/>
                    </a:lnTo>
                    <a:lnTo>
                      <a:pt x="5139830" y="2063133"/>
                    </a:lnTo>
                    <a:lnTo>
                      <a:pt x="5140805" y="2061924"/>
                    </a:lnTo>
                    <a:lnTo>
                      <a:pt x="5143344" y="2059712"/>
                    </a:lnTo>
                    <a:lnTo>
                      <a:pt x="5143729" y="2058142"/>
                    </a:lnTo>
                    <a:lnTo>
                      <a:pt x="5144106" y="2055527"/>
                    </a:lnTo>
                    <a:lnTo>
                      <a:pt x="5145059" y="2053217"/>
                    </a:lnTo>
                    <a:lnTo>
                      <a:pt x="5145208" y="2050538"/>
                    </a:lnTo>
                    <a:lnTo>
                      <a:pt x="5143209" y="2046784"/>
                    </a:lnTo>
                    <a:lnTo>
                      <a:pt x="5146076" y="2042187"/>
                    </a:lnTo>
                    <a:lnTo>
                      <a:pt x="5147299" y="2041535"/>
                    </a:lnTo>
                    <a:close/>
                    <a:moveTo>
                      <a:pt x="5766694" y="2037632"/>
                    </a:moveTo>
                    <a:lnTo>
                      <a:pt x="5770590" y="2038597"/>
                    </a:lnTo>
                    <a:lnTo>
                      <a:pt x="5768523" y="2041007"/>
                    </a:lnTo>
                    <a:lnTo>
                      <a:pt x="5767828" y="2042472"/>
                    </a:lnTo>
                    <a:lnTo>
                      <a:pt x="5767398" y="2044279"/>
                    </a:lnTo>
                    <a:lnTo>
                      <a:pt x="5781303" y="2043442"/>
                    </a:lnTo>
                    <a:lnTo>
                      <a:pt x="5779985" y="2046831"/>
                    </a:lnTo>
                    <a:lnTo>
                      <a:pt x="5771407" y="2056101"/>
                    </a:lnTo>
                    <a:lnTo>
                      <a:pt x="5775006" y="2057038"/>
                    </a:lnTo>
                    <a:lnTo>
                      <a:pt x="5793934" y="2049385"/>
                    </a:lnTo>
                    <a:lnTo>
                      <a:pt x="5794200" y="2050712"/>
                    </a:lnTo>
                    <a:lnTo>
                      <a:pt x="5793451" y="2051110"/>
                    </a:lnTo>
                    <a:lnTo>
                      <a:pt x="5793034" y="2051807"/>
                    </a:lnTo>
                    <a:lnTo>
                      <a:pt x="5792690" y="2052659"/>
                    </a:lnTo>
                    <a:lnTo>
                      <a:pt x="5792201" y="2053521"/>
                    </a:lnTo>
                    <a:lnTo>
                      <a:pt x="5789883" y="2060300"/>
                    </a:lnTo>
                    <a:lnTo>
                      <a:pt x="5785772" y="2065553"/>
                    </a:lnTo>
                    <a:lnTo>
                      <a:pt x="5761054" y="2086801"/>
                    </a:lnTo>
                    <a:lnTo>
                      <a:pt x="5751316" y="2099732"/>
                    </a:lnTo>
                    <a:lnTo>
                      <a:pt x="5747356" y="2108100"/>
                    </a:lnTo>
                    <a:lnTo>
                      <a:pt x="5747141" y="2110737"/>
                    </a:lnTo>
                    <a:lnTo>
                      <a:pt x="5748383" y="2112385"/>
                    </a:lnTo>
                    <a:lnTo>
                      <a:pt x="5750023" y="2113690"/>
                    </a:lnTo>
                    <a:lnTo>
                      <a:pt x="5750991" y="2115266"/>
                    </a:lnTo>
                    <a:lnTo>
                      <a:pt x="5749963" y="2118967"/>
                    </a:lnTo>
                    <a:lnTo>
                      <a:pt x="5742078" y="2118680"/>
                    </a:lnTo>
                    <a:lnTo>
                      <a:pt x="5739104" y="2120654"/>
                    </a:lnTo>
                    <a:lnTo>
                      <a:pt x="5735927" y="2124869"/>
                    </a:lnTo>
                    <a:lnTo>
                      <a:pt x="5735555" y="2125563"/>
                    </a:lnTo>
                    <a:lnTo>
                      <a:pt x="5735342" y="2126432"/>
                    </a:lnTo>
                    <a:lnTo>
                      <a:pt x="5737188" y="2128181"/>
                    </a:lnTo>
                    <a:lnTo>
                      <a:pt x="5740613" y="2130771"/>
                    </a:lnTo>
                    <a:lnTo>
                      <a:pt x="5741666" y="2134584"/>
                    </a:lnTo>
                    <a:lnTo>
                      <a:pt x="5740482" y="2138414"/>
                    </a:lnTo>
                    <a:lnTo>
                      <a:pt x="5737924" y="2141509"/>
                    </a:lnTo>
                    <a:lnTo>
                      <a:pt x="5734792" y="2143184"/>
                    </a:lnTo>
                    <a:lnTo>
                      <a:pt x="5723705" y="2141343"/>
                    </a:lnTo>
                    <a:lnTo>
                      <a:pt x="5718365" y="2142461"/>
                    </a:lnTo>
                    <a:lnTo>
                      <a:pt x="5716696" y="2151081"/>
                    </a:lnTo>
                    <a:lnTo>
                      <a:pt x="5714778" y="2151620"/>
                    </a:lnTo>
                    <a:lnTo>
                      <a:pt x="5710468" y="2151287"/>
                    </a:lnTo>
                    <a:lnTo>
                      <a:pt x="5700233" y="2155147"/>
                    </a:lnTo>
                    <a:lnTo>
                      <a:pt x="5695706" y="2158697"/>
                    </a:lnTo>
                    <a:lnTo>
                      <a:pt x="5693109" y="2159642"/>
                    </a:lnTo>
                    <a:lnTo>
                      <a:pt x="5690842" y="2159631"/>
                    </a:lnTo>
                    <a:lnTo>
                      <a:pt x="5685770" y="2158037"/>
                    </a:lnTo>
                    <a:lnTo>
                      <a:pt x="5685527" y="2156699"/>
                    </a:lnTo>
                    <a:lnTo>
                      <a:pt x="5687297" y="2154504"/>
                    </a:lnTo>
                    <a:lnTo>
                      <a:pt x="5687024" y="2149878"/>
                    </a:lnTo>
                    <a:lnTo>
                      <a:pt x="5687253" y="2145185"/>
                    </a:lnTo>
                    <a:lnTo>
                      <a:pt x="5690545" y="2142866"/>
                    </a:lnTo>
                    <a:lnTo>
                      <a:pt x="5694621" y="2142184"/>
                    </a:lnTo>
                    <a:lnTo>
                      <a:pt x="5698457" y="2140602"/>
                    </a:lnTo>
                    <a:lnTo>
                      <a:pt x="5701926" y="2138296"/>
                    </a:lnTo>
                    <a:lnTo>
                      <a:pt x="5704864" y="2135372"/>
                    </a:lnTo>
                    <a:lnTo>
                      <a:pt x="5701727" y="2134540"/>
                    </a:lnTo>
                    <a:lnTo>
                      <a:pt x="5697669" y="2134117"/>
                    </a:lnTo>
                    <a:lnTo>
                      <a:pt x="5695498" y="2132391"/>
                    </a:lnTo>
                    <a:lnTo>
                      <a:pt x="5698033" y="2127690"/>
                    </a:lnTo>
                    <a:lnTo>
                      <a:pt x="5701060" y="2125497"/>
                    </a:lnTo>
                    <a:lnTo>
                      <a:pt x="5708063" y="2123472"/>
                    </a:lnTo>
                    <a:lnTo>
                      <a:pt x="5711193" y="2121575"/>
                    </a:lnTo>
                    <a:lnTo>
                      <a:pt x="5710161" y="2119784"/>
                    </a:lnTo>
                    <a:lnTo>
                      <a:pt x="5708859" y="2118531"/>
                    </a:lnTo>
                    <a:lnTo>
                      <a:pt x="5705833" y="2116645"/>
                    </a:lnTo>
                    <a:lnTo>
                      <a:pt x="5708272" y="2114300"/>
                    </a:lnTo>
                    <a:lnTo>
                      <a:pt x="5725452" y="2103526"/>
                    </a:lnTo>
                    <a:lnTo>
                      <a:pt x="5727346" y="2101145"/>
                    </a:lnTo>
                    <a:lnTo>
                      <a:pt x="5737423" y="2092487"/>
                    </a:lnTo>
                    <a:lnTo>
                      <a:pt x="5742061" y="2086643"/>
                    </a:lnTo>
                    <a:lnTo>
                      <a:pt x="5740229" y="2082216"/>
                    </a:lnTo>
                    <a:lnTo>
                      <a:pt x="5741688" y="2080580"/>
                    </a:lnTo>
                    <a:lnTo>
                      <a:pt x="5745433" y="2078555"/>
                    </a:lnTo>
                    <a:lnTo>
                      <a:pt x="5746741" y="2077014"/>
                    </a:lnTo>
                    <a:lnTo>
                      <a:pt x="5748566" y="2069111"/>
                    </a:lnTo>
                    <a:lnTo>
                      <a:pt x="5749412" y="2068024"/>
                    </a:lnTo>
                    <a:lnTo>
                      <a:pt x="5750702" y="2068172"/>
                    </a:lnTo>
                    <a:lnTo>
                      <a:pt x="5753494" y="2069013"/>
                    </a:lnTo>
                    <a:lnTo>
                      <a:pt x="5754922" y="2069170"/>
                    </a:lnTo>
                    <a:lnTo>
                      <a:pt x="5755865" y="2068682"/>
                    </a:lnTo>
                    <a:lnTo>
                      <a:pt x="5757791" y="2066730"/>
                    </a:lnTo>
                    <a:lnTo>
                      <a:pt x="5761102" y="2065366"/>
                    </a:lnTo>
                    <a:lnTo>
                      <a:pt x="5761289" y="2063580"/>
                    </a:lnTo>
                    <a:lnTo>
                      <a:pt x="5759861" y="2060148"/>
                    </a:lnTo>
                    <a:lnTo>
                      <a:pt x="5759527" y="2059080"/>
                    </a:lnTo>
                    <a:lnTo>
                      <a:pt x="5758984" y="2057754"/>
                    </a:lnTo>
                    <a:lnTo>
                      <a:pt x="5758498" y="2056798"/>
                    </a:lnTo>
                    <a:lnTo>
                      <a:pt x="5758350" y="2056880"/>
                    </a:lnTo>
                    <a:lnTo>
                      <a:pt x="5758276" y="2055156"/>
                    </a:lnTo>
                    <a:lnTo>
                      <a:pt x="5758591" y="2054564"/>
                    </a:lnTo>
                    <a:lnTo>
                      <a:pt x="5759015" y="2054106"/>
                    </a:lnTo>
                    <a:lnTo>
                      <a:pt x="5759308" y="2052810"/>
                    </a:lnTo>
                    <a:lnTo>
                      <a:pt x="5759715" y="2052074"/>
                    </a:lnTo>
                    <a:lnTo>
                      <a:pt x="5760492" y="2051380"/>
                    </a:lnTo>
                    <a:lnTo>
                      <a:pt x="5761145" y="2050351"/>
                    </a:lnTo>
                    <a:lnTo>
                      <a:pt x="5761144" y="2048680"/>
                    </a:lnTo>
                    <a:lnTo>
                      <a:pt x="5760396" y="2047759"/>
                    </a:lnTo>
                    <a:lnTo>
                      <a:pt x="5757769" y="2046555"/>
                    </a:lnTo>
                    <a:lnTo>
                      <a:pt x="5757117" y="2046114"/>
                    </a:lnTo>
                    <a:lnTo>
                      <a:pt x="5758013" y="2041971"/>
                    </a:lnTo>
                    <a:lnTo>
                      <a:pt x="5761857" y="2038944"/>
                    </a:lnTo>
                    <a:close/>
                    <a:moveTo>
                      <a:pt x="5686706" y="2017754"/>
                    </a:moveTo>
                    <a:lnTo>
                      <a:pt x="5689213" y="2018209"/>
                    </a:lnTo>
                    <a:lnTo>
                      <a:pt x="5691252" y="2024483"/>
                    </a:lnTo>
                    <a:lnTo>
                      <a:pt x="5694000" y="2022596"/>
                    </a:lnTo>
                    <a:lnTo>
                      <a:pt x="5695560" y="2021891"/>
                    </a:lnTo>
                    <a:lnTo>
                      <a:pt x="5696977" y="2022091"/>
                    </a:lnTo>
                    <a:lnTo>
                      <a:pt x="5698173" y="2023442"/>
                    </a:lnTo>
                    <a:lnTo>
                      <a:pt x="5698269" y="2024897"/>
                    </a:lnTo>
                    <a:lnTo>
                      <a:pt x="5697708" y="2026127"/>
                    </a:lnTo>
                    <a:lnTo>
                      <a:pt x="5696953" y="2026839"/>
                    </a:lnTo>
                    <a:lnTo>
                      <a:pt x="5697203" y="2028166"/>
                    </a:lnTo>
                    <a:lnTo>
                      <a:pt x="5698281" y="2028496"/>
                    </a:lnTo>
                    <a:lnTo>
                      <a:pt x="5701177" y="2030620"/>
                    </a:lnTo>
                    <a:lnTo>
                      <a:pt x="5699704" y="2032819"/>
                    </a:lnTo>
                    <a:lnTo>
                      <a:pt x="5699156" y="2033410"/>
                    </a:lnTo>
                    <a:lnTo>
                      <a:pt x="5695641" y="2034026"/>
                    </a:lnTo>
                    <a:lnTo>
                      <a:pt x="5690178" y="2038144"/>
                    </a:lnTo>
                    <a:lnTo>
                      <a:pt x="5687043" y="2039464"/>
                    </a:lnTo>
                    <a:lnTo>
                      <a:pt x="5690276" y="2041771"/>
                    </a:lnTo>
                    <a:lnTo>
                      <a:pt x="5693017" y="2041335"/>
                    </a:lnTo>
                    <a:lnTo>
                      <a:pt x="5695593" y="2039799"/>
                    </a:lnTo>
                    <a:lnTo>
                      <a:pt x="5698334" y="2038823"/>
                    </a:lnTo>
                    <a:lnTo>
                      <a:pt x="5701517" y="2039893"/>
                    </a:lnTo>
                    <a:lnTo>
                      <a:pt x="5701337" y="2042802"/>
                    </a:lnTo>
                    <a:lnTo>
                      <a:pt x="5698361" y="2048313"/>
                    </a:lnTo>
                    <a:lnTo>
                      <a:pt x="5695842" y="2057248"/>
                    </a:lnTo>
                    <a:lnTo>
                      <a:pt x="5691780" y="2065911"/>
                    </a:lnTo>
                    <a:lnTo>
                      <a:pt x="5692136" y="2067825"/>
                    </a:lnTo>
                    <a:lnTo>
                      <a:pt x="5695688" y="2067344"/>
                    </a:lnTo>
                    <a:lnTo>
                      <a:pt x="5695095" y="2073274"/>
                    </a:lnTo>
                    <a:lnTo>
                      <a:pt x="5693851" y="2078800"/>
                    </a:lnTo>
                    <a:lnTo>
                      <a:pt x="5691430" y="2082707"/>
                    </a:lnTo>
                    <a:lnTo>
                      <a:pt x="5687348" y="2083776"/>
                    </a:lnTo>
                    <a:lnTo>
                      <a:pt x="5687019" y="2080270"/>
                    </a:lnTo>
                    <a:lnTo>
                      <a:pt x="5685025" y="2080127"/>
                    </a:lnTo>
                    <a:lnTo>
                      <a:pt x="5682634" y="2080740"/>
                    </a:lnTo>
                    <a:lnTo>
                      <a:pt x="5681183" y="2079494"/>
                    </a:lnTo>
                    <a:lnTo>
                      <a:pt x="5685690" y="2070472"/>
                    </a:lnTo>
                    <a:lnTo>
                      <a:pt x="5684649" y="2069189"/>
                    </a:lnTo>
                    <a:lnTo>
                      <a:pt x="5682066" y="2071850"/>
                    </a:lnTo>
                    <a:lnTo>
                      <a:pt x="5678488" y="2072920"/>
                    </a:lnTo>
                    <a:lnTo>
                      <a:pt x="5674536" y="2072647"/>
                    </a:lnTo>
                    <a:lnTo>
                      <a:pt x="5670848" y="2071302"/>
                    </a:lnTo>
                    <a:lnTo>
                      <a:pt x="5671001" y="2068442"/>
                    </a:lnTo>
                    <a:lnTo>
                      <a:pt x="5671672" y="2066943"/>
                    </a:lnTo>
                    <a:lnTo>
                      <a:pt x="5674864" y="2064371"/>
                    </a:lnTo>
                    <a:lnTo>
                      <a:pt x="5673359" y="2063328"/>
                    </a:lnTo>
                    <a:lnTo>
                      <a:pt x="5670337" y="2061797"/>
                    </a:lnTo>
                    <a:lnTo>
                      <a:pt x="5668902" y="2060694"/>
                    </a:lnTo>
                    <a:lnTo>
                      <a:pt x="5673784" y="2060525"/>
                    </a:lnTo>
                    <a:lnTo>
                      <a:pt x="5679625" y="2058882"/>
                    </a:lnTo>
                    <a:lnTo>
                      <a:pt x="5684477" y="2055527"/>
                    </a:lnTo>
                    <a:lnTo>
                      <a:pt x="5686408" y="2050213"/>
                    </a:lnTo>
                    <a:lnTo>
                      <a:pt x="5683069" y="2050832"/>
                    </a:lnTo>
                    <a:lnTo>
                      <a:pt x="5677147" y="2053080"/>
                    </a:lnTo>
                    <a:lnTo>
                      <a:pt x="5673783" y="2053724"/>
                    </a:lnTo>
                    <a:lnTo>
                      <a:pt x="5672192" y="2053453"/>
                    </a:lnTo>
                    <a:lnTo>
                      <a:pt x="5671741" y="2052601"/>
                    </a:lnTo>
                    <a:lnTo>
                      <a:pt x="5672161" y="2051467"/>
                    </a:lnTo>
                    <a:lnTo>
                      <a:pt x="5673161" y="2050351"/>
                    </a:lnTo>
                    <a:lnTo>
                      <a:pt x="5674740" y="2049880"/>
                    </a:lnTo>
                    <a:lnTo>
                      <a:pt x="5678337" y="2050396"/>
                    </a:lnTo>
                    <a:lnTo>
                      <a:pt x="5680011" y="2049351"/>
                    </a:lnTo>
                    <a:lnTo>
                      <a:pt x="5674236" y="2046013"/>
                    </a:lnTo>
                    <a:lnTo>
                      <a:pt x="5672002" y="2043958"/>
                    </a:lnTo>
                    <a:lnTo>
                      <a:pt x="5673542" y="2042891"/>
                    </a:lnTo>
                    <a:lnTo>
                      <a:pt x="5676939" y="2042620"/>
                    </a:lnTo>
                    <a:lnTo>
                      <a:pt x="5679241" y="2041885"/>
                    </a:lnTo>
                    <a:lnTo>
                      <a:pt x="5680867" y="2040205"/>
                    </a:lnTo>
                    <a:lnTo>
                      <a:pt x="5682196" y="2037056"/>
                    </a:lnTo>
                    <a:lnTo>
                      <a:pt x="5680321" y="2036987"/>
                    </a:lnTo>
                    <a:lnTo>
                      <a:pt x="5676223" y="2039388"/>
                    </a:lnTo>
                    <a:lnTo>
                      <a:pt x="5673924" y="2040203"/>
                    </a:lnTo>
                    <a:lnTo>
                      <a:pt x="5675647" y="2030252"/>
                    </a:lnTo>
                    <a:lnTo>
                      <a:pt x="5677228" y="2025161"/>
                    </a:lnTo>
                    <a:lnTo>
                      <a:pt x="5679453" y="2022353"/>
                    </a:lnTo>
                    <a:lnTo>
                      <a:pt x="5680448" y="2028473"/>
                    </a:lnTo>
                    <a:lnTo>
                      <a:pt x="5680362" y="2030872"/>
                    </a:lnTo>
                    <a:lnTo>
                      <a:pt x="5679608" y="2033053"/>
                    </a:lnTo>
                    <a:lnTo>
                      <a:pt x="5686316" y="2030599"/>
                    </a:lnTo>
                    <a:lnTo>
                      <a:pt x="5688433" y="2028283"/>
                    </a:lnTo>
                    <a:lnTo>
                      <a:pt x="5686308" y="2024095"/>
                    </a:lnTo>
                    <a:lnTo>
                      <a:pt x="5685228" y="2020558"/>
                    </a:lnTo>
                    <a:close/>
                    <a:moveTo>
                      <a:pt x="6021685" y="2014156"/>
                    </a:moveTo>
                    <a:lnTo>
                      <a:pt x="6022646" y="2016880"/>
                    </a:lnTo>
                    <a:lnTo>
                      <a:pt x="6022394" y="2019520"/>
                    </a:lnTo>
                    <a:lnTo>
                      <a:pt x="6021357" y="2023324"/>
                    </a:lnTo>
                    <a:lnTo>
                      <a:pt x="6021307" y="2026265"/>
                    </a:lnTo>
                    <a:lnTo>
                      <a:pt x="6022691" y="2032210"/>
                    </a:lnTo>
                    <a:lnTo>
                      <a:pt x="6022805" y="2034698"/>
                    </a:lnTo>
                    <a:lnTo>
                      <a:pt x="6021345" y="2035811"/>
                    </a:lnTo>
                    <a:lnTo>
                      <a:pt x="6020059" y="2035452"/>
                    </a:lnTo>
                    <a:lnTo>
                      <a:pt x="6017428" y="2033712"/>
                    </a:lnTo>
                    <a:lnTo>
                      <a:pt x="6014996" y="2033665"/>
                    </a:lnTo>
                    <a:lnTo>
                      <a:pt x="6012649" y="2034840"/>
                    </a:lnTo>
                    <a:lnTo>
                      <a:pt x="6011465" y="2035157"/>
                    </a:lnTo>
                    <a:lnTo>
                      <a:pt x="6008565" y="2034596"/>
                    </a:lnTo>
                    <a:lnTo>
                      <a:pt x="6004280" y="2031872"/>
                    </a:lnTo>
                    <a:lnTo>
                      <a:pt x="6001379" y="2031824"/>
                    </a:lnTo>
                    <a:lnTo>
                      <a:pt x="6001049" y="2030381"/>
                    </a:lnTo>
                    <a:lnTo>
                      <a:pt x="6013156" y="2021447"/>
                    </a:lnTo>
                    <a:lnTo>
                      <a:pt x="6018850" y="2015639"/>
                    </a:lnTo>
                    <a:close/>
                    <a:moveTo>
                      <a:pt x="5836890" y="2012929"/>
                    </a:moveTo>
                    <a:lnTo>
                      <a:pt x="5837190" y="2014374"/>
                    </a:lnTo>
                    <a:lnTo>
                      <a:pt x="5836620" y="2015025"/>
                    </a:lnTo>
                    <a:lnTo>
                      <a:pt x="5836354" y="2015633"/>
                    </a:lnTo>
                    <a:lnTo>
                      <a:pt x="5836180" y="2016284"/>
                    </a:lnTo>
                    <a:lnTo>
                      <a:pt x="5835906" y="2017022"/>
                    </a:lnTo>
                    <a:lnTo>
                      <a:pt x="5848494" y="2016224"/>
                    </a:lnTo>
                    <a:lnTo>
                      <a:pt x="5851209" y="2015460"/>
                    </a:lnTo>
                    <a:lnTo>
                      <a:pt x="5853718" y="2014236"/>
                    </a:lnTo>
                    <a:lnTo>
                      <a:pt x="5856485" y="2013523"/>
                    </a:lnTo>
                    <a:lnTo>
                      <a:pt x="5859969" y="2014268"/>
                    </a:lnTo>
                    <a:lnTo>
                      <a:pt x="5859545" y="2017703"/>
                    </a:lnTo>
                    <a:lnTo>
                      <a:pt x="5860722" y="2023051"/>
                    </a:lnTo>
                    <a:lnTo>
                      <a:pt x="5860747" y="2026306"/>
                    </a:lnTo>
                    <a:lnTo>
                      <a:pt x="5866189" y="2025749"/>
                    </a:lnTo>
                    <a:lnTo>
                      <a:pt x="5876138" y="2020996"/>
                    </a:lnTo>
                    <a:lnTo>
                      <a:pt x="5886880" y="2018890"/>
                    </a:lnTo>
                    <a:lnTo>
                      <a:pt x="5889742" y="2019208"/>
                    </a:lnTo>
                    <a:lnTo>
                      <a:pt x="5891299" y="2020907"/>
                    </a:lnTo>
                    <a:lnTo>
                      <a:pt x="5890283" y="2021807"/>
                    </a:lnTo>
                    <a:lnTo>
                      <a:pt x="5885193" y="2024763"/>
                    </a:lnTo>
                    <a:lnTo>
                      <a:pt x="5883669" y="2026302"/>
                    </a:lnTo>
                    <a:lnTo>
                      <a:pt x="5895381" y="2023931"/>
                    </a:lnTo>
                    <a:lnTo>
                      <a:pt x="5897612" y="2025394"/>
                    </a:lnTo>
                    <a:lnTo>
                      <a:pt x="5896715" y="2025356"/>
                    </a:lnTo>
                    <a:lnTo>
                      <a:pt x="5896168" y="2025793"/>
                    </a:lnTo>
                    <a:lnTo>
                      <a:pt x="5895745" y="2026357"/>
                    </a:lnTo>
                    <a:lnTo>
                      <a:pt x="5895196" y="2026769"/>
                    </a:lnTo>
                    <a:lnTo>
                      <a:pt x="5885099" y="2029740"/>
                    </a:lnTo>
                    <a:lnTo>
                      <a:pt x="5884487" y="2030140"/>
                    </a:lnTo>
                    <a:lnTo>
                      <a:pt x="5884178" y="2031153"/>
                    </a:lnTo>
                    <a:lnTo>
                      <a:pt x="5884291" y="2032442"/>
                    </a:lnTo>
                    <a:lnTo>
                      <a:pt x="5884513" y="2033629"/>
                    </a:lnTo>
                    <a:lnTo>
                      <a:pt x="5884491" y="2034294"/>
                    </a:lnTo>
                    <a:lnTo>
                      <a:pt x="5881275" y="2036448"/>
                    </a:lnTo>
                    <a:lnTo>
                      <a:pt x="5877808" y="2036887"/>
                    </a:lnTo>
                    <a:lnTo>
                      <a:pt x="5870822" y="2036401"/>
                    </a:lnTo>
                    <a:lnTo>
                      <a:pt x="5867305" y="2037178"/>
                    </a:lnTo>
                    <a:lnTo>
                      <a:pt x="5848958" y="2047877"/>
                    </a:lnTo>
                    <a:lnTo>
                      <a:pt x="5842939" y="2056629"/>
                    </a:lnTo>
                    <a:lnTo>
                      <a:pt x="5840257" y="2059022"/>
                    </a:lnTo>
                    <a:lnTo>
                      <a:pt x="5837684" y="2060111"/>
                    </a:lnTo>
                    <a:lnTo>
                      <a:pt x="5834857" y="2059599"/>
                    </a:lnTo>
                    <a:lnTo>
                      <a:pt x="5831004" y="2058030"/>
                    </a:lnTo>
                    <a:lnTo>
                      <a:pt x="5827475" y="2055680"/>
                    </a:lnTo>
                    <a:lnTo>
                      <a:pt x="5825615" y="2052796"/>
                    </a:lnTo>
                    <a:lnTo>
                      <a:pt x="5828162" y="2048590"/>
                    </a:lnTo>
                    <a:lnTo>
                      <a:pt x="5847015" y="2036692"/>
                    </a:lnTo>
                    <a:lnTo>
                      <a:pt x="5844805" y="2035032"/>
                    </a:lnTo>
                    <a:lnTo>
                      <a:pt x="5837097" y="2036934"/>
                    </a:lnTo>
                    <a:lnTo>
                      <a:pt x="5833641" y="2036190"/>
                    </a:lnTo>
                    <a:lnTo>
                      <a:pt x="5835165" y="2034632"/>
                    </a:lnTo>
                    <a:lnTo>
                      <a:pt x="5832614" y="2034808"/>
                    </a:lnTo>
                    <a:lnTo>
                      <a:pt x="5830648" y="2035794"/>
                    </a:lnTo>
                    <a:lnTo>
                      <a:pt x="5827220" y="2039159"/>
                    </a:lnTo>
                    <a:lnTo>
                      <a:pt x="5831556" y="2038888"/>
                    </a:lnTo>
                    <a:lnTo>
                      <a:pt x="5826819" y="2042017"/>
                    </a:lnTo>
                    <a:lnTo>
                      <a:pt x="5820537" y="2039624"/>
                    </a:lnTo>
                    <a:lnTo>
                      <a:pt x="5816482" y="2033701"/>
                    </a:lnTo>
                    <a:lnTo>
                      <a:pt x="5818432" y="2026288"/>
                    </a:lnTo>
                    <a:lnTo>
                      <a:pt x="5822655" y="2024682"/>
                    </a:lnTo>
                    <a:lnTo>
                      <a:pt x="5823209" y="2023911"/>
                    </a:lnTo>
                    <a:lnTo>
                      <a:pt x="5823218" y="2022280"/>
                    </a:lnTo>
                    <a:lnTo>
                      <a:pt x="5823632" y="2020398"/>
                    </a:lnTo>
                    <a:lnTo>
                      <a:pt x="5824561" y="2017734"/>
                    </a:lnTo>
                    <a:lnTo>
                      <a:pt x="5826786" y="2015003"/>
                    </a:lnTo>
                    <a:lnTo>
                      <a:pt x="5829658" y="2013657"/>
                    </a:lnTo>
                    <a:close/>
                    <a:moveTo>
                      <a:pt x="5928685" y="1978760"/>
                    </a:moveTo>
                    <a:lnTo>
                      <a:pt x="5929937" y="1980133"/>
                    </a:lnTo>
                    <a:lnTo>
                      <a:pt x="5927850" y="1982419"/>
                    </a:lnTo>
                    <a:lnTo>
                      <a:pt x="5926976" y="1982893"/>
                    </a:lnTo>
                    <a:lnTo>
                      <a:pt x="5929691" y="1983974"/>
                    </a:lnTo>
                    <a:lnTo>
                      <a:pt x="5930791" y="1983981"/>
                    </a:lnTo>
                    <a:lnTo>
                      <a:pt x="5930294" y="1985639"/>
                    </a:lnTo>
                    <a:lnTo>
                      <a:pt x="5929602" y="1986886"/>
                    </a:lnTo>
                    <a:lnTo>
                      <a:pt x="5928649" y="1987768"/>
                    </a:lnTo>
                    <a:lnTo>
                      <a:pt x="5927393" y="1988356"/>
                    </a:lnTo>
                    <a:lnTo>
                      <a:pt x="5917860" y="1996174"/>
                    </a:lnTo>
                    <a:lnTo>
                      <a:pt x="5912858" y="1997900"/>
                    </a:lnTo>
                    <a:lnTo>
                      <a:pt x="5907412" y="2001775"/>
                    </a:lnTo>
                    <a:lnTo>
                      <a:pt x="5901266" y="2004151"/>
                    </a:lnTo>
                    <a:lnTo>
                      <a:pt x="5896000" y="2008563"/>
                    </a:lnTo>
                    <a:lnTo>
                      <a:pt x="5892076" y="2010508"/>
                    </a:lnTo>
                    <a:lnTo>
                      <a:pt x="5868099" y="2016961"/>
                    </a:lnTo>
                    <a:lnTo>
                      <a:pt x="5862820" y="2015309"/>
                    </a:lnTo>
                    <a:lnTo>
                      <a:pt x="5863494" y="2009578"/>
                    </a:lnTo>
                    <a:lnTo>
                      <a:pt x="5864370" y="2006314"/>
                    </a:lnTo>
                    <a:lnTo>
                      <a:pt x="5866517" y="2004768"/>
                    </a:lnTo>
                    <a:lnTo>
                      <a:pt x="5887480" y="2002983"/>
                    </a:lnTo>
                    <a:lnTo>
                      <a:pt x="5890634" y="2001537"/>
                    </a:lnTo>
                    <a:lnTo>
                      <a:pt x="5889615" y="2001042"/>
                    </a:lnTo>
                    <a:lnTo>
                      <a:pt x="5886619" y="1999127"/>
                    </a:lnTo>
                    <a:lnTo>
                      <a:pt x="5896732" y="1994743"/>
                    </a:lnTo>
                    <a:lnTo>
                      <a:pt x="5907096" y="1992281"/>
                    </a:lnTo>
                    <a:lnTo>
                      <a:pt x="5906806" y="1990956"/>
                    </a:lnTo>
                    <a:lnTo>
                      <a:pt x="5905729" y="1990460"/>
                    </a:lnTo>
                    <a:lnTo>
                      <a:pt x="5904946" y="1989831"/>
                    </a:lnTo>
                    <a:lnTo>
                      <a:pt x="5903639" y="1988477"/>
                    </a:lnTo>
                    <a:lnTo>
                      <a:pt x="5917298" y="1986040"/>
                    </a:lnTo>
                    <a:lnTo>
                      <a:pt x="5923535" y="1983541"/>
                    </a:lnTo>
                    <a:close/>
                    <a:moveTo>
                      <a:pt x="5714500" y="1976045"/>
                    </a:moveTo>
                    <a:lnTo>
                      <a:pt x="5715698" y="1976812"/>
                    </a:lnTo>
                    <a:lnTo>
                      <a:pt x="5716833" y="1977735"/>
                    </a:lnTo>
                    <a:lnTo>
                      <a:pt x="5717867" y="1978806"/>
                    </a:lnTo>
                    <a:lnTo>
                      <a:pt x="5721467" y="1983243"/>
                    </a:lnTo>
                    <a:lnTo>
                      <a:pt x="5723123" y="1984653"/>
                    </a:lnTo>
                    <a:lnTo>
                      <a:pt x="5724344" y="1984294"/>
                    </a:lnTo>
                    <a:lnTo>
                      <a:pt x="5725491" y="1982767"/>
                    </a:lnTo>
                    <a:lnTo>
                      <a:pt x="5727045" y="1981583"/>
                    </a:lnTo>
                    <a:lnTo>
                      <a:pt x="5728717" y="1980806"/>
                    </a:lnTo>
                    <a:lnTo>
                      <a:pt x="5730182" y="1980479"/>
                    </a:lnTo>
                    <a:lnTo>
                      <a:pt x="5729645" y="1985776"/>
                    </a:lnTo>
                    <a:lnTo>
                      <a:pt x="5728228" y="1988133"/>
                    </a:lnTo>
                    <a:lnTo>
                      <a:pt x="5725739" y="1988495"/>
                    </a:lnTo>
                    <a:lnTo>
                      <a:pt x="5722011" y="1987781"/>
                    </a:lnTo>
                    <a:lnTo>
                      <a:pt x="5720129" y="1988059"/>
                    </a:lnTo>
                    <a:lnTo>
                      <a:pt x="5714653" y="1990391"/>
                    </a:lnTo>
                    <a:lnTo>
                      <a:pt x="5711222" y="1991079"/>
                    </a:lnTo>
                    <a:lnTo>
                      <a:pt x="5712786" y="1988498"/>
                    </a:lnTo>
                    <a:lnTo>
                      <a:pt x="5713310" y="1987176"/>
                    </a:lnTo>
                    <a:lnTo>
                      <a:pt x="5713655" y="1985591"/>
                    </a:lnTo>
                    <a:lnTo>
                      <a:pt x="5710667" y="1986118"/>
                    </a:lnTo>
                    <a:lnTo>
                      <a:pt x="5707845" y="1987152"/>
                    </a:lnTo>
                    <a:lnTo>
                      <a:pt x="5708995" y="1986183"/>
                    </a:lnTo>
                    <a:lnTo>
                      <a:pt x="5713399" y="1984268"/>
                    </a:lnTo>
                    <a:lnTo>
                      <a:pt x="5713154" y="1982081"/>
                    </a:lnTo>
                    <a:lnTo>
                      <a:pt x="5712023" y="1980806"/>
                    </a:lnTo>
                    <a:lnTo>
                      <a:pt x="5710523" y="1980306"/>
                    </a:lnTo>
                    <a:lnTo>
                      <a:pt x="5709187" y="1980511"/>
                    </a:lnTo>
                    <a:lnTo>
                      <a:pt x="5710264" y="1978900"/>
                    </a:lnTo>
                    <a:close/>
                    <a:moveTo>
                      <a:pt x="2473688" y="1972636"/>
                    </a:moveTo>
                    <a:lnTo>
                      <a:pt x="2474162" y="1976385"/>
                    </a:lnTo>
                    <a:lnTo>
                      <a:pt x="2471903" y="1979180"/>
                    </a:lnTo>
                    <a:lnTo>
                      <a:pt x="2471468" y="1983721"/>
                    </a:lnTo>
                    <a:lnTo>
                      <a:pt x="2472332" y="1987999"/>
                    </a:lnTo>
                    <a:lnTo>
                      <a:pt x="2473956" y="1989956"/>
                    </a:lnTo>
                    <a:lnTo>
                      <a:pt x="2475462" y="1991141"/>
                    </a:lnTo>
                    <a:lnTo>
                      <a:pt x="2481962" y="1998625"/>
                    </a:lnTo>
                    <a:lnTo>
                      <a:pt x="2513182" y="2017930"/>
                    </a:lnTo>
                    <a:lnTo>
                      <a:pt x="2516884" y="2018772"/>
                    </a:lnTo>
                    <a:lnTo>
                      <a:pt x="2529206" y="2017063"/>
                    </a:lnTo>
                    <a:lnTo>
                      <a:pt x="2532866" y="2018445"/>
                    </a:lnTo>
                    <a:lnTo>
                      <a:pt x="2541332" y="2027839"/>
                    </a:lnTo>
                    <a:lnTo>
                      <a:pt x="2541330" y="2027848"/>
                    </a:lnTo>
                    <a:lnTo>
                      <a:pt x="2542565" y="2029650"/>
                    </a:lnTo>
                    <a:lnTo>
                      <a:pt x="2549179" y="2033850"/>
                    </a:lnTo>
                    <a:lnTo>
                      <a:pt x="2550914" y="2035977"/>
                    </a:lnTo>
                    <a:lnTo>
                      <a:pt x="2549108" y="2035803"/>
                    </a:lnTo>
                    <a:lnTo>
                      <a:pt x="2543678" y="2036820"/>
                    </a:lnTo>
                    <a:lnTo>
                      <a:pt x="2541823" y="2036066"/>
                    </a:lnTo>
                    <a:lnTo>
                      <a:pt x="2539365" y="2033102"/>
                    </a:lnTo>
                    <a:lnTo>
                      <a:pt x="2532245" y="2028558"/>
                    </a:lnTo>
                    <a:lnTo>
                      <a:pt x="2529997" y="2027781"/>
                    </a:lnTo>
                    <a:lnTo>
                      <a:pt x="2524770" y="2028423"/>
                    </a:lnTo>
                    <a:lnTo>
                      <a:pt x="2518801" y="2026549"/>
                    </a:lnTo>
                    <a:lnTo>
                      <a:pt x="2514229" y="2027579"/>
                    </a:lnTo>
                    <a:lnTo>
                      <a:pt x="2509591" y="2029313"/>
                    </a:lnTo>
                    <a:lnTo>
                      <a:pt x="2505401" y="2030081"/>
                    </a:lnTo>
                    <a:lnTo>
                      <a:pt x="2501975" y="2029298"/>
                    </a:lnTo>
                    <a:lnTo>
                      <a:pt x="2499035" y="2027675"/>
                    </a:lnTo>
                    <a:lnTo>
                      <a:pt x="2493797" y="2023123"/>
                    </a:lnTo>
                    <a:lnTo>
                      <a:pt x="2492491" y="2022338"/>
                    </a:lnTo>
                    <a:lnTo>
                      <a:pt x="2489487" y="2021470"/>
                    </a:lnTo>
                    <a:lnTo>
                      <a:pt x="2488195" y="2020752"/>
                    </a:lnTo>
                    <a:lnTo>
                      <a:pt x="2486925" y="2019207"/>
                    </a:lnTo>
                    <a:lnTo>
                      <a:pt x="2485646" y="2015702"/>
                    </a:lnTo>
                    <a:lnTo>
                      <a:pt x="2484581" y="2013770"/>
                    </a:lnTo>
                    <a:lnTo>
                      <a:pt x="2482533" y="2011614"/>
                    </a:lnTo>
                    <a:lnTo>
                      <a:pt x="2458245" y="1994473"/>
                    </a:lnTo>
                    <a:lnTo>
                      <a:pt x="2451899" y="1992373"/>
                    </a:lnTo>
                    <a:lnTo>
                      <a:pt x="2453921" y="1991358"/>
                    </a:lnTo>
                    <a:lnTo>
                      <a:pt x="2454746" y="1991123"/>
                    </a:lnTo>
                    <a:lnTo>
                      <a:pt x="2454864" y="1988899"/>
                    </a:lnTo>
                    <a:lnTo>
                      <a:pt x="2455181" y="1986868"/>
                    </a:lnTo>
                    <a:lnTo>
                      <a:pt x="2455751" y="1984991"/>
                    </a:lnTo>
                    <a:lnTo>
                      <a:pt x="2456677" y="1983182"/>
                    </a:lnTo>
                    <a:lnTo>
                      <a:pt x="2457140" y="1981843"/>
                    </a:lnTo>
                    <a:lnTo>
                      <a:pt x="2457270" y="1980553"/>
                    </a:lnTo>
                    <a:lnTo>
                      <a:pt x="2457567" y="1979587"/>
                    </a:lnTo>
                    <a:lnTo>
                      <a:pt x="2458505" y="1979272"/>
                    </a:lnTo>
                    <a:lnTo>
                      <a:pt x="2459725" y="1979210"/>
                    </a:lnTo>
                    <a:lnTo>
                      <a:pt x="2460805" y="1978888"/>
                    </a:lnTo>
                    <a:lnTo>
                      <a:pt x="2462347" y="1978208"/>
                    </a:lnTo>
                    <a:lnTo>
                      <a:pt x="2469984" y="1973485"/>
                    </a:lnTo>
                    <a:close/>
                    <a:moveTo>
                      <a:pt x="5645916" y="1971948"/>
                    </a:moveTo>
                    <a:lnTo>
                      <a:pt x="5647437" y="1972572"/>
                    </a:lnTo>
                    <a:lnTo>
                      <a:pt x="5648614" y="1974218"/>
                    </a:lnTo>
                    <a:lnTo>
                      <a:pt x="5649726" y="1976339"/>
                    </a:lnTo>
                    <a:lnTo>
                      <a:pt x="5651091" y="1978349"/>
                    </a:lnTo>
                    <a:lnTo>
                      <a:pt x="5651065" y="1975666"/>
                    </a:lnTo>
                    <a:lnTo>
                      <a:pt x="5651454" y="1973733"/>
                    </a:lnTo>
                    <a:lnTo>
                      <a:pt x="5652563" y="1973049"/>
                    </a:lnTo>
                    <a:lnTo>
                      <a:pt x="5656647" y="1975423"/>
                    </a:lnTo>
                    <a:lnTo>
                      <a:pt x="5659052" y="1977520"/>
                    </a:lnTo>
                    <a:lnTo>
                      <a:pt x="5661179" y="1980021"/>
                    </a:lnTo>
                    <a:lnTo>
                      <a:pt x="5662318" y="1982451"/>
                    </a:lnTo>
                    <a:lnTo>
                      <a:pt x="5661242" y="1983842"/>
                    </a:lnTo>
                    <a:lnTo>
                      <a:pt x="5653179" y="1984917"/>
                    </a:lnTo>
                    <a:lnTo>
                      <a:pt x="5653164" y="1985539"/>
                    </a:lnTo>
                    <a:lnTo>
                      <a:pt x="5653223" y="1986835"/>
                    </a:lnTo>
                    <a:lnTo>
                      <a:pt x="5653013" y="1988233"/>
                    </a:lnTo>
                    <a:lnTo>
                      <a:pt x="5652208" y="1989107"/>
                    </a:lnTo>
                    <a:lnTo>
                      <a:pt x="5651419" y="1988721"/>
                    </a:lnTo>
                    <a:lnTo>
                      <a:pt x="5647664" y="1985951"/>
                    </a:lnTo>
                    <a:lnTo>
                      <a:pt x="5640348" y="1977610"/>
                    </a:lnTo>
                    <a:lnTo>
                      <a:pt x="5642342" y="1976257"/>
                    </a:lnTo>
                    <a:lnTo>
                      <a:pt x="5644526" y="1977186"/>
                    </a:lnTo>
                    <a:lnTo>
                      <a:pt x="5646737" y="1978896"/>
                    </a:lnTo>
                    <a:lnTo>
                      <a:pt x="5648748" y="1979811"/>
                    </a:lnTo>
                    <a:lnTo>
                      <a:pt x="5645931" y="1975571"/>
                    </a:lnTo>
                    <a:lnTo>
                      <a:pt x="5644985" y="1973115"/>
                    </a:lnTo>
                    <a:close/>
                    <a:moveTo>
                      <a:pt x="5620452" y="1970936"/>
                    </a:moveTo>
                    <a:lnTo>
                      <a:pt x="5622840" y="1971903"/>
                    </a:lnTo>
                    <a:lnTo>
                      <a:pt x="5625294" y="1973330"/>
                    </a:lnTo>
                    <a:lnTo>
                      <a:pt x="5627387" y="1975763"/>
                    </a:lnTo>
                    <a:lnTo>
                      <a:pt x="5627976" y="1978232"/>
                    </a:lnTo>
                    <a:lnTo>
                      <a:pt x="5625927" y="1979745"/>
                    </a:lnTo>
                    <a:lnTo>
                      <a:pt x="5626166" y="1981062"/>
                    </a:lnTo>
                    <a:lnTo>
                      <a:pt x="5628786" y="1981245"/>
                    </a:lnTo>
                    <a:lnTo>
                      <a:pt x="5630412" y="1983672"/>
                    </a:lnTo>
                    <a:lnTo>
                      <a:pt x="5630979" y="1987106"/>
                    </a:lnTo>
                    <a:lnTo>
                      <a:pt x="5630466" y="1990312"/>
                    </a:lnTo>
                    <a:lnTo>
                      <a:pt x="5628755" y="1992829"/>
                    </a:lnTo>
                    <a:lnTo>
                      <a:pt x="5626828" y="1993301"/>
                    </a:lnTo>
                    <a:lnTo>
                      <a:pt x="5624787" y="1992368"/>
                    </a:lnTo>
                    <a:lnTo>
                      <a:pt x="5622769" y="1990734"/>
                    </a:lnTo>
                    <a:lnTo>
                      <a:pt x="5622764" y="1990734"/>
                    </a:lnTo>
                    <a:lnTo>
                      <a:pt x="5618840" y="1987318"/>
                    </a:lnTo>
                    <a:lnTo>
                      <a:pt x="5614475" y="1982729"/>
                    </a:lnTo>
                    <a:lnTo>
                      <a:pt x="5612661" y="1978209"/>
                    </a:lnTo>
                    <a:lnTo>
                      <a:pt x="5616362" y="1975053"/>
                    </a:lnTo>
                    <a:lnTo>
                      <a:pt x="5614069" y="1972982"/>
                    </a:lnTo>
                    <a:lnTo>
                      <a:pt x="5613285" y="1972427"/>
                    </a:lnTo>
                    <a:close/>
                    <a:moveTo>
                      <a:pt x="2458997" y="1955860"/>
                    </a:moveTo>
                    <a:lnTo>
                      <a:pt x="2459797" y="1957436"/>
                    </a:lnTo>
                    <a:lnTo>
                      <a:pt x="2459418" y="1959165"/>
                    </a:lnTo>
                    <a:lnTo>
                      <a:pt x="2459138" y="1961206"/>
                    </a:lnTo>
                    <a:lnTo>
                      <a:pt x="2458363" y="1963371"/>
                    </a:lnTo>
                    <a:lnTo>
                      <a:pt x="2457860" y="1964392"/>
                    </a:lnTo>
                    <a:lnTo>
                      <a:pt x="2458567" y="1966803"/>
                    </a:lnTo>
                    <a:lnTo>
                      <a:pt x="2458407" y="1968101"/>
                    </a:lnTo>
                    <a:lnTo>
                      <a:pt x="2457595" y="1968562"/>
                    </a:lnTo>
                    <a:lnTo>
                      <a:pt x="2456441" y="1967897"/>
                    </a:lnTo>
                    <a:lnTo>
                      <a:pt x="2452953" y="1963567"/>
                    </a:lnTo>
                    <a:lnTo>
                      <a:pt x="2452164" y="1961897"/>
                    </a:lnTo>
                    <a:lnTo>
                      <a:pt x="2452971" y="1959750"/>
                    </a:lnTo>
                    <a:lnTo>
                      <a:pt x="2455936" y="1956890"/>
                    </a:lnTo>
                    <a:close/>
                    <a:moveTo>
                      <a:pt x="5791968" y="1938451"/>
                    </a:moveTo>
                    <a:lnTo>
                      <a:pt x="5795167" y="1939855"/>
                    </a:lnTo>
                    <a:lnTo>
                      <a:pt x="5799130" y="1943101"/>
                    </a:lnTo>
                    <a:lnTo>
                      <a:pt x="5800784" y="1945696"/>
                    </a:lnTo>
                    <a:lnTo>
                      <a:pt x="5799476" y="1947954"/>
                    </a:lnTo>
                    <a:lnTo>
                      <a:pt x="5797930" y="1950772"/>
                    </a:lnTo>
                    <a:lnTo>
                      <a:pt x="5794549" y="1953446"/>
                    </a:lnTo>
                    <a:lnTo>
                      <a:pt x="5790463" y="1952919"/>
                    </a:lnTo>
                    <a:lnTo>
                      <a:pt x="5788159" y="1950641"/>
                    </a:lnTo>
                    <a:lnTo>
                      <a:pt x="5786092" y="1946180"/>
                    </a:lnTo>
                    <a:lnTo>
                      <a:pt x="5787340" y="1943652"/>
                    </a:lnTo>
                    <a:lnTo>
                      <a:pt x="5791132" y="1942848"/>
                    </a:lnTo>
                    <a:lnTo>
                      <a:pt x="5792438" y="1940586"/>
                    </a:lnTo>
                    <a:close/>
                    <a:moveTo>
                      <a:pt x="5630522" y="1937970"/>
                    </a:moveTo>
                    <a:lnTo>
                      <a:pt x="5639508" y="1942323"/>
                    </a:lnTo>
                    <a:lnTo>
                      <a:pt x="5643629" y="1945959"/>
                    </a:lnTo>
                    <a:lnTo>
                      <a:pt x="5644153" y="1950674"/>
                    </a:lnTo>
                    <a:lnTo>
                      <a:pt x="5647999" y="1955004"/>
                    </a:lnTo>
                    <a:lnTo>
                      <a:pt x="5649346" y="1957452"/>
                    </a:lnTo>
                    <a:lnTo>
                      <a:pt x="5649404" y="1959854"/>
                    </a:lnTo>
                    <a:lnTo>
                      <a:pt x="5647910" y="1961267"/>
                    </a:lnTo>
                    <a:lnTo>
                      <a:pt x="5645961" y="1960230"/>
                    </a:lnTo>
                    <a:lnTo>
                      <a:pt x="5643972" y="1958383"/>
                    </a:lnTo>
                    <a:lnTo>
                      <a:pt x="5642404" y="1957460"/>
                    </a:lnTo>
                    <a:lnTo>
                      <a:pt x="5638272" y="1963766"/>
                    </a:lnTo>
                    <a:lnTo>
                      <a:pt x="5636528" y="1964865"/>
                    </a:lnTo>
                    <a:lnTo>
                      <a:pt x="5628204" y="1963583"/>
                    </a:lnTo>
                    <a:lnTo>
                      <a:pt x="5628198" y="1963583"/>
                    </a:lnTo>
                    <a:lnTo>
                      <a:pt x="5624672" y="1964280"/>
                    </a:lnTo>
                    <a:lnTo>
                      <a:pt x="5623164" y="1963766"/>
                    </a:lnTo>
                    <a:lnTo>
                      <a:pt x="5621718" y="1961393"/>
                    </a:lnTo>
                    <a:lnTo>
                      <a:pt x="5621037" y="1958844"/>
                    </a:lnTo>
                    <a:lnTo>
                      <a:pt x="5620995" y="1956801"/>
                    </a:lnTo>
                    <a:lnTo>
                      <a:pt x="5621152" y="1954874"/>
                    </a:lnTo>
                    <a:lnTo>
                      <a:pt x="5620993" y="1952638"/>
                    </a:lnTo>
                    <a:lnTo>
                      <a:pt x="5622431" y="1948763"/>
                    </a:lnTo>
                    <a:lnTo>
                      <a:pt x="5625677" y="1945743"/>
                    </a:lnTo>
                    <a:lnTo>
                      <a:pt x="5626702" y="1943298"/>
                    </a:lnTo>
                    <a:lnTo>
                      <a:pt x="5621496" y="1941128"/>
                    </a:lnTo>
                    <a:lnTo>
                      <a:pt x="5621277" y="1939931"/>
                    </a:lnTo>
                    <a:lnTo>
                      <a:pt x="5623598" y="1939913"/>
                    </a:lnTo>
                    <a:close/>
                    <a:moveTo>
                      <a:pt x="5743021" y="1935596"/>
                    </a:moveTo>
                    <a:lnTo>
                      <a:pt x="5743775" y="1935725"/>
                    </a:lnTo>
                    <a:lnTo>
                      <a:pt x="5744130" y="1937066"/>
                    </a:lnTo>
                    <a:lnTo>
                      <a:pt x="5745200" y="1936803"/>
                    </a:lnTo>
                    <a:lnTo>
                      <a:pt x="5746055" y="1936097"/>
                    </a:lnTo>
                    <a:lnTo>
                      <a:pt x="5746285" y="1937557"/>
                    </a:lnTo>
                    <a:lnTo>
                      <a:pt x="5745153" y="1939675"/>
                    </a:lnTo>
                    <a:lnTo>
                      <a:pt x="5742328" y="1942237"/>
                    </a:lnTo>
                    <a:lnTo>
                      <a:pt x="5743094" y="1942574"/>
                    </a:lnTo>
                    <a:lnTo>
                      <a:pt x="5745573" y="1941547"/>
                    </a:lnTo>
                    <a:lnTo>
                      <a:pt x="5746672" y="1940739"/>
                    </a:lnTo>
                    <a:lnTo>
                      <a:pt x="5747746" y="1940156"/>
                    </a:lnTo>
                    <a:lnTo>
                      <a:pt x="5748194" y="1939555"/>
                    </a:lnTo>
                    <a:lnTo>
                      <a:pt x="5748499" y="1937511"/>
                    </a:lnTo>
                    <a:lnTo>
                      <a:pt x="5749067" y="1937095"/>
                    </a:lnTo>
                    <a:lnTo>
                      <a:pt x="5749501" y="1937404"/>
                    </a:lnTo>
                    <a:lnTo>
                      <a:pt x="5751699" y="1938282"/>
                    </a:lnTo>
                    <a:lnTo>
                      <a:pt x="5752126" y="1939403"/>
                    </a:lnTo>
                    <a:lnTo>
                      <a:pt x="5751634" y="1941083"/>
                    </a:lnTo>
                    <a:lnTo>
                      <a:pt x="5749481" y="1943630"/>
                    </a:lnTo>
                    <a:lnTo>
                      <a:pt x="5745425" y="1945941"/>
                    </a:lnTo>
                    <a:lnTo>
                      <a:pt x="5742108" y="1946275"/>
                    </a:lnTo>
                    <a:lnTo>
                      <a:pt x="5739913" y="1945762"/>
                    </a:lnTo>
                    <a:lnTo>
                      <a:pt x="5738776" y="1944898"/>
                    </a:lnTo>
                    <a:lnTo>
                      <a:pt x="5739145" y="1943608"/>
                    </a:lnTo>
                    <a:lnTo>
                      <a:pt x="5739222" y="1942376"/>
                    </a:lnTo>
                    <a:lnTo>
                      <a:pt x="5738325" y="1942080"/>
                    </a:lnTo>
                    <a:lnTo>
                      <a:pt x="5735791" y="1942447"/>
                    </a:lnTo>
                    <a:lnTo>
                      <a:pt x="5734956" y="1942361"/>
                    </a:lnTo>
                    <a:lnTo>
                      <a:pt x="5734315" y="1942726"/>
                    </a:lnTo>
                    <a:lnTo>
                      <a:pt x="5734772" y="1943488"/>
                    </a:lnTo>
                    <a:lnTo>
                      <a:pt x="5733646" y="1944257"/>
                    </a:lnTo>
                    <a:lnTo>
                      <a:pt x="5730604" y="1944383"/>
                    </a:lnTo>
                    <a:lnTo>
                      <a:pt x="5723230" y="1943580"/>
                    </a:lnTo>
                    <a:lnTo>
                      <a:pt x="5722069" y="1943100"/>
                    </a:lnTo>
                    <a:lnTo>
                      <a:pt x="5722006" y="1942640"/>
                    </a:lnTo>
                    <a:lnTo>
                      <a:pt x="5723004" y="1942350"/>
                    </a:lnTo>
                    <a:lnTo>
                      <a:pt x="5723805" y="1941928"/>
                    </a:lnTo>
                    <a:lnTo>
                      <a:pt x="5724249" y="1941137"/>
                    </a:lnTo>
                    <a:lnTo>
                      <a:pt x="5725229" y="1940552"/>
                    </a:lnTo>
                    <a:lnTo>
                      <a:pt x="5726868" y="1940686"/>
                    </a:lnTo>
                    <a:lnTo>
                      <a:pt x="5728248" y="1940387"/>
                    </a:lnTo>
                    <a:lnTo>
                      <a:pt x="5729205" y="1938872"/>
                    </a:lnTo>
                    <a:lnTo>
                      <a:pt x="5730208" y="1937807"/>
                    </a:lnTo>
                    <a:lnTo>
                      <a:pt x="5731795" y="1937147"/>
                    </a:lnTo>
                    <a:lnTo>
                      <a:pt x="5732495" y="1936691"/>
                    </a:lnTo>
                    <a:lnTo>
                      <a:pt x="5733941" y="1936508"/>
                    </a:lnTo>
                    <a:lnTo>
                      <a:pt x="5734459" y="1937505"/>
                    </a:lnTo>
                    <a:lnTo>
                      <a:pt x="5734140" y="1938967"/>
                    </a:lnTo>
                    <a:lnTo>
                      <a:pt x="5734580" y="1939371"/>
                    </a:lnTo>
                    <a:lnTo>
                      <a:pt x="5735473" y="1938027"/>
                    </a:lnTo>
                    <a:lnTo>
                      <a:pt x="5736673" y="1936941"/>
                    </a:lnTo>
                    <a:lnTo>
                      <a:pt x="5738400" y="1937054"/>
                    </a:lnTo>
                    <a:lnTo>
                      <a:pt x="5739166" y="1937629"/>
                    </a:lnTo>
                    <a:lnTo>
                      <a:pt x="5738770" y="1938307"/>
                    </a:lnTo>
                    <a:lnTo>
                      <a:pt x="5739158" y="1938729"/>
                    </a:lnTo>
                    <a:lnTo>
                      <a:pt x="5740434" y="1939012"/>
                    </a:lnTo>
                    <a:close/>
                    <a:moveTo>
                      <a:pt x="5788028" y="1934682"/>
                    </a:moveTo>
                    <a:lnTo>
                      <a:pt x="5789903" y="1936408"/>
                    </a:lnTo>
                    <a:lnTo>
                      <a:pt x="5789965" y="1937115"/>
                    </a:lnTo>
                    <a:lnTo>
                      <a:pt x="5789447" y="1937282"/>
                    </a:lnTo>
                    <a:lnTo>
                      <a:pt x="5789031" y="1937930"/>
                    </a:lnTo>
                    <a:lnTo>
                      <a:pt x="5788265" y="1937978"/>
                    </a:lnTo>
                    <a:lnTo>
                      <a:pt x="5787688" y="1937153"/>
                    </a:lnTo>
                    <a:lnTo>
                      <a:pt x="5787376" y="1936414"/>
                    </a:lnTo>
                    <a:lnTo>
                      <a:pt x="5786399" y="1936523"/>
                    </a:lnTo>
                    <a:lnTo>
                      <a:pt x="5784582" y="1936438"/>
                    </a:lnTo>
                    <a:lnTo>
                      <a:pt x="5784091" y="1935422"/>
                    </a:lnTo>
                    <a:lnTo>
                      <a:pt x="5784719" y="1935744"/>
                    </a:lnTo>
                    <a:lnTo>
                      <a:pt x="5785590" y="1935449"/>
                    </a:lnTo>
                    <a:lnTo>
                      <a:pt x="5785976" y="1934962"/>
                    </a:lnTo>
                    <a:close/>
                    <a:moveTo>
                      <a:pt x="5352725" y="1904320"/>
                    </a:moveTo>
                    <a:lnTo>
                      <a:pt x="5353947" y="1906777"/>
                    </a:lnTo>
                    <a:lnTo>
                      <a:pt x="5352201" y="1910760"/>
                    </a:lnTo>
                    <a:lnTo>
                      <a:pt x="5348683" y="1913666"/>
                    </a:lnTo>
                    <a:lnTo>
                      <a:pt x="5344060" y="1914598"/>
                    </a:lnTo>
                    <a:lnTo>
                      <a:pt x="5342544" y="1913896"/>
                    </a:lnTo>
                    <a:lnTo>
                      <a:pt x="5344443" y="1912695"/>
                    </a:lnTo>
                    <a:lnTo>
                      <a:pt x="5345927" y="1910111"/>
                    </a:lnTo>
                    <a:lnTo>
                      <a:pt x="5347133" y="1906778"/>
                    </a:lnTo>
                    <a:lnTo>
                      <a:pt x="5347849" y="1905288"/>
                    </a:lnTo>
                    <a:lnTo>
                      <a:pt x="5349464" y="1904702"/>
                    </a:lnTo>
                    <a:close/>
                    <a:moveTo>
                      <a:pt x="3389733" y="1738004"/>
                    </a:moveTo>
                    <a:lnTo>
                      <a:pt x="3390432" y="1738377"/>
                    </a:lnTo>
                    <a:lnTo>
                      <a:pt x="3389478" y="1740443"/>
                    </a:lnTo>
                    <a:lnTo>
                      <a:pt x="3388559" y="1743296"/>
                    </a:lnTo>
                    <a:lnTo>
                      <a:pt x="3390011" y="1745611"/>
                    </a:lnTo>
                    <a:lnTo>
                      <a:pt x="3391529" y="1746323"/>
                    </a:lnTo>
                    <a:lnTo>
                      <a:pt x="3391675" y="1747068"/>
                    </a:lnTo>
                    <a:lnTo>
                      <a:pt x="3391800" y="1748568"/>
                    </a:lnTo>
                    <a:lnTo>
                      <a:pt x="3391332" y="1748944"/>
                    </a:lnTo>
                    <a:lnTo>
                      <a:pt x="3390370" y="1748104"/>
                    </a:lnTo>
                    <a:lnTo>
                      <a:pt x="3389556" y="1747743"/>
                    </a:lnTo>
                    <a:lnTo>
                      <a:pt x="3388949" y="1747933"/>
                    </a:lnTo>
                    <a:lnTo>
                      <a:pt x="3388198" y="1748283"/>
                    </a:lnTo>
                    <a:lnTo>
                      <a:pt x="3387313" y="1748855"/>
                    </a:lnTo>
                    <a:lnTo>
                      <a:pt x="3386675" y="1748879"/>
                    </a:lnTo>
                    <a:lnTo>
                      <a:pt x="3386305" y="1748359"/>
                    </a:lnTo>
                    <a:lnTo>
                      <a:pt x="3385211" y="1748215"/>
                    </a:lnTo>
                    <a:lnTo>
                      <a:pt x="3383902" y="1747307"/>
                    </a:lnTo>
                    <a:lnTo>
                      <a:pt x="3384390" y="1744554"/>
                    </a:lnTo>
                    <a:lnTo>
                      <a:pt x="3386420" y="1741341"/>
                    </a:lnTo>
                    <a:lnTo>
                      <a:pt x="3388260" y="1739160"/>
                    </a:lnTo>
                    <a:close/>
                    <a:moveTo>
                      <a:pt x="3532039" y="1647171"/>
                    </a:moveTo>
                    <a:lnTo>
                      <a:pt x="3533280" y="1647361"/>
                    </a:lnTo>
                    <a:lnTo>
                      <a:pt x="3534314" y="1649511"/>
                    </a:lnTo>
                    <a:lnTo>
                      <a:pt x="3534148" y="1651930"/>
                    </a:lnTo>
                    <a:lnTo>
                      <a:pt x="3532732" y="1652283"/>
                    </a:lnTo>
                    <a:lnTo>
                      <a:pt x="3530934" y="1651927"/>
                    </a:lnTo>
                    <a:lnTo>
                      <a:pt x="3529720" y="1651243"/>
                    </a:lnTo>
                    <a:lnTo>
                      <a:pt x="3529341" y="1650299"/>
                    </a:lnTo>
                    <a:lnTo>
                      <a:pt x="3530778" y="1648840"/>
                    </a:lnTo>
                    <a:lnTo>
                      <a:pt x="3531349" y="1647784"/>
                    </a:lnTo>
                    <a:close/>
                    <a:moveTo>
                      <a:pt x="3579256" y="1553269"/>
                    </a:moveTo>
                    <a:lnTo>
                      <a:pt x="3580384" y="1553539"/>
                    </a:lnTo>
                    <a:lnTo>
                      <a:pt x="3581902" y="1554931"/>
                    </a:lnTo>
                    <a:lnTo>
                      <a:pt x="3581262" y="1556820"/>
                    </a:lnTo>
                    <a:lnTo>
                      <a:pt x="3579157" y="1557567"/>
                    </a:lnTo>
                    <a:lnTo>
                      <a:pt x="3577294" y="1557368"/>
                    </a:lnTo>
                    <a:lnTo>
                      <a:pt x="3575929" y="1556574"/>
                    </a:lnTo>
                    <a:lnTo>
                      <a:pt x="3576144" y="1554814"/>
                    </a:lnTo>
                    <a:lnTo>
                      <a:pt x="3578097" y="1553467"/>
                    </a:lnTo>
                    <a:close/>
                    <a:moveTo>
                      <a:pt x="2947321" y="1509859"/>
                    </a:moveTo>
                    <a:lnTo>
                      <a:pt x="2947851" y="1509977"/>
                    </a:lnTo>
                    <a:lnTo>
                      <a:pt x="2953489" y="1516618"/>
                    </a:lnTo>
                    <a:lnTo>
                      <a:pt x="2958858" y="1524973"/>
                    </a:lnTo>
                    <a:lnTo>
                      <a:pt x="2960721" y="1527598"/>
                    </a:lnTo>
                    <a:lnTo>
                      <a:pt x="2961349" y="1529233"/>
                    </a:lnTo>
                    <a:lnTo>
                      <a:pt x="2961620" y="1530866"/>
                    </a:lnTo>
                    <a:lnTo>
                      <a:pt x="2954371" y="1520050"/>
                    </a:lnTo>
                    <a:lnTo>
                      <a:pt x="2952207" y="1515879"/>
                    </a:lnTo>
                    <a:close/>
                    <a:moveTo>
                      <a:pt x="3004027" y="1466026"/>
                    </a:moveTo>
                    <a:lnTo>
                      <a:pt x="3006100" y="1468081"/>
                    </a:lnTo>
                    <a:lnTo>
                      <a:pt x="3013616" y="1470417"/>
                    </a:lnTo>
                    <a:lnTo>
                      <a:pt x="3008098" y="1469267"/>
                    </a:lnTo>
                    <a:lnTo>
                      <a:pt x="3005625" y="1467975"/>
                    </a:lnTo>
                    <a:close/>
                    <a:moveTo>
                      <a:pt x="2866435" y="1455201"/>
                    </a:moveTo>
                    <a:lnTo>
                      <a:pt x="2890388" y="1466531"/>
                    </a:lnTo>
                    <a:lnTo>
                      <a:pt x="2900786" y="1475566"/>
                    </a:lnTo>
                    <a:lnTo>
                      <a:pt x="2908347" y="1488045"/>
                    </a:lnTo>
                    <a:lnTo>
                      <a:pt x="2901839" y="1477727"/>
                    </a:lnTo>
                    <a:lnTo>
                      <a:pt x="2893787" y="1470537"/>
                    </a:lnTo>
                    <a:close/>
                    <a:moveTo>
                      <a:pt x="3844131" y="1449315"/>
                    </a:moveTo>
                    <a:lnTo>
                      <a:pt x="3846330" y="1449895"/>
                    </a:lnTo>
                    <a:lnTo>
                      <a:pt x="3850218" y="1451677"/>
                    </a:lnTo>
                    <a:lnTo>
                      <a:pt x="3849246" y="1453082"/>
                    </a:lnTo>
                    <a:lnTo>
                      <a:pt x="3853876" y="1457094"/>
                    </a:lnTo>
                    <a:lnTo>
                      <a:pt x="3853708" y="1458127"/>
                    </a:lnTo>
                    <a:lnTo>
                      <a:pt x="3853350" y="1458765"/>
                    </a:lnTo>
                    <a:lnTo>
                      <a:pt x="3852806" y="1459175"/>
                    </a:lnTo>
                    <a:lnTo>
                      <a:pt x="3852105" y="1459559"/>
                    </a:lnTo>
                    <a:lnTo>
                      <a:pt x="3851654" y="1460088"/>
                    </a:lnTo>
                    <a:lnTo>
                      <a:pt x="3851347" y="1460604"/>
                    </a:lnTo>
                    <a:lnTo>
                      <a:pt x="3850998" y="1460938"/>
                    </a:lnTo>
                    <a:lnTo>
                      <a:pt x="3850408" y="1460951"/>
                    </a:lnTo>
                    <a:lnTo>
                      <a:pt x="3852334" y="1465099"/>
                    </a:lnTo>
                    <a:lnTo>
                      <a:pt x="3852474" y="1466198"/>
                    </a:lnTo>
                    <a:lnTo>
                      <a:pt x="3850987" y="1467805"/>
                    </a:lnTo>
                    <a:lnTo>
                      <a:pt x="3849423" y="1467097"/>
                    </a:lnTo>
                    <a:lnTo>
                      <a:pt x="3848217" y="1465539"/>
                    </a:lnTo>
                    <a:lnTo>
                      <a:pt x="3847818" y="1464682"/>
                    </a:lnTo>
                    <a:lnTo>
                      <a:pt x="3834683" y="1467037"/>
                    </a:lnTo>
                    <a:lnTo>
                      <a:pt x="3820951" y="1466754"/>
                    </a:lnTo>
                    <a:lnTo>
                      <a:pt x="3819558" y="1466313"/>
                    </a:lnTo>
                    <a:lnTo>
                      <a:pt x="3817100" y="1464478"/>
                    </a:lnTo>
                    <a:lnTo>
                      <a:pt x="3813707" y="1463706"/>
                    </a:lnTo>
                    <a:lnTo>
                      <a:pt x="3809230" y="1461407"/>
                    </a:lnTo>
                    <a:lnTo>
                      <a:pt x="3814561" y="1454567"/>
                    </a:lnTo>
                    <a:lnTo>
                      <a:pt x="3815855" y="1453590"/>
                    </a:lnTo>
                    <a:lnTo>
                      <a:pt x="3819773" y="1452552"/>
                    </a:lnTo>
                    <a:lnTo>
                      <a:pt x="3821186" y="1452512"/>
                    </a:lnTo>
                    <a:lnTo>
                      <a:pt x="3822424" y="1453261"/>
                    </a:lnTo>
                    <a:lnTo>
                      <a:pt x="3823279" y="1454330"/>
                    </a:lnTo>
                    <a:lnTo>
                      <a:pt x="3824253" y="1454826"/>
                    </a:lnTo>
                    <a:lnTo>
                      <a:pt x="3825914" y="1453802"/>
                    </a:lnTo>
                    <a:lnTo>
                      <a:pt x="3825602" y="1451554"/>
                    </a:lnTo>
                    <a:lnTo>
                      <a:pt x="3828901" y="1451365"/>
                    </a:lnTo>
                    <a:lnTo>
                      <a:pt x="3837521" y="1453059"/>
                    </a:lnTo>
                    <a:lnTo>
                      <a:pt x="3839952" y="1452765"/>
                    </a:lnTo>
                    <a:lnTo>
                      <a:pt x="3842105" y="1451703"/>
                    </a:lnTo>
                    <a:lnTo>
                      <a:pt x="3843134" y="1449645"/>
                    </a:lnTo>
                    <a:close/>
                    <a:moveTo>
                      <a:pt x="2825560" y="1444333"/>
                    </a:moveTo>
                    <a:lnTo>
                      <a:pt x="2830711" y="1444419"/>
                    </a:lnTo>
                    <a:lnTo>
                      <a:pt x="2858080" y="1452077"/>
                    </a:lnTo>
                    <a:lnTo>
                      <a:pt x="2836704" y="1446263"/>
                    </a:lnTo>
                    <a:lnTo>
                      <a:pt x="2826925" y="1445819"/>
                    </a:lnTo>
                    <a:close/>
                    <a:moveTo>
                      <a:pt x="2830733" y="1412434"/>
                    </a:moveTo>
                    <a:lnTo>
                      <a:pt x="2832903" y="1412856"/>
                    </a:lnTo>
                    <a:lnTo>
                      <a:pt x="2832414" y="1412870"/>
                    </a:lnTo>
                    <a:close/>
                    <a:moveTo>
                      <a:pt x="2824798" y="1410512"/>
                    </a:moveTo>
                    <a:lnTo>
                      <a:pt x="2830728" y="1412434"/>
                    </a:lnTo>
                    <a:lnTo>
                      <a:pt x="2823128" y="1410790"/>
                    </a:lnTo>
                    <a:close/>
                    <a:moveTo>
                      <a:pt x="2765408" y="1370678"/>
                    </a:moveTo>
                    <a:lnTo>
                      <a:pt x="2766763" y="1371137"/>
                    </a:lnTo>
                    <a:lnTo>
                      <a:pt x="2767959" y="1371883"/>
                    </a:lnTo>
                    <a:lnTo>
                      <a:pt x="2769042" y="1371890"/>
                    </a:lnTo>
                    <a:lnTo>
                      <a:pt x="2771809" y="1371096"/>
                    </a:lnTo>
                    <a:lnTo>
                      <a:pt x="2773897" y="1372387"/>
                    </a:lnTo>
                    <a:lnTo>
                      <a:pt x="2775201" y="1375022"/>
                    </a:lnTo>
                    <a:lnTo>
                      <a:pt x="2775609" y="1378258"/>
                    </a:lnTo>
                    <a:lnTo>
                      <a:pt x="2774069" y="1379431"/>
                    </a:lnTo>
                    <a:lnTo>
                      <a:pt x="2772518" y="1381692"/>
                    </a:lnTo>
                    <a:lnTo>
                      <a:pt x="2771373" y="1384510"/>
                    </a:lnTo>
                    <a:lnTo>
                      <a:pt x="2771060" y="1387301"/>
                    </a:lnTo>
                    <a:lnTo>
                      <a:pt x="2771942" y="1389680"/>
                    </a:lnTo>
                    <a:lnTo>
                      <a:pt x="2773668" y="1391126"/>
                    </a:lnTo>
                    <a:lnTo>
                      <a:pt x="2791768" y="1399159"/>
                    </a:lnTo>
                    <a:lnTo>
                      <a:pt x="2795680" y="1402245"/>
                    </a:lnTo>
                    <a:lnTo>
                      <a:pt x="2793136" y="1401988"/>
                    </a:lnTo>
                    <a:lnTo>
                      <a:pt x="2789089" y="1399674"/>
                    </a:lnTo>
                    <a:lnTo>
                      <a:pt x="2786790" y="1398992"/>
                    </a:lnTo>
                    <a:lnTo>
                      <a:pt x="2784828" y="1399712"/>
                    </a:lnTo>
                    <a:lnTo>
                      <a:pt x="2780848" y="1403688"/>
                    </a:lnTo>
                    <a:lnTo>
                      <a:pt x="2778906" y="1405160"/>
                    </a:lnTo>
                    <a:lnTo>
                      <a:pt x="2778628" y="1406345"/>
                    </a:lnTo>
                    <a:lnTo>
                      <a:pt x="2780516" y="1405533"/>
                    </a:lnTo>
                    <a:lnTo>
                      <a:pt x="2781686" y="1405993"/>
                    </a:lnTo>
                    <a:lnTo>
                      <a:pt x="2782636" y="1407036"/>
                    </a:lnTo>
                    <a:lnTo>
                      <a:pt x="2783870" y="1408037"/>
                    </a:lnTo>
                    <a:lnTo>
                      <a:pt x="2784847" y="1408296"/>
                    </a:lnTo>
                    <a:lnTo>
                      <a:pt x="2801842" y="1408249"/>
                    </a:lnTo>
                    <a:lnTo>
                      <a:pt x="2805976" y="1407047"/>
                    </a:lnTo>
                    <a:lnTo>
                      <a:pt x="2804533" y="1405646"/>
                    </a:lnTo>
                    <a:lnTo>
                      <a:pt x="2802580" y="1405133"/>
                    </a:lnTo>
                    <a:lnTo>
                      <a:pt x="2798317" y="1405075"/>
                    </a:lnTo>
                    <a:lnTo>
                      <a:pt x="2798592" y="1403888"/>
                    </a:lnTo>
                    <a:lnTo>
                      <a:pt x="2822942" y="1410762"/>
                    </a:lnTo>
                    <a:lnTo>
                      <a:pt x="2822285" y="1411120"/>
                    </a:lnTo>
                    <a:lnTo>
                      <a:pt x="2821669" y="1411628"/>
                    </a:lnTo>
                    <a:lnTo>
                      <a:pt x="2821113" y="1412362"/>
                    </a:lnTo>
                    <a:lnTo>
                      <a:pt x="2820641" y="1413346"/>
                    </a:lnTo>
                    <a:lnTo>
                      <a:pt x="2826227" y="1413726"/>
                    </a:lnTo>
                    <a:lnTo>
                      <a:pt x="2827683" y="1414243"/>
                    </a:lnTo>
                    <a:lnTo>
                      <a:pt x="2829097" y="1416142"/>
                    </a:lnTo>
                    <a:lnTo>
                      <a:pt x="2830066" y="1416633"/>
                    </a:lnTo>
                    <a:lnTo>
                      <a:pt x="2843449" y="1416094"/>
                    </a:lnTo>
                    <a:lnTo>
                      <a:pt x="2843039" y="1416705"/>
                    </a:lnTo>
                    <a:lnTo>
                      <a:pt x="2842939" y="1416911"/>
                    </a:lnTo>
                    <a:lnTo>
                      <a:pt x="2842808" y="1417043"/>
                    </a:lnTo>
                    <a:lnTo>
                      <a:pt x="2842266" y="1417456"/>
                    </a:lnTo>
                    <a:lnTo>
                      <a:pt x="2847138" y="1419773"/>
                    </a:lnTo>
                    <a:lnTo>
                      <a:pt x="2853327" y="1417534"/>
                    </a:lnTo>
                    <a:lnTo>
                      <a:pt x="2859865" y="1413962"/>
                    </a:lnTo>
                    <a:lnTo>
                      <a:pt x="2868201" y="1411729"/>
                    </a:lnTo>
                    <a:lnTo>
                      <a:pt x="2875455" y="1406339"/>
                    </a:lnTo>
                    <a:lnTo>
                      <a:pt x="2883255" y="1402666"/>
                    </a:lnTo>
                    <a:lnTo>
                      <a:pt x="2885674" y="1400402"/>
                    </a:lnTo>
                    <a:lnTo>
                      <a:pt x="2887579" y="1403318"/>
                    </a:lnTo>
                    <a:lnTo>
                      <a:pt x="2890873" y="1403714"/>
                    </a:lnTo>
                    <a:lnTo>
                      <a:pt x="2903651" y="1398660"/>
                    </a:lnTo>
                    <a:lnTo>
                      <a:pt x="2906847" y="1398097"/>
                    </a:lnTo>
                    <a:lnTo>
                      <a:pt x="2910341" y="1398046"/>
                    </a:lnTo>
                    <a:lnTo>
                      <a:pt x="2911703" y="1398534"/>
                    </a:lnTo>
                    <a:lnTo>
                      <a:pt x="2914376" y="1400529"/>
                    </a:lnTo>
                    <a:lnTo>
                      <a:pt x="2915757" y="1401035"/>
                    </a:lnTo>
                    <a:lnTo>
                      <a:pt x="2922035" y="1399996"/>
                    </a:lnTo>
                    <a:lnTo>
                      <a:pt x="2925224" y="1400317"/>
                    </a:lnTo>
                    <a:lnTo>
                      <a:pt x="2926570" y="1401008"/>
                    </a:lnTo>
                    <a:lnTo>
                      <a:pt x="2928414" y="1403960"/>
                    </a:lnTo>
                    <a:lnTo>
                      <a:pt x="2929437" y="1404639"/>
                    </a:lnTo>
                    <a:lnTo>
                      <a:pt x="2930643" y="1405100"/>
                    </a:lnTo>
                    <a:lnTo>
                      <a:pt x="2932071" y="1406022"/>
                    </a:lnTo>
                    <a:lnTo>
                      <a:pt x="2936978" y="1412563"/>
                    </a:lnTo>
                    <a:lnTo>
                      <a:pt x="2939083" y="1414369"/>
                    </a:lnTo>
                    <a:lnTo>
                      <a:pt x="2945324" y="1416157"/>
                    </a:lnTo>
                    <a:lnTo>
                      <a:pt x="2948318" y="1417891"/>
                    </a:lnTo>
                    <a:lnTo>
                      <a:pt x="2949287" y="1422014"/>
                    </a:lnTo>
                    <a:lnTo>
                      <a:pt x="2950339" y="1424924"/>
                    </a:lnTo>
                    <a:lnTo>
                      <a:pt x="2950396" y="1426460"/>
                    </a:lnTo>
                    <a:lnTo>
                      <a:pt x="2949700" y="1428515"/>
                    </a:lnTo>
                    <a:lnTo>
                      <a:pt x="2949111" y="1429485"/>
                    </a:lnTo>
                    <a:lnTo>
                      <a:pt x="2949102" y="1430222"/>
                    </a:lnTo>
                    <a:lnTo>
                      <a:pt x="2950138" y="1431608"/>
                    </a:lnTo>
                    <a:lnTo>
                      <a:pt x="2950146" y="1434083"/>
                    </a:lnTo>
                    <a:lnTo>
                      <a:pt x="2947800" y="1437060"/>
                    </a:lnTo>
                    <a:lnTo>
                      <a:pt x="2944815" y="1440051"/>
                    </a:lnTo>
                    <a:lnTo>
                      <a:pt x="2942959" y="1442547"/>
                    </a:lnTo>
                    <a:lnTo>
                      <a:pt x="2945002" y="1441604"/>
                    </a:lnTo>
                    <a:lnTo>
                      <a:pt x="2947162" y="1441281"/>
                    </a:lnTo>
                    <a:lnTo>
                      <a:pt x="2958357" y="1442937"/>
                    </a:lnTo>
                    <a:lnTo>
                      <a:pt x="2964842" y="1447459"/>
                    </a:lnTo>
                    <a:lnTo>
                      <a:pt x="2969560" y="1449539"/>
                    </a:lnTo>
                    <a:lnTo>
                      <a:pt x="2980108" y="1451283"/>
                    </a:lnTo>
                    <a:lnTo>
                      <a:pt x="2977763" y="1451944"/>
                    </a:lnTo>
                    <a:lnTo>
                      <a:pt x="2972382" y="1451377"/>
                    </a:lnTo>
                    <a:lnTo>
                      <a:pt x="2969511" y="1452082"/>
                    </a:lnTo>
                    <a:lnTo>
                      <a:pt x="2976339" y="1454335"/>
                    </a:lnTo>
                    <a:lnTo>
                      <a:pt x="2991117" y="1454393"/>
                    </a:lnTo>
                    <a:lnTo>
                      <a:pt x="2997570" y="1457724"/>
                    </a:lnTo>
                    <a:lnTo>
                      <a:pt x="2999092" y="1460439"/>
                    </a:lnTo>
                    <a:lnTo>
                      <a:pt x="2999570" y="1466597"/>
                    </a:lnTo>
                    <a:lnTo>
                      <a:pt x="3000854" y="1469786"/>
                    </a:lnTo>
                    <a:lnTo>
                      <a:pt x="3003761" y="1471882"/>
                    </a:lnTo>
                    <a:lnTo>
                      <a:pt x="3008306" y="1473226"/>
                    </a:lnTo>
                    <a:lnTo>
                      <a:pt x="3013074" y="1473378"/>
                    </a:lnTo>
                    <a:lnTo>
                      <a:pt x="3016647" y="1471919"/>
                    </a:lnTo>
                    <a:lnTo>
                      <a:pt x="3015466" y="1471080"/>
                    </a:lnTo>
                    <a:lnTo>
                      <a:pt x="3014168" y="1470509"/>
                    </a:lnTo>
                    <a:lnTo>
                      <a:pt x="3027144" y="1471283"/>
                    </a:lnTo>
                    <a:lnTo>
                      <a:pt x="3031003" y="1472237"/>
                    </a:lnTo>
                    <a:lnTo>
                      <a:pt x="3034078" y="1474353"/>
                    </a:lnTo>
                    <a:lnTo>
                      <a:pt x="3039159" y="1482744"/>
                    </a:lnTo>
                    <a:lnTo>
                      <a:pt x="3041204" y="1483991"/>
                    </a:lnTo>
                    <a:lnTo>
                      <a:pt x="3048553" y="1484571"/>
                    </a:lnTo>
                    <a:lnTo>
                      <a:pt x="3052450" y="1483739"/>
                    </a:lnTo>
                    <a:lnTo>
                      <a:pt x="3055613" y="1480963"/>
                    </a:lnTo>
                    <a:lnTo>
                      <a:pt x="3052193" y="1478579"/>
                    </a:lnTo>
                    <a:lnTo>
                      <a:pt x="3047674" y="1477099"/>
                    </a:lnTo>
                    <a:lnTo>
                      <a:pt x="3038648" y="1475925"/>
                    </a:lnTo>
                    <a:lnTo>
                      <a:pt x="3038895" y="1474628"/>
                    </a:lnTo>
                    <a:lnTo>
                      <a:pt x="3056370" y="1476928"/>
                    </a:lnTo>
                    <a:lnTo>
                      <a:pt x="3063974" y="1476042"/>
                    </a:lnTo>
                    <a:lnTo>
                      <a:pt x="3065678" y="1476601"/>
                    </a:lnTo>
                    <a:lnTo>
                      <a:pt x="3068965" y="1478661"/>
                    </a:lnTo>
                    <a:lnTo>
                      <a:pt x="3097050" y="1485060"/>
                    </a:lnTo>
                    <a:lnTo>
                      <a:pt x="3100110" y="1487252"/>
                    </a:lnTo>
                    <a:lnTo>
                      <a:pt x="3098308" y="1488285"/>
                    </a:lnTo>
                    <a:lnTo>
                      <a:pt x="3094745" y="1489687"/>
                    </a:lnTo>
                    <a:lnTo>
                      <a:pt x="3092973" y="1490816"/>
                    </a:lnTo>
                    <a:lnTo>
                      <a:pt x="3095055" y="1494807"/>
                    </a:lnTo>
                    <a:lnTo>
                      <a:pt x="3092733" y="1499904"/>
                    </a:lnTo>
                    <a:lnTo>
                      <a:pt x="3085765" y="1507681"/>
                    </a:lnTo>
                    <a:lnTo>
                      <a:pt x="3080723" y="1511556"/>
                    </a:lnTo>
                    <a:lnTo>
                      <a:pt x="3075864" y="1512697"/>
                    </a:lnTo>
                    <a:lnTo>
                      <a:pt x="3064066" y="1511435"/>
                    </a:lnTo>
                    <a:lnTo>
                      <a:pt x="3058301" y="1509512"/>
                    </a:lnTo>
                    <a:lnTo>
                      <a:pt x="3056710" y="1508063"/>
                    </a:lnTo>
                    <a:lnTo>
                      <a:pt x="3054499" y="1506643"/>
                    </a:lnTo>
                    <a:lnTo>
                      <a:pt x="3025301" y="1506881"/>
                    </a:lnTo>
                    <a:lnTo>
                      <a:pt x="3019222" y="1509113"/>
                    </a:lnTo>
                    <a:lnTo>
                      <a:pt x="3024854" y="1506557"/>
                    </a:lnTo>
                    <a:lnTo>
                      <a:pt x="3027650" y="1506001"/>
                    </a:lnTo>
                    <a:lnTo>
                      <a:pt x="3037027" y="1505778"/>
                    </a:lnTo>
                    <a:lnTo>
                      <a:pt x="3040542" y="1504759"/>
                    </a:lnTo>
                    <a:lnTo>
                      <a:pt x="3042679" y="1502537"/>
                    </a:lnTo>
                    <a:lnTo>
                      <a:pt x="3025414" y="1503986"/>
                    </a:lnTo>
                    <a:lnTo>
                      <a:pt x="3017258" y="1506821"/>
                    </a:lnTo>
                    <a:lnTo>
                      <a:pt x="3009022" y="1511279"/>
                    </a:lnTo>
                    <a:lnTo>
                      <a:pt x="3010361" y="1512804"/>
                    </a:lnTo>
                    <a:lnTo>
                      <a:pt x="3010129" y="1514002"/>
                    </a:lnTo>
                    <a:lnTo>
                      <a:pt x="3007914" y="1515149"/>
                    </a:lnTo>
                    <a:lnTo>
                      <a:pt x="3003769" y="1518228"/>
                    </a:lnTo>
                    <a:lnTo>
                      <a:pt x="2996322" y="1520125"/>
                    </a:lnTo>
                    <a:lnTo>
                      <a:pt x="2993403" y="1521844"/>
                    </a:lnTo>
                    <a:lnTo>
                      <a:pt x="2991818" y="1524224"/>
                    </a:lnTo>
                    <a:lnTo>
                      <a:pt x="2990863" y="1525426"/>
                    </a:lnTo>
                    <a:lnTo>
                      <a:pt x="2986845" y="1529089"/>
                    </a:lnTo>
                    <a:lnTo>
                      <a:pt x="2985475" y="1531174"/>
                    </a:lnTo>
                    <a:lnTo>
                      <a:pt x="2984707" y="1534633"/>
                    </a:lnTo>
                    <a:lnTo>
                      <a:pt x="2985125" y="1536838"/>
                    </a:lnTo>
                    <a:lnTo>
                      <a:pt x="2987837" y="1540438"/>
                    </a:lnTo>
                    <a:lnTo>
                      <a:pt x="2985589" y="1541677"/>
                    </a:lnTo>
                    <a:lnTo>
                      <a:pt x="2980968" y="1541920"/>
                    </a:lnTo>
                    <a:lnTo>
                      <a:pt x="2978642" y="1543264"/>
                    </a:lnTo>
                    <a:lnTo>
                      <a:pt x="2975250" y="1547019"/>
                    </a:lnTo>
                    <a:lnTo>
                      <a:pt x="2973480" y="1548339"/>
                    </a:lnTo>
                    <a:lnTo>
                      <a:pt x="2971362" y="1548838"/>
                    </a:lnTo>
                    <a:lnTo>
                      <a:pt x="2966872" y="1545420"/>
                    </a:lnTo>
                    <a:lnTo>
                      <a:pt x="2964362" y="1544420"/>
                    </a:lnTo>
                    <a:lnTo>
                      <a:pt x="2961528" y="1544299"/>
                    </a:lnTo>
                    <a:lnTo>
                      <a:pt x="2963064" y="1541634"/>
                    </a:lnTo>
                    <a:lnTo>
                      <a:pt x="2963575" y="1539285"/>
                    </a:lnTo>
                    <a:lnTo>
                      <a:pt x="2963333" y="1537127"/>
                    </a:lnTo>
                    <a:lnTo>
                      <a:pt x="2962633" y="1534982"/>
                    </a:lnTo>
                    <a:lnTo>
                      <a:pt x="2965523" y="1534801"/>
                    </a:lnTo>
                    <a:lnTo>
                      <a:pt x="2968446" y="1533248"/>
                    </a:lnTo>
                    <a:lnTo>
                      <a:pt x="2970314" y="1530390"/>
                    </a:lnTo>
                    <a:lnTo>
                      <a:pt x="2970015" y="1526294"/>
                    </a:lnTo>
                    <a:lnTo>
                      <a:pt x="2969256" y="1525571"/>
                    </a:lnTo>
                    <a:lnTo>
                      <a:pt x="2966879" y="1524957"/>
                    </a:lnTo>
                    <a:lnTo>
                      <a:pt x="2966012" y="1524007"/>
                    </a:lnTo>
                    <a:lnTo>
                      <a:pt x="2964064" y="1519213"/>
                    </a:lnTo>
                    <a:lnTo>
                      <a:pt x="2960351" y="1513038"/>
                    </a:lnTo>
                    <a:lnTo>
                      <a:pt x="2955192" y="1509303"/>
                    </a:lnTo>
                    <a:lnTo>
                      <a:pt x="2943271" y="1504619"/>
                    </a:lnTo>
                    <a:lnTo>
                      <a:pt x="2942980" y="1506050"/>
                    </a:lnTo>
                    <a:lnTo>
                      <a:pt x="2937606" y="1503171"/>
                    </a:lnTo>
                    <a:lnTo>
                      <a:pt x="2936226" y="1501015"/>
                    </a:lnTo>
                    <a:lnTo>
                      <a:pt x="2935270" y="1500209"/>
                    </a:lnTo>
                    <a:lnTo>
                      <a:pt x="2932631" y="1500204"/>
                    </a:lnTo>
                    <a:lnTo>
                      <a:pt x="2931672" y="1499411"/>
                    </a:lnTo>
                    <a:lnTo>
                      <a:pt x="2931471" y="1498123"/>
                    </a:lnTo>
                    <a:lnTo>
                      <a:pt x="2931664" y="1497042"/>
                    </a:lnTo>
                    <a:lnTo>
                      <a:pt x="2931634" y="1496268"/>
                    </a:lnTo>
                    <a:lnTo>
                      <a:pt x="2930757" y="1495930"/>
                    </a:lnTo>
                    <a:lnTo>
                      <a:pt x="2928407" y="1496383"/>
                    </a:lnTo>
                    <a:lnTo>
                      <a:pt x="2924045" y="1498838"/>
                    </a:lnTo>
                    <a:lnTo>
                      <a:pt x="2922246" y="1499491"/>
                    </a:lnTo>
                    <a:lnTo>
                      <a:pt x="2919399" y="1499030"/>
                    </a:lnTo>
                    <a:lnTo>
                      <a:pt x="2913753" y="1496504"/>
                    </a:lnTo>
                    <a:lnTo>
                      <a:pt x="2910730" y="1496126"/>
                    </a:lnTo>
                    <a:lnTo>
                      <a:pt x="2911902" y="1494121"/>
                    </a:lnTo>
                    <a:lnTo>
                      <a:pt x="2913295" y="1493728"/>
                    </a:lnTo>
                    <a:lnTo>
                      <a:pt x="2914811" y="1493594"/>
                    </a:lnTo>
                    <a:lnTo>
                      <a:pt x="2916396" y="1492393"/>
                    </a:lnTo>
                    <a:lnTo>
                      <a:pt x="2917046" y="1490811"/>
                    </a:lnTo>
                    <a:lnTo>
                      <a:pt x="2918388" y="1485712"/>
                    </a:lnTo>
                    <a:lnTo>
                      <a:pt x="2918428" y="1484598"/>
                    </a:lnTo>
                    <a:lnTo>
                      <a:pt x="2917972" y="1483735"/>
                    </a:lnTo>
                    <a:lnTo>
                      <a:pt x="2917724" y="1481909"/>
                    </a:lnTo>
                    <a:lnTo>
                      <a:pt x="2917309" y="1480071"/>
                    </a:lnTo>
                    <a:lnTo>
                      <a:pt x="2916304" y="1479181"/>
                    </a:lnTo>
                    <a:lnTo>
                      <a:pt x="2914436" y="1478805"/>
                    </a:lnTo>
                    <a:lnTo>
                      <a:pt x="2907068" y="1475104"/>
                    </a:lnTo>
                    <a:lnTo>
                      <a:pt x="2898715" y="1468221"/>
                    </a:lnTo>
                    <a:lnTo>
                      <a:pt x="2895800" y="1464067"/>
                    </a:lnTo>
                    <a:lnTo>
                      <a:pt x="2879631" y="1455296"/>
                    </a:lnTo>
                    <a:lnTo>
                      <a:pt x="2872034" y="1453888"/>
                    </a:lnTo>
                    <a:lnTo>
                      <a:pt x="2871729" y="1453429"/>
                    </a:lnTo>
                    <a:lnTo>
                      <a:pt x="2871714" y="1452483"/>
                    </a:lnTo>
                    <a:lnTo>
                      <a:pt x="2871589" y="1451529"/>
                    </a:lnTo>
                    <a:lnTo>
                      <a:pt x="2870957" y="1451055"/>
                    </a:lnTo>
                    <a:lnTo>
                      <a:pt x="2859483" y="1449838"/>
                    </a:lnTo>
                    <a:lnTo>
                      <a:pt x="2857294" y="1448954"/>
                    </a:lnTo>
                    <a:lnTo>
                      <a:pt x="2856278" y="1447846"/>
                    </a:lnTo>
                    <a:lnTo>
                      <a:pt x="2855130" y="1444770"/>
                    </a:lnTo>
                    <a:lnTo>
                      <a:pt x="2854405" y="1443353"/>
                    </a:lnTo>
                    <a:lnTo>
                      <a:pt x="2853100" y="1442061"/>
                    </a:lnTo>
                    <a:lnTo>
                      <a:pt x="2851836" y="1441631"/>
                    </a:lnTo>
                    <a:lnTo>
                      <a:pt x="2824606" y="1442803"/>
                    </a:lnTo>
                    <a:lnTo>
                      <a:pt x="2824608" y="1443181"/>
                    </a:lnTo>
                    <a:lnTo>
                      <a:pt x="2824662" y="1443516"/>
                    </a:lnTo>
                    <a:lnTo>
                      <a:pt x="2824863" y="1444119"/>
                    </a:lnTo>
                    <a:lnTo>
                      <a:pt x="2819618" y="1444924"/>
                    </a:lnTo>
                    <a:lnTo>
                      <a:pt x="2817120" y="1446102"/>
                    </a:lnTo>
                    <a:lnTo>
                      <a:pt x="2814831" y="1447980"/>
                    </a:lnTo>
                    <a:lnTo>
                      <a:pt x="2811110" y="1450139"/>
                    </a:lnTo>
                    <a:lnTo>
                      <a:pt x="2802768" y="1450777"/>
                    </a:lnTo>
                    <a:lnTo>
                      <a:pt x="2798606" y="1452951"/>
                    </a:lnTo>
                    <a:lnTo>
                      <a:pt x="2797807" y="1452897"/>
                    </a:lnTo>
                    <a:lnTo>
                      <a:pt x="2796366" y="1456932"/>
                    </a:lnTo>
                    <a:lnTo>
                      <a:pt x="2792353" y="1458753"/>
                    </a:lnTo>
                    <a:lnTo>
                      <a:pt x="2787895" y="1459598"/>
                    </a:lnTo>
                    <a:lnTo>
                      <a:pt x="2785107" y="1460683"/>
                    </a:lnTo>
                    <a:lnTo>
                      <a:pt x="2781409" y="1463552"/>
                    </a:lnTo>
                    <a:lnTo>
                      <a:pt x="2777614" y="1463833"/>
                    </a:lnTo>
                    <a:lnTo>
                      <a:pt x="2764467" y="1459957"/>
                    </a:lnTo>
                    <a:lnTo>
                      <a:pt x="2764368" y="1459619"/>
                    </a:lnTo>
                    <a:lnTo>
                      <a:pt x="2763193" y="1457706"/>
                    </a:lnTo>
                    <a:lnTo>
                      <a:pt x="2762632" y="1457067"/>
                    </a:lnTo>
                    <a:lnTo>
                      <a:pt x="2761769" y="1456769"/>
                    </a:lnTo>
                    <a:lnTo>
                      <a:pt x="2758679" y="1456789"/>
                    </a:lnTo>
                    <a:lnTo>
                      <a:pt x="2757175" y="1456271"/>
                    </a:lnTo>
                    <a:lnTo>
                      <a:pt x="2754287" y="1454246"/>
                    </a:lnTo>
                    <a:lnTo>
                      <a:pt x="2748709" y="1452484"/>
                    </a:lnTo>
                    <a:lnTo>
                      <a:pt x="2745482" y="1450684"/>
                    </a:lnTo>
                    <a:lnTo>
                      <a:pt x="2743382" y="1447740"/>
                    </a:lnTo>
                    <a:lnTo>
                      <a:pt x="2738472" y="1437420"/>
                    </a:lnTo>
                    <a:lnTo>
                      <a:pt x="2738112" y="1435642"/>
                    </a:lnTo>
                    <a:lnTo>
                      <a:pt x="2738698" y="1432402"/>
                    </a:lnTo>
                    <a:lnTo>
                      <a:pt x="2738061" y="1428963"/>
                    </a:lnTo>
                    <a:lnTo>
                      <a:pt x="2737960" y="1426667"/>
                    </a:lnTo>
                    <a:lnTo>
                      <a:pt x="2738085" y="1424230"/>
                    </a:lnTo>
                    <a:lnTo>
                      <a:pt x="2738413" y="1422005"/>
                    </a:lnTo>
                    <a:lnTo>
                      <a:pt x="2738658" y="1422126"/>
                    </a:lnTo>
                    <a:lnTo>
                      <a:pt x="2739357" y="1421576"/>
                    </a:lnTo>
                    <a:lnTo>
                      <a:pt x="2740151" y="1420655"/>
                    </a:lnTo>
                    <a:lnTo>
                      <a:pt x="2740673" y="1419635"/>
                    </a:lnTo>
                    <a:lnTo>
                      <a:pt x="2740816" y="1418557"/>
                    </a:lnTo>
                    <a:lnTo>
                      <a:pt x="2740812" y="1415668"/>
                    </a:lnTo>
                    <a:lnTo>
                      <a:pt x="2742299" y="1411470"/>
                    </a:lnTo>
                    <a:lnTo>
                      <a:pt x="2743099" y="1410281"/>
                    </a:lnTo>
                    <a:lnTo>
                      <a:pt x="2744553" y="1408620"/>
                    </a:lnTo>
                    <a:lnTo>
                      <a:pt x="2745794" y="1407573"/>
                    </a:lnTo>
                    <a:lnTo>
                      <a:pt x="2747213" y="1406594"/>
                    </a:lnTo>
                    <a:lnTo>
                      <a:pt x="2748506" y="1405385"/>
                    </a:lnTo>
                    <a:lnTo>
                      <a:pt x="2749336" y="1403664"/>
                    </a:lnTo>
                    <a:lnTo>
                      <a:pt x="2749307" y="1402463"/>
                    </a:lnTo>
                    <a:lnTo>
                      <a:pt x="2748914" y="1401520"/>
                    </a:lnTo>
                    <a:lnTo>
                      <a:pt x="2748665" y="1400651"/>
                    </a:lnTo>
                    <a:lnTo>
                      <a:pt x="2749081" y="1399679"/>
                    </a:lnTo>
                    <a:lnTo>
                      <a:pt x="2750123" y="1398951"/>
                    </a:lnTo>
                    <a:lnTo>
                      <a:pt x="2752679" y="1398471"/>
                    </a:lnTo>
                    <a:lnTo>
                      <a:pt x="2753906" y="1397985"/>
                    </a:lnTo>
                    <a:lnTo>
                      <a:pt x="2756668" y="1395629"/>
                    </a:lnTo>
                    <a:lnTo>
                      <a:pt x="2757604" y="1393574"/>
                    </a:lnTo>
                    <a:lnTo>
                      <a:pt x="2757930" y="1391186"/>
                    </a:lnTo>
                    <a:lnTo>
                      <a:pt x="2758837" y="1387752"/>
                    </a:lnTo>
                    <a:lnTo>
                      <a:pt x="2762639" y="1382406"/>
                    </a:lnTo>
                    <a:lnTo>
                      <a:pt x="2764292" y="1379011"/>
                    </a:lnTo>
                    <a:lnTo>
                      <a:pt x="2763280" y="1377378"/>
                    </a:lnTo>
                    <a:lnTo>
                      <a:pt x="2763129" y="1376572"/>
                    </a:lnTo>
                    <a:lnTo>
                      <a:pt x="2763155" y="1374784"/>
                    </a:lnTo>
                    <a:lnTo>
                      <a:pt x="2763389" y="1372833"/>
                    </a:lnTo>
                    <a:lnTo>
                      <a:pt x="2763878" y="1371521"/>
                    </a:lnTo>
                    <a:close/>
                    <a:moveTo>
                      <a:pt x="3228547" y="1170858"/>
                    </a:moveTo>
                    <a:lnTo>
                      <a:pt x="3231923" y="1170947"/>
                    </a:lnTo>
                    <a:lnTo>
                      <a:pt x="3232618" y="1172009"/>
                    </a:lnTo>
                    <a:lnTo>
                      <a:pt x="3232351" y="1174258"/>
                    </a:lnTo>
                    <a:lnTo>
                      <a:pt x="3229600" y="1175864"/>
                    </a:lnTo>
                    <a:lnTo>
                      <a:pt x="3226137" y="1176079"/>
                    </a:lnTo>
                    <a:lnTo>
                      <a:pt x="3224403" y="1174356"/>
                    </a:lnTo>
                    <a:lnTo>
                      <a:pt x="3225877" y="1171868"/>
                    </a:lnTo>
                    <a:close/>
                    <a:moveTo>
                      <a:pt x="3290888" y="1023072"/>
                    </a:moveTo>
                    <a:lnTo>
                      <a:pt x="3290177" y="1023918"/>
                    </a:lnTo>
                    <a:lnTo>
                      <a:pt x="3288057" y="1025311"/>
                    </a:lnTo>
                    <a:lnTo>
                      <a:pt x="3285756" y="1026151"/>
                    </a:lnTo>
                    <a:lnTo>
                      <a:pt x="3284039" y="1027131"/>
                    </a:lnTo>
                    <a:lnTo>
                      <a:pt x="3282135" y="1028642"/>
                    </a:lnTo>
                    <a:lnTo>
                      <a:pt x="3279911" y="1029845"/>
                    </a:lnTo>
                    <a:lnTo>
                      <a:pt x="3278124" y="1029908"/>
                    </a:lnTo>
                    <a:lnTo>
                      <a:pt x="3277704" y="1028925"/>
                    </a:lnTo>
                    <a:lnTo>
                      <a:pt x="3279689" y="1027116"/>
                    </a:lnTo>
                    <a:lnTo>
                      <a:pt x="3281448" y="1025976"/>
                    </a:lnTo>
                    <a:lnTo>
                      <a:pt x="3286525" y="1023639"/>
                    </a:lnTo>
                    <a:lnTo>
                      <a:pt x="3289466" y="1023077"/>
                    </a:lnTo>
                    <a:close/>
                    <a:moveTo>
                      <a:pt x="3161769" y="1017613"/>
                    </a:moveTo>
                    <a:lnTo>
                      <a:pt x="3163078" y="1017797"/>
                    </a:lnTo>
                    <a:lnTo>
                      <a:pt x="3163387" y="1019101"/>
                    </a:lnTo>
                    <a:lnTo>
                      <a:pt x="3163219" y="1021742"/>
                    </a:lnTo>
                    <a:lnTo>
                      <a:pt x="3161804" y="1023197"/>
                    </a:lnTo>
                    <a:lnTo>
                      <a:pt x="3160033" y="1023031"/>
                    </a:lnTo>
                    <a:lnTo>
                      <a:pt x="3158442" y="1022211"/>
                    </a:lnTo>
                    <a:lnTo>
                      <a:pt x="3157744" y="1020371"/>
                    </a:lnTo>
                    <a:lnTo>
                      <a:pt x="3159126" y="1018250"/>
                    </a:lnTo>
                    <a:close/>
                    <a:moveTo>
                      <a:pt x="3312011" y="1016501"/>
                    </a:moveTo>
                    <a:lnTo>
                      <a:pt x="3309981" y="1017944"/>
                    </a:lnTo>
                    <a:lnTo>
                      <a:pt x="3301271" y="1020908"/>
                    </a:lnTo>
                    <a:lnTo>
                      <a:pt x="3299276" y="1022571"/>
                    </a:lnTo>
                    <a:lnTo>
                      <a:pt x="3299343" y="1024291"/>
                    </a:lnTo>
                    <a:lnTo>
                      <a:pt x="3301491" y="1024324"/>
                    </a:lnTo>
                    <a:lnTo>
                      <a:pt x="3294383" y="1030144"/>
                    </a:lnTo>
                    <a:lnTo>
                      <a:pt x="3291939" y="1030530"/>
                    </a:lnTo>
                    <a:lnTo>
                      <a:pt x="3290702" y="1029051"/>
                    </a:lnTo>
                    <a:lnTo>
                      <a:pt x="3291851" y="1026742"/>
                    </a:lnTo>
                    <a:lnTo>
                      <a:pt x="3292674" y="1024726"/>
                    </a:lnTo>
                    <a:lnTo>
                      <a:pt x="3293053" y="1023060"/>
                    </a:lnTo>
                    <a:lnTo>
                      <a:pt x="3294977" y="1021719"/>
                    </a:lnTo>
                    <a:lnTo>
                      <a:pt x="3298765" y="1020334"/>
                    </a:lnTo>
                    <a:lnTo>
                      <a:pt x="3298772" y="1020325"/>
                    </a:lnTo>
                    <a:lnTo>
                      <a:pt x="3310897" y="1016584"/>
                    </a:lnTo>
                    <a:close/>
                    <a:moveTo>
                      <a:pt x="3396830" y="977639"/>
                    </a:moveTo>
                    <a:lnTo>
                      <a:pt x="3397210" y="977997"/>
                    </a:lnTo>
                    <a:lnTo>
                      <a:pt x="3393839" y="980463"/>
                    </a:lnTo>
                    <a:lnTo>
                      <a:pt x="3379069" y="988202"/>
                    </a:lnTo>
                    <a:lnTo>
                      <a:pt x="3374475" y="989669"/>
                    </a:lnTo>
                    <a:lnTo>
                      <a:pt x="3364806" y="994168"/>
                    </a:lnTo>
                    <a:lnTo>
                      <a:pt x="3362695" y="995712"/>
                    </a:lnTo>
                    <a:lnTo>
                      <a:pt x="3362911" y="995884"/>
                    </a:lnTo>
                    <a:lnTo>
                      <a:pt x="3362117" y="996309"/>
                    </a:lnTo>
                    <a:lnTo>
                      <a:pt x="3358202" y="997049"/>
                    </a:lnTo>
                    <a:lnTo>
                      <a:pt x="3352595" y="1000379"/>
                    </a:lnTo>
                    <a:lnTo>
                      <a:pt x="3350864" y="1000982"/>
                    </a:lnTo>
                    <a:lnTo>
                      <a:pt x="3349406" y="1000889"/>
                    </a:lnTo>
                    <a:lnTo>
                      <a:pt x="3350483" y="999296"/>
                    </a:lnTo>
                    <a:lnTo>
                      <a:pt x="3393352" y="978906"/>
                    </a:lnTo>
                    <a:lnTo>
                      <a:pt x="3394584" y="978269"/>
                    </a:lnTo>
                    <a:close/>
                    <a:moveTo>
                      <a:pt x="3472067" y="949405"/>
                    </a:moveTo>
                    <a:lnTo>
                      <a:pt x="3467706" y="950813"/>
                    </a:lnTo>
                    <a:lnTo>
                      <a:pt x="3464826" y="952377"/>
                    </a:lnTo>
                    <a:lnTo>
                      <a:pt x="3462144" y="953418"/>
                    </a:lnTo>
                    <a:lnTo>
                      <a:pt x="3457673" y="954026"/>
                    </a:lnTo>
                    <a:lnTo>
                      <a:pt x="3449190" y="957802"/>
                    </a:lnTo>
                    <a:lnTo>
                      <a:pt x="3439890" y="960198"/>
                    </a:lnTo>
                    <a:lnTo>
                      <a:pt x="3437824" y="961170"/>
                    </a:lnTo>
                    <a:lnTo>
                      <a:pt x="3435639" y="962546"/>
                    </a:lnTo>
                    <a:lnTo>
                      <a:pt x="3430826" y="964183"/>
                    </a:lnTo>
                    <a:lnTo>
                      <a:pt x="3424875" y="967316"/>
                    </a:lnTo>
                    <a:lnTo>
                      <a:pt x="3414610" y="970647"/>
                    </a:lnTo>
                    <a:lnTo>
                      <a:pt x="3409085" y="973613"/>
                    </a:lnTo>
                    <a:lnTo>
                      <a:pt x="3401315" y="976351"/>
                    </a:lnTo>
                    <a:lnTo>
                      <a:pt x="3402069" y="975096"/>
                    </a:lnTo>
                    <a:lnTo>
                      <a:pt x="3405978" y="972829"/>
                    </a:lnTo>
                    <a:lnTo>
                      <a:pt x="3457023" y="952057"/>
                    </a:lnTo>
                    <a:lnTo>
                      <a:pt x="3461410" y="950775"/>
                    </a:lnTo>
                    <a:lnTo>
                      <a:pt x="3461415" y="950775"/>
                    </a:lnTo>
                    <a:close/>
                    <a:moveTo>
                      <a:pt x="3487801" y="940275"/>
                    </a:moveTo>
                    <a:lnTo>
                      <a:pt x="3489050" y="940713"/>
                    </a:lnTo>
                    <a:lnTo>
                      <a:pt x="3488344" y="941660"/>
                    </a:lnTo>
                    <a:lnTo>
                      <a:pt x="3481887" y="944415"/>
                    </a:lnTo>
                    <a:lnTo>
                      <a:pt x="3478867" y="946753"/>
                    </a:lnTo>
                    <a:lnTo>
                      <a:pt x="3476615" y="947688"/>
                    </a:lnTo>
                    <a:lnTo>
                      <a:pt x="3475839" y="946539"/>
                    </a:lnTo>
                    <a:lnTo>
                      <a:pt x="3477024" y="944858"/>
                    </a:lnTo>
                    <a:lnTo>
                      <a:pt x="3479393" y="943371"/>
                    </a:lnTo>
                    <a:lnTo>
                      <a:pt x="3483922" y="941221"/>
                    </a:lnTo>
                    <a:close/>
                    <a:moveTo>
                      <a:pt x="3515217" y="929238"/>
                    </a:moveTo>
                    <a:lnTo>
                      <a:pt x="3515181" y="929975"/>
                    </a:lnTo>
                    <a:lnTo>
                      <a:pt x="3508249" y="933917"/>
                    </a:lnTo>
                    <a:lnTo>
                      <a:pt x="3505508" y="934936"/>
                    </a:lnTo>
                    <a:lnTo>
                      <a:pt x="3499906" y="939047"/>
                    </a:lnTo>
                    <a:lnTo>
                      <a:pt x="3497493" y="940217"/>
                    </a:lnTo>
                    <a:lnTo>
                      <a:pt x="3492375" y="941281"/>
                    </a:lnTo>
                    <a:lnTo>
                      <a:pt x="3493067" y="939572"/>
                    </a:lnTo>
                    <a:lnTo>
                      <a:pt x="3495940" y="937013"/>
                    </a:lnTo>
                    <a:lnTo>
                      <a:pt x="3497481" y="936014"/>
                    </a:lnTo>
                    <a:lnTo>
                      <a:pt x="3509635" y="930805"/>
                    </a:lnTo>
                    <a:lnTo>
                      <a:pt x="3509640" y="930805"/>
                    </a:lnTo>
                    <a:close/>
                    <a:moveTo>
                      <a:pt x="3552269" y="915088"/>
                    </a:moveTo>
                    <a:lnTo>
                      <a:pt x="3552156" y="915145"/>
                    </a:lnTo>
                    <a:lnTo>
                      <a:pt x="3551512" y="915550"/>
                    </a:lnTo>
                    <a:lnTo>
                      <a:pt x="3547185" y="916851"/>
                    </a:lnTo>
                    <a:lnTo>
                      <a:pt x="3539386" y="920696"/>
                    </a:lnTo>
                    <a:lnTo>
                      <a:pt x="3536737" y="920408"/>
                    </a:lnTo>
                    <a:lnTo>
                      <a:pt x="3535676" y="920959"/>
                    </a:lnTo>
                    <a:lnTo>
                      <a:pt x="3534224" y="921992"/>
                    </a:lnTo>
                    <a:lnTo>
                      <a:pt x="3530460" y="923620"/>
                    </a:lnTo>
                    <a:lnTo>
                      <a:pt x="3528550" y="924012"/>
                    </a:lnTo>
                    <a:lnTo>
                      <a:pt x="3527942" y="923066"/>
                    </a:lnTo>
                    <a:lnTo>
                      <a:pt x="3529642" y="921426"/>
                    </a:lnTo>
                    <a:close/>
                    <a:moveTo>
                      <a:pt x="3559512" y="913038"/>
                    </a:moveTo>
                    <a:lnTo>
                      <a:pt x="3552273" y="915086"/>
                    </a:lnTo>
                    <a:lnTo>
                      <a:pt x="3552725" y="914859"/>
                    </a:lnTo>
                    <a:lnTo>
                      <a:pt x="3556838" y="913419"/>
                    </a:lnTo>
                    <a:close/>
                    <a:moveTo>
                      <a:pt x="3568591" y="910479"/>
                    </a:moveTo>
                    <a:lnTo>
                      <a:pt x="3564576" y="911801"/>
                    </a:lnTo>
                    <a:lnTo>
                      <a:pt x="3564145" y="912391"/>
                    </a:lnTo>
                    <a:lnTo>
                      <a:pt x="3559612" y="913019"/>
                    </a:lnTo>
                    <a:close/>
                    <a:moveTo>
                      <a:pt x="3570814" y="909863"/>
                    </a:moveTo>
                    <a:lnTo>
                      <a:pt x="3568593" y="910479"/>
                    </a:lnTo>
                    <a:lnTo>
                      <a:pt x="3570415" y="909879"/>
                    </a:lnTo>
                    <a:close/>
                    <a:moveTo>
                      <a:pt x="3633048" y="892103"/>
                    </a:moveTo>
                    <a:lnTo>
                      <a:pt x="3634233" y="892327"/>
                    </a:lnTo>
                    <a:lnTo>
                      <a:pt x="3634780" y="893205"/>
                    </a:lnTo>
                    <a:lnTo>
                      <a:pt x="3633403" y="893703"/>
                    </a:lnTo>
                    <a:lnTo>
                      <a:pt x="3631987" y="893923"/>
                    </a:lnTo>
                    <a:lnTo>
                      <a:pt x="3631279" y="894297"/>
                    </a:lnTo>
                    <a:lnTo>
                      <a:pt x="3630610" y="894758"/>
                    </a:lnTo>
                    <a:lnTo>
                      <a:pt x="3629244" y="895240"/>
                    </a:lnTo>
                    <a:lnTo>
                      <a:pt x="3625361" y="895213"/>
                    </a:lnTo>
                    <a:lnTo>
                      <a:pt x="3623916" y="895882"/>
                    </a:lnTo>
                    <a:lnTo>
                      <a:pt x="3623105" y="897189"/>
                    </a:lnTo>
                    <a:lnTo>
                      <a:pt x="3622173" y="898332"/>
                    </a:lnTo>
                    <a:lnTo>
                      <a:pt x="3621663" y="898766"/>
                    </a:lnTo>
                    <a:lnTo>
                      <a:pt x="3621145" y="899124"/>
                    </a:lnTo>
                    <a:lnTo>
                      <a:pt x="3619348" y="899476"/>
                    </a:lnTo>
                    <a:lnTo>
                      <a:pt x="3614392" y="899301"/>
                    </a:lnTo>
                    <a:lnTo>
                      <a:pt x="3599568" y="903515"/>
                    </a:lnTo>
                    <a:lnTo>
                      <a:pt x="3592992" y="903605"/>
                    </a:lnTo>
                    <a:lnTo>
                      <a:pt x="3591052" y="904310"/>
                    </a:lnTo>
                    <a:lnTo>
                      <a:pt x="3586360" y="907018"/>
                    </a:lnTo>
                    <a:lnTo>
                      <a:pt x="3577397" y="909381"/>
                    </a:lnTo>
                    <a:lnTo>
                      <a:pt x="3571017" y="909840"/>
                    </a:lnTo>
                    <a:lnTo>
                      <a:pt x="3602081" y="900995"/>
                    </a:lnTo>
                    <a:close/>
                    <a:moveTo>
                      <a:pt x="3858959" y="313458"/>
                    </a:moveTo>
                    <a:lnTo>
                      <a:pt x="3859618" y="313657"/>
                    </a:lnTo>
                    <a:lnTo>
                      <a:pt x="3857162" y="316074"/>
                    </a:lnTo>
                    <a:lnTo>
                      <a:pt x="3855191" y="321499"/>
                    </a:lnTo>
                    <a:lnTo>
                      <a:pt x="3854009" y="327759"/>
                    </a:lnTo>
                    <a:lnTo>
                      <a:pt x="3853946" y="332680"/>
                    </a:lnTo>
                    <a:lnTo>
                      <a:pt x="3853312" y="335358"/>
                    </a:lnTo>
                    <a:lnTo>
                      <a:pt x="3851707" y="350314"/>
                    </a:lnTo>
                    <a:lnTo>
                      <a:pt x="3851400" y="344973"/>
                    </a:lnTo>
                    <a:lnTo>
                      <a:pt x="3851476" y="339629"/>
                    </a:lnTo>
                    <a:lnTo>
                      <a:pt x="3851392" y="338406"/>
                    </a:lnTo>
                    <a:lnTo>
                      <a:pt x="3853042" y="326664"/>
                    </a:lnTo>
                    <a:lnTo>
                      <a:pt x="3853046" y="326664"/>
                    </a:lnTo>
                    <a:lnTo>
                      <a:pt x="3855172" y="317932"/>
                    </a:lnTo>
                    <a:lnTo>
                      <a:pt x="3857302" y="314197"/>
                    </a:lnTo>
                    <a:close/>
                    <a:moveTo>
                      <a:pt x="3891013" y="267697"/>
                    </a:moveTo>
                    <a:lnTo>
                      <a:pt x="3887022" y="273703"/>
                    </a:lnTo>
                    <a:lnTo>
                      <a:pt x="3873267" y="286153"/>
                    </a:lnTo>
                    <a:lnTo>
                      <a:pt x="3869882" y="291746"/>
                    </a:lnTo>
                    <a:lnTo>
                      <a:pt x="3863659" y="304551"/>
                    </a:lnTo>
                    <a:lnTo>
                      <a:pt x="3859967" y="309891"/>
                    </a:lnTo>
                    <a:lnTo>
                      <a:pt x="3868648" y="291172"/>
                    </a:lnTo>
                    <a:lnTo>
                      <a:pt x="3871545" y="286003"/>
                    </a:lnTo>
                    <a:lnTo>
                      <a:pt x="3874773" y="281864"/>
                    </a:lnTo>
                    <a:close/>
                    <a:moveTo>
                      <a:pt x="3919802" y="239311"/>
                    </a:moveTo>
                    <a:lnTo>
                      <a:pt x="3920092" y="239716"/>
                    </a:lnTo>
                    <a:lnTo>
                      <a:pt x="3915142" y="243477"/>
                    </a:lnTo>
                    <a:lnTo>
                      <a:pt x="3908051" y="250640"/>
                    </a:lnTo>
                    <a:lnTo>
                      <a:pt x="3905348" y="256061"/>
                    </a:lnTo>
                    <a:lnTo>
                      <a:pt x="3901462" y="259959"/>
                    </a:lnTo>
                    <a:lnTo>
                      <a:pt x="3894499" y="265268"/>
                    </a:lnTo>
                    <a:lnTo>
                      <a:pt x="3902630" y="256204"/>
                    </a:lnTo>
                    <a:lnTo>
                      <a:pt x="3905437" y="251950"/>
                    </a:lnTo>
                    <a:lnTo>
                      <a:pt x="3905469" y="251899"/>
                    </a:lnTo>
                    <a:lnTo>
                      <a:pt x="3908091" y="247938"/>
                    </a:lnTo>
                    <a:lnTo>
                      <a:pt x="3911746" y="244072"/>
                    </a:lnTo>
                    <a:lnTo>
                      <a:pt x="3915838" y="240989"/>
                    </a:lnTo>
                    <a:close/>
                    <a:moveTo>
                      <a:pt x="5863741" y="210479"/>
                    </a:moveTo>
                    <a:lnTo>
                      <a:pt x="5893686" y="218950"/>
                    </a:lnTo>
                    <a:lnTo>
                      <a:pt x="5906010" y="224913"/>
                    </a:lnTo>
                    <a:lnTo>
                      <a:pt x="5907792" y="226024"/>
                    </a:lnTo>
                    <a:lnTo>
                      <a:pt x="5909530" y="227566"/>
                    </a:lnTo>
                    <a:lnTo>
                      <a:pt x="5911361" y="229522"/>
                    </a:lnTo>
                    <a:lnTo>
                      <a:pt x="5908082" y="227879"/>
                    </a:lnTo>
                    <a:lnTo>
                      <a:pt x="5901516" y="225609"/>
                    </a:lnTo>
                    <a:lnTo>
                      <a:pt x="5888155" y="218390"/>
                    </a:lnTo>
                    <a:lnTo>
                      <a:pt x="5881971" y="217510"/>
                    </a:lnTo>
                    <a:lnTo>
                      <a:pt x="5874457" y="214767"/>
                    </a:lnTo>
                    <a:lnTo>
                      <a:pt x="5869213" y="214099"/>
                    </a:lnTo>
                    <a:lnTo>
                      <a:pt x="5865410" y="212723"/>
                    </a:lnTo>
                    <a:lnTo>
                      <a:pt x="5859704" y="212202"/>
                    </a:lnTo>
                    <a:lnTo>
                      <a:pt x="5855337" y="210808"/>
                    </a:lnTo>
                    <a:close/>
                    <a:moveTo>
                      <a:pt x="3959285" y="207491"/>
                    </a:moveTo>
                    <a:lnTo>
                      <a:pt x="3941798" y="216270"/>
                    </a:lnTo>
                    <a:lnTo>
                      <a:pt x="3927138" y="228158"/>
                    </a:lnTo>
                    <a:lnTo>
                      <a:pt x="3925191" y="230520"/>
                    </a:lnTo>
                    <a:lnTo>
                      <a:pt x="3922060" y="235442"/>
                    </a:lnTo>
                    <a:lnTo>
                      <a:pt x="3920006" y="236811"/>
                    </a:lnTo>
                    <a:lnTo>
                      <a:pt x="3926107" y="226770"/>
                    </a:lnTo>
                    <a:lnTo>
                      <a:pt x="3928028" y="224625"/>
                    </a:lnTo>
                    <a:lnTo>
                      <a:pt x="3945362" y="212468"/>
                    </a:lnTo>
                    <a:close/>
                    <a:moveTo>
                      <a:pt x="3985782" y="192562"/>
                    </a:moveTo>
                    <a:lnTo>
                      <a:pt x="4016615" y="198267"/>
                    </a:lnTo>
                    <a:lnTo>
                      <a:pt x="3990301" y="194588"/>
                    </a:lnTo>
                    <a:lnTo>
                      <a:pt x="3983393" y="195099"/>
                    </a:lnTo>
                    <a:lnTo>
                      <a:pt x="3977028" y="200079"/>
                    </a:lnTo>
                    <a:lnTo>
                      <a:pt x="3977807" y="198425"/>
                    </a:lnTo>
                    <a:lnTo>
                      <a:pt x="3980526" y="195103"/>
                    </a:lnTo>
                    <a:close/>
                    <a:moveTo>
                      <a:pt x="5145758" y="133079"/>
                    </a:moveTo>
                    <a:lnTo>
                      <a:pt x="5170058" y="142805"/>
                    </a:lnTo>
                    <a:lnTo>
                      <a:pt x="5172109" y="142505"/>
                    </a:lnTo>
                    <a:lnTo>
                      <a:pt x="5174442" y="141187"/>
                    </a:lnTo>
                    <a:lnTo>
                      <a:pt x="5176253" y="140843"/>
                    </a:lnTo>
                    <a:lnTo>
                      <a:pt x="5179050" y="141607"/>
                    </a:lnTo>
                    <a:lnTo>
                      <a:pt x="5186896" y="146056"/>
                    </a:lnTo>
                    <a:lnTo>
                      <a:pt x="5186720" y="146269"/>
                    </a:lnTo>
                    <a:lnTo>
                      <a:pt x="5177729" y="143135"/>
                    </a:lnTo>
                    <a:lnTo>
                      <a:pt x="5174340" y="143772"/>
                    </a:lnTo>
                    <a:lnTo>
                      <a:pt x="5171931" y="144915"/>
                    </a:lnTo>
                    <a:lnTo>
                      <a:pt x="5168441" y="144380"/>
                    </a:lnTo>
                    <a:lnTo>
                      <a:pt x="5150217" y="135842"/>
                    </a:lnTo>
                    <a:lnTo>
                      <a:pt x="5144402" y="134582"/>
                    </a:lnTo>
                    <a:lnTo>
                      <a:pt x="5139082" y="135032"/>
                    </a:lnTo>
                    <a:lnTo>
                      <a:pt x="5139823" y="134440"/>
                    </a:lnTo>
                    <a:lnTo>
                      <a:pt x="5142041" y="133412"/>
                    </a:lnTo>
                    <a:close/>
                    <a:moveTo>
                      <a:pt x="4476958" y="0"/>
                    </a:moveTo>
                    <a:lnTo>
                      <a:pt x="4480253" y="1053"/>
                    </a:lnTo>
                    <a:lnTo>
                      <a:pt x="4483599" y="3375"/>
                    </a:lnTo>
                    <a:lnTo>
                      <a:pt x="4486076" y="5746"/>
                    </a:lnTo>
                    <a:lnTo>
                      <a:pt x="4483587" y="6311"/>
                    </a:lnTo>
                    <a:lnTo>
                      <a:pt x="4478268" y="3148"/>
                    </a:lnTo>
                    <a:lnTo>
                      <a:pt x="4475641" y="3401"/>
                    </a:lnTo>
                    <a:lnTo>
                      <a:pt x="4470270" y="8778"/>
                    </a:lnTo>
                    <a:lnTo>
                      <a:pt x="4467082" y="10032"/>
                    </a:lnTo>
                    <a:lnTo>
                      <a:pt x="4465740" y="10905"/>
                    </a:lnTo>
                    <a:lnTo>
                      <a:pt x="4468743" y="14025"/>
                    </a:lnTo>
                    <a:lnTo>
                      <a:pt x="4470240" y="16140"/>
                    </a:lnTo>
                    <a:lnTo>
                      <a:pt x="4470972" y="18999"/>
                    </a:lnTo>
                    <a:lnTo>
                      <a:pt x="4472428" y="20601"/>
                    </a:lnTo>
                    <a:lnTo>
                      <a:pt x="4481418" y="21923"/>
                    </a:lnTo>
                    <a:lnTo>
                      <a:pt x="4480350" y="24751"/>
                    </a:lnTo>
                    <a:lnTo>
                      <a:pt x="4480786" y="26283"/>
                    </a:lnTo>
                    <a:lnTo>
                      <a:pt x="4482141" y="26890"/>
                    </a:lnTo>
                    <a:lnTo>
                      <a:pt x="4499095" y="25858"/>
                    </a:lnTo>
                    <a:lnTo>
                      <a:pt x="4507747" y="28040"/>
                    </a:lnTo>
                    <a:lnTo>
                      <a:pt x="4511764" y="30296"/>
                    </a:lnTo>
                    <a:lnTo>
                      <a:pt x="4511007" y="33338"/>
                    </a:lnTo>
                    <a:lnTo>
                      <a:pt x="4510775" y="34056"/>
                    </a:lnTo>
                    <a:lnTo>
                      <a:pt x="4515408" y="34470"/>
                    </a:lnTo>
                    <a:lnTo>
                      <a:pt x="4516926" y="35315"/>
                    </a:lnTo>
                    <a:lnTo>
                      <a:pt x="4515694" y="37420"/>
                    </a:lnTo>
                    <a:lnTo>
                      <a:pt x="4511210" y="41553"/>
                    </a:lnTo>
                    <a:lnTo>
                      <a:pt x="4511289" y="42914"/>
                    </a:lnTo>
                    <a:lnTo>
                      <a:pt x="4514711" y="42522"/>
                    </a:lnTo>
                    <a:lnTo>
                      <a:pt x="4518050" y="41341"/>
                    </a:lnTo>
                    <a:lnTo>
                      <a:pt x="4521022" y="39153"/>
                    </a:lnTo>
                    <a:lnTo>
                      <a:pt x="4523340" y="35771"/>
                    </a:lnTo>
                    <a:lnTo>
                      <a:pt x="4524267" y="34757"/>
                    </a:lnTo>
                    <a:lnTo>
                      <a:pt x="4525579" y="34346"/>
                    </a:lnTo>
                    <a:lnTo>
                      <a:pt x="4526790" y="34937"/>
                    </a:lnTo>
                    <a:lnTo>
                      <a:pt x="4527420" y="36898"/>
                    </a:lnTo>
                    <a:lnTo>
                      <a:pt x="4528423" y="38666"/>
                    </a:lnTo>
                    <a:lnTo>
                      <a:pt x="4530434" y="38251"/>
                    </a:lnTo>
                    <a:lnTo>
                      <a:pt x="4534012" y="36153"/>
                    </a:lnTo>
                    <a:lnTo>
                      <a:pt x="4538528" y="36227"/>
                    </a:lnTo>
                    <a:lnTo>
                      <a:pt x="4554522" y="40547"/>
                    </a:lnTo>
                    <a:lnTo>
                      <a:pt x="4557185" y="42975"/>
                    </a:lnTo>
                    <a:lnTo>
                      <a:pt x="4559516" y="46520"/>
                    </a:lnTo>
                    <a:lnTo>
                      <a:pt x="4561361" y="50741"/>
                    </a:lnTo>
                    <a:lnTo>
                      <a:pt x="4562109" y="55525"/>
                    </a:lnTo>
                    <a:lnTo>
                      <a:pt x="4561003" y="59096"/>
                    </a:lnTo>
                    <a:lnTo>
                      <a:pt x="4558727" y="61301"/>
                    </a:lnTo>
                    <a:lnTo>
                      <a:pt x="4554666" y="62586"/>
                    </a:lnTo>
                    <a:lnTo>
                      <a:pt x="4553498" y="63766"/>
                    </a:lnTo>
                    <a:lnTo>
                      <a:pt x="4551357" y="66624"/>
                    </a:lnTo>
                    <a:lnTo>
                      <a:pt x="4550547" y="67080"/>
                    </a:lnTo>
                    <a:lnTo>
                      <a:pt x="4548779" y="67247"/>
                    </a:lnTo>
                    <a:lnTo>
                      <a:pt x="4548102" y="67938"/>
                    </a:lnTo>
                    <a:lnTo>
                      <a:pt x="4547852" y="68920"/>
                    </a:lnTo>
                    <a:lnTo>
                      <a:pt x="4547413" y="72266"/>
                    </a:lnTo>
                    <a:lnTo>
                      <a:pt x="4545993" y="73501"/>
                    </a:lnTo>
                    <a:lnTo>
                      <a:pt x="4544191" y="74354"/>
                    </a:lnTo>
                    <a:lnTo>
                      <a:pt x="4540533" y="75012"/>
                    </a:lnTo>
                    <a:lnTo>
                      <a:pt x="4539980" y="75417"/>
                    </a:lnTo>
                    <a:lnTo>
                      <a:pt x="4539154" y="77146"/>
                    </a:lnTo>
                    <a:lnTo>
                      <a:pt x="4538513" y="77553"/>
                    </a:lnTo>
                    <a:lnTo>
                      <a:pt x="4516912" y="79608"/>
                    </a:lnTo>
                    <a:lnTo>
                      <a:pt x="4514693" y="80583"/>
                    </a:lnTo>
                    <a:lnTo>
                      <a:pt x="4514031" y="80596"/>
                    </a:lnTo>
                    <a:lnTo>
                      <a:pt x="4516396" y="81733"/>
                    </a:lnTo>
                    <a:lnTo>
                      <a:pt x="4518738" y="81695"/>
                    </a:lnTo>
                    <a:lnTo>
                      <a:pt x="4520984" y="82289"/>
                    </a:lnTo>
                    <a:lnTo>
                      <a:pt x="4523034" y="85335"/>
                    </a:lnTo>
                    <a:lnTo>
                      <a:pt x="4519631" y="87720"/>
                    </a:lnTo>
                    <a:lnTo>
                      <a:pt x="4510783" y="87268"/>
                    </a:lnTo>
                    <a:lnTo>
                      <a:pt x="4507081" y="89342"/>
                    </a:lnTo>
                    <a:lnTo>
                      <a:pt x="4510089" y="89770"/>
                    </a:lnTo>
                    <a:lnTo>
                      <a:pt x="4516051" y="88226"/>
                    </a:lnTo>
                    <a:lnTo>
                      <a:pt x="4518892" y="89148"/>
                    </a:lnTo>
                    <a:lnTo>
                      <a:pt x="4518040" y="90028"/>
                    </a:lnTo>
                    <a:lnTo>
                      <a:pt x="4515339" y="91713"/>
                    </a:lnTo>
                    <a:lnTo>
                      <a:pt x="4518052" y="92682"/>
                    </a:lnTo>
                    <a:lnTo>
                      <a:pt x="4523675" y="91372"/>
                    </a:lnTo>
                    <a:lnTo>
                      <a:pt x="4525964" y="94039"/>
                    </a:lnTo>
                    <a:lnTo>
                      <a:pt x="4524819" y="95424"/>
                    </a:lnTo>
                    <a:lnTo>
                      <a:pt x="4526074" y="97327"/>
                    </a:lnTo>
                    <a:lnTo>
                      <a:pt x="4528822" y="99293"/>
                    </a:lnTo>
                    <a:lnTo>
                      <a:pt x="4530130" y="101590"/>
                    </a:lnTo>
                    <a:lnTo>
                      <a:pt x="4528990" y="102788"/>
                    </a:lnTo>
                    <a:lnTo>
                      <a:pt x="4527685" y="103544"/>
                    </a:lnTo>
                    <a:lnTo>
                      <a:pt x="4526609" y="104591"/>
                    </a:lnTo>
                    <a:lnTo>
                      <a:pt x="4526162" y="106674"/>
                    </a:lnTo>
                    <a:lnTo>
                      <a:pt x="4526429" y="108535"/>
                    </a:lnTo>
                    <a:lnTo>
                      <a:pt x="4527763" y="111034"/>
                    </a:lnTo>
                    <a:lnTo>
                      <a:pt x="4528343" y="112889"/>
                    </a:lnTo>
                    <a:lnTo>
                      <a:pt x="4528170" y="115026"/>
                    </a:lnTo>
                    <a:lnTo>
                      <a:pt x="4527643" y="117313"/>
                    </a:lnTo>
                    <a:lnTo>
                      <a:pt x="4527741" y="118706"/>
                    </a:lnTo>
                    <a:lnTo>
                      <a:pt x="4532583" y="117368"/>
                    </a:lnTo>
                    <a:lnTo>
                      <a:pt x="4533881" y="116481"/>
                    </a:lnTo>
                    <a:lnTo>
                      <a:pt x="4534608" y="114034"/>
                    </a:lnTo>
                    <a:lnTo>
                      <a:pt x="4533320" y="112952"/>
                    </a:lnTo>
                    <a:lnTo>
                      <a:pt x="4532308" y="111238"/>
                    </a:lnTo>
                    <a:lnTo>
                      <a:pt x="4531864" y="109066"/>
                    </a:lnTo>
                    <a:lnTo>
                      <a:pt x="4532294" y="106568"/>
                    </a:lnTo>
                    <a:lnTo>
                      <a:pt x="4534733" y="104464"/>
                    </a:lnTo>
                    <a:lnTo>
                      <a:pt x="4542270" y="105417"/>
                    </a:lnTo>
                    <a:lnTo>
                      <a:pt x="4545202" y="104393"/>
                    </a:lnTo>
                    <a:lnTo>
                      <a:pt x="4547387" y="102845"/>
                    </a:lnTo>
                    <a:lnTo>
                      <a:pt x="4550095" y="102450"/>
                    </a:lnTo>
                    <a:lnTo>
                      <a:pt x="4552794" y="103310"/>
                    </a:lnTo>
                    <a:lnTo>
                      <a:pt x="4555941" y="106362"/>
                    </a:lnTo>
                    <a:lnTo>
                      <a:pt x="4556604" y="105520"/>
                    </a:lnTo>
                    <a:lnTo>
                      <a:pt x="4556857" y="104195"/>
                    </a:lnTo>
                    <a:lnTo>
                      <a:pt x="4556618" y="103490"/>
                    </a:lnTo>
                    <a:lnTo>
                      <a:pt x="4556037" y="102913"/>
                    </a:lnTo>
                    <a:lnTo>
                      <a:pt x="4555483" y="101535"/>
                    </a:lnTo>
                    <a:lnTo>
                      <a:pt x="4555040" y="99926"/>
                    </a:lnTo>
                    <a:lnTo>
                      <a:pt x="4554769" y="98639"/>
                    </a:lnTo>
                    <a:lnTo>
                      <a:pt x="4556590" y="98298"/>
                    </a:lnTo>
                    <a:lnTo>
                      <a:pt x="4560701" y="102232"/>
                    </a:lnTo>
                    <a:lnTo>
                      <a:pt x="4563056" y="102231"/>
                    </a:lnTo>
                    <a:lnTo>
                      <a:pt x="4565932" y="98421"/>
                    </a:lnTo>
                    <a:lnTo>
                      <a:pt x="4566498" y="96416"/>
                    </a:lnTo>
                    <a:lnTo>
                      <a:pt x="4566516" y="94827"/>
                    </a:lnTo>
                    <a:lnTo>
                      <a:pt x="4566003" y="91413"/>
                    </a:lnTo>
                    <a:lnTo>
                      <a:pt x="4565776" y="87552"/>
                    </a:lnTo>
                    <a:lnTo>
                      <a:pt x="4565987" y="84595"/>
                    </a:lnTo>
                    <a:lnTo>
                      <a:pt x="4567041" y="82681"/>
                    </a:lnTo>
                    <a:lnTo>
                      <a:pt x="4571415" y="81070"/>
                    </a:lnTo>
                    <a:lnTo>
                      <a:pt x="4576527" y="74305"/>
                    </a:lnTo>
                    <a:lnTo>
                      <a:pt x="4577840" y="73158"/>
                    </a:lnTo>
                    <a:lnTo>
                      <a:pt x="4581851" y="71575"/>
                    </a:lnTo>
                    <a:lnTo>
                      <a:pt x="4582909" y="70642"/>
                    </a:lnTo>
                    <a:lnTo>
                      <a:pt x="4584826" y="68268"/>
                    </a:lnTo>
                    <a:lnTo>
                      <a:pt x="4585915" y="67731"/>
                    </a:lnTo>
                    <a:lnTo>
                      <a:pt x="4587884" y="68784"/>
                    </a:lnTo>
                    <a:lnTo>
                      <a:pt x="4591086" y="73926"/>
                    </a:lnTo>
                    <a:lnTo>
                      <a:pt x="4593567" y="75079"/>
                    </a:lnTo>
                    <a:lnTo>
                      <a:pt x="4595787" y="74202"/>
                    </a:lnTo>
                    <a:lnTo>
                      <a:pt x="4596485" y="72032"/>
                    </a:lnTo>
                    <a:lnTo>
                      <a:pt x="4596000" y="69045"/>
                    </a:lnTo>
                    <a:lnTo>
                      <a:pt x="4594677" y="65727"/>
                    </a:lnTo>
                    <a:lnTo>
                      <a:pt x="4592634" y="63021"/>
                    </a:lnTo>
                    <a:lnTo>
                      <a:pt x="4587910" y="60106"/>
                    </a:lnTo>
                    <a:lnTo>
                      <a:pt x="4585771" y="57738"/>
                    </a:lnTo>
                    <a:lnTo>
                      <a:pt x="4587372" y="55325"/>
                    </a:lnTo>
                    <a:lnTo>
                      <a:pt x="4592359" y="50841"/>
                    </a:lnTo>
                    <a:lnTo>
                      <a:pt x="4594402" y="50044"/>
                    </a:lnTo>
                    <a:lnTo>
                      <a:pt x="4596567" y="51329"/>
                    </a:lnTo>
                    <a:lnTo>
                      <a:pt x="4600487" y="56658"/>
                    </a:lnTo>
                    <a:lnTo>
                      <a:pt x="4602927" y="57355"/>
                    </a:lnTo>
                    <a:lnTo>
                      <a:pt x="4602149" y="54057"/>
                    </a:lnTo>
                    <a:lnTo>
                      <a:pt x="4602054" y="51197"/>
                    </a:lnTo>
                    <a:lnTo>
                      <a:pt x="4601574" y="48929"/>
                    </a:lnTo>
                    <a:lnTo>
                      <a:pt x="4599634" y="47422"/>
                    </a:lnTo>
                    <a:lnTo>
                      <a:pt x="4600921" y="45635"/>
                    </a:lnTo>
                    <a:lnTo>
                      <a:pt x="4602607" y="44761"/>
                    </a:lnTo>
                    <a:lnTo>
                      <a:pt x="4604414" y="45025"/>
                    </a:lnTo>
                    <a:lnTo>
                      <a:pt x="4606065" y="46648"/>
                    </a:lnTo>
                    <a:lnTo>
                      <a:pt x="4607109" y="49053"/>
                    </a:lnTo>
                    <a:lnTo>
                      <a:pt x="4607027" y="50733"/>
                    </a:lnTo>
                    <a:lnTo>
                      <a:pt x="4606552" y="52421"/>
                    </a:lnTo>
                    <a:lnTo>
                      <a:pt x="4606385" y="54773"/>
                    </a:lnTo>
                    <a:lnTo>
                      <a:pt x="4606870" y="56975"/>
                    </a:lnTo>
                    <a:lnTo>
                      <a:pt x="4608424" y="61456"/>
                    </a:lnTo>
                    <a:lnTo>
                      <a:pt x="4608569" y="62795"/>
                    </a:lnTo>
                    <a:lnTo>
                      <a:pt x="4607376" y="64745"/>
                    </a:lnTo>
                    <a:lnTo>
                      <a:pt x="4604687" y="67387"/>
                    </a:lnTo>
                    <a:lnTo>
                      <a:pt x="4603935" y="69948"/>
                    </a:lnTo>
                    <a:lnTo>
                      <a:pt x="4606916" y="70825"/>
                    </a:lnTo>
                    <a:lnTo>
                      <a:pt x="4609171" y="69806"/>
                    </a:lnTo>
                    <a:lnTo>
                      <a:pt x="4610501" y="67044"/>
                    </a:lnTo>
                    <a:lnTo>
                      <a:pt x="4610758" y="61207"/>
                    </a:lnTo>
                    <a:lnTo>
                      <a:pt x="4611268" y="57649"/>
                    </a:lnTo>
                    <a:lnTo>
                      <a:pt x="4611374" y="55909"/>
                    </a:lnTo>
                    <a:lnTo>
                      <a:pt x="4610836" y="53320"/>
                    </a:lnTo>
                    <a:lnTo>
                      <a:pt x="4610086" y="52205"/>
                    </a:lnTo>
                    <a:lnTo>
                      <a:pt x="4610200" y="51732"/>
                    </a:lnTo>
                    <a:lnTo>
                      <a:pt x="4612248" y="50992"/>
                    </a:lnTo>
                    <a:lnTo>
                      <a:pt x="4613659" y="50890"/>
                    </a:lnTo>
                    <a:lnTo>
                      <a:pt x="4618471" y="51984"/>
                    </a:lnTo>
                    <a:lnTo>
                      <a:pt x="4619647" y="53111"/>
                    </a:lnTo>
                    <a:lnTo>
                      <a:pt x="4620956" y="55272"/>
                    </a:lnTo>
                    <a:lnTo>
                      <a:pt x="4622377" y="56519"/>
                    </a:lnTo>
                    <a:lnTo>
                      <a:pt x="4623920" y="54983"/>
                    </a:lnTo>
                    <a:lnTo>
                      <a:pt x="4625718" y="54044"/>
                    </a:lnTo>
                    <a:lnTo>
                      <a:pt x="4628641" y="54949"/>
                    </a:lnTo>
                    <a:lnTo>
                      <a:pt x="4631775" y="57064"/>
                    </a:lnTo>
                    <a:lnTo>
                      <a:pt x="4636663" y="62227"/>
                    </a:lnTo>
                    <a:lnTo>
                      <a:pt x="4645523" y="66321"/>
                    </a:lnTo>
                    <a:lnTo>
                      <a:pt x="4647767" y="68202"/>
                    </a:lnTo>
                    <a:lnTo>
                      <a:pt x="4648616" y="69664"/>
                    </a:lnTo>
                    <a:lnTo>
                      <a:pt x="4649096" y="71928"/>
                    </a:lnTo>
                    <a:lnTo>
                      <a:pt x="4648796" y="73465"/>
                    </a:lnTo>
                    <a:lnTo>
                      <a:pt x="4647959" y="75411"/>
                    </a:lnTo>
                    <a:lnTo>
                      <a:pt x="4646978" y="77093"/>
                    </a:lnTo>
                    <a:lnTo>
                      <a:pt x="4645525" y="78390"/>
                    </a:lnTo>
                    <a:lnTo>
                      <a:pt x="4645295" y="79777"/>
                    </a:lnTo>
                    <a:lnTo>
                      <a:pt x="4645264" y="81397"/>
                    </a:lnTo>
                    <a:lnTo>
                      <a:pt x="4645152" y="82730"/>
                    </a:lnTo>
                    <a:lnTo>
                      <a:pt x="4644457" y="85793"/>
                    </a:lnTo>
                    <a:lnTo>
                      <a:pt x="4644020" y="86706"/>
                    </a:lnTo>
                    <a:lnTo>
                      <a:pt x="4643090" y="87895"/>
                    </a:lnTo>
                    <a:lnTo>
                      <a:pt x="4640237" y="89556"/>
                    </a:lnTo>
                    <a:lnTo>
                      <a:pt x="4633550" y="91426"/>
                    </a:lnTo>
                    <a:lnTo>
                      <a:pt x="4631872" y="94333"/>
                    </a:lnTo>
                    <a:lnTo>
                      <a:pt x="4641728" y="93072"/>
                    </a:lnTo>
                    <a:lnTo>
                      <a:pt x="4644030" y="94717"/>
                    </a:lnTo>
                    <a:lnTo>
                      <a:pt x="4644864" y="95687"/>
                    </a:lnTo>
                    <a:lnTo>
                      <a:pt x="4648468" y="99038"/>
                    </a:lnTo>
                    <a:lnTo>
                      <a:pt x="4648613" y="99751"/>
                    </a:lnTo>
                    <a:lnTo>
                      <a:pt x="4648655" y="102065"/>
                    </a:lnTo>
                    <a:lnTo>
                      <a:pt x="4648806" y="102793"/>
                    </a:lnTo>
                    <a:lnTo>
                      <a:pt x="4652620" y="103949"/>
                    </a:lnTo>
                    <a:lnTo>
                      <a:pt x="4657265" y="103694"/>
                    </a:lnTo>
                    <a:lnTo>
                      <a:pt x="4666414" y="101045"/>
                    </a:lnTo>
                    <a:lnTo>
                      <a:pt x="4671009" y="100832"/>
                    </a:lnTo>
                    <a:lnTo>
                      <a:pt x="4677962" y="102285"/>
                    </a:lnTo>
                    <a:lnTo>
                      <a:pt x="4681629" y="104342"/>
                    </a:lnTo>
                    <a:lnTo>
                      <a:pt x="4684088" y="107994"/>
                    </a:lnTo>
                    <a:lnTo>
                      <a:pt x="4683443" y="109783"/>
                    </a:lnTo>
                    <a:lnTo>
                      <a:pt x="4684363" y="110991"/>
                    </a:lnTo>
                    <a:lnTo>
                      <a:pt x="4686025" y="111683"/>
                    </a:lnTo>
                    <a:lnTo>
                      <a:pt x="4687568" y="111886"/>
                    </a:lnTo>
                    <a:lnTo>
                      <a:pt x="4691276" y="110937"/>
                    </a:lnTo>
                    <a:lnTo>
                      <a:pt x="4694791" y="109057"/>
                    </a:lnTo>
                    <a:lnTo>
                      <a:pt x="4702044" y="101076"/>
                    </a:lnTo>
                    <a:lnTo>
                      <a:pt x="4706923" y="98496"/>
                    </a:lnTo>
                    <a:lnTo>
                      <a:pt x="4710333" y="91969"/>
                    </a:lnTo>
                    <a:lnTo>
                      <a:pt x="4712028" y="89632"/>
                    </a:lnTo>
                    <a:lnTo>
                      <a:pt x="4714216" y="88827"/>
                    </a:lnTo>
                    <a:lnTo>
                      <a:pt x="4748650" y="89850"/>
                    </a:lnTo>
                    <a:lnTo>
                      <a:pt x="4754248" y="87357"/>
                    </a:lnTo>
                    <a:lnTo>
                      <a:pt x="4760461" y="87038"/>
                    </a:lnTo>
                    <a:lnTo>
                      <a:pt x="4762478" y="86477"/>
                    </a:lnTo>
                    <a:lnTo>
                      <a:pt x="4766809" y="81577"/>
                    </a:lnTo>
                    <a:lnTo>
                      <a:pt x="4770924" y="80682"/>
                    </a:lnTo>
                    <a:lnTo>
                      <a:pt x="4779199" y="81293"/>
                    </a:lnTo>
                    <a:lnTo>
                      <a:pt x="4780716" y="81815"/>
                    </a:lnTo>
                    <a:lnTo>
                      <a:pt x="4782606" y="84254"/>
                    </a:lnTo>
                    <a:lnTo>
                      <a:pt x="4783947" y="84774"/>
                    </a:lnTo>
                    <a:lnTo>
                      <a:pt x="4784886" y="84943"/>
                    </a:lnTo>
                    <a:lnTo>
                      <a:pt x="4786804" y="85728"/>
                    </a:lnTo>
                    <a:lnTo>
                      <a:pt x="4787815" y="85894"/>
                    </a:lnTo>
                    <a:lnTo>
                      <a:pt x="4788337" y="85539"/>
                    </a:lnTo>
                    <a:lnTo>
                      <a:pt x="4789660" y="83928"/>
                    </a:lnTo>
                    <a:lnTo>
                      <a:pt x="4790587" y="83395"/>
                    </a:lnTo>
                    <a:lnTo>
                      <a:pt x="4798471" y="84257"/>
                    </a:lnTo>
                    <a:lnTo>
                      <a:pt x="4799745" y="85063"/>
                    </a:lnTo>
                    <a:lnTo>
                      <a:pt x="4800667" y="87018"/>
                    </a:lnTo>
                    <a:lnTo>
                      <a:pt x="4801565" y="89303"/>
                    </a:lnTo>
                    <a:lnTo>
                      <a:pt x="4802790" y="91121"/>
                    </a:lnTo>
                    <a:lnTo>
                      <a:pt x="4804226" y="92146"/>
                    </a:lnTo>
                    <a:lnTo>
                      <a:pt x="4806013" y="92978"/>
                    </a:lnTo>
                    <a:lnTo>
                      <a:pt x="4807776" y="93294"/>
                    </a:lnTo>
                    <a:lnTo>
                      <a:pt x="4809135" y="92766"/>
                    </a:lnTo>
                    <a:lnTo>
                      <a:pt x="4809763" y="91188"/>
                    </a:lnTo>
                    <a:lnTo>
                      <a:pt x="4809763" y="89467"/>
                    </a:lnTo>
                    <a:lnTo>
                      <a:pt x="4810053" y="88118"/>
                    </a:lnTo>
                    <a:lnTo>
                      <a:pt x="4811562" y="87658"/>
                    </a:lnTo>
                    <a:lnTo>
                      <a:pt x="4812349" y="88190"/>
                    </a:lnTo>
                    <a:lnTo>
                      <a:pt x="4813299" y="89381"/>
                    </a:lnTo>
                    <a:lnTo>
                      <a:pt x="4814954" y="91929"/>
                    </a:lnTo>
                    <a:lnTo>
                      <a:pt x="4816086" y="93235"/>
                    </a:lnTo>
                    <a:lnTo>
                      <a:pt x="4818792" y="95377"/>
                    </a:lnTo>
                    <a:lnTo>
                      <a:pt x="4822228" y="99371"/>
                    </a:lnTo>
                    <a:lnTo>
                      <a:pt x="4823854" y="99279"/>
                    </a:lnTo>
                    <a:lnTo>
                      <a:pt x="4826813" y="94618"/>
                    </a:lnTo>
                    <a:lnTo>
                      <a:pt x="4824902" y="90883"/>
                    </a:lnTo>
                    <a:lnTo>
                      <a:pt x="4822760" y="89071"/>
                    </a:lnTo>
                    <a:lnTo>
                      <a:pt x="4820423" y="88532"/>
                    </a:lnTo>
                    <a:lnTo>
                      <a:pt x="4817920" y="88566"/>
                    </a:lnTo>
                    <a:lnTo>
                      <a:pt x="4820776" y="86679"/>
                    </a:lnTo>
                    <a:lnTo>
                      <a:pt x="4835850" y="86625"/>
                    </a:lnTo>
                    <a:lnTo>
                      <a:pt x="4856291" y="91455"/>
                    </a:lnTo>
                    <a:lnTo>
                      <a:pt x="4867061" y="98169"/>
                    </a:lnTo>
                    <a:lnTo>
                      <a:pt x="4867207" y="99189"/>
                    </a:lnTo>
                    <a:lnTo>
                      <a:pt x="4862568" y="101667"/>
                    </a:lnTo>
                    <a:lnTo>
                      <a:pt x="4854702" y="111321"/>
                    </a:lnTo>
                    <a:lnTo>
                      <a:pt x="4849826" y="112562"/>
                    </a:lnTo>
                    <a:lnTo>
                      <a:pt x="4850015" y="113939"/>
                    </a:lnTo>
                    <a:lnTo>
                      <a:pt x="4851557" y="114778"/>
                    </a:lnTo>
                    <a:lnTo>
                      <a:pt x="4851951" y="116426"/>
                    </a:lnTo>
                    <a:lnTo>
                      <a:pt x="4851453" y="118063"/>
                    </a:lnTo>
                    <a:lnTo>
                      <a:pt x="4850345" y="118832"/>
                    </a:lnTo>
                    <a:lnTo>
                      <a:pt x="4846529" y="119694"/>
                    </a:lnTo>
                    <a:lnTo>
                      <a:pt x="4844593" y="120930"/>
                    </a:lnTo>
                    <a:lnTo>
                      <a:pt x="4843643" y="122862"/>
                    </a:lnTo>
                    <a:lnTo>
                      <a:pt x="4844716" y="127427"/>
                    </a:lnTo>
                    <a:lnTo>
                      <a:pt x="4847719" y="131379"/>
                    </a:lnTo>
                    <a:lnTo>
                      <a:pt x="4851226" y="134142"/>
                    </a:lnTo>
                    <a:lnTo>
                      <a:pt x="4869624" y="138297"/>
                    </a:lnTo>
                    <a:lnTo>
                      <a:pt x="4878475" y="137256"/>
                    </a:lnTo>
                    <a:lnTo>
                      <a:pt x="4883274" y="137875"/>
                    </a:lnTo>
                    <a:lnTo>
                      <a:pt x="4886400" y="141383"/>
                    </a:lnTo>
                    <a:lnTo>
                      <a:pt x="4883567" y="142258"/>
                    </a:lnTo>
                    <a:lnTo>
                      <a:pt x="4877966" y="141078"/>
                    </a:lnTo>
                    <a:lnTo>
                      <a:pt x="4855002" y="141234"/>
                    </a:lnTo>
                    <a:lnTo>
                      <a:pt x="4851534" y="142292"/>
                    </a:lnTo>
                    <a:lnTo>
                      <a:pt x="4845746" y="140493"/>
                    </a:lnTo>
                    <a:lnTo>
                      <a:pt x="4843274" y="141061"/>
                    </a:lnTo>
                    <a:lnTo>
                      <a:pt x="4840207" y="142505"/>
                    </a:lnTo>
                    <a:lnTo>
                      <a:pt x="4837531" y="144586"/>
                    </a:lnTo>
                    <a:lnTo>
                      <a:pt x="4836278" y="147152"/>
                    </a:lnTo>
                    <a:lnTo>
                      <a:pt x="4837448" y="147610"/>
                    </a:lnTo>
                    <a:lnTo>
                      <a:pt x="4840328" y="146999"/>
                    </a:lnTo>
                    <a:lnTo>
                      <a:pt x="4841575" y="147287"/>
                    </a:lnTo>
                    <a:lnTo>
                      <a:pt x="4844105" y="148832"/>
                    </a:lnTo>
                    <a:lnTo>
                      <a:pt x="4845346" y="149324"/>
                    </a:lnTo>
                    <a:lnTo>
                      <a:pt x="4847800" y="149146"/>
                    </a:lnTo>
                    <a:lnTo>
                      <a:pt x="4852233" y="147032"/>
                    </a:lnTo>
                    <a:lnTo>
                      <a:pt x="4896283" y="142342"/>
                    </a:lnTo>
                    <a:lnTo>
                      <a:pt x="4907622" y="144270"/>
                    </a:lnTo>
                    <a:lnTo>
                      <a:pt x="4915457" y="142424"/>
                    </a:lnTo>
                    <a:lnTo>
                      <a:pt x="4918156" y="143814"/>
                    </a:lnTo>
                    <a:lnTo>
                      <a:pt x="4916840" y="144525"/>
                    </a:lnTo>
                    <a:lnTo>
                      <a:pt x="4915871" y="145827"/>
                    </a:lnTo>
                    <a:lnTo>
                      <a:pt x="4914369" y="149697"/>
                    </a:lnTo>
                    <a:lnTo>
                      <a:pt x="4912871" y="151382"/>
                    </a:lnTo>
                    <a:lnTo>
                      <a:pt x="4908692" y="150773"/>
                    </a:lnTo>
                    <a:lnTo>
                      <a:pt x="4906810" y="151845"/>
                    </a:lnTo>
                    <a:lnTo>
                      <a:pt x="4909036" y="153206"/>
                    </a:lnTo>
                    <a:lnTo>
                      <a:pt x="4914493" y="154330"/>
                    </a:lnTo>
                    <a:lnTo>
                      <a:pt x="4905978" y="156451"/>
                    </a:lnTo>
                    <a:lnTo>
                      <a:pt x="4901096" y="158948"/>
                    </a:lnTo>
                    <a:lnTo>
                      <a:pt x="4898615" y="164907"/>
                    </a:lnTo>
                    <a:lnTo>
                      <a:pt x="4921284" y="166355"/>
                    </a:lnTo>
                    <a:lnTo>
                      <a:pt x="4947074" y="164596"/>
                    </a:lnTo>
                    <a:lnTo>
                      <a:pt x="4951674" y="166610"/>
                    </a:lnTo>
                    <a:lnTo>
                      <a:pt x="4956762" y="166468"/>
                    </a:lnTo>
                    <a:lnTo>
                      <a:pt x="4958923" y="167934"/>
                    </a:lnTo>
                    <a:lnTo>
                      <a:pt x="4960630" y="169485"/>
                    </a:lnTo>
                    <a:lnTo>
                      <a:pt x="4964314" y="171051"/>
                    </a:lnTo>
                    <a:lnTo>
                      <a:pt x="4968148" y="174646"/>
                    </a:lnTo>
                    <a:lnTo>
                      <a:pt x="4970215" y="175211"/>
                    </a:lnTo>
                    <a:lnTo>
                      <a:pt x="4974243" y="174270"/>
                    </a:lnTo>
                    <a:lnTo>
                      <a:pt x="4974021" y="172914"/>
                    </a:lnTo>
                    <a:lnTo>
                      <a:pt x="4971570" y="170329"/>
                    </a:lnTo>
                    <a:lnTo>
                      <a:pt x="4970058" y="166590"/>
                    </a:lnTo>
                    <a:lnTo>
                      <a:pt x="4970048" y="163208"/>
                    </a:lnTo>
                    <a:lnTo>
                      <a:pt x="4972122" y="161639"/>
                    </a:lnTo>
                    <a:lnTo>
                      <a:pt x="4990085" y="159415"/>
                    </a:lnTo>
                    <a:lnTo>
                      <a:pt x="4990585" y="158970"/>
                    </a:lnTo>
                    <a:lnTo>
                      <a:pt x="4991577" y="157299"/>
                    </a:lnTo>
                    <a:lnTo>
                      <a:pt x="4992222" y="156786"/>
                    </a:lnTo>
                    <a:lnTo>
                      <a:pt x="5000341" y="156391"/>
                    </a:lnTo>
                    <a:lnTo>
                      <a:pt x="5000941" y="155866"/>
                    </a:lnTo>
                    <a:lnTo>
                      <a:pt x="5001968" y="154296"/>
                    </a:lnTo>
                    <a:lnTo>
                      <a:pt x="5002433" y="153876"/>
                    </a:lnTo>
                    <a:lnTo>
                      <a:pt x="5004551" y="154088"/>
                    </a:lnTo>
                    <a:lnTo>
                      <a:pt x="5009110" y="155508"/>
                    </a:lnTo>
                    <a:lnTo>
                      <a:pt x="5010855" y="154610"/>
                    </a:lnTo>
                    <a:lnTo>
                      <a:pt x="5007970" y="153218"/>
                    </a:lnTo>
                    <a:lnTo>
                      <a:pt x="5006612" y="151933"/>
                    </a:lnTo>
                    <a:lnTo>
                      <a:pt x="5005585" y="149938"/>
                    </a:lnTo>
                    <a:lnTo>
                      <a:pt x="5021277" y="147786"/>
                    </a:lnTo>
                    <a:lnTo>
                      <a:pt x="5022233" y="147934"/>
                    </a:lnTo>
                    <a:lnTo>
                      <a:pt x="5024125" y="148777"/>
                    </a:lnTo>
                    <a:lnTo>
                      <a:pt x="5024971" y="148967"/>
                    </a:lnTo>
                    <a:lnTo>
                      <a:pt x="5026183" y="148590"/>
                    </a:lnTo>
                    <a:lnTo>
                      <a:pt x="5028451" y="147287"/>
                    </a:lnTo>
                    <a:lnTo>
                      <a:pt x="5029720" y="147358"/>
                    </a:lnTo>
                    <a:lnTo>
                      <a:pt x="5031172" y="148547"/>
                    </a:lnTo>
                    <a:lnTo>
                      <a:pt x="5032040" y="150262"/>
                    </a:lnTo>
                    <a:lnTo>
                      <a:pt x="5032795" y="152036"/>
                    </a:lnTo>
                    <a:lnTo>
                      <a:pt x="5033947" y="153442"/>
                    </a:lnTo>
                    <a:lnTo>
                      <a:pt x="5036435" y="152705"/>
                    </a:lnTo>
                    <a:lnTo>
                      <a:pt x="5040069" y="150300"/>
                    </a:lnTo>
                    <a:lnTo>
                      <a:pt x="5043610" y="149175"/>
                    </a:lnTo>
                    <a:lnTo>
                      <a:pt x="5045815" y="152258"/>
                    </a:lnTo>
                    <a:lnTo>
                      <a:pt x="5045534" y="154559"/>
                    </a:lnTo>
                    <a:lnTo>
                      <a:pt x="5042695" y="163210"/>
                    </a:lnTo>
                    <a:lnTo>
                      <a:pt x="5042920" y="164461"/>
                    </a:lnTo>
                    <a:lnTo>
                      <a:pt x="5045889" y="164020"/>
                    </a:lnTo>
                    <a:lnTo>
                      <a:pt x="5056992" y="158632"/>
                    </a:lnTo>
                    <a:lnTo>
                      <a:pt x="5069218" y="157838"/>
                    </a:lnTo>
                    <a:lnTo>
                      <a:pt x="5087747" y="143898"/>
                    </a:lnTo>
                    <a:lnTo>
                      <a:pt x="5089695" y="143926"/>
                    </a:lnTo>
                    <a:lnTo>
                      <a:pt x="5095454" y="146542"/>
                    </a:lnTo>
                    <a:lnTo>
                      <a:pt x="5097852" y="146071"/>
                    </a:lnTo>
                    <a:lnTo>
                      <a:pt x="5102861" y="143434"/>
                    </a:lnTo>
                    <a:lnTo>
                      <a:pt x="5117226" y="142620"/>
                    </a:lnTo>
                    <a:lnTo>
                      <a:pt x="5121591" y="140140"/>
                    </a:lnTo>
                    <a:lnTo>
                      <a:pt x="5123936" y="139959"/>
                    </a:lnTo>
                    <a:lnTo>
                      <a:pt x="5126622" y="142080"/>
                    </a:lnTo>
                    <a:lnTo>
                      <a:pt x="5126356" y="143330"/>
                    </a:lnTo>
                    <a:lnTo>
                      <a:pt x="5125940" y="144122"/>
                    </a:lnTo>
                    <a:lnTo>
                      <a:pt x="5125365" y="144548"/>
                    </a:lnTo>
                    <a:lnTo>
                      <a:pt x="5124632" y="144726"/>
                    </a:lnTo>
                    <a:lnTo>
                      <a:pt x="5134764" y="145779"/>
                    </a:lnTo>
                    <a:lnTo>
                      <a:pt x="5137139" y="143999"/>
                    </a:lnTo>
                    <a:lnTo>
                      <a:pt x="5135605" y="142927"/>
                    </a:lnTo>
                    <a:lnTo>
                      <a:pt x="5137533" y="141565"/>
                    </a:lnTo>
                    <a:lnTo>
                      <a:pt x="5166444" y="147532"/>
                    </a:lnTo>
                    <a:lnTo>
                      <a:pt x="5169401" y="149004"/>
                    </a:lnTo>
                    <a:lnTo>
                      <a:pt x="5171973" y="150878"/>
                    </a:lnTo>
                    <a:lnTo>
                      <a:pt x="5173501" y="152489"/>
                    </a:lnTo>
                    <a:lnTo>
                      <a:pt x="5174417" y="153633"/>
                    </a:lnTo>
                    <a:lnTo>
                      <a:pt x="5175257" y="154283"/>
                    </a:lnTo>
                    <a:lnTo>
                      <a:pt x="5176567" y="154399"/>
                    </a:lnTo>
                    <a:lnTo>
                      <a:pt x="5179117" y="151942"/>
                    </a:lnTo>
                    <a:lnTo>
                      <a:pt x="5180398" y="151638"/>
                    </a:lnTo>
                    <a:lnTo>
                      <a:pt x="5188387" y="155514"/>
                    </a:lnTo>
                    <a:lnTo>
                      <a:pt x="5191245" y="156032"/>
                    </a:lnTo>
                    <a:lnTo>
                      <a:pt x="5197785" y="154236"/>
                    </a:lnTo>
                    <a:lnTo>
                      <a:pt x="5201384" y="154365"/>
                    </a:lnTo>
                    <a:lnTo>
                      <a:pt x="5204722" y="157078"/>
                    </a:lnTo>
                    <a:lnTo>
                      <a:pt x="5205978" y="157859"/>
                    </a:lnTo>
                    <a:lnTo>
                      <a:pt x="5211146" y="158575"/>
                    </a:lnTo>
                    <a:lnTo>
                      <a:pt x="5214805" y="160201"/>
                    </a:lnTo>
                    <a:lnTo>
                      <a:pt x="5218443" y="162734"/>
                    </a:lnTo>
                    <a:lnTo>
                      <a:pt x="5220247" y="164997"/>
                    </a:lnTo>
                    <a:lnTo>
                      <a:pt x="5221204" y="167997"/>
                    </a:lnTo>
                    <a:lnTo>
                      <a:pt x="5221080" y="172008"/>
                    </a:lnTo>
                    <a:lnTo>
                      <a:pt x="5233277" y="172315"/>
                    </a:lnTo>
                    <a:lnTo>
                      <a:pt x="5236783" y="171000"/>
                    </a:lnTo>
                    <a:lnTo>
                      <a:pt x="5242910" y="163892"/>
                    </a:lnTo>
                    <a:lnTo>
                      <a:pt x="5245833" y="162800"/>
                    </a:lnTo>
                    <a:lnTo>
                      <a:pt x="5252588" y="162893"/>
                    </a:lnTo>
                    <a:lnTo>
                      <a:pt x="5255834" y="164182"/>
                    </a:lnTo>
                    <a:lnTo>
                      <a:pt x="5262035" y="169253"/>
                    </a:lnTo>
                    <a:lnTo>
                      <a:pt x="5263284" y="169941"/>
                    </a:lnTo>
                    <a:lnTo>
                      <a:pt x="5264687" y="170315"/>
                    </a:lnTo>
                    <a:lnTo>
                      <a:pt x="5266088" y="170033"/>
                    </a:lnTo>
                    <a:lnTo>
                      <a:pt x="5267275" y="169274"/>
                    </a:lnTo>
                    <a:lnTo>
                      <a:pt x="5268577" y="168953"/>
                    </a:lnTo>
                    <a:lnTo>
                      <a:pt x="5270321" y="169939"/>
                    </a:lnTo>
                    <a:lnTo>
                      <a:pt x="5270013" y="171352"/>
                    </a:lnTo>
                    <a:lnTo>
                      <a:pt x="5272172" y="171811"/>
                    </a:lnTo>
                    <a:lnTo>
                      <a:pt x="5278512" y="169388"/>
                    </a:lnTo>
                    <a:lnTo>
                      <a:pt x="5280583" y="169422"/>
                    </a:lnTo>
                    <a:lnTo>
                      <a:pt x="5282860" y="169956"/>
                    </a:lnTo>
                    <a:lnTo>
                      <a:pt x="5285246" y="171065"/>
                    </a:lnTo>
                    <a:lnTo>
                      <a:pt x="5287636" y="172808"/>
                    </a:lnTo>
                    <a:lnTo>
                      <a:pt x="5287069" y="173605"/>
                    </a:lnTo>
                    <a:lnTo>
                      <a:pt x="5286795" y="174454"/>
                    </a:lnTo>
                    <a:lnTo>
                      <a:pt x="5286583" y="176693"/>
                    </a:lnTo>
                    <a:lnTo>
                      <a:pt x="5287527" y="176979"/>
                    </a:lnTo>
                    <a:lnTo>
                      <a:pt x="5288453" y="177429"/>
                    </a:lnTo>
                    <a:lnTo>
                      <a:pt x="5289375" y="178079"/>
                    </a:lnTo>
                    <a:lnTo>
                      <a:pt x="5290274" y="178865"/>
                    </a:lnTo>
                    <a:lnTo>
                      <a:pt x="5289981" y="180906"/>
                    </a:lnTo>
                    <a:lnTo>
                      <a:pt x="5289754" y="181875"/>
                    </a:lnTo>
                    <a:lnTo>
                      <a:pt x="5289281" y="182732"/>
                    </a:lnTo>
                    <a:lnTo>
                      <a:pt x="5291795" y="184151"/>
                    </a:lnTo>
                    <a:lnTo>
                      <a:pt x="5301965" y="186378"/>
                    </a:lnTo>
                    <a:lnTo>
                      <a:pt x="5326597" y="186510"/>
                    </a:lnTo>
                    <a:lnTo>
                      <a:pt x="5344056" y="189196"/>
                    </a:lnTo>
                    <a:lnTo>
                      <a:pt x="5344540" y="189054"/>
                    </a:lnTo>
                    <a:lnTo>
                      <a:pt x="5345183" y="187903"/>
                    </a:lnTo>
                    <a:lnTo>
                      <a:pt x="5345544" y="187701"/>
                    </a:lnTo>
                    <a:lnTo>
                      <a:pt x="5346185" y="188179"/>
                    </a:lnTo>
                    <a:lnTo>
                      <a:pt x="5347546" y="189658"/>
                    </a:lnTo>
                    <a:lnTo>
                      <a:pt x="5348107" y="190073"/>
                    </a:lnTo>
                    <a:lnTo>
                      <a:pt x="5355101" y="190948"/>
                    </a:lnTo>
                    <a:lnTo>
                      <a:pt x="5377112" y="187959"/>
                    </a:lnTo>
                    <a:lnTo>
                      <a:pt x="5376757" y="185149"/>
                    </a:lnTo>
                    <a:lnTo>
                      <a:pt x="5379180" y="184361"/>
                    </a:lnTo>
                    <a:lnTo>
                      <a:pt x="5389122" y="183827"/>
                    </a:lnTo>
                    <a:lnTo>
                      <a:pt x="5417868" y="183494"/>
                    </a:lnTo>
                    <a:lnTo>
                      <a:pt x="5436298" y="181400"/>
                    </a:lnTo>
                    <a:lnTo>
                      <a:pt x="5451384" y="185885"/>
                    </a:lnTo>
                    <a:lnTo>
                      <a:pt x="5460611" y="185488"/>
                    </a:lnTo>
                    <a:lnTo>
                      <a:pt x="5461870" y="184817"/>
                    </a:lnTo>
                    <a:lnTo>
                      <a:pt x="5463952" y="182924"/>
                    </a:lnTo>
                    <a:lnTo>
                      <a:pt x="5464933" y="182587"/>
                    </a:lnTo>
                    <a:lnTo>
                      <a:pt x="5469316" y="185066"/>
                    </a:lnTo>
                    <a:lnTo>
                      <a:pt x="5470809" y="184871"/>
                    </a:lnTo>
                    <a:lnTo>
                      <a:pt x="5468996" y="180878"/>
                    </a:lnTo>
                    <a:lnTo>
                      <a:pt x="5473026" y="181961"/>
                    </a:lnTo>
                    <a:lnTo>
                      <a:pt x="5481076" y="187543"/>
                    </a:lnTo>
                    <a:lnTo>
                      <a:pt x="5486956" y="189105"/>
                    </a:lnTo>
                    <a:lnTo>
                      <a:pt x="5493591" y="193170"/>
                    </a:lnTo>
                    <a:lnTo>
                      <a:pt x="5497927" y="194643"/>
                    </a:lnTo>
                    <a:lnTo>
                      <a:pt x="5499586" y="196014"/>
                    </a:lnTo>
                    <a:lnTo>
                      <a:pt x="5498764" y="197842"/>
                    </a:lnTo>
                    <a:lnTo>
                      <a:pt x="5500244" y="197720"/>
                    </a:lnTo>
                    <a:lnTo>
                      <a:pt x="5500970" y="196930"/>
                    </a:lnTo>
                    <a:lnTo>
                      <a:pt x="5501852" y="194922"/>
                    </a:lnTo>
                    <a:lnTo>
                      <a:pt x="5502894" y="193923"/>
                    </a:lnTo>
                    <a:lnTo>
                      <a:pt x="5503790" y="193499"/>
                    </a:lnTo>
                    <a:lnTo>
                      <a:pt x="5506267" y="193279"/>
                    </a:lnTo>
                    <a:lnTo>
                      <a:pt x="5508397" y="194306"/>
                    </a:lnTo>
                    <a:lnTo>
                      <a:pt x="5512607" y="199238"/>
                    </a:lnTo>
                    <a:lnTo>
                      <a:pt x="5514368" y="200280"/>
                    </a:lnTo>
                    <a:lnTo>
                      <a:pt x="5517187" y="200664"/>
                    </a:lnTo>
                    <a:lnTo>
                      <a:pt x="5523329" y="202874"/>
                    </a:lnTo>
                    <a:lnTo>
                      <a:pt x="5526202" y="203252"/>
                    </a:lnTo>
                    <a:lnTo>
                      <a:pt x="5536886" y="199794"/>
                    </a:lnTo>
                    <a:lnTo>
                      <a:pt x="5537249" y="201044"/>
                    </a:lnTo>
                    <a:lnTo>
                      <a:pt x="5535680" y="202388"/>
                    </a:lnTo>
                    <a:lnTo>
                      <a:pt x="5531307" y="208572"/>
                    </a:lnTo>
                    <a:lnTo>
                      <a:pt x="5534099" y="209573"/>
                    </a:lnTo>
                    <a:lnTo>
                      <a:pt x="5544730" y="206801"/>
                    </a:lnTo>
                    <a:lnTo>
                      <a:pt x="5565668" y="209721"/>
                    </a:lnTo>
                    <a:lnTo>
                      <a:pt x="5569813" y="206119"/>
                    </a:lnTo>
                    <a:lnTo>
                      <a:pt x="5571038" y="205502"/>
                    </a:lnTo>
                    <a:lnTo>
                      <a:pt x="5575949" y="207237"/>
                    </a:lnTo>
                    <a:lnTo>
                      <a:pt x="5587464" y="208196"/>
                    </a:lnTo>
                    <a:lnTo>
                      <a:pt x="5597810" y="206010"/>
                    </a:lnTo>
                    <a:lnTo>
                      <a:pt x="5599770" y="204599"/>
                    </a:lnTo>
                    <a:lnTo>
                      <a:pt x="5603193" y="198557"/>
                    </a:lnTo>
                    <a:lnTo>
                      <a:pt x="5613165" y="193152"/>
                    </a:lnTo>
                    <a:lnTo>
                      <a:pt x="5631488" y="191571"/>
                    </a:lnTo>
                    <a:lnTo>
                      <a:pt x="5634187" y="190423"/>
                    </a:lnTo>
                    <a:lnTo>
                      <a:pt x="5634746" y="187941"/>
                    </a:lnTo>
                    <a:lnTo>
                      <a:pt x="5635375" y="186691"/>
                    </a:lnTo>
                    <a:lnTo>
                      <a:pt x="5637803" y="187087"/>
                    </a:lnTo>
                    <a:lnTo>
                      <a:pt x="5640697" y="188520"/>
                    </a:lnTo>
                    <a:lnTo>
                      <a:pt x="5642747" y="190466"/>
                    </a:lnTo>
                    <a:lnTo>
                      <a:pt x="5642707" y="191922"/>
                    </a:lnTo>
                    <a:lnTo>
                      <a:pt x="5642876" y="193000"/>
                    </a:lnTo>
                    <a:lnTo>
                      <a:pt x="5643379" y="194056"/>
                    </a:lnTo>
                    <a:lnTo>
                      <a:pt x="5644315" y="195446"/>
                    </a:lnTo>
                    <a:lnTo>
                      <a:pt x="5644260" y="196736"/>
                    </a:lnTo>
                    <a:lnTo>
                      <a:pt x="5644459" y="197819"/>
                    </a:lnTo>
                    <a:lnTo>
                      <a:pt x="5645208" y="200505"/>
                    </a:lnTo>
                    <a:lnTo>
                      <a:pt x="5646004" y="198726"/>
                    </a:lnTo>
                    <a:lnTo>
                      <a:pt x="5646316" y="195569"/>
                    </a:lnTo>
                    <a:lnTo>
                      <a:pt x="5646079" y="188759"/>
                    </a:lnTo>
                    <a:lnTo>
                      <a:pt x="5643083" y="186534"/>
                    </a:lnTo>
                    <a:lnTo>
                      <a:pt x="5641679" y="185034"/>
                    </a:lnTo>
                    <a:lnTo>
                      <a:pt x="5640351" y="182870"/>
                    </a:lnTo>
                    <a:lnTo>
                      <a:pt x="5644217" y="181199"/>
                    </a:lnTo>
                    <a:lnTo>
                      <a:pt x="5645788" y="181726"/>
                    </a:lnTo>
                    <a:lnTo>
                      <a:pt x="5648194" y="183424"/>
                    </a:lnTo>
                    <a:lnTo>
                      <a:pt x="5648917" y="183533"/>
                    </a:lnTo>
                    <a:lnTo>
                      <a:pt x="5650021" y="183202"/>
                    </a:lnTo>
                    <a:lnTo>
                      <a:pt x="5650760" y="183186"/>
                    </a:lnTo>
                    <a:lnTo>
                      <a:pt x="5653386" y="184404"/>
                    </a:lnTo>
                    <a:lnTo>
                      <a:pt x="5654475" y="184241"/>
                    </a:lnTo>
                    <a:lnTo>
                      <a:pt x="5654314" y="182222"/>
                    </a:lnTo>
                    <a:lnTo>
                      <a:pt x="5654692" y="180980"/>
                    </a:lnTo>
                    <a:lnTo>
                      <a:pt x="5656403" y="180712"/>
                    </a:lnTo>
                    <a:lnTo>
                      <a:pt x="5659802" y="181068"/>
                    </a:lnTo>
                    <a:lnTo>
                      <a:pt x="5662045" y="180163"/>
                    </a:lnTo>
                    <a:lnTo>
                      <a:pt x="5666124" y="176934"/>
                    </a:lnTo>
                    <a:lnTo>
                      <a:pt x="5668599" y="176403"/>
                    </a:lnTo>
                    <a:lnTo>
                      <a:pt x="5673831" y="178466"/>
                    </a:lnTo>
                    <a:lnTo>
                      <a:pt x="5675753" y="178668"/>
                    </a:lnTo>
                    <a:lnTo>
                      <a:pt x="5684498" y="177172"/>
                    </a:lnTo>
                    <a:lnTo>
                      <a:pt x="5685334" y="176220"/>
                    </a:lnTo>
                    <a:lnTo>
                      <a:pt x="5685196" y="174671"/>
                    </a:lnTo>
                    <a:lnTo>
                      <a:pt x="5684336" y="173046"/>
                    </a:lnTo>
                    <a:lnTo>
                      <a:pt x="5683873" y="171696"/>
                    </a:lnTo>
                    <a:lnTo>
                      <a:pt x="5684912" y="170985"/>
                    </a:lnTo>
                    <a:lnTo>
                      <a:pt x="5685598" y="171593"/>
                    </a:lnTo>
                    <a:lnTo>
                      <a:pt x="5688598" y="175196"/>
                    </a:lnTo>
                    <a:lnTo>
                      <a:pt x="5690367" y="176101"/>
                    </a:lnTo>
                    <a:lnTo>
                      <a:pt x="5703731" y="173031"/>
                    </a:lnTo>
                    <a:lnTo>
                      <a:pt x="5704130" y="173092"/>
                    </a:lnTo>
                    <a:lnTo>
                      <a:pt x="5704502" y="173760"/>
                    </a:lnTo>
                    <a:lnTo>
                      <a:pt x="5710568" y="181879"/>
                    </a:lnTo>
                    <a:lnTo>
                      <a:pt x="5713071" y="183944"/>
                    </a:lnTo>
                    <a:lnTo>
                      <a:pt x="5714520" y="182285"/>
                    </a:lnTo>
                    <a:lnTo>
                      <a:pt x="5712572" y="180275"/>
                    </a:lnTo>
                    <a:lnTo>
                      <a:pt x="5710436" y="177417"/>
                    </a:lnTo>
                    <a:lnTo>
                      <a:pt x="5708805" y="174064"/>
                    </a:lnTo>
                    <a:lnTo>
                      <a:pt x="5708381" y="170604"/>
                    </a:lnTo>
                    <a:lnTo>
                      <a:pt x="5710234" y="169604"/>
                    </a:lnTo>
                    <a:lnTo>
                      <a:pt x="5714182" y="169741"/>
                    </a:lnTo>
                    <a:lnTo>
                      <a:pt x="5721244" y="171350"/>
                    </a:lnTo>
                    <a:lnTo>
                      <a:pt x="5722692" y="172329"/>
                    </a:lnTo>
                    <a:lnTo>
                      <a:pt x="5723990" y="173405"/>
                    </a:lnTo>
                    <a:lnTo>
                      <a:pt x="5725313" y="174281"/>
                    </a:lnTo>
                    <a:lnTo>
                      <a:pt x="5726857" y="174649"/>
                    </a:lnTo>
                    <a:lnTo>
                      <a:pt x="5733950" y="172662"/>
                    </a:lnTo>
                    <a:lnTo>
                      <a:pt x="5735338" y="173017"/>
                    </a:lnTo>
                    <a:lnTo>
                      <a:pt x="5736599" y="174089"/>
                    </a:lnTo>
                    <a:lnTo>
                      <a:pt x="5738877" y="176732"/>
                    </a:lnTo>
                    <a:lnTo>
                      <a:pt x="5740556" y="177572"/>
                    </a:lnTo>
                    <a:lnTo>
                      <a:pt x="5742449" y="177437"/>
                    </a:lnTo>
                    <a:lnTo>
                      <a:pt x="5744151" y="176639"/>
                    </a:lnTo>
                    <a:lnTo>
                      <a:pt x="5745264" y="175517"/>
                    </a:lnTo>
                    <a:lnTo>
                      <a:pt x="5744178" y="174221"/>
                    </a:lnTo>
                    <a:lnTo>
                      <a:pt x="5749425" y="174595"/>
                    </a:lnTo>
                    <a:lnTo>
                      <a:pt x="5773791" y="182529"/>
                    </a:lnTo>
                    <a:lnTo>
                      <a:pt x="5778732" y="183143"/>
                    </a:lnTo>
                    <a:lnTo>
                      <a:pt x="5779748" y="184784"/>
                    </a:lnTo>
                    <a:lnTo>
                      <a:pt x="5780103" y="190065"/>
                    </a:lnTo>
                    <a:lnTo>
                      <a:pt x="5781654" y="190707"/>
                    </a:lnTo>
                    <a:lnTo>
                      <a:pt x="5783210" y="190848"/>
                    </a:lnTo>
                    <a:lnTo>
                      <a:pt x="5784480" y="190281"/>
                    </a:lnTo>
                    <a:lnTo>
                      <a:pt x="5785165" y="188852"/>
                    </a:lnTo>
                    <a:lnTo>
                      <a:pt x="5786220" y="187691"/>
                    </a:lnTo>
                    <a:lnTo>
                      <a:pt x="5788280" y="188073"/>
                    </a:lnTo>
                    <a:lnTo>
                      <a:pt x="5792445" y="189977"/>
                    </a:lnTo>
                    <a:lnTo>
                      <a:pt x="5791306" y="189524"/>
                    </a:lnTo>
                    <a:lnTo>
                      <a:pt x="5790286" y="189444"/>
                    </a:lnTo>
                    <a:lnTo>
                      <a:pt x="5789386" y="189721"/>
                    </a:lnTo>
                    <a:lnTo>
                      <a:pt x="5788638" y="190366"/>
                    </a:lnTo>
                    <a:lnTo>
                      <a:pt x="5792011" y="192990"/>
                    </a:lnTo>
                    <a:lnTo>
                      <a:pt x="5797741" y="193327"/>
                    </a:lnTo>
                    <a:lnTo>
                      <a:pt x="5800930" y="195684"/>
                    </a:lnTo>
                    <a:lnTo>
                      <a:pt x="5800625" y="196338"/>
                    </a:lnTo>
                    <a:lnTo>
                      <a:pt x="5800604" y="196956"/>
                    </a:lnTo>
                    <a:lnTo>
                      <a:pt x="5800668" y="197602"/>
                    </a:lnTo>
                    <a:lnTo>
                      <a:pt x="5800642" y="198413"/>
                    </a:lnTo>
                    <a:lnTo>
                      <a:pt x="5803234" y="198055"/>
                    </a:lnTo>
                    <a:lnTo>
                      <a:pt x="5804562" y="198226"/>
                    </a:lnTo>
                    <a:lnTo>
                      <a:pt x="5806054" y="199035"/>
                    </a:lnTo>
                    <a:lnTo>
                      <a:pt x="5806097" y="200792"/>
                    </a:lnTo>
                    <a:lnTo>
                      <a:pt x="5806587" y="201835"/>
                    </a:lnTo>
                    <a:lnTo>
                      <a:pt x="5807433" y="202447"/>
                    </a:lnTo>
                    <a:lnTo>
                      <a:pt x="5810236" y="203475"/>
                    </a:lnTo>
                    <a:lnTo>
                      <a:pt x="5811247" y="203509"/>
                    </a:lnTo>
                    <a:lnTo>
                      <a:pt x="5812242" y="203883"/>
                    </a:lnTo>
                    <a:lnTo>
                      <a:pt x="5816479" y="207634"/>
                    </a:lnTo>
                    <a:lnTo>
                      <a:pt x="5819030" y="208708"/>
                    </a:lnTo>
                    <a:lnTo>
                      <a:pt x="5834540" y="208438"/>
                    </a:lnTo>
                    <a:lnTo>
                      <a:pt x="5840781" y="210450"/>
                    </a:lnTo>
                    <a:lnTo>
                      <a:pt x="5843419" y="215945"/>
                    </a:lnTo>
                    <a:lnTo>
                      <a:pt x="5846460" y="217160"/>
                    </a:lnTo>
                    <a:lnTo>
                      <a:pt x="5849180" y="217560"/>
                    </a:lnTo>
                    <a:lnTo>
                      <a:pt x="5851238" y="216767"/>
                    </a:lnTo>
                    <a:lnTo>
                      <a:pt x="5852314" y="214363"/>
                    </a:lnTo>
                    <a:lnTo>
                      <a:pt x="5853924" y="212760"/>
                    </a:lnTo>
                    <a:lnTo>
                      <a:pt x="5857059" y="213670"/>
                    </a:lnTo>
                    <a:lnTo>
                      <a:pt x="5863240" y="216439"/>
                    </a:lnTo>
                    <a:lnTo>
                      <a:pt x="5882071" y="219853"/>
                    </a:lnTo>
                    <a:lnTo>
                      <a:pt x="5891540" y="224903"/>
                    </a:lnTo>
                    <a:lnTo>
                      <a:pt x="5896879" y="226620"/>
                    </a:lnTo>
                    <a:lnTo>
                      <a:pt x="5899675" y="228079"/>
                    </a:lnTo>
                    <a:lnTo>
                      <a:pt x="5902008" y="229958"/>
                    </a:lnTo>
                    <a:lnTo>
                      <a:pt x="5908511" y="236183"/>
                    </a:lnTo>
                    <a:lnTo>
                      <a:pt x="5911770" y="237863"/>
                    </a:lnTo>
                    <a:lnTo>
                      <a:pt x="5924155" y="239620"/>
                    </a:lnTo>
                    <a:lnTo>
                      <a:pt x="5925650" y="237462"/>
                    </a:lnTo>
                    <a:lnTo>
                      <a:pt x="5926474" y="234248"/>
                    </a:lnTo>
                    <a:lnTo>
                      <a:pt x="5927951" y="231595"/>
                    </a:lnTo>
                    <a:lnTo>
                      <a:pt x="5924952" y="230626"/>
                    </a:lnTo>
                    <a:lnTo>
                      <a:pt x="5923030" y="230605"/>
                    </a:lnTo>
                    <a:lnTo>
                      <a:pt x="5920599" y="230159"/>
                    </a:lnTo>
                    <a:lnTo>
                      <a:pt x="5918185" y="230069"/>
                    </a:lnTo>
                    <a:lnTo>
                      <a:pt x="5917724" y="228828"/>
                    </a:lnTo>
                    <a:lnTo>
                      <a:pt x="5948296" y="233119"/>
                    </a:lnTo>
                    <a:lnTo>
                      <a:pt x="5949307" y="233564"/>
                    </a:lnTo>
                    <a:lnTo>
                      <a:pt x="5949412" y="233615"/>
                    </a:lnTo>
                    <a:lnTo>
                      <a:pt x="5949413" y="233616"/>
                    </a:lnTo>
                    <a:lnTo>
                      <a:pt x="5959464" y="260233"/>
                    </a:lnTo>
                    <a:lnTo>
                      <a:pt x="5969490" y="286880"/>
                    </a:lnTo>
                    <a:lnTo>
                      <a:pt x="5979490" y="313552"/>
                    </a:lnTo>
                    <a:lnTo>
                      <a:pt x="5989459" y="340254"/>
                    </a:lnTo>
                    <a:lnTo>
                      <a:pt x="5999407" y="366981"/>
                    </a:lnTo>
                    <a:lnTo>
                      <a:pt x="6009331" y="393738"/>
                    </a:lnTo>
                    <a:lnTo>
                      <a:pt x="6019230" y="420523"/>
                    </a:lnTo>
                    <a:lnTo>
                      <a:pt x="6029104" y="447332"/>
                    </a:lnTo>
                    <a:lnTo>
                      <a:pt x="6038949" y="474159"/>
                    </a:lnTo>
                    <a:lnTo>
                      <a:pt x="6048773" y="501024"/>
                    </a:lnTo>
                    <a:lnTo>
                      <a:pt x="6058572" y="527917"/>
                    </a:lnTo>
                    <a:lnTo>
                      <a:pt x="6068342" y="554837"/>
                    </a:lnTo>
                    <a:lnTo>
                      <a:pt x="6078091" y="581792"/>
                    </a:lnTo>
                    <a:lnTo>
                      <a:pt x="6087812" y="608756"/>
                    </a:lnTo>
                    <a:lnTo>
                      <a:pt x="6097513" y="635760"/>
                    </a:lnTo>
                    <a:lnTo>
                      <a:pt x="6107190" y="662792"/>
                    </a:lnTo>
                    <a:lnTo>
                      <a:pt x="6116839" y="689839"/>
                    </a:lnTo>
                    <a:lnTo>
                      <a:pt x="6126467" y="716925"/>
                    </a:lnTo>
                    <a:lnTo>
                      <a:pt x="6136067" y="744030"/>
                    </a:lnTo>
                    <a:lnTo>
                      <a:pt x="6145633" y="771154"/>
                    </a:lnTo>
                    <a:lnTo>
                      <a:pt x="6155187" y="798326"/>
                    </a:lnTo>
                    <a:lnTo>
                      <a:pt x="6164715" y="825515"/>
                    </a:lnTo>
                    <a:lnTo>
                      <a:pt x="6174215" y="852724"/>
                    </a:lnTo>
                    <a:lnTo>
                      <a:pt x="6183691" y="879957"/>
                    </a:lnTo>
                    <a:lnTo>
                      <a:pt x="6193142" y="907216"/>
                    </a:lnTo>
                    <a:lnTo>
                      <a:pt x="6202571" y="934509"/>
                    </a:lnTo>
                    <a:lnTo>
                      <a:pt x="6211975" y="961825"/>
                    </a:lnTo>
                    <a:lnTo>
                      <a:pt x="6221354" y="989168"/>
                    </a:lnTo>
                    <a:lnTo>
                      <a:pt x="6230704" y="1016544"/>
                    </a:lnTo>
                    <a:lnTo>
                      <a:pt x="6240038" y="1043944"/>
                    </a:lnTo>
                    <a:lnTo>
                      <a:pt x="6249346" y="1071364"/>
                    </a:lnTo>
                    <a:lnTo>
                      <a:pt x="6258629" y="1098811"/>
                    </a:lnTo>
                    <a:lnTo>
                      <a:pt x="6267887" y="1126283"/>
                    </a:lnTo>
                    <a:lnTo>
                      <a:pt x="6277119" y="1153771"/>
                    </a:lnTo>
                    <a:lnTo>
                      <a:pt x="6286333" y="1181307"/>
                    </a:lnTo>
                    <a:lnTo>
                      <a:pt x="6295515" y="1208856"/>
                    </a:lnTo>
                    <a:lnTo>
                      <a:pt x="6304672" y="1236431"/>
                    </a:lnTo>
                    <a:lnTo>
                      <a:pt x="6313813" y="1264042"/>
                    </a:lnTo>
                    <a:lnTo>
                      <a:pt x="6322928" y="1291668"/>
                    </a:lnTo>
                    <a:lnTo>
                      <a:pt x="6332015" y="1319309"/>
                    </a:lnTo>
                    <a:lnTo>
                      <a:pt x="6341074" y="1346966"/>
                    </a:lnTo>
                    <a:lnTo>
                      <a:pt x="6350120" y="1374679"/>
                    </a:lnTo>
                    <a:lnTo>
                      <a:pt x="6359138" y="1402404"/>
                    </a:lnTo>
                    <a:lnTo>
                      <a:pt x="6368134" y="1430167"/>
                    </a:lnTo>
                    <a:lnTo>
                      <a:pt x="6377097" y="1457945"/>
                    </a:lnTo>
                    <a:lnTo>
                      <a:pt x="6386045" y="1485747"/>
                    </a:lnTo>
                    <a:lnTo>
                      <a:pt x="6394969" y="1513574"/>
                    </a:lnTo>
                    <a:lnTo>
                      <a:pt x="6403864" y="1541415"/>
                    </a:lnTo>
                    <a:lnTo>
                      <a:pt x="6412743" y="1569300"/>
                    </a:lnTo>
                    <a:lnTo>
                      <a:pt x="6421595" y="1597203"/>
                    </a:lnTo>
                    <a:lnTo>
                      <a:pt x="6430422" y="1625124"/>
                    </a:lnTo>
                    <a:lnTo>
                      <a:pt x="6439227" y="1653089"/>
                    </a:lnTo>
                    <a:lnTo>
                      <a:pt x="6448002" y="1681061"/>
                    </a:lnTo>
                    <a:lnTo>
                      <a:pt x="6456757" y="1709054"/>
                    </a:lnTo>
                    <a:lnTo>
                      <a:pt x="6465492" y="1737078"/>
                    </a:lnTo>
                    <a:lnTo>
                      <a:pt x="6474200" y="1765122"/>
                    </a:lnTo>
                    <a:lnTo>
                      <a:pt x="6482886" y="1793190"/>
                    </a:lnTo>
                    <a:lnTo>
                      <a:pt x="6491547" y="1821282"/>
                    </a:lnTo>
                    <a:lnTo>
                      <a:pt x="6500194" y="1849417"/>
                    </a:lnTo>
                    <a:lnTo>
                      <a:pt x="6508809" y="1877558"/>
                    </a:lnTo>
                    <a:lnTo>
                      <a:pt x="6517404" y="1905732"/>
                    </a:lnTo>
                    <a:lnTo>
                      <a:pt x="6525971" y="1933916"/>
                    </a:lnTo>
                    <a:lnTo>
                      <a:pt x="6534519" y="1962138"/>
                    </a:lnTo>
                    <a:lnTo>
                      <a:pt x="6543040" y="1990384"/>
                    </a:lnTo>
                    <a:lnTo>
                      <a:pt x="6544796" y="1993546"/>
                    </a:lnTo>
                    <a:lnTo>
                      <a:pt x="6547230" y="1995030"/>
                    </a:lnTo>
                    <a:lnTo>
                      <a:pt x="6556791" y="1996558"/>
                    </a:lnTo>
                    <a:lnTo>
                      <a:pt x="6575915" y="1999628"/>
                    </a:lnTo>
                    <a:lnTo>
                      <a:pt x="6590603" y="2001982"/>
                    </a:lnTo>
                    <a:lnTo>
                      <a:pt x="6607857" y="2004723"/>
                    </a:lnTo>
                    <a:lnTo>
                      <a:pt x="6609429" y="2003512"/>
                    </a:lnTo>
                    <a:lnTo>
                      <a:pt x="6610198" y="2000952"/>
                    </a:lnTo>
                    <a:lnTo>
                      <a:pt x="6611731" y="1992791"/>
                    </a:lnTo>
                    <a:lnTo>
                      <a:pt x="6612546" y="1990186"/>
                    </a:lnTo>
                    <a:lnTo>
                      <a:pt x="6614107" y="1988974"/>
                    </a:lnTo>
                    <a:lnTo>
                      <a:pt x="6617158" y="1988939"/>
                    </a:lnTo>
                    <a:lnTo>
                      <a:pt x="6631152" y="1992706"/>
                    </a:lnTo>
                    <a:lnTo>
                      <a:pt x="6653158" y="1998620"/>
                    </a:lnTo>
                    <a:lnTo>
                      <a:pt x="6674881" y="2004458"/>
                    </a:lnTo>
                    <a:lnTo>
                      <a:pt x="6680858" y="2003673"/>
                    </a:lnTo>
                    <a:lnTo>
                      <a:pt x="6686044" y="1999265"/>
                    </a:lnTo>
                    <a:lnTo>
                      <a:pt x="6694406" y="1988714"/>
                    </a:lnTo>
                    <a:lnTo>
                      <a:pt x="6703401" y="1977305"/>
                    </a:lnTo>
                    <a:lnTo>
                      <a:pt x="6708374" y="1973250"/>
                    </a:lnTo>
                    <a:lnTo>
                      <a:pt x="6714356" y="1971193"/>
                    </a:lnTo>
                    <a:lnTo>
                      <a:pt x="6727995" y="1969286"/>
                    </a:lnTo>
                    <a:lnTo>
                      <a:pt x="6740836" y="1967485"/>
                    </a:lnTo>
                    <a:lnTo>
                      <a:pt x="6759576" y="1964851"/>
                    </a:lnTo>
                    <a:lnTo>
                      <a:pt x="6779384" y="1962038"/>
                    </a:lnTo>
                    <a:lnTo>
                      <a:pt x="6782509" y="1962832"/>
                    </a:lnTo>
                    <a:lnTo>
                      <a:pt x="6785080" y="1966366"/>
                    </a:lnTo>
                    <a:lnTo>
                      <a:pt x="6785956" y="1970727"/>
                    </a:lnTo>
                    <a:lnTo>
                      <a:pt x="6785625" y="1985398"/>
                    </a:lnTo>
                    <a:lnTo>
                      <a:pt x="6785312" y="1998585"/>
                    </a:lnTo>
                    <a:lnTo>
                      <a:pt x="6785003" y="2010853"/>
                    </a:lnTo>
                    <a:lnTo>
                      <a:pt x="6786852" y="2016031"/>
                    </a:lnTo>
                    <a:lnTo>
                      <a:pt x="6798331" y="2023277"/>
                    </a:lnTo>
                    <a:lnTo>
                      <a:pt x="6806902" y="2028676"/>
                    </a:lnTo>
                    <a:lnTo>
                      <a:pt x="6808318" y="2029567"/>
                    </a:lnTo>
                    <a:lnTo>
                      <a:pt x="6815484" y="2032373"/>
                    </a:lnTo>
                    <a:lnTo>
                      <a:pt x="6838376" y="2037930"/>
                    </a:lnTo>
                    <a:lnTo>
                      <a:pt x="6852559" y="2041367"/>
                    </a:lnTo>
                    <a:lnTo>
                      <a:pt x="6858273" y="2043728"/>
                    </a:lnTo>
                    <a:lnTo>
                      <a:pt x="6859556" y="2044549"/>
                    </a:lnTo>
                    <a:lnTo>
                      <a:pt x="6860645" y="2045805"/>
                    </a:lnTo>
                    <a:lnTo>
                      <a:pt x="6870732" y="2061109"/>
                    </a:lnTo>
                    <a:lnTo>
                      <a:pt x="6874270" y="2065050"/>
                    </a:lnTo>
                    <a:lnTo>
                      <a:pt x="6881086" y="2070414"/>
                    </a:lnTo>
                    <a:lnTo>
                      <a:pt x="6898830" y="2080104"/>
                    </a:lnTo>
                    <a:lnTo>
                      <a:pt x="6919012" y="2091095"/>
                    </a:lnTo>
                    <a:lnTo>
                      <a:pt x="6942284" y="2103753"/>
                    </a:lnTo>
                    <a:lnTo>
                      <a:pt x="6966869" y="2117048"/>
                    </a:lnTo>
                    <a:lnTo>
                      <a:pt x="6992353" y="2130805"/>
                    </a:lnTo>
                    <a:lnTo>
                      <a:pt x="7017119" y="2144124"/>
                    </a:lnTo>
                    <a:lnTo>
                      <a:pt x="7041082" y="2156985"/>
                    </a:lnTo>
                    <a:lnTo>
                      <a:pt x="7044235" y="2159483"/>
                    </a:lnTo>
                    <a:lnTo>
                      <a:pt x="7047053" y="2162956"/>
                    </a:lnTo>
                    <a:lnTo>
                      <a:pt x="7056154" y="2176534"/>
                    </a:lnTo>
                    <a:lnTo>
                      <a:pt x="7064014" y="2188256"/>
                    </a:lnTo>
                    <a:lnTo>
                      <a:pt x="7074196" y="2203432"/>
                    </a:lnTo>
                    <a:lnTo>
                      <a:pt x="7074723" y="2213896"/>
                    </a:lnTo>
                    <a:lnTo>
                      <a:pt x="7076296" y="2218802"/>
                    </a:lnTo>
                    <a:lnTo>
                      <a:pt x="7080122" y="2221387"/>
                    </a:lnTo>
                    <a:lnTo>
                      <a:pt x="7084491" y="2221096"/>
                    </a:lnTo>
                    <a:lnTo>
                      <a:pt x="7087816" y="2218991"/>
                    </a:lnTo>
                    <a:lnTo>
                      <a:pt x="7095494" y="2208464"/>
                    </a:lnTo>
                    <a:lnTo>
                      <a:pt x="7100544" y="2201482"/>
                    </a:lnTo>
                    <a:lnTo>
                      <a:pt x="7111855" y="2192110"/>
                    </a:lnTo>
                    <a:lnTo>
                      <a:pt x="7123154" y="2182645"/>
                    </a:lnTo>
                    <a:lnTo>
                      <a:pt x="7124710" y="2181306"/>
                    </a:lnTo>
                    <a:lnTo>
                      <a:pt x="7135495" y="2172429"/>
                    </a:lnTo>
                    <a:lnTo>
                      <a:pt x="7145864" y="2163722"/>
                    </a:lnTo>
                    <a:lnTo>
                      <a:pt x="7152295" y="2161152"/>
                    </a:lnTo>
                    <a:lnTo>
                      <a:pt x="7167254" y="2160737"/>
                    </a:lnTo>
                    <a:lnTo>
                      <a:pt x="7174470" y="2159213"/>
                    </a:lnTo>
                    <a:lnTo>
                      <a:pt x="7178810" y="2155070"/>
                    </a:lnTo>
                    <a:lnTo>
                      <a:pt x="7183771" y="2137916"/>
                    </a:lnTo>
                    <a:lnTo>
                      <a:pt x="7183665" y="2137184"/>
                    </a:lnTo>
                    <a:lnTo>
                      <a:pt x="7183653" y="2131026"/>
                    </a:lnTo>
                    <a:lnTo>
                      <a:pt x="7176643" y="2112216"/>
                    </a:lnTo>
                    <a:lnTo>
                      <a:pt x="7171035" y="2097215"/>
                    </a:lnTo>
                    <a:lnTo>
                      <a:pt x="7178246" y="2098281"/>
                    </a:lnTo>
                    <a:lnTo>
                      <a:pt x="7184659" y="2098072"/>
                    </a:lnTo>
                    <a:lnTo>
                      <a:pt x="7189900" y="2095526"/>
                    </a:lnTo>
                    <a:lnTo>
                      <a:pt x="7193600" y="2089531"/>
                    </a:lnTo>
                    <a:lnTo>
                      <a:pt x="7194394" y="2080959"/>
                    </a:lnTo>
                    <a:lnTo>
                      <a:pt x="7190629" y="2075741"/>
                    </a:lnTo>
                    <a:lnTo>
                      <a:pt x="7184042" y="2072535"/>
                    </a:lnTo>
                    <a:lnTo>
                      <a:pt x="7176403" y="2070061"/>
                    </a:lnTo>
                    <a:lnTo>
                      <a:pt x="7185858" y="2063020"/>
                    </a:lnTo>
                    <a:lnTo>
                      <a:pt x="7198989" y="2058366"/>
                    </a:lnTo>
                    <a:lnTo>
                      <a:pt x="7212731" y="2053469"/>
                    </a:lnTo>
                    <a:lnTo>
                      <a:pt x="7224662" y="2049212"/>
                    </a:lnTo>
                    <a:lnTo>
                      <a:pt x="7234363" y="2042654"/>
                    </a:lnTo>
                    <a:lnTo>
                      <a:pt x="7254119" y="2029253"/>
                    </a:lnTo>
                    <a:lnTo>
                      <a:pt x="7270564" y="2018058"/>
                    </a:lnTo>
                    <a:lnTo>
                      <a:pt x="7272980" y="2018328"/>
                    </a:lnTo>
                    <a:lnTo>
                      <a:pt x="7283337" y="2024447"/>
                    </a:lnTo>
                    <a:lnTo>
                      <a:pt x="7292363" y="2027857"/>
                    </a:lnTo>
                    <a:lnTo>
                      <a:pt x="7305622" y="2032888"/>
                    </a:lnTo>
                    <a:lnTo>
                      <a:pt x="7312131" y="2036748"/>
                    </a:lnTo>
                    <a:lnTo>
                      <a:pt x="7318023" y="2041748"/>
                    </a:lnTo>
                    <a:lnTo>
                      <a:pt x="7324138" y="2045838"/>
                    </a:lnTo>
                    <a:lnTo>
                      <a:pt x="7331326" y="2047002"/>
                    </a:lnTo>
                    <a:lnTo>
                      <a:pt x="7334194" y="2047991"/>
                    </a:lnTo>
                    <a:lnTo>
                      <a:pt x="7343654" y="2053618"/>
                    </a:lnTo>
                    <a:lnTo>
                      <a:pt x="7346520" y="2056059"/>
                    </a:lnTo>
                    <a:lnTo>
                      <a:pt x="7348033" y="2059115"/>
                    </a:lnTo>
                    <a:lnTo>
                      <a:pt x="7351478" y="2068937"/>
                    </a:lnTo>
                    <a:lnTo>
                      <a:pt x="7352231" y="2072109"/>
                    </a:lnTo>
                    <a:lnTo>
                      <a:pt x="7351630" y="2075358"/>
                    </a:lnTo>
                    <a:lnTo>
                      <a:pt x="7348229" y="2080525"/>
                    </a:lnTo>
                    <a:lnTo>
                      <a:pt x="7347554" y="2084583"/>
                    </a:lnTo>
                    <a:lnTo>
                      <a:pt x="7363308" y="2090149"/>
                    </a:lnTo>
                    <a:lnTo>
                      <a:pt x="7362978" y="2093207"/>
                    </a:lnTo>
                    <a:lnTo>
                      <a:pt x="7362960" y="2096393"/>
                    </a:lnTo>
                    <a:lnTo>
                      <a:pt x="7363910" y="2099407"/>
                    </a:lnTo>
                    <a:lnTo>
                      <a:pt x="7371453" y="2106373"/>
                    </a:lnTo>
                    <a:lnTo>
                      <a:pt x="7375513" y="2109219"/>
                    </a:lnTo>
                    <a:lnTo>
                      <a:pt x="7379517" y="2110828"/>
                    </a:lnTo>
                    <a:lnTo>
                      <a:pt x="7392238" y="2111783"/>
                    </a:lnTo>
                    <a:lnTo>
                      <a:pt x="7405387" y="2112784"/>
                    </a:lnTo>
                    <a:lnTo>
                      <a:pt x="7410573" y="2113153"/>
                    </a:lnTo>
                    <a:lnTo>
                      <a:pt x="7412649" y="2113882"/>
                    </a:lnTo>
                    <a:lnTo>
                      <a:pt x="7414762" y="2116119"/>
                    </a:lnTo>
                    <a:lnTo>
                      <a:pt x="7418471" y="2121627"/>
                    </a:lnTo>
                    <a:lnTo>
                      <a:pt x="7420833" y="2123874"/>
                    </a:lnTo>
                    <a:lnTo>
                      <a:pt x="7429965" y="2130229"/>
                    </a:lnTo>
                    <a:lnTo>
                      <a:pt x="7434729" y="2132838"/>
                    </a:lnTo>
                    <a:lnTo>
                      <a:pt x="7438484" y="2133544"/>
                    </a:lnTo>
                    <a:lnTo>
                      <a:pt x="7444544" y="2132826"/>
                    </a:lnTo>
                    <a:lnTo>
                      <a:pt x="7449150" y="2133845"/>
                    </a:lnTo>
                    <a:lnTo>
                      <a:pt x="7453845" y="2136736"/>
                    </a:lnTo>
                    <a:lnTo>
                      <a:pt x="7464151" y="2144824"/>
                    </a:lnTo>
                    <a:lnTo>
                      <a:pt x="7466708" y="2147587"/>
                    </a:lnTo>
                    <a:lnTo>
                      <a:pt x="7468314" y="2151075"/>
                    </a:lnTo>
                    <a:lnTo>
                      <a:pt x="7469981" y="2159849"/>
                    </a:lnTo>
                    <a:lnTo>
                      <a:pt x="7477573" y="2160127"/>
                    </a:lnTo>
                    <a:lnTo>
                      <a:pt x="7479782" y="2161041"/>
                    </a:lnTo>
                    <a:lnTo>
                      <a:pt x="7481812" y="2162898"/>
                    </a:lnTo>
                    <a:lnTo>
                      <a:pt x="7481692" y="2163633"/>
                    </a:lnTo>
                    <a:lnTo>
                      <a:pt x="7481076" y="2164496"/>
                    </a:lnTo>
                    <a:lnTo>
                      <a:pt x="7481606" y="2166726"/>
                    </a:lnTo>
                    <a:lnTo>
                      <a:pt x="7483702" y="2170080"/>
                    </a:lnTo>
                    <a:lnTo>
                      <a:pt x="7486023" y="2172377"/>
                    </a:lnTo>
                    <a:lnTo>
                      <a:pt x="7502874" y="2182740"/>
                    </a:lnTo>
                    <a:lnTo>
                      <a:pt x="7520034" y="2187601"/>
                    </a:lnTo>
                    <a:lnTo>
                      <a:pt x="7539098" y="2193006"/>
                    </a:lnTo>
                    <a:lnTo>
                      <a:pt x="7556069" y="2197783"/>
                    </a:lnTo>
                    <a:lnTo>
                      <a:pt x="7562608" y="2200605"/>
                    </a:lnTo>
                    <a:lnTo>
                      <a:pt x="7568996" y="2204827"/>
                    </a:lnTo>
                    <a:lnTo>
                      <a:pt x="7588792" y="2221580"/>
                    </a:lnTo>
                    <a:lnTo>
                      <a:pt x="7602463" y="2230686"/>
                    </a:lnTo>
                    <a:lnTo>
                      <a:pt x="7615877" y="2237328"/>
                    </a:lnTo>
                    <a:lnTo>
                      <a:pt x="7630119" y="2244382"/>
                    </a:lnTo>
                    <a:lnTo>
                      <a:pt x="7643893" y="2254585"/>
                    </a:lnTo>
                    <a:lnTo>
                      <a:pt x="7641572" y="2261442"/>
                    </a:lnTo>
                    <a:lnTo>
                      <a:pt x="7646840" y="2269313"/>
                    </a:lnTo>
                    <a:lnTo>
                      <a:pt x="7655219" y="2276368"/>
                    </a:lnTo>
                    <a:lnTo>
                      <a:pt x="7676817" y="2290156"/>
                    </a:lnTo>
                    <a:lnTo>
                      <a:pt x="7693721" y="2300918"/>
                    </a:lnTo>
                    <a:lnTo>
                      <a:pt x="7698906" y="2305747"/>
                    </a:lnTo>
                    <a:lnTo>
                      <a:pt x="7712071" y="2322072"/>
                    </a:lnTo>
                    <a:lnTo>
                      <a:pt x="7716656" y="2326675"/>
                    </a:lnTo>
                    <a:lnTo>
                      <a:pt x="7732584" y="2338193"/>
                    </a:lnTo>
                    <a:lnTo>
                      <a:pt x="7747439" y="2348916"/>
                    </a:lnTo>
                    <a:lnTo>
                      <a:pt x="7765696" y="2364885"/>
                    </a:lnTo>
                    <a:lnTo>
                      <a:pt x="7792085" y="2387921"/>
                    </a:lnTo>
                    <a:lnTo>
                      <a:pt x="7809410" y="2403017"/>
                    </a:lnTo>
                    <a:lnTo>
                      <a:pt x="7825957" y="2417429"/>
                    </a:lnTo>
                    <a:lnTo>
                      <a:pt x="7844990" y="2431073"/>
                    </a:lnTo>
                    <a:lnTo>
                      <a:pt x="7863396" y="2444228"/>
                    </a:lnTo>
                    <a:lnTo>
                      <a:pt x="7876311" y="2456062"/>
                    </a:lnTo>
                    <a:lnTo>
                      <a:pt x="7892848" y="2471193"/>
                    </a:lnTo>
                    <a:lnTo>
                      <a:pt x="7890794" y="2481443"/>
                    </a:lnTo>
                    <a:lnTo>
                      <a:pt x="7887827" y="2496094"/>
                    </a:lnTo>
                    <a:lnTo>
                      <a:pt x="7913913" y="2498826"/>
                    </a:lnTo>
                    <a:lnTo>
                      <a:pt x="7932935" y="2500801"/>
                    </a:lnTo>
                    <a:lnTo>
                      <a:pt x="7936862" y="2535621"/>
                    </a:lnTo>
                    <a:lnTo>
                      <a:pt x="7973507" y="2544248"/>
                    </a:lnTo>
                    <a:lnTo>
                      <a:pt x="7974900" y="2545676"/>
                    </a:lnTo>
                    <a:lnTo>
                      <a:pt x="7975083" y="2548310"/>
                    </a:lnTo>
                    <a:lnTo>
                      <a:pt x="7974866" y="2551223"/>
                    </a:lnTo>
                    <a:lnTo>
                      <a:pt x="7975076" y="2553530"/>
                    </a:lnTo>
                    <a:lnTo>
                      <a:pt x="7976230" y="2555648"/>
                    </a:lnTo>
                    <a:lnTo>
                      <a:pt x="7977614" y="2557173"/>
                    </a:lnTo>
                    <a:lnTo>
                      <a:pt x="7980993" y="2559916"/>
                    </a:lnTo>
                    <a:lnTo>
                      <a:pt x="7986996" y="2565612"/>
                    </a:lnTo>
                    <a:lnTo>
                      <a:pt x="7989575" y="2568917"/>
                    </a:lnTo>
                    <a:lnTo>
                      <a:pt x="7991748" y="2572829"/>
                    </a:lnTo>
                    <a:lnTo>
                      <a:pt x="7994404" y="2581079"/>
                    </a:lnTo>
                    <a:lnTo>
                      <a:pt x="7996097" y="2582942"/>
                    </a:lnTo>
                    <a:lnTo>
                      <a:pt x="8000094" y="2583583"/>
                    </a:lnTo>
                    <a:lnTo>
                      <a:pt x="8014539" y="2582146"/>
                    </a:lnTo>
                    <a:lnTo>
                      <a:pt x="8027882" y="2578227"/>
                    </a:lnTo>
                    <a:lnTo>
                      <a:pt x="8031363" y="2577952"/>
                    </a:lnTo>
                    <a:lnTo>
                      <a:pt x="8035282" y="2579259"/>
                    </a:lnTo>
                    <a:lnTo>
                      <a:pt x="8043329" y="2583389"/>
                    </a:lnTo>
                    <a:lnTo>
                      <a:pt x="8067519" y="2591941"/>
                    </a:lnTo>
                    <a:lnTo>
                      <a:pt x="8089108" y="2599557"/>
                    </a:lnTo>
                    <a:lnTo>
                      <a:pt x="8108227" y="2606288"/>
                    </a:lnTo>
                    <a:lnTo>
                      <a:pt x="8121119" y="2608802"/>
                    </a:lnTo>
                    <a:lnTo>
                      <a:pt x="8146081" y="2608343"/>
                    </a:lnTo>
                    <a:lnTo>
                      <a:pt x="8158905" y="2612248"/>
                    </a:lnTo>
                    <a:lnTo>
                      <a:pt x="8181292" y="2626554"/>
                    </a:lnTo>
                    <a:lnTo>
                      <a:pt x="8188377" y="2628672"/>
                    </a:lnTo>
                    <a:lnTo>
                      <a:pt x="8203889" y="2629531"/>
                    </a:lnTo>
                    <a:lnTo>
                      <a:pt x="8207640" y="2630580"/>
                    </a:lnTo>
                    <a:lnTo>
                      <a:pt x="8210763" y="2633127"/>
                    </a:lnTo>
                    <a:lnTo>
                      <a:pt x="8220511" y="2645762"/>
                    </a:lnTo>
                    <a:lnTo>
                      <a:pt x="8223043" y="2648399"/>
                    </a:lnTo>
                    <a:lnTo>
                      <a:pt x="8225610" y="2649674"/>
                    </a:lnTo>
                    <a:lnTo>
                      <a:pt x="8242627" y="2651634"/>
                    </a:lnTo>
                    <a:lnTo>
                      <a:pt x="8249678" y="2652425"/>
                    </a:lnTo>
                    <a:lnTo>
                      <a:pt x="8254162" y="2652289"/>
                    </a:lnTo>
                    <a:lnTo>
                      <a:pt x="8265448" y="2647351"/>
                    </a:lnTo>
                    <a:lnTo>
                      <a:pt x="8268810" y="2647740"/>
                    </a:lnTo>
                    <a:lnTo>
                      <a:pt x="8273365" y="2650738"/>
                    </a:lnTo>
                    <a:lnTo>
                      <a:pt x="8281025" y="2657764"/>
                    </a:lnTo>
                    <a:lnTo>
                      <a:pt x="8284584" y="2661764"/>
                    </a:lnTo>
                    <a:lnTo>
                      <a:pt x="8287503" y="2665956"/>
                    </a:lnTo>
                    <a:lnTo>
                      <a:pt x="8291461" y="2673599"/>
                    </a:lnTo>
                    <a:lnTo>
                      <a:pt x="8295023" y="2682436"/>
                    </a:lnTo>
                    <a:lnTo>
                      <a:pt x="8295591" y="2684661"/>
                    </a:lnTo>
                    <a:lnTo>
                      <a:pt x="8295591" y="2684667"/>
                    </a:lnTo>
                    <a:lnTo>
                      <a:pt x="8295733" y="2686038"/>
                    </a:lnTo>
                    <a:lnTo>
                      <a:pt x="8294752" y="2692498"/>
                    </a:lnTo>
                    <a:lnTo>
                      <a:pt x="8291292" y="2702734"/>
                    </a:lnTo>
                    <a:lnTo>
                      <a:pt x="8288615" y="2707085"/>
                    </a:lnTo>
                    <a:lnTo>
                      <a:pt x="8287927" y="2709528"/>
                    </a:lnTo>
                    <a:lnTo>
                      <a:pt x="8288034" y="2714620"/>
                    </a:lnTo>
                    <a:lnTo>
                      <a:pt x="8287937" y="2715664"/>
                    </a:lnTo>
                    <a:lnTo>
                      <a:pt x="8288018" y="2717008"/>
                    </a:lnTo>
                    <a:lnTo>
                      <a:pt x="8288521" y="2719117"/>
                    </a:lnTo>
                    <a:lnTo>
                      <a:pt x="8289640" y="2720759"/>
                    </a:lnTo>
                    <a:lnTo>
                      <a:pt x="8291133" y="2721892"/>
                    </a:lnTo>
                    <a:lnTo>
                      <a:pt x="8292277" y="2723299"/>
                    </a:lnTo>
                    <a:lnTo>
                      <a:pt x="8292294" y="2725768"/>
                    </a:lnTo>
                    <a:lnTo>
                      <a:pt x="8295153" y="2728578"/>
                    </a:lnTo>
                    <a:lnTo>
                      <a:pt x="8297822" y="2730435"/>
                    </a:lnTo>
                    <a:lnTo>
                      <a:pt x="8300429" y="2732792"/>
                    </a:lnTo>
                    <a:lnTo>
                      <a:pt x="8303093" y="2737176"/>
                    </a:lnTo>
                    <a:lnTo>
                      <a:pt x="8304315" y="2740710"/>
                    </a:lnTo>
                    <a:lnTo>
                      <a:pt x="8304914" y="2744275"/>
                    </a:lnTo>
                    <a:lnTo>
                      <a:pt x="8305389" y="2751388"/>
                    </a:lnTo>
                    <a:lnTo>
                      <a:pt x="8306589" y="2752676"/>
                    </a:lnTo>
                    <a:lnTo>
                      <a:pt x="8307590" y="2754406"/>
                    </a:lnTo>
                    <a:lnTo>
                      <a:pt x="8309474" y="2758808"/>
                    </a:lnTo>
                    <a:lnTo>
                      <a:pt x="8317428" y="2765660"/>
                    </a:lnTo>
                    <a:lnTo>
                      <a:pt x="8321267" y="2771066"/>
                    </a:lnTo>
                    <a:lnTo>
                      <a:pt x="8322934" y="2772735"/>
                    </a:lnTo>
                    <a:lnTo>
                      <a:pt x="8329186" y="2777332"/>
                    </a:lnTo>
                    <a:lnTo>
                      <a:pt x="8331219" y="2779413"/>
                    </a:lnTo>
                    <a:lnTo>
                      <a:pt x="8333681" y="2783471"/>
                    </a:lnTo>
                    <a:lnTo>
                      <a:pt x="8337499" y="2792933"/>
                    </a:lnTo>
                    <a:lnTo>
                      <a:pt x="8339882" y="2797073"/>
                    </a:lnTo>
                    <a:lnTo>
                      <a:pt x="8342612" y="2799787"/>
                    </a:lnTo>
                    <a:lnTo>
                      <a:pt x="8353425" y="2808123"/>
                    </a:lnTo>
                    <a:lnTo>
                      <a:pt x="8349388" y="2812857"/>
                    </a:lnTo>
                    <a:lnTo>
                      <a:pt x="8347806" y="2815509"/>
                    </a:lnTo>
                    <a:lnTo>
                      <a:pt x="8346612" y="2818614"/>
                    </a:lnTo>
                    <a:lnTo>
                      <a:pt x="8345591" y="2819860"/>
                    </a:lnTo>
                    <a:lnTo>
                      <a:pt x="8342853" y="2820990"/>
                    </a:lnTo>
                    <a:lnTo>
                      <a:pt x="8342672" y="2821996"/>
                    </a:lnTo>
                    <a:lnTo>
                      <a:pt x="8343776" y="2824911"/>
                    </a:lnTo>
                    <a:lnTo>
                      <a:pt x="8344193" y="2827044"/>
                    </a:lnTo>
                    <a:lnTo>
                      <a:pt x="8344060" y="2828999"/>
                    </a:lnTo>
                    <a:lnTo>
                      <a:pt x="8343510" y="2831322"/>
                    </a:lnTo>
                    <a:lnTo>
                      <a:pt x="8341530" y="2835346"/>
                    </a:lnTo>
                    <a:lnTo>
                      <a:pt x="8341245" y="2837408"/>
                    </a:lnTo>
                    <a:lnTo>
                      <a:pt x="8342255" y="2842365"/>
                    </a:lnTo>
                    <a:lnTo>
                      <a:pt x="8342424" y="2844845"/>
                    </a:lnTo>
                    <a:lnTo>
                      <a:pt x="8339941" y="2848070"/>
                    </a:lnTo>
                    <a:lnTo>
                      <a:pt x="8340061" y="2852285"/>
                    </a:lnTo>
                    <a:lnTo>
                      <a:pt x="8341128" y="2860651"/>
                    </a:lnTo>
                    <a:lnTo>
                      <a:pt x="8340581" y="2862724"/>
                    </a:lnTo>
                    <a:lnTo>
                      <a:pt x="8338448" y="2865459"/>
                    </a:lnTo>
                    <a:lnTo>
                      <a:pt x="8337815" y="2866890"/>
                    </a:lnTo>
                    <a:lnTo>
                      <a:pt x="8337818" y="2868911"/>
                    </a:lnTo>
                    <a:lnTo>
                      <a:pt x="8338360" y="2873858"/>
                    </a:lnTo>
                    <a:lnTo>
                      <a:pt x="8338222" y="2876278"/>
                    </a:lnTo>
                    <a:lnTo>
                      <a:pt x="8335460" y="2880846"/>
                    </a:lnTo>
                    <a:lnTo>
                      <a:pt x="8335351" y="2883693"/>
                    </a:lnTo>
                    <a:lnTo>
                      <a:pt x="8333889" y="2890537"/>
                    </a:lnTo>
                    <a:lnTo>
                      <a:pt x="8332060" y="2893064"/>
                    </a:lnTo>
                    <a:lnTo>
                      <a:pt x="8327071" y="2896995"/>
                    </a:lnTo>
                    <a:lnTo>
                      <a:pt x="8322192" y="2905509"/>
                    </a:lnTo>
                    <a:lnTo>
                      <a:pt x="8312720" y="2914811"/>
                    </a:lnTo>
                    <a:lnTo>
                      <a:pt x="8309721" y="2916120"/>
                    </a:lnTo>
                    <a:lnTo>
                      <a:pt x="8308980" y="2913609"/>
                    </a:lnTo>
                    <a:lnTo>
                      <a:pt x="8311437" y="2907569"/>
                    </a:lnTo>
                    <a:lnTo>
                      <a:pt x="8311647" y="2905451"/>
                    </a:lnTo>
                    <a:lnTo>
                      <a:pt x="8310533" y="2904970"/>
                    </a:lnTo>
                    <a:lnTo>
                      <a:pt x="8309076" y="2905344"/>
                    </a:lnTo>
                    <a:lnTo>
                      <a:pt x="8308266" y="2905791"/>
                    </a:lnTo>
                    <a:lnTo>
                      <a:pt x="8306429" y="2908874"/>
                    </a:lnTo>
                    <a:lnTo>
                      <a:pt x="8302990" y="2923409"/>
                    </a:lnTo>
                    <a:lnTo>
                      <a:pt x="8302250" y="2924904"/>
                    </a:lnTo>
                    <a:lnTo>
                      <a:pt x="8301032" y="2925665"/>
                    </a:lnTo>
                    <a:lnTo>
                      <a:pt x="8299081" y="2925340"/>
                    </a:lnTo>
                    <a:lnTo>
                      <a:pt x="8296426" y="2924106"/>
                    </a:lnTo>
                    <a:lnTo>
                      <a:pt x="8294065" y="2922086"/>
                    </a:lnTo>
                    <a:lnTo>
                      <a:pt x="8293017" y="2919420"/>
                    </a:lnTo>
                    <a:lnTo>
                      <a:pt x="8294591" y="2917863"/>
                    </a:lnTo>
                    <a:lnTo>
                      <a:pt x="8297447" y="2916834"/>
                    </a:lnTo>
                    <a:lnTo>
                      <a:pt x="8298592" y="2915043"/>
                    </a:lnTo>
                    <a:lnTo>
                      <a:pt x="8295049" y="2911220"/>
                    </a:lnTo>
                    <a:lnTo>
                      <a:pt x="8291848" y="2908378"/>
                    </a:lnTo>
                    <a:lnTo>
                      <a:pt x="8288911" y="2905037"/>
                    </a:lnTo>
                    <a:lnTo>
                      <a:pt x="8286258" y="2901357"/>
                    </a:lnTo>
                    <a:lnTo>
                      <a:pt x="8283928" y="2897479"/>
                    </a:lnTo>
                    <a:lnTo>
                      <a:pt x="8283063" y="2895511"/>
                    </a:lnTo>
                    <a:lnTo>
                      <a:pt x="8281541" y="2891161"/>
                    </a:lnTo>
                    <a:lnTo>
                      <a:pt x="8280540" y="2889316"/>
                    </a:lnTo>
                    <a:lnTo>
                      <a:pt x="8279059" y="2887716"/>
                    </a:lnTo>
                    <a:lnTo>
                      <a:pt x="8276968" y="2885987"/>
                    </a:lnTo>
                    <a:lnTo>
                      <a:pt x="8275480" y="2885540"/>
                    </a:lnTo>
                    <a:lnTo>
                      <a:pt x="8275895" y="2887921"/>
                    </a:lnTo>
                    <a:lnTo>
                      <a:pt x="8281566" y="2900870"/>
                    </a:lnTo>
                    <a:lnTo>
                      <a:pt x="8283814" y="2904838"/>
                    </a:lnTo>
                    <a:lnTo>
                      <a:pt x="8286930" y="2908325"/>
                    </a:lnTo>
                    <a:lnTo>
                      <a:pt x="8288478" y="2910406"/>
                    </a:lnTo>
                    <a:lnTo>
                      <a:pt x="8289171" y="2912751"/>
                    </a:lnTo>
                    <a:lnTo>
                      <a:pt x="8288705" y="2914885"/>
                    </a:lnTo>
                    <a:lnTo>
                      <a:pt x="8287384" y="2915530"/>
                    </a:lnTo>
                    <a:lnTo>
                      <a:pt x="8285533" y="2914969"/>
                    </a:lnTo>
                    <a:lnTo>
                      <a:pt x="8283517" y="2913528"/>
                    </a:lnTo>
                    <a:lnTo>
                      <a:pt x="8284143" y="2919266"/>
                    </a:lnTo>
                    <a:lnTo>
                      <a:pt x="8283771" y="2924633"/>
                    </a:lnTo>
                    <a:lnTo>
                      <a:pt x="8281382" y="2927787"/>
                    </a:lnTo>
                    <a:lnTo>
                      <a:pt x="8275983" y="2926876"/>
                    </a:lnTo>
                    <a:lnTo>
                      <a:pt x="8266356" y="2921914"/>
                    </a:lnTo>
                    <a:lnTo>
                      <a:pt x="8262392" y="2917915"/>
                    </a:lnTo>
                    <a:lnTo>
                      <a:pt x="8261017" y="2912291"/>
                    </a:lnTo>
                    <a:lnTo>
                      <a:pt x="8260323" y="2912086"/>
                    </a:lnTo>
                    <a:lnTo>
                      <a:pt x="8258495" y="2911186"/>
                    </a:lnTo>
                    <a:lnTo>
                      <a:pt x="8257926" y="2906766"/>
                    </a:lnTo>
                    <a:lnTo>
                      <a:pt x="8255533" y="2903900"/>
                    </a:lnTo>
                    <a:lnTo>
                      <a:pt x="8252529" y="2901350"/>
                    </a:lnTo>
                    <a:lnTo>
                      <a:pt x="8250097" y="2897814"/>
                    </a:lnTo>
                    <a:lnTo>
                      <a:pt x="8253137" y="2897895"/>
                    </a:lnTo>
                    <a:lnTo>
                      <a:pt x="8253096" y="2894778"/>
                    </a:lnTo>
                    <a:lnTo>
                      <a:pt x="8250590" y="2891165"/>
                    </a:lnTo>
                    <a:lnTo>
                      <a:pt x="8246308" y="2889820"/>
                    </a:lnTo>
                    <a:lnTo>
                      <a:pt x="8243985" y="2887256"/>
                    </a:lnTo>
                    <a:lnTo>
                      <a:pt x="8242084" y="2885543"/>
                    </a:lnTo>
                    <a:lnTo>
                      <a:pt x="8240264" y="2884883"/>
                    </a:lnTo>
                    <a:lnTo>
                      <a:pt x="8237763" y="2884624"/>
                    </a:lnTo>
                    <a:lnTo>
                      <a:pt x="8237142" y="2883217"/>
                    </a:lnTo>
                    <a:lnTo>
                      <a:pt x="8237450" y="2879375"/>
                    </a:lnTo>
                    <a:lnTo>
                      <a:pt x="8237125" y="2875175"/>
                    </a:lnTo>
                    <a:lnTo>
                      <a:pt x="8237859" y="2871344"/>
                    </a:lnTo>
                    <a:lnTo>
                      <a:pt x="8239754" y="2868434"/>
                    </a:lnTo>
                    <a:lnTo>
                      <a:pt x="8245612" y="2865598"/>
                    </a:lnTo>
                    <a:lnTo>
                      <a:pt x="8250447" y="2860789"/>
                    </a:lnTo>
                    <a:lnTo>
                      <a:pt x="8253286" y="2859935"/>
                    </a:lnTo>
                    <a:lnTo>
                      <a:pt x="8255210" y="2860734"/>
                    </a:lnTo>
                    <a:lnTo>
                      <a:pt x="8256384" y="2862236"/>
                    </a:lnTo>
                    <a:lnTo>
                      <a:pt x="8257292" y="2863827"/>
                    </a:lnTo>
                    <a:lnTo>
                      <a:pt x="8258382" y="2864862"/>
                    </a:lnTo>
                    <a:lnTo>
                      <a:pt x="8260114" y="2864990"/>
                    </a:lnTo>
                    <a:lnTo>
                      <a:pt x="8264931" y="2863939"/>
                    </a:lnTo>
                    <a:lnTo>
                      <a:pt x="8266031" y="2863092"/>
                    </a:lnTo>
                    <a:lnTo>
                      <a:pt x="8267182" y="2862685"/>
                    </a:lnTo>
                    <a:lnTo>
                      <a:pt x="8269202" y="2863109"/>
                    </a:lnTo>
                    <a:lnTo>
                      <a:pt x="8270640" y="2862661"/>
                    </a:lnTo>
                    <a:lnTo>
                      <a:pt x="8269584" y="2857399"/>
                    </a:lnTo>
                    <a:lnTo>
                      <a:pt x="8269584" y="2854824"/>
                    </a:lnTo>
                    <a:lnTo>
                      <a:pt x="8270212" y="2850257"/>
                    </a:lnTo>
                    <a:lnTo>
                      <a:pt x="8272812" y="2843055"/>
                    </a:lnTo>
                    <a:lnTo>
                      <a:pt x="8279886" y="2831346"/>
                    </a:lnTo>
                    <a:lnTo>
                      <a:pt x="8285229" y="2812285"/>
                    </a:lnTo>
                    <a:lnTo>
                      <a:pt x="8285019" y="2807729"/>
                    </a:lnTo>
                    <a:lnTo>
                      <a:pt x="8282582" y="2808303"/>
                    </a:lnTo>
                    <a:lnTo>
                      <a:pt x="8281510" y="2809992"/>
                    </a:lnTo>
                    <a:lnTo>
                      <a:pt x="8280865" y="2811815"/>
                    </a:lnTo>
                    <a:lnTo>
                      <a:pt x="8278633" y="2813795"/>
                    </a:lnTo>
                    <a:lnTo>
                      <a:pt x="8276321" y="2818256"/>
                    </a:lnTo>
                    <a:lnTo>
                      <a:pt x="8275763" y="2819914"/>
                    </a:lnTo>
                    <a:lnTo>
                      <a:pt x="8275849" y="2831420"/>
                    </a:lnTo>
                    <a:lnTo>
                      <a:pt x="8275120" y="2837034"/>
                    </a:lnTo>
                    <a:lnTo>
                      <a:pt x="8269469" y="2841855"/>
                    </a:lnTo>
                    <a:lnTo>
                      <a:pt x="8267545" y="2846172"/>
                    </a:lnTo>
                    <a:lnTo>
                      <a:pt x="8263880" y="2860223"/>
                    </a:lnTo>
                    <a:lnTo>
                      <a:pt x="8262282" y="2861389"/>
                    </a:lnTo>
                    <a:lnTo>
                      <a:pt x="8259422" y="2860401"/>
                    </a:lnTo>
                    <a:lnTo>
                      <a:pt x="8257771" y="2858647"/>
                    </a:lnTo>
                    <a:lnTo>
                      <a:pt x="8254381" y="2853247"/>
                    </a:lnTo>
                    <a:lnTo>
                      <a:pt x="8252721" y="2851246"/>
                    </a:lnTo>
                    <a:lnTo>
                      <a:pt x="8249180" y="2853759"/>
                    </a:lnTo>
                    <a:lnTo>
                      <a:pt x="8248245" y="2854746"/>
                    </a:lnTo>
                    <a:lnTo>
                      <a:pt x="8245983" y="2860169"/>
                    </a:lnTo>
                    <a:lnTo>
                      <a:pt x="8245319" y="2861032"/>
                    </a:lnTo>
                    <a:lnTo>
                      <a:pt x="8235895" y="2866512"/>
                    </a:lnTo>
                    <a:lnTo>
                      <a:pt x="8232349" y="2867005"/>
                    </a:lnTo>
                    <a:lnTo>
                      <a:pt x="8229057" y="2865732"/>
                    </a:lnTo>
                    <a:lnTo>
                      <a:pt x="8224749" y="2863202"/>
                    </a:lnTo>
                    <a:lnTo>
                      <a:pt x="8220696" y="2859984"/>
                    </a:lnTo>
                    <a:lnTo>
                      <a:pt x="8218202" y="2856708"/>
                    </a:lnTo>
                    <a:lnTo>
                      <a:pt x="8214635" y="2848191"/>
                    </a:lnTo>
                    <a:lnTo>
                      <a:pt x="8214664" y="2845564"/>
                    </a:lnTo>
                    <a:lnTo>
                      <a:pt x="8218869" y="2836256"/>
                    </a:lnTo>
                    <a:lnTo>
                      <a:pt x="8220970" y="2833603"/>
                    </a:lnTo>
                    <a:lnTo>
                      <a:pt x="8223498" y="2832261"/>
                    </a:lnTo>
                    <a:lnTo>
                      <a:pt x="8223368" y="2831354"/>
                    </a:lnTo>
                    <a:lnTo>
                      <a:pt x="8223690" y="2825704"/>
                    </a:lnTo>
                    <a:lnTo>
                      <a:pt x="8224975" y="2824070"/>
                    </a:lnTo>
                    <a:lnTo>
                      <a:pt x="8226873" y="2823603"/>
                    </a:lnTo>
                    <a:lnTo>
                      <a:pt x="8231397" y="2823973"/>
                    </a:lnTo>
                    <a:lnTo>
                      <a:pt x="8265185" y="2819127"/>
                    </a:lnTo>
                    <a:lnTo>
                      <a:pt x="8266370" y="2818515"/>
                    </a:lnTo>
                    <a:lnTo>
                      <a:pt x="8267365" y="2817543"/>
                    </a:lnTo>
                    <a:lnTo>
                      <a:pt x="8259748" y="2814668"/>
                    </a:lnTo>
                    <a:lnTo>
                      <a:pt x="8256960" y="2812364"/>
                    </a:lnTo>
                    <a:lnTo>
                      <a:pt x="8259229" y="2809920"/>
                    </a:lnTo>
                    <a:lnTo>
                      <a:pt x="8256746" y="2807384"/>
                    </a:lnTo>
                    <a:lnTo>
                      <a:pt x="8255035" y="2808120"/>
                    </a:lnTo>
                    <a:lnTo>
                      <a:pt x="8251736" y="2814704"/>
                    </a:lnTo>
                    <a:lnTo>
                      <a:pt x="8250357" y="2816208"/>
                    </a:lnTo>
                    <a:lnTo>
                      <a:pt x="8236529" y="2820288"/>
                    </a:lnTo>
                    <a:lnTo>
                      <a:pt x="8232052" y="2819271"/>
                    </a:lnTo>
                    <a:lnTo>
                      <a:pt x="8228033" y="2813535"/>
                    </a:lnTo>
                    <a:lnTo>
                      <a:pt x="8217059" y="2791979"/>
                    </a:lnTo>
                    <a:lnTo>
                      <a:pt x="8211990" y="2775311"/>
                    </a:lnTo>
                    <a:lnTo>
                      <a:pt x="8211622" y="2771963"/>
                    </a:lnTo>
                    <a:lnTo>
                      <a:pt x="8204624" y="2757641"/>
                    </a:lnTo>
                    <a:lnTo>
                      <a:pt x="8202773" y="2755073"/>
                    </a:lnTo>
                    <a:lnTo>
                      <a:pt x="8197115" y="2749688"/>
                    </a:lnTo>
                    <a:lnTo>
                      <a:pt x="8195071" y="2746575"/>
                    </a:lnTo>
                    <a:lnTo>
                      <a:pt x="8194813" y="2744847"/>
                    </a:lnTo>
                    <a:lnTo>
                      <a:pt x="8195839" y="2742573"/>
                    </a:lnTo>
                    <a:lnTo>
                      <a:pt x="8195617" y="2740884"/>
                    </a:lnTo>
                    <a:lnTo>
                      <a:pt x="8194638" y="2739608"/>
                    </a:lnTo>
                    <a:lnTo>
                      <a:pt x="8191700" y="2737450"/>
                    </a:lnTo>
                    <a:lnTo>
                      <a:pt x="8188640" y="2733794"/>
                    </a:lnTo>
                    <a:lnTo>
                      <a:pt x="8181840" y="2729642"/>
                    </a:lnTo>
                    <a:lnTo>
                      <a:pt x="8179230" y="2727507"/>
                    </a:lnTo>
                    <a:lnTo>
                      <a:pt x="8182355" y="2723453"/>
                    </a:lnTo>
                    <a:lnTo>
                      <a:pt x="8182546" y="2721280"/>
                    </a:lnTo>
                    <a:lnTo>
                      <a:pt x="8179965" y="2719962"/>
                    </a:lnTo>
                    <a:lnTo>
                      <a:pt x="8179276" y="2720401"/>
                    </a:lnTo>
                    <a:lnTo>
                      <a:pt x="8176490" y="2723321"/>
                    </a:lnTo>
                    <a:lnTo>
                      <a:pt x="8174422" y="2723421"/>
                    </a:lnTo>
                    <a:lnTo>
                      <a:pt x="8172266" y="2722694"/>
                    </a:lnTo>
                    <a:lnTo>
                      <a:pt x="8170430" y="2721828"/>
                    </a:lnTo>
                    <a:lnTo>
                      <a:pt x="8169309" y="2721445"/>
                    </a:lnTo>
                    <a:lnTo>
                      <a:pt x="8167406" y="2719965"/>
                    </a:lnTo>
                    <a:lnTo>
                      <a:pt x="8157944" y="2710763"/>
                    </a:lnTo>
                    <a:lnTo>
                      <a:pt x="8154792" y="2708739"/>
                    </a:lnTo>
                    <a:lnTo>
                      <a:pt x="8144507" y="2703372"/>
                    </a:lnTo>
                    <a:lnTo>
                      <a:pt x="8144528" y="2702592"/>
                    </a:lnTo>
                    <a:lnTo>
                      <a:pt x="8144379" y="2700519"/>
                    </a:lnTo>
                    <a:lnTo>
                      <a:pt x="8141665" y="2700836"/>
                    </a:lnTo>
                    <a:lnTo>
                      <a:pt x="8138638" y="2700042"/>
                    </a:lnTo>
                    <a:lnTo>
                      <a:pt x="8136121" y="2697998"/>
                    </a:lnTo>
                    <a:lnTo>
                      <a:pt x="8134955" y="2694521"/>
                    </a:lnTo>
                    <a:lnTo>
                      <a:pt x="8131866" y="2694505"/>
                    </a:lnTo>
                    <a:lnTo>
                      <a:pt x="8132140" y="2691255"/>
                    </a:lnTo>
                    <a:lnTo>
                      <a:pt x="8135658" y="2684405"/>
                    </a:lnTo>
                    <a:lnTo>
                      <a:pt x="8145095" y="2674482"/>
                    </a:lnTo>
                    <a:lnTo>
                      <a:pt x="8144024" y="2674785"/>
                    </a:lnTo>
                    <a:lnTo>
                      <a:pt x="8140500" y="2675122"/>
                    </a:lnTo>
                    <a:lnTo>
                      <a:pt x="8140761" y="2672174"/>
                    </a:lnTo>
                    <a:lnTo>
                      <a:pt x="8145188" y="2663013"/>
                    </a:lnTo>
                    <a:lnTo>
                      <a:pt x="8139384" y="2667326"/>
                    </a:lnTo>
                    <a:lnTo>
                      <a:pt x="8137197" y="2669681"/>
                    </a:lnTo>
                    <a:lnTo>
                      <a:pt x="8135606" y="2672942"/>
                    </a:lnTo>
                    <a:lnTo>
                      <a:pt x="8134898" y="2677499"/>
                    </a:lnTo>
                    <a:lnTo>
                      <a:pt x="8134163" y="2679514"/>
                    </a:lnTo>
                    <a:lnTo>
                      <a:pt x="8130877" y="2681661"/>
                    </a:lnTo>
                    <a:lnTo>
                      <a:pt x="8128837" y="2685872"/>
                    </a:lnTo>
                    <a:lnTo>
                      <a:pt x="8117807" y="2692893"/>
                    </a:lnTo>
                    <a:lnTo>
                      <a:pt x="8116599" y="2694460"/>
                    </a:lnTo>
                    <a:lnTo>
                      <a:pt x="8115804" y="2696464"/>
                    </a:lnTo>
                    <a:lnTo>
                      <a:pt x="8113119" y="2699292"/>
                    </a:lnTo>
                    <a:lnTo>
                      <a:pt x="8108530" y="2698317"/>
                    </a:lnTo>
                    <a:lnTo>
                      <a:pt x="8103437" y="2695022"/>
                    </a:lnTo>
                    <a:lnTo>
                      <a:pt x="8099269" y="2690859"/>
                    </a:lnTo>
                    <a:lnTo>
                      <a:pt x="8097791" y="2693716"/>
                    </a:lnTo>
                    <a:lnTo>
                      <a:pt x="8095360" y="2696743"/>
                    </a:lnTo>
                    <a:lnTo>
                      <a:pt x="8092548" y="2698228"/>
                    </a:lnTo>
                    <a:lnTo>
                      <a:pt x="8089906" y="2696432"/>
                    </a:lnTo>
                    <a:lnTo>
                      <a:pt x="8084264" y="2706156"/>
                    </a:lnTo>
                    <a:lnTo>
                      <a:pt x="8081308" y="2707743"/>
                    </a:lnTo>
                    <a:lnTo>
                      <a:pt x="8077240" y="2708015"/>
                    </a:lnTo>
                    <a:lnTo>
                      <a:pt x="8076191" y="2708437"/>
                    </a:lnTo>
                    <a:lnTo>
                      <a:pt x="8075873" y="2709120"/>
                    </a:lnTo>
                    <a:lnTo>
                      <a:pt x="8075808" y="2710033"/>
                    </a:lnTo>
                    <a:lnTo>
                      <a:pt x="8075651" y="2710890"/>
                    </a:lnTo>
                    <a:lnTo>
                      <a:pt x="8073738" y="2712198"/>
                    </a:lnTo>
                    <a:lnTo>
                      <a:pt x="8071536" y="2715539"/>
                    </a:lnTo>
                    <a:lnTo>
                      <a:pt x="8068929" y="2717170"/>
                    </a:lnTo>
                    <a:lnTo>
                      <a:pt x="8067026" y="2720207"/>
                    </a:lnTo>
                    <a:lnTo>
                      <a:pt x="8065962" y="2721271"/>
                    </a:lnTo>
                    <a:lnTo>
                      <a:pt x="8063682" y="2721919"/>
                    </a:lnTo>
                    <a:lnTo>
                      <a:pt x="8059110" y="2722049"/>
                    </a:lnTo>
                    <a:lnTo>
                      <a:pt x="8056638" y="2722528"/>
                    </a:lnTo>
                    <a:lnTo>
                      <a:pt x="8055236" y="2723491"/>
                    </a:lnTo>
                    <a:lnTo>
                      <a:pt x="8053003" y="2726449"/>
                    </a:lnTo>
                    <a:lnTo>
                      <a:pt x="8051742" y="2727462"/>
                    </a:lnTo>
                    <a:lnTo>
                      <a:pt x="8049621" y="2727934"/>
                    </a:lnTo>
                    <a:lnTo>
                      <a:pt x="8047382" y="2728047"/>
                    </a:lnTo>
                    <a:lnTo>
                      <a:pt x="8045381" y="2728485"/>
                    </a:lnTo>
                    <a:lnTo>
                      <a:pt x="8043964" y="2729935"/>
                    </a:lnTo>
                    <a:lnTo>
                      <a:pt x="8047189" y="2730356"/>
                    </a:lnTo>
                    <a:lnTo>
                      <a:pt x="8058339" y="2733862"/>
                    </a:lnTo>
                    <a:lnTo>
                      <a:pt x="8065254" y="2734211"/>
                    </a:lnTo>
                    <a:lnTo>
                      <a:pt x="8067583" y="2735680"/>
                    </a:lnTo>
                    <a:lnTo>
                      <a:pt x="8069444" y="2739522"/>
                    </a:lnTo>
                    <a:lnTo>
                      <a:pt x="8070209" y="2745046"/>
                    </a:lnTo>
                    <a:lnTo>
                      <a:pt x="8070395" y="2748499"/>
                    </a:lnTo>
                    <a:lnTo>
                      <a:pt x="8070250" y="2750854"/>
                    </a:lnTo>
                    <a:lnTo>
                      <a:pt x="8068891" y="2753816"/>
                    </a:lnTo>
                    <a:lnTo>
                      <a:pt x="8066924" y="2754915"/>
                    </a:lnTo>
                    <a:lnTo>
                      <a:pt x="8060985" y="2754960"/>
                    </a:lnTo>
                    <a:lnTo>
                      <a:pt x="8068301" y="2760708"/>
                    </a:lnTo>
                    <a:lnTo>
                      <a:pt x="8071249" y="2766410"/>
                    </a:lnTo>
                    <a:lnTo>
                      <a:pt x="8070587" y="2771938"/>
                    </a:lnTo>
                    <a:lnTo>
                      <a:pt x="8067060" y="2777167"/>
                    </a:lnTo>
                    <a:lnTo>
                      <a:pt x="8067871" y="2778218"/>
                    </a:lnTo>
                    <a:lnTo>
                      <a:pt x="8068934" y="2780064"/>
                    </a:lnTo>
                    <a:lnTo>
                      <a:pt x="8069636" y="2781121"/>
                    </a:lnTo>
                    <a:lnTo>
                      <a:pt x="8047273" y="2769656"/>
                    </a:lnTo>
                    <a:lnTo>
                      <a:pt x="8049386" y="2771591"/>
                    </a:lnTo>
                    <a:lnTo>
                      <a:pt x="8054852" y="2775800"/>
                    </a:lnTo>
                    <a:lnTo>
                      <a:pt x="8056440" y="2777796"/>
                    </a:lnTo>
                    <a:lnTo>
                      <a:pt x="8058663" y="2779896"/>
                    </a:lnTo>
                    <a:lnTo>
                      <a:pt x="8062087" y="2782254"/>
                    </a:lnTo>
                    <a:lnTo>
                      <a:pt x="8063792" y="2783869"/>
                    </a:lnTo>
                    <a:lnTo>
                      <a:pt x="8060871" y="2783703"/>
                    </a:lnTo>
                    <a:lnTo>
                      <a:pt x="8061420" y="2785062"/>
                    </a:lnTo>
                    <a:lnTo>
                      <a:pt x="8064004" y="2786424"/>
                    </a:lnTo>
                    <a:lnTo>
                      <a:pt x="8066254" y="2788922"/>
                    </a:lnTo>
                    <a:lnTo>
                      <a:pt x="8067885" y="2792134"/>
                    </a:lnTo>
                    <a:lnTo>
                      <a:pt x="8068600" y="2795560"/>
                    </a:lnTo>
                    <a:lnTo>
                      <a:pt x="8068127" y="2796434"/>
                    </a:lnTo>
                    <a:lnTo>
                      <a:pt x="8067129" y="2797239"/>
                    </a:lnTo>
                    <a:lnTo>
                      <a:pt x="8066418" y="2798553"/>
                    </a:lnTo>
                    <a:lnTo>
                      <a:pt x="8066812" y="2800871"/>
                    </a:lnTo>
                    <a:lnTo>
                      <a:pt x="8066441" y="2802012"/>
                    </a:lnTo>
                    <a:lnTo>
                      <a:pt x="8064358" y="2801495"/>
                    </a:lnTo>
                    <a:lnTo>
                      <a:pt x="8060377" y="2799515"/>
                    </a:lnTo>
                    <a:lnTo>
                      <a:pt x="8037659" y="2792382"/>
                    </a:lnTo>
                    <a:lnTo>
                      <a:pt x="8030750" y="2788402"/>
                    </a:lnTo>
                    <a:lnTo>
                      <a:pt x="8026726" y="2783259"/>
                    </a:lnTo>
                    <a:lnTo>
                      <a:pt x="8016533" y="2767350"/>
                    </a:lnTo>
                    <a:lnTo>
                      <a:pt x="8013158" y="2764168"/>
                    </a:lnTo>
                    <a:lnTo>
                      <a:pt x="8010117" y="2762985"/>
                    </a:lnTo>
                    <a:lnTo>
                      <a:pt x="8006463" y="2759976"/>
                    </a:lnTo>
                    <a:lnTo>
                      <a:pt x="8004507" y="2756753"/>
                    </a:lnTo>
                    <a:lnTo>
                      <a:pt x="8006550" y="2754902"/>
                    </a:lnTo>
                    <a:lnTo>
                      <a:pt x="8009670" y="2755767"/>
                    </a:lnTo>
                    <a:lnTo>
                      <a:pt x="8017120" y="2760530"/>
                    </a:lnTo>
                    <a:lnTo>
                      <a:pt x="8020549" y="2761636"/>
                    </a:lnTo>
                    <a:lnTo>
                      <a:pt x="8016950" y="2756058"/>
                    </a:lnTo>
                    <a:lnTo>
                      <a:pt x="8014289" y="2751167"/>
                    </a:lnTo>
                    <a:lnTo>
                      <a:pt x="8013573" y="2747490"/>
                    </a:lnTo>
                    <a:lnTo>
                      <a:pt x="8014066" y="2745867"/>
                    </a:lnTo>
                    <a:lnTo>
                      <a:pt x="8017708" y="2744875"/>
                    </a:lnTo>
                    <a:lnTo>
                      <a:pt x="8026965" y="2744056"/>
                    </a:lnTo>
                    <a:lnTo>
                      <a:pt x="8028835" y="2743399"/>
                    </a:lnTo>
                    <a:lnTo>
                      <a:pt x="8029518" y="2740686"/>
                    </a:lnTo>
                    <a:lnTo>
                      <a:pt x="8027584" y="2738635"/>
                    </a:lnTo>
                    <a:lnTo>
                      <a:pt x="8021830" y="2735748"/>
                    </a:lnTo>
                    <a:lnTo>
                      <a:pt x="8022606" y="2732069"/>
                    </a:lnTo>
                    <a:lnTo>
                      <a:pt x="8024144" y="2728622"/>
                    </a:lnTo>
                    <a:lnTo>
                      <a:pt x="8024745" y="2725315"/>
                    </a:lnTo>
                    <a:lnTo>
                      <a:pt x="8022645" y="2722002"/>
                    </a:lnTo>
                    <a:lnTo>
                      <a:pt x="8019056" y="2718421"/>
                    </a:lnTo>
                    <a:lnTo>
                      <a:pt x="8017840" y="2715621"/>
                    </a:lnTo>
                    <a:lnTo>
                      <a:pt x="8018818" y="2713371"/>
                    </a:lnTo>
                    <a:lnTo>
                      <a:pt x="8021827" y="2711463"/>
                    </a:lnTo>
                    <a:lnTo>
                      <a:pt x="8028672" y="2711212"/>
                    </a:lnTo>
                    <a:lnTo>
                      <a:pt x="8030136" y="2710352"/>
                    </a:lnTo>
                    <a:lnTo>
                      <a:pt x="8030095" y="2708212"/>
                    </a:lnTo>
                    <a:lnTo>
                      <a:pt x="8027892" y="2704175"/>
                    </a:lnTo>
                    <a:lnTo>
                      <a:pt x="8028760" y="2703275"/>
                    </a:lnTo>
                    <a:lnTo>
                      <a:pt x="8028132" y="2701196"/>
                    </a:lnTo>
                    <a:lnTo>
                      <a:pt x="8020249" y="2688703"/>
                    </a:lnTo>
                    <a:lnTo>
                      <a:pt x="8013301" y="2671717"/>
                    </a:lnTo>
                    <a:lnTo>
                      <a:pt x="8014260" y="2669640"/>
                    </a:lnTo>
                    <a:lnTo>
                      <a:pt x="8021152" y="2665130"/>
                    </a:lnTo>
                    <a:lnTo>
                      <a:pt x="8030240" y="2661357"/>
                    </a:lnTo>
                    <a:lnTo>
                      <a:pt x="8045734" y="2659203"/>
                    </a:lnTo>
                    <a:lnTo>
                      <a:pt x="8060532" y="2660866"/>
                    </a:lnTo>
                    <a:lnTo>
                      <a:pt x="8063120" y="2660419"/>
                    </a:lnTo>
                    <a:lnTo>
                      <a:pt x="8065187" y="2658193"/>
                    </a:lnTo>
                    <a:lnTo>
                      <a:pt x="8066987" y="2652579"/>
                    </a:lnTo>
                    <a:lnTo>
                      <a:pt x="8068451" y="2650691"/>
                    </a:lnTo>
                    <a:lnTo>
                      <a:pt x="8071629" y="2650169"/>
                    </a:lnTo>
                    <a:lnTo>
                      <a:pt x="8067863" y="2649255"/>
                    </a:lnTo>
                    <a:lnTo>
                      <a:pt x="8064899" y="2650479"/>
                    </a:lnTo>
                    <a:lnTo>
                      <a:pt x="8059749" y="2654643"/>
                    </a:lnTo>
                    <a:lnTo>
                      <a:pt x="8056362" y="2655890"/>
                    </a:lnTo>
                    <a:lnTo>
                      <a:pt x="8053027" y="2656090"/>
                    </a:lnTo>
                    <a:lnTo>
                      <a:pt x="8045390" y="2655053"/>
                    </a:lnTo>
                    <a:lnTo>
                      <a:pt x="8019557" y="2657134"/>
                    </a:lnTo>
                    <a:lnTo>
                      <a:pt x="8014604" y="2655786"/>
                    </a:lnTo>
                    <a:lnTo>
                      <a:pt x="8002657" y="2644486"/>
                    </a:lnTo>
                    <a:lnTo>
                      <a:pt x="8000540" y="2641371"/>
                    </a:lnTo>
                    <a:lnTo>
                      <a:pt x="7996011" y="2632443"/>
                    </a:lnTo>
                    <a:lnTo>
                      <a:pt x="7994054" y="2630726"/>
                    </a:lnTo>
                    <a:lnTo>
                      <a:pt x="7990466" y="2630929"/>
                    </a:lnTo>
                    <a:lnTo>
                      <a:pt x="7982034" y="2629192"/>
                    </a:lnTo>
                    <a:lnTo>
                      <a:pt x="7979769" y="2629309"/>
                    </a:lnTo>
                    <a:lnTo>
                      <a:pt x="7978575" y="2630540"/>
                    </a:lnTo>
                    <a:lnTo>
                      <a:pt x="7976668" y="2631432"/>
                    </a:lnTo>
                    <a:lnTo>
                      <a:pt x="7970264" y="2629157"/>
                    </a:lnTo>
                    <a:lnTo>
                      <a:pt x="7969466" y="2631048"/>
                    </a:lnTo>
                    <a:lnTo>
                      <a:pt x="7968641" y="2631158"/>
                    </a:lnTo>
                    <a:lnTo>
                      <a:pt x="7961469" y="2621995"/>
                    </a:lnTo>
                    <a:lnTo>
                      <a:pt x="7959180" y="2617471"/>
                    </a:lnTo>
                    <a:lnTo>
                      <a:pt x="7955615" y="2613898"/>
                    </a:lnTo>
                    <a:lnTo>
                      <a:pt x="7950257" y="2612145"/>
                    </a:lnTo>
                    <a:lnTo>
                      <a:pt x="7943016" y="2610948"/>
                    </a:lnTo>
                    <a:lnTo>
                      <a:pt x="7941889" y="2610055"/>
                    </a:lnTo>
                    <a:lnTo>
                      <a:pt x="7933466" y="2605909"/>
                    </a:lnTo>
                    <a:lnTo>
                      <a:pt x="7932008" y="2605009"/>
                    </a:lnTo>
                    <a:lnTo>
                      <a:pt x="7930722" y="2603526"/>
                    </a:lnTo>
                    <a:lnTo>
                      <a:pt x="7929078" y="2600590"/>
                    </a:lnTo>
                    <a:lnTo>
                      <a:pt x="7927233" y="2595137"/>
                    </a:lnTo>
                    <a:lnTo>
                      <a:pt x="7927085" y="2590492"/>
                    </a:lnTo>
                    <a:lnTo>
                      <a:pt x="7928354" y="2582316"/>
                    </a:lnTo>
                    <a:lnTo>
                      <a:pt x="7925134" y="2582968"/>
                    </a:lnTo>
                    <a:lnTo>
                      <a:pt x="7920752" y="2586664"/>
                    </a:lnTo>
                    <a:lnTo>
                      <a:pt x="7912014" y="2591380"/>
                    </a:lnTo>
                    <a:lnTo>
                      <a:pt x="7908294" y="2592433"/>
                    </a:lnTo>
                    <a:lnTo>
                      <a:pt x="7900674" y="2588613"/>
                    </a:lnTo>
                    <a:lnTo>
                      <a:pt x="7897672" y="2588214"/>
                    </a:lnTo>
                    <a:lnTo>
                      <a:pt x="7895757" y="2586908"/>
                    </a:lnTo>
                    <a:lnTo>
                      <a:pt x="7895514" y="2582289"/>
                    </a:lnTo>
                    <a:lnTo>
                      <a:pt x="7896620" y="2579304"/>
                    </a:lnTo>
                    <a:lnTo>
                      <a:pt x="7898830" y="2578299"/>
                    </a:lnTo>
                    <a:lnTo>
                      <a:pt x="7905343" y="2578137"/>
                    </a:lnTo>
                    <a:lnTo>
                      <a:pt x="7902357" y="2575018"/>
                    </a:lnTo>
                    <a:lnTo>
                      <a:pt x="7899337" y="2574003"/>
                    </a:lnTo>
                    <a:lnTo>
                      <a:pt x="7896166" y="2573714"/>
                    </a:lnTo>
                    <a:lnTo>
                      <a:pt x="7892717" y="2572824"/>
                    </a:lnTo>
                    <a:lnTo>
                      <a:pt x="7896826" y="2565145"/>
                    </a:lnTo>
                    <a:lnTo>
                      <a:pt x="7897923" y="2562068"/>
                    </a:lnTo>
                    <a:lnTo>
                      <a:pt x="7897296" y="2560500"/>
                    </a:lnTo>
                    <a:lnTo>
                      <a:pt x="7902030" y="2555700"/>
                    </a:lnTo>
                    <a:lnTo>
                      <a:pt x="7901786" y="2554182"/>
                    </a:lnTo>
                    <a:lnTo>
                      <a:pt x="7900852" y="2552444"/>
                    </a:lnTo>
                    <a:lnTo>
                      <a:pt x="7900413" y="2550909"/>
                    </a:lnTo>
                    <a:lnTo>
                      <a:pt x="7901675" y="2550054"/>
                    </a:lnTo>
                    <a:lnTo>
                      <a:pt x="7904543" y="2549646"/>
                    </a:lnTo>
                    <a:lnTo>
                      <a:pt x="7905702" y="2549118"/>
                    </a:lnTo>
                    <a:lnTo>
                      <a:pt x="7906655" y="2548091"/>
                    </a:lnTo>
                    <a:lnTo>
                      <a:pt x="7903517" y="2546835"/>
                    </a:lnTo>
                    <a:lnTo>
                      <a:pt x="7900953" y="2547508"/>
                    </a:lnTo>
                    <a:lnTo>
                      <a:pt x="7899009" y="2549445"/>
                    </a:lnTo>
                    <a:lnTo>
                      <a:pt x="7897729" y="2552004"/>
                    </a:lnTo>
                    <a:lnTo>
                      <a:pt x="7898961" y="2554306"/>
                    </a:lnTo>
                    <a:lnTo>
                      <a:pt x="7896713" y="2555749"/>
                    </a:lnTo>
                    <a:lnTo>
                      <a:pt x="7893637" y="2556769"/>
                    </a:lnTo>
                    <a:lnTo>
                      <a:pt x="7892331" y="2557764"/>
                    </a:lnTo>
                    <a:lnTo>
                      <a:pt x="7892983" y="2561811"/>
                    </a:lnTo>
                    <a:lnTo>
                      <a:pt x="7891108" y="2563280"/>
                    </a:lnTo>
                    <a:lnTo>
                      <a:pt x="7887923" y="2563144"/>
                    </a:lnTo>
                    <a:lnTo>
                      <a:pt x="7866224" y="2556722"/>
                    </a:lnTo>
                    <a:lnTo>
                      <a:pt x="7851059" y="2549787"/>
                    </a:lnTo>
                    <a:lnTo>
                      <a:pt x="7848438" y="2547899"/>
                    </a:lnTo>
                    <a:lnTo>
                      <a:pt x="7847520" y="2546870"/>
                    </a:lnTo>
                    <a:lnTo>
                      <a:pt x="7845885" y="2544345"/>
                    </a:lnTo>
                    <a:lnTo>
                      <a:pt x="7845226" y="2543476"/>
                    </a:lnTo>
                    <a:lnTo>
                      <a:pt x="7843966" y="2542474"/>
                    </a:lnTo>
                    <a:lnTo>
                      <a:pt x="7834612" y="2537946"/>
                    </a:lnTo>
                    <a:lnTo>
                      <a:pt x="7832929" y="2537881"/>
                    </a:lnTo>
                    <a:lnTo>
                      <a:pt x="7832070" y="2537097"/>
                    </a:lnTo>
                    <a:lnTo>
                      <a:pt x="7830694" y="2533373"/>
                    </a:lnTo>
                    <a:lnTo>
                      <a:pt x="7829805" y="2532611"/>
                    </a:lnTo>
                    <a:lnTo>
                      <a:pt x="7827529" y="2531903"/>
                    </a:lnTo>
                    <a:lnTo>
                      <a:pt x="7824151" y="2529989"/>
                    </a:lnTo>
                    <a:lnTo>
                      <a:pt x="7820866" y="2527605"/>
                    </a:lnTo>
                    <a:lnTo>
                      <a:pt x="7818801" y="2525545"/>
                    </a:lnTo>
                    <a:lnTo>
                      <a:pt x="7821813" y="2523824"/>
                    </a:lnTo>
                    <a:lnTo>
                      <a:pt x="7823509" y="2523212"/>
                    </a:lnTo>
                    <a:lnTo>
                      <a:pt x="7825501" y="2523246"/>
                    </a:lnTo>
                    <a:lnTo>
                      <a:pt x="7828777" y="2526068"/>
                    </a:lnTo>
                    <a:lnTo>
                      <a:pt x="7830749" y="2527119"/>
                    </a:lnTo>
                    <a:lnTo>
                      <a:pt x="7831852" y="2525884"/>
                    </a:lnTo>
                    <a:lnTo>
                      <a:pt x="7834120" y="2525331"/>
                    </a:lnTo>
                    <a:lnTo>
                      <a:pt x="7838034" y="2526185"/>
                    </a:lnTo>
                    <a:lnTo>
                      <a:pt x="7840325" y="2525451"/>
                    </a:lnTo>
                    <a:lnTo>
                      <a:pt x="7837658" y="2520097"/>
                    </a:lnTo>
                    <a:lnTo>
                      <a:pt x="7827870" y="2509235"/>
                    </a:lnTo>
                    <a:lnTo>
                      <a:pt x="7827230" y="2507300"/>
                    </a:lnTo>
                    <a:lnTo>
                      <a:pt x="7828100" y="2506281"/>
                    </a:lnTo>
                    <a:lnTo>
                      <a:pt x="7828243" y="2504327"/>
                    </a:lnTo>
                    <a:lnTo>
                      <a:pt x="7827753" y="2502440"/>
                    </a:lnTo>
                    <a:lnTo>
                      <a:pt x="7826809" y="2501677"/>
                    </a:lnTo>
                    <a:lnTo>
                      <a:pt x="7825648" y="2502295"/>
                    </a:lnTo>
                    <a:lnTo>
                      <a:pt x="7823220" y="2505117"/>
                    </a:lnTo>
                    <a:lnTo>
                      <a:pt x="7822570" y="2506368"/>
                    </a:lnTo>
                    <a:lnTo>
                      <a:pt x="7822620" y="2513933"/>
                    </a:lnTo>
                    <a:lnTo>
                      <a:pt x="7821621" y="2517190"/>
                    </a:lnTo>
                    <a:lnTo>
                      <a:pt x="7818456" y="2516314"/>
                    </a:lnTo>
                    <a:lnTo>
                      <a:pt x="7814087" y="2513720"/>
                    </a:lnTo>
                    <a:lnTo>
                      <a:pt x="7810575" y="2513344"/>
                    </a:lnTo>
                    <a:lnTo>
                      <a:pt x="7805719" y="2514378"/>
                    </a:lnTo>
                    <a:lnTo>
                      <a:pt x="7804129" y="2513995"/>
                    </a:lnTo>
                    <a:lnTo>
                      <a:pt x="7795987" y="2510601"/>
                    </a:lnTo>
                    <a:lnTo>
                      <a:pt x="7792202" y="2509543"/>
                    </a:lnTo>
                    <a:lnTo>
                      <a:pt x="7789975" y="2508584"/>
                    </a:lnTo>
                    <a:lnTo>
                      <a:pt x="7787917" y="2508076"/>
                    </a:lnTo>
                    <a:lnTo>
                      <a:pt x="7785173" y="2508054"/>
                    </a:lnTo>
                    <a:lnTo>
                      <a:pt x="7782693" y="2508571"/>
                    </a:lnTo>
                    <a:lnTo>
                      <a:pt x="7781432" y="2509698"/>
                    </a:lnTo>
                    <a:lnTo>
                      <a:pt x="7780794" y="2510041"/>
                    </a:lnTo>
                    <a:lnTo>
                      <a:pt x="7779604" y="2509893"/>
                    </a:lnTo>
                    <a:lnTo>
                      <a:pt x="7778394" y="2509417"/>
                    </a:lnTo>
                    <a:lnTo>
                      <a:pt x="7777681" y="2508768"/>
                    </a:lnTo>
                    <a:lnTo>
                      <a:pt x="7777388" y="2507304"/>
                    </a:lnTo>
                    <a:lnTo>
                      <a:pt x="7777604" y="2506229"/>
                    </a:lnTo>
                    <a:lnTo>
                      <a:pt x="7778164" y="2505219"/>
                    </a:lnTo>
                    <a:lnTo>
                      <a:pt x="7777962" y="2503230"/>
                    </a:lnTo>
                    <a:lnTo>
                      <a:pt x="7778236" y="2501869"/>
                    </a:lnTo>
                    <a:lnTo>
                      <a:pt x="7778022" y="2500430"/>
                    </a:lnTo>
                    <a:lnTo>
                      <a:pt x="7776326" y="2498263"/>
                    </a:lnTo>
                    <a:lnTo>
                      <a:pt x="7779628" y="2497174"/>
                    </a:lnTo>
                    <a:lnTo>
                      <a:pt x="7776284" y="2494125"/>
                    </a:lnTo>
                    <a:lnTo>
                      <a:pt x="7771476" y="2492980"/>
                    </a:lnTo>
                    <a:lnTo>
                      <a:pt x="7770370" y="2497620"/>
                    </a:lnTo>
                    <a:lnTo>
                      <a:pt x="7772169" y="2497387"/>
                    </a:lnTo>
                    <a:lnTo>
                      <a:pt x="7772709" y="2498734"/>
                    </a:lnTo>
                    <a:lnTo>
                      <a:pt x="7767845" y="2499180"/>
                    </a:lnTo>
                    <a:lnTo>
                      <a:pt x="7766225" y="2498218"/>
                    </a:lnTo>
                    <a:lnTo>
                      <a:pt x="7766623" y="2495392"/>
                    </a:lnTo>
                    <a:lnTo>
                      <a:pt x="7764881" y="2493560"/>
                    </a:lnTo>
                    <a:lnTo>
                      <a:pt x="7763333" y="2492927"/>
                    </a:lnTo>
                    <a:lnTo>
                      <a:pt x="7762134" y="2493328"/>
                    </a:lnTo>
                    <a:lnTo>
                      <a:pt x="7761444" y="2494530"/>
                    </a:lnTo>
                    <a:lnTo>
                      <a:pt x="7763357" y="2501483"/>
                    </a:lnTo>
                    <a:lnTo>
                      <a:pt x="7762838" y="2505801"/>
                    </a:lnTo>
                    <a:lnTo>
                      <a:pt x="7760584" y="2508411"/>
                    </a:lnTo>
                    <a:lnTo>
                      <a:pt x="7756983" y="2508775"/>
                    </a:lnTo>
                    <a:lnTo>
                      <a:pt x="7748781" y="2504472"/>
                    </a:lnTo>
                    <a:lnTo>
                      <a:pt x="7739510" y="2502152"/>
                    </a:lnTo>
                    <a:lnTo>
                      <a:pt x="7736348" y="2502020"/>
                    </a:lnTo>
                    <a:lnTo>
                      <a:pt x="7735157" y="2501516"/>
                    </a:lnTo>
                    <a:lnTo>
                      <a:pt x="7730993" y="2499127"/>
                    </a:lnTo>
                    <a:lnTo>
                      <a:pt x="7729320" y="2498677"/>
                    </a:lnTo>
                    <a:lnTo>
                      <a:pt x="7724557" y="2498487"/>
                    </a:lnTo>
                    <a:lnTo>
                      <a:pt x="7721907" y="2497967"/>
                    </a:lnTo>
                    <a:lnTo>
                      <a:pt x="7719687" y="2497215"/>
                    </a:lnTo>
                    <a:lnTo>
                      <a:pt x="7719155" y="2495868"/>
                    </a:lnTo>
                    <a:lnTo>
                      <a:pt x="7721825" y="2494895"/>
                    </a:lnTo>
                    <a:lnTo>
                      <a:pt x="7724226" y="2492085"/>
                    </a:lnTo>
                    <a:lnTo>
                      <a:pt x="7724993" y="2488373"/>
                    </a:lnTo>
                    <a:lnTo>
                      <a:pt x="7722805" y="2484738"/>
                    </a:lnTo>
                    <a:lnTo>
                      <a:pt x="7720447" y="2482684"/>
                    </a:lnTo>
                    <a:lnTo>
                      <a:pt x="7720572" y="2482145"/>
                    </a:lnTo>
                    <a:lnTo>
                      <a:pt x="7721392" y="2481535"/>
                    </a:lnTo>
                    <a:lnTo>
                      <a:pt x="7721071" y="2479176"/>
                    </a:lnTo>
                    <a:lnTo>
                      <a:pt x="7721074" y="2477264"/>
                    </a:lnTo>
                    <a:lnTo>
                      <a:pt x="7722433" y="2476078"/>
                    </a:lnTo>
                    <a:lnTo>
                      <a:pt x="7726149" y="2475061"/>
                    </a:lnTo>
                    <a:lnTo>
                      <a:pt x="7751151" y="2472531"/>
                    </a:lnTo>
                    <a:lnTo>
                      <a:pt x="7758794" y="2466453"/>
                    </a:lnTo>
                    <a:lnTo>
                      <a:pt x="7759335" y="2465724"/>
                    </a:lnTo>
                    <a:lnTo>
                      <a:pt x="7759636" y="2464210"/>
                    </a:lnTo>
                    <a:lnTo>
                      <a:pt x="7760333" y="2463419"/>
                    </a:lnTo>
                    <a:lnTo>
                      <a:pt x="7767570" y="2462473"/>
                    </a:lnTo>
                    <a:lnTo>
                      <a:pt x="7770080" y="2461478"/>
                    </a:lnTo>
                    <a:lnTo>
                      <a:pt x="7773004" y="2459154"/>
                    </a:lnTo>
                    <a:lnTo>
                      <a:pt x="7774543" y="2455849"/>
                    </a:lnTo>
                    <a:lnTo>
                      <a:pt x="7772875" y="2451869"/>
                    </a:lnTo>
                    <a:lnTo>
                      <a:pt x="7771226" y="2452254"/>
                    </a:lnTo>
                    <a:lnTo>
                      <a:pt x="7767033" y="2458395"/>
                    </a:lnTo>
                    <a:lnTo>
                      <a:pt x="7764767" y="2460133"/>
                    </a:lnTo>
                    <a:lnTo>
                      <a:pt x="7757127" y="2461132"/>
                    </a:lnTo>
                    <a:lnTo>
                      <a:pt x="7755742" y="2461701"/>
                    </a:lnTo>
                    <a:lnTo>
                      <a:pt x="7753619" y="2463748"/>
                    </a:lnTo>
                    <a:lnTo>
                      <a:pt x="7752230" y="2464477"/>
                    </a:lnTo>
                    <a:lnTo>
                      <a:pt x="7749849" y="2464559"/>
                    </a:lnTo>
                    <a:lnTo>
                      <a:pt x="7745023" y="2463190"/>
                    </a:lnTo>
                    <a:lnTo>
                      <a:pt x="7742694" y="2463013"/>
                    </a:lnTo>
                    <a:lnTo>
                      <a:pt x="7728868" y="2464224"/>
                    </a:lnTo>
                    <a:lnTo>
                      <a:pt x="7724480" y="2462973"/>
                    </a:lnTo>
                    <a:lnTo>
                      <a:pt x="7720321" y="2460403"/>
                    </a:lnTo>
                    <a:lnTo>
                      <a:pt x="7716722" y="2456355"/>
                    </a:lnTo>
                    <a:lnTo>
                      <a:pt x="7720310" y="2452978"/>
                    </a:lnTo>
                    <a:lnTo>
                      <a:pt x="7722308" y="2451777"/>
                    </a:lnTo>
                    <a:lnTo>
                      <a:pt x="7728166" y="2450420"/>
                    </a:lnTo>
                    <a:lnTo>
                      <a:pt x="7729480" y="2449600"/>
                    </a:lnTo>
                    <a:lnTo>
                      <a:pt x="7729645" y="2448266"/>
                    </a:lnTo>
                    <a:lnTo>
                      <a:pt x="7728859" y="2444847"/>
                    </a:lnTo>
                    <a:lnTo>
                      <a:pt x="7728064" y="2443005"/>
                    </a:lnTo>
                    <a:lnTo>
                      <a:pt x="7726793" y="2442336"/>
                    </a:lnTo>
                    <a:lnTo>
                      <a:pt x="7725833" y="2442916"/>
                    </a:lnTo>
                    <a:lnTo>
                      <a:pt x="7724372" y="2445043"/>
                    </a:lnTo>
                    <a:lnTo>
                      <a:pt x="7723258" y="2445624"/>
                    </a:lnTo>
                    <a:lnTo>
                      <a:pt x="7719517" y="2445150"/>
                    </a:lnTo>
                    <a:lnTo>
                      <a:pt x="7718159" y="2445402"/>
                    </a:lnTo>
                    <a:lnTo>
                      <a:pt x="7717325" y="2447101"/>
                    </a:lnTo>
                    <a:lnTo>
                      <a:pt x="7715870" y="2447617"/>
                    </a:lnTo>
                    <a:lnTo>
                      <a:pt x="7713011" y="2446278"/>
                    </a:lnTo>
                    <a:lnTo>
                      <a:pt x="7709968" y="2444232"/>
                    </a:lnTo>
                    <a:lnTo>
                      <a:pt x="7703463" y="2438364"/>
                    </a:lnTo>
                    <a:lnTo>
                      <a:pt x="7702073" y="2436314"/>
                    </a:lnTo>
                    <a:lnTo>
                      <a:pt x="7700711" y="2433015"/>
                    </a:lnTo>
                    <a:lnTo>
                      <a:pt x="7699493" y="2427393"/>
                    </a:lnTo>
                    <a:lnTo>
                      <a:pt x="7699578" y="2425918"/>
                    </a:lnTo>
                    <a:lnTo>
                      <a:pt x="7700572" y="2423013"/>
                    </a:lnTo>
                    <a:lnTo>
                      <a:pt x="7704168" y="2418947"/>
                    </a:lnTo>
                    <a:lnTo>
                      <a:pt x="7715482" y="2416147"/>
                    </a:lnTo>
                    <a:lnTo>
                      <a:pt x="7718819" y="2412185"/>
                    </a:lnTo>
                    <a:lnTo>
                      <a:pt x="7715859" y="2411940"/>
                    </a:lnTo>
                    <a:lnTo>
                      <a:pt x="7705138" y="2413487"/>
                    </a:lnTo>
                    <a:lnTo>
                      <a:pt x="7702583" y="2415005"/>
                    </a:lnTo>
                    <a:lnTo>
                      <a:pt x="7700488" y="2417270"/>
                    </a:lnTo>
                    <a:lnTo>
                      <a:pt x="7691619" y="2419957"/>
                    </a:lnTo>
                    <a:lnTo>
                      <a:pt x="7683780" y="2420523"/>
                    </a:lnTo>
                    <a:lnTo>
                      <a:pt x="7681621" y="2419834"/>
                    </a:lnTo>
                    <a:lnTo>
                      <a:pt x="7672960" y="2413131"/>
                    </a:lnTo>
                    <a:lnTo>
                      <a:pt x="7671320" y="2412561"/>
                    </a:lnTo>
                    <a:lnTo>
                      <a:pt x="7670489" y="2410222"/>
                    </a:lnTo>
                    <a:lnTo>
                      <a:pt x="7667724" y="2399335"/>
                    </a:lnTo>
                    <a:lnTo>
                      <a:pt x="7666286" y="2396293"/>
                    </a:lnTo>
                    <a:lnTo>
                      <a:pt x="7667509" y="2395035"/>
                    </a:lnTo>
                    <a:lnTo>
                      <a:pt x="7669138" y="2394439"/>
                    </a:lnTo>
                    <a:lnTo>
                      <a:pt x="7672978" y="2394018"/>
                    </a:lnTo>
                    <a:lnTo>
                      <a:pt x="7673857" y="2393645"/>
                    </a:lnTo>
                    <a:lnTo>
                      <a:pt x="7675110" y="2392424"/>
                    </a:lnTo>
                    <a:lnTo>
                      <a:pt x="7675930" y="2392225"/>
                    </a:lnTo>
                    <a:lnTo>
                      <a:pt x="7676911" y="2392645"/>
                    </a:lnTo>
                    <a:lnTo>
                      <a:pt x="7679204" y="2394221"/>
                    </a:lnTo>
                    <a:lnTo>
                      <a:pt x="7681622" y="2394892"/>
                    </a:lnTo>
                    <a:lnTo>
                      <a:pt x="7683453" y="2396067"/>
                    </a:lnTo>
                    <a:lnTo>
                      <a:pt x="7686517" y="2398613"/>
                    </a:lnTo>
                    <a:lnTo>
                      <a:pt x="7688757" y="2399742"/>
                    </a:lnTo>
                    <a:lnTo>
                      <a:pt x="7695972" y="2399622"/>
                    </a:lnTo>
                    <a:lnTo>
                      <a:pt x="7732583" y="2411218"/>
                    </a:lnTo>
                    <a:lnTo>
                      <a:pt x="7738850" y="2412391"/>
                    </a:lnTo>
                    <a:lnTo>
                      <a:pt x="7740629" y="2413430"/>
                    </a:lnTo>
                    <a:lnTo>
                      <a:pt x="7744735" y="2416520"/>
                    </a:lnTo>
                    <a:lnTo>
                      <a:pt x="7745933" y="2417095"/>
                    </a:lnTo>
                    <a:lnTo>
                      <a:pt x="7749056" y="2418150"/>
                    </a:lnTo>
                    <a:lnTo>
                      <a:pt x="7757130" y="2423778"/>
                    </a:lnTo>
                    <a:lnTo>
                      <a:pt x="7760998" y="2425148"/>
                    </a:lnTo>
                    <a:lnTo>
                      <a:pt x="7762428" y="2424850"/>
                    </a:lnTo>
                    <a:lnTo>
                      <a:pt x="7764022" y="2424033"/>
                    </a:lnTo>
                    <a:lnTo>
                      <a:pt x="7765186" y="2422884"/>
                    </a:lnTo>
                    <a:lnTo>
                      <a:pt x="7765300" y="2421621"/>
                    </a:lnTo>
                    <a:lnTo>
                      <a:pt x="7763967" y="2421107"/>
                    </a:lnTo>
                    <a:lnTo>
                      <a:pt x="7753539" y="2419145"/>
                    </a:lnTo>
                    <a:lnTo>
                      <a:pt x="7750126" y="2416771"/>
                    </a:lnTo>
                    <a:lnTo>
                      <a:pt x="7744209" y="2411687"/>
                    </a:lnTo>
                    <a:lnTo>
                      <a:pt x="7738922" y="2408146"/>
                    </a:lnTo>
                    <a:lnTo>
                      <a:pt x="7736680" y="2405797"/>
                    </a:lnTo>
                    <a:lnTo>
                      <a:pt x="7735851" y="2402882"/>
                    </a:lnTo>
                    <a:lnTo>
                      <a:pt x="7733438" y="2403899"/>
                    </a:lnTo>
                    <a:lnTo>
                      <a:pt x="7729304" y="2403742"/>
                    </a:lnTo>
                    <a:lnTo>
                      <a:pt x="7725068" y="2402336"/>
                    </a:lnTo>
                    <a:lnTo>
                      <a:pt x="7722370" y="2399576"/>
                    </a:lnTo>
                    <a:lnTo>
                      <a:pt x="7705563" y="2395429"/>
                    </a:lnTo>
                    <a:lnTo>
                      <a:pt x="7698528" y="2390753"/>
                    </a:lnTo>
                    <a:lnTo>
                      <a:pt x="7695140" y="2389134"/>
                    </a:lnTo>
                    <a:lnTo>
                      <a:pt x="7687789" y="2388426"/>
                    </a:lnTo>
                    <a:lnTo>
                      <a:pt x="7682935" y="2386955"/>
                    </a:lnTo>
                    <a:lnTo>
                      <a:pt x="7678108" y="2384833"/>
                    </a:lnTo>
                    <a:lnTo>
                      <a:pt x="7674847" y="2382491"/>
                    </a:lnTo>
                    <a:lnTo>
                      <a:pt x="7671791" y="2377106"/>
                    </a:lnTo>
                    <a:lnTo>
                      <a:pt x="7663352" y="2358107"/>
                    </a:lnTo>
                    <a:lnTo>
                      <a:pt x="7662147" y="2353006"/>
                    </a:lnTo>
                    <a:lnTo>
                      <a:pt x="7663615" y="2352337"/>
                    </a:lnTo>
                    <a:lnTo>
                      <a:pt x="7670675" y="2353308"/>
                    </a:lnTo>
                    <a:lnTo>
                      <a:pt x="7678672" y="2352263"/>
                    </a:lnTo>
                    <a:lnTo>
                      <a:pt x="7682990" y="2352589"/>
                    </a:lnTo>
                    <a:lnTo>
                      <a:pt x="7691727" y="2355413"/>
                    </a:lnTo>
                    <a:lnTo>
                      <a:pt x="7695986" y="2355770"/>
                    </a:lnTo>
                    <a:lnTo>
                      <a:pt x="7696985" y="2355336"/>
                    </a:lnTo>
                    <a:lnTo>
                      <a:pt x="7698629" y="2353959"/>
                    </a:lnTo>
                    <a:lnTo>
                      <a:pt x="7699911" y="2353698"/>
                    </a:lnTo>
                    <a:lnTo>
                      <a:pt x="7701529" y="2354058"/>
                    </a:lnTo>
                    <a:lnTo>
                      <a:pt x="7705270" y="2355415"/>
                    </a:lnTo>
                    <a:lnTo>
                      <a:pt x="7720226" y="2357866"/>
                    </a:lnTo>
                    <a:lnTo>
                      <a:pt x="7722425" y="2357078"/>
                    </a:lnTo>
                    <a:lnTo>
                      <a:pt x="7720718" y="2355630"/>
                    </a:lnTo>
                    <a:lnTo>
                      <a:pt x="7711816" y="2351776"/>
                    </a:lnTo>
                    <a:lnTo>
                      <a:pt x="7708730" y="2351124"/>
                    </a:lnTo>
                    <a:lnTo>
                      <a:pt x="7660713" y="2350237"/>
                    </a:lnTo>
                    <a:lnTo>
                      <a:pt x="7658724" y="2351604"/>
                    </a:lnTo>
                    <a:lnTo>
                      <a:pt x="7658243" y="2354396"/>
                    </a:lnTo>
                    <a:lnTo>
                      <a:pt x="7658958" y="2359047"/>
                    </a:lnTo>
                    <a:lnTo>
                      <a:pt x="7659678" y="2360255"/>
                    </a:lnTo>
                    <a:lnTo>
                      <a:pt x="7660969" y="2362969"/>
                    </a:lnTo>
                    <a:lnTo>
                      <a:pt x="7661366" y="2364916"/>
                    </a:lnTo>
                    <a:lnTo>
                      <a:pt x="7659406" y="2363868"/>
                    </a:lnTo>
                    <a:lnTo>
                      <a:pt x="7658045" y="2362828"/>
                    </a:lnTo>
                    <a:lnTo>
                      <a:pt x="7655279" y="2361170"/>
                    </a:lnTo>
                    <a:lnTo>
                      <a:pt x="7653542" y="2359749"/>
                    </a:lnTo>
                    <a:lnTo>
                      <a:pt x="7654391" y="2363753"/>
                    </a:lnTo>
                    <a:lnTo>
                      <a:pt x="7659321" y="2371211"/>
                    </a:lnTo>
                    <a:lnTo>
                      <a:pt x="7660037" y="2375956"/>
                    </a:lnTo>
                    <a:lnTo>
                      <a:pt x="7658019" y="2380097"/>
                    </a:lnTo>
                    <a:lnTo>
                      <a:pt x="7654420" y="2379679"/>
                    </a:lnTo>
                    <a:lnTo>
                      <a:pt x="7650143" y="2376603"/>
                    </a:lnTo>
                    <a:lnTo>
                      <a:pt x="7642869" y="2369958"/>
                    </a:lnTo>
                    <a:lnTo>
                      <a:pt x="7630759" y="2360488"/>
                    </a:lnTo>
                    <a:lnTo>
                      <a:pt x="7629557" y="2359308"/>
                    </a:lnTo>
                    <a:lnTo>
                      <a:pt x="7628510" y="2357781"/>
                    </a:lnTo>
                    <a:lnTo>
                      <a:pt x="7627429" y="2355446"/>
                    </a:lnTo>
                    <a:lnTo>
                      <a:pt x="7625994" y="2354028"/>
                    </a:lnTo>
                    <a:lnTo>
                      <a:pt x="7618647" y="2350039"/>
                    </a:lnTo>
                    <a:lnTo>
                      <a:pt x="7623092" y="2343572"/>
                    </a:lnTo>
                    <a:lnTo>
                      <a:pt x="7624995" y="2342320"/>
                    </a:lnTo>
                    <a:lnTo>
                      <a:pt x="7627356" y="2342301"/>
                    </a:lnTo>
                    <a:lnTo>
                      <a:pt x="7629401" y="2343715"/>
                    </a:lnTo>
                    <a:lnTo>
                      <a:pt x="7631666" y="2345848"/>
                    </a:lnTo>
                    <a:lnTo>
                      <a:pt x="7634720" y="2347971"/>
                    </a:lnTo>
                    <a:lnTo>
                      <a:pt x="7638070" y="2349678"/>
                    </a:lnTo>
                    <a:lnTo>
                      <a:pt x="7640691" y="2350649"/>
                    </a:lnTo>
                    <a:lnTo>
                      <a:pt x="7641887" y="2350075"/>
                    </a:lnTo>
                    <a:lnTo>
                      <a:pt x="7641018" y="2347157"/>
                    </a:lnTo>
                    <a:lnTo>
                      <a:pt x="7637314" y="2340780"/>
                    </a:lnTo>
                    <a:lnTo>
                      <a:pt x="7637092" y="2338343"/>
                    </a:lnTo>
                    <a:lnTo>
                      <a:pt x="7639298" y="2336110"/>
                    </a:lnTo>
                    <a:lnTo>
                      <a:pt x="7638814" y="2334906"/>
                    </a:lnTo>
                    <a:lnTo>
                      <a:pt x="7630541" y="2335565"/>
                    </a:lnTo>
                    <a:lnTo>
                      <a:pt x="7626640" y="2333887"/>
                    </a:lnTo>
                    <a:lnTo>
                      <a:pt x="7622885" y="2327748"/>
                    </a:lnTo>
                    <a:lnTo>
                      <a:pt x="7623749" y="2324348"/>
                    </a:lnTo>
                    <a:lnTo>
                      <a:pt x="7626227" y="2319976"/>
                    </a:lnTo>
                    <a:lnTo>
                      <a:pt x="7627311" y="2316104"/>
                    </a:lnTo>
                    <a:lnTo>
                      <a:pt x="7623960" y="2314182"/>
                    </a:lnTo>
                    <a:lnTo>
                      <a:pt x="7623373" y="2312723"/>
                    </a:lnTo>
                    <a:lnTo>
                      <a:pt x="7625881" y="2311518"/>
                    </a:lnTo>
                    <a:lnTo>
                      <a:pt x="7626901" y="2310623"/>
                    </a:lnTo>
                    <a:lnTo>
                      <a:pt x="7627811" y="2309456"/>
                    </a:lnTo>
                    <a:lnTo>
                      <a:pt x="7626260" y="2308123"/>
                    </a:lnTo>
                    <a:lnTo>
                      <a:pt x="7624480" y="2309762"/>
                    </a:lnTo>
                    <a:lnTo>
                      <a:pt x="7618065" y="2313411"/>
                    </a:lnTo>
                    <a:lnTo>
                      <a:pt x="7618650" y="2314869"/>
                    </a:lnTo>
                    <a:lnTo>
                      <a:pt x="7621386" y="2316100"/>
                    </a:lnTo>
                    <a:lnTo>
                      <a:pt x="7621554" y="2318879"/>
                    </a:lnTo>
                    <a:lnTo>
                      <a:pt x="7618395" y="2331932"/>
                    </a:lnTo>
                    <a:lnTo>
                      <a:pt x="7619213" y="2335072"/>
                    </a:lnTo>
                    <a:lnTo>
                      <a:pt x="7622448" y="2338286"/>
                    </a:lnTo>
                    <a:lnTo>
                      <a:pt x="7615870" y="2344164"/>
                    </a:lnTo>
                    <a:lnTo>
                      <a:pt x="7613456" y="2345077"/>
                    </a:lnTo>
                    <a:lnTo>
                      <a:pt x="7610347" y="2345510"/>
                    </a:lnTo>
                    <a:lnTo>
                      <a:pt x="7608938" y="2345321"/>
                    </a:lnTo>
                    <a:lnTo>
                      <a:pt x="7607154" y="2344612"/>
                    </a:lnTo>
                    <a:lnTo>
                      <a:pt x="7606284" y="2344018"/>
                    </a:lnTo>
                    <a:lnTo>
                      <a:pt x="7605085" y="2342721"/>
                    </a:lnTo>
                    <a:lnTo>
                      <a:pt x="7604321" y="2342158"/>
                    </a:lnTo>
                    <a:lnTo>
                      <a:pt x="7603298" y="2341835"/>
                    </a:lnTo>
                    <a:lnTo>
                      <a:pt x="7601063" y="2341500"/>
                    </a:lnTo>
                    <a:lnTo>
                      <a:pt x="7600182" y="2341144"/>
                    </a:lnTo>
                    <a:lnTo>
                      <a:pt x="7598743" y="2339534"/>
                    </a:lnTo>
                    <a:lnTo>
                      <a:pt x="7598017" y="2337791"/>
                    </a:lnTo>
                    <a:lnTo>
                      <a:pt x="7597285" y="2336477"/>
                    </a:lnTo>
                    <a:lnTo>
                      <a:pt x="7595845" y="2336083"/>
                    </a:lnTo>
                    <a:lnTo>
                      <a:pt x="7593975" y="2336146"/>
                    </a:lnTo>
                    <a:lnTo>
                      <a:pt x="7592471" y="2335642"/>
                    </a:lnTo>
                    <a:lnTo>
                      <a:pt x="7591191" y="2334339"/>
                    </a:lnTo>
                    <a:lnTo>
                      <a:pt x="7590014" y="2331968"/>
                    </a:lnTo>
                    <a:lnTo>
                      <a:pt x="7588623" y="2330269"/>
                    </a:lnTo>
                    <a:lnTo>
                      <a:pt x="7586962" y="2330279"/>
                    </a:lnTo>
                    <a:lnTo>
                      <a:pt x="7585292" y="2330828"/>
                    </a:lnTo>
                    <a:lnTo>
                      <a:pt x="7583846" y="2330711"/>
                    </a:lnTo>
                    <a:lnTo>
                      <a:pt x="7582769" y="2329407"/>
                    </a:lnTo>
                    <a:lnTo>
                      <a:pt x="7578959" y="2322891"/>
                    </a:lnTo>
                    <a:lnTo>
                      <a:pt x="7581123" y="2323058"/>
                    </a:lnTo>
                    <a:lnTo>
                      <a:pt x="7582072" y="2322359"/>
                    </a:lnTo>
                    <a:lnTo>
                      <a:pt x="7582079" y="2321120"/>
                    </a:lnTo>
                    <a:lnTo>
                      <a:pt x="7581403" y="2319656"/>
                    </a:lnTo>
                    <a:lnTo>
                      <a:pt x="7580073" y="2318344"/>
                    </a:lnTo>
                    <a:lnTo>
                      <a:pt x="7576518" y="2316410"/>
                    </a:lnTo>
                    <a:lnTo>
                      <a:pt x="7574726" y="2314755"/>
                    </a:lnTo>
                    <a:lnTo>
                      <a:pt x="7573650" y="2313159"/>
                    </a:lnTo>
                    <a:lnTo>
                      <a:pt x="7572464" y="2311008"/>
                    </a:lnTo>
                    <a:lnTo>
                      <a:pt x="7571411" y="2308748"/>
                    </a:lnTo>
                    <a:lnTo>
                      <a:pt x="7570744" y="2306841"/>
                    </a:lnTo>
                    <a:lnTo>
                      <a:pt x="7570437" y="2304427"/>
                    </a:lnTo>
                    <a:lnTo>
                      <a:pt x="7570824" y="2303072"/>
                    </a:lnTo>
                    <a:lnTo>
                      <a:pt x="7571367" y="2301806"/>
                    </a:lnTo>
                    <a:lnTo>
                      <a:pt x="7571542" y="2299715"/>
                    </a:lnTo>
                    <a:lnTo>
                      <a:pt x="7571145" y="2297799"/>
                    </a:lnTo>
                    <a:lnTo>
                      <a:pt x="7570403" y="2296269"/>
                    </a:lnTo>
                    <a:lnTo>
                      <a:pt x="7569562" y="2294795"/>
                    </a:lnTo>
                    <a:lnTo>
                      <a:pt x="7568879" y="2293024"/>
                    </a:lnTo>
                    <a:lnTo>
                      <a:pt x="7568398" y="2292341"/>
                    </a:lnTo>
                    <a:lnTo>
                      <a:pt x="7567541" y="2291438"/>
                    </a:lnTo>
                    <a:lnTo>
                      <a:pt x="7566735" y="2290361"/>
                    </a:lnTo>
                    <a:lnTo>
                      <a:pt x="7566398" y="2289124"/>
                    </a:lnTo>
                    <a:lnTo>
                      <a:pt x="7567047" y="2288312"/>
                    </a:lnTo>
                    <a:lnTo>
                      <a:pt x="7570883" y="2288549"/>
                    </a:lnTo>
                    <a:lnTo>
                      <a:pt x="7572937" y="2286385"/>
                    </a:lnTo>
                    <a:lnTo>
                      <a:pt x="7574582" y="2283865"/>
                    </a:lnTo>
                    <a:lnTo>
                      <a:pt x="7574883" y="2281757"/>
                    </a:lnTo>
                    <a:lnTo>
                      <a:pt x="7574457" y="2280732"/>
                    </a:lnTo>
                    <a:lnTo>
                      <a:pt x="7573565" y="2279927"/>
                    </a:lnTo>
                    <a:lnTo>
                      <a:pt x="7572449" y="2278529"/>
                    </a:lnTo>
                    <a:lnTo>
                      <a:pt x="7567418" y="2271041"/>
                    </a:lnTo>
                    <a:lnTo>
                      <a:pt x="7565329" y="2267226"/>
                    </a:lnTo>
                    <a:lnTo>
                      <a:pt x="7564756" y="2263937"/>
                    </a:lnTo>
                    <a:lnTo>
                      <a:pt x="7565432" y="2263063"/>
                    </a:lnTo>
                    <a:lnTo>
                      <a:pt x="7568135" y="2261560"/>
                    </a:lnTo>
                    <a:lnTo>
                      <a:pt x="7569040" y="2260590"/>
                    </a:lnTo>
                    <a:lnTo>
                      <a:pt x="7569651" y="2258336"/>
                    </a:lnTo>
                    <a:lnTo>
                      <a:pt x="7569366" y="2256958"/>
                    </a:lnTo>
                    <a:lnTo>
                      <a:pt x="7568678" y="2255666"/>
                    </a:lnTo>
                    <a:lnTo>
                      <a:pt x="7568043" y="2253690"/>
                    </a:lnTo>
                    <a:lnTo>
                      <a:pt x="7568634" y="2245147"/>
                    </a:lnTo>
                    <a:lnTo>
                      <a:pt x="7573230" y="2241898"/>
                    </a:lnTo>
                    <a:lnTo>
                      <a:pt x="7586020" y="2238587"/>
                    </a:lnTo>
                    <a:lnTo>
                      <a:pt x="7585530" y="2237378"/>
                    </a:lnTo>
                    <a:lnTo>
                      <a:pt x="7570643" y="2239313"/>
                    </a:lnTo>
                    <a:lnTo>
                      <a:pt x="7565172" y="2241193"/>
                    </a:lnTo>
                    <a:lnTo>
                      <a:pt x="7562366" y="2242852"/>
                    </a:lnTo>
                    <a:lnTo>
                      <a:pt x="7560794" y="2244662"/>
                    </a:lnTo>
                    <a:lnTo>
                      <a:pt x="7561404" y="2248121"/>
                    </a:lnTo>
                    <a:lnTo>
                      <a:pt x="7565357" y="2255367"/>
                    </a:lnTo>
                    <a:lnTo>
                      <a:pt x="7564285" y="2256986"/>
                    </a:lnTo>
                    <a:lnTo>
                      <a:pt x="7561587" y="2257936"/>
                    </a:lnTo>
                    <a:lnTo>
                      <a:pt x="7557481" y="2261274"/>
                    </a:lnTo>
                    <a:lnTo>
                      <a:pt x="7554894" y="2262410"/>
                    </a:lnTo>
                    <a:lnTo>
                      <a:pt x="7555472" y="2263858"/>
                    </a:lnTo>
                    <a:lnTo>
                      <a:pt x="7558676" y="2264760"/>
                    </a:lnTo>
                    <a:lnTo>
                      <a:pt x="7560754" y="2268358"/>
                    </a:lnTo>
                    <a:lnTo>
                      <a:pt x="7561754" y="2272823"/>
                    </a:lnTo>
                    <a:lnTo>
                      <a:pt x="7561760" y="2276320"/>
                    </a:lnTo>
                    <a:lnTo>
                      <a:pt x="7560437" y="2279066"/>
                    </a:lnTo>
                    <a:lnTo>
                      <a:pt x="7556226" y="2283520"/>
                    </a:lnTo>
                    <a:lnTo>
                      <a:pt x="7555100" y="2286359"/>
                    </a:lnTo>
                    <a:lnTo>
                      <a:pt x="7555996" y="2290477"/>
                    </a:lnTo>
                    <a:lnTo>
                      <a:pt x="7558904" y="2292541"/>
                    </a:lnTo>
                    <a:lnTo>
                      <a:pt x="7562356" y="2294159"/>
                    </a:lnTo>
                    <a:lnTo>
                      <a:pt x="7564890" y="2296991"/>
                    </a:lnTo>
                    <a:lnTo>
                      <a:pt x="7565062" y="2298676"/>
                    </a:lnTo>
                    <a:lnTo>
                      <a:pt x="7564536" y="2300267"/>
                    </a:lnTo>
                    <a:lnTo>
                      <a:pt x="7562108" y="2305137"/>
                    </a:lnTo>
                    <a:lnTo>
                      <a:pt x="7560867" y="2306450"/>
                    </a:lnTo>
                    <a:lnTo>
                      <a:pt x="7559159" y="2307069"/>
                    </a:lnTo>
                    <a:lnTo>
                      <a:pt x="7556786" y="2307212"/>
                    </a:lnTo>
                    <a:lnTo>
                      <a:pt x="7549247" y="2305867"/>
                    </a:lnTo>
                    <a:lnTo>
                      <a:pt x="7515177" y="2288140"/>
                    </a:lnTo>
                    <a:lnTo>
                      <a:pt x="7512283" y="2287460"/>
                    </a:lnTo>
                    <a:lnTo>
                      <a:pt x="7510550" y="2286800"/>
                    </a:lnTo>
                    <a:lnTo>
                      <a:pt x="7506714" y="2283422"/>
                    </a:lnTo>
                    <a:lnTo>
                      <a:pt x="7505336" y="2282719"/>
                    </a:lnTo>
                    <a:lnTo>
                      <a:pt x="7498197" y="2283614"/>
                    </a:lnTo>
                    <a:lnTo>
                      <a:pt x="7495966" y="2283443"/>
                    </a:lnTo>
                    <a:lnTo>
                      <a:pt x="7491616" y="2282076"/>
                    </a:lnTo>
                    <a:lnTo>
                      <a:pt x="7489653" y="2281878"/>
                    </a:lnTo>
                    <a:lnTo>
                      <a:pt x="7488576" y="2282764"/>
                    </a:lnTo>
                    <a:lnTo>
                      <a:pt x="7488604" y="2284263"/>
                    </a:lnTo>
                    <a:lnTo>
                      <a:pt x="7488434" y="2285345"/>
                    </a:lnTo>
                    <a:lnTo>
                      <a:pt x="7486805" y="2285039"/>
                    </a:lnTo>
                    <a:lnTo>
                      <a:pt x="7485712" y="2283465"/>
                    </a:lnTo>
                    <a:lnTo>
                      <a:pt x="7484300" y="2280818"/>
                    </a:lnTo>
                    <a:lnTo>
                      <a:pt x="7482636" y="2278898"/>
                    </a:lnTo>
                    <a:lnTo>
                      <a:pt x="7480769" y="2279481"/>
                    </a:lnTo>
                    <a:lnTo>
                      <a:pt x="7479286" y="2280768"/>
                    </a:lnTo>
                    <a:lnTo>
                      <a:pt x="7475239" y="2282315"/>
                    </a:lnTo>
                    <a:lnTo>
                      <a:pt x="7473219" y="2282667"/>
                    </a:lnTo>
                    <a:lnTo>
                      <a:pt x="7469862" y="2281490"/>
                    </a:lnTo>
                    <a:lnTo>
                      <a:pt x="7466996" y="2277990"/>
                    </a:lnTo>
                    <a:lnTo>
                      <a:pt x="7464647" y="2273427"/>
                    </a:lnTo>
                    <a:lnTo>
                      <a:pt x="7460322" y="2263329"/>
                    </a:lnTo>
                    <a:lnTo>
                      <a:pt x="7457948" y="2260105"/>
                    </a:lnTo>
                    <a:lnTo>
                      <a:pt x="7455044" y="2258431"/>
                    </a:lnTo>
                    <a:lnTo>
                      <a:pt x="7450903" y="2257312"/>
                    </a:lnTo>
                    <a:lnTo>
                      <a:pt x="7450335" y="2255848"/>
                    </a:lnTo>
                    <a:lnTo>
                      <a:pt x="7450814" y="2255579"/>
                    </a:lnTo>
                    <a:lnTo>
                      <a:pt x="7451049" y="2255250"/>
                    </a:lnTo>
                    <a:lnTo>
                      <a:pt x="7451231" y="2254870"/>
                    </a:lnTo>
                    <a:lnTo>
                      <a:pt x="7451554" y="2254429"/>
                    </a:lnTo>
                    <a:lnTo>
                      <a:pt x="7446453" y="2252894"/>
                    </a:lnTo>
                    <a:lnTo>
                      <a:pt x="7441523" y="2249838"/>
                    </a:lnTo>
                    <a:lnTo>
                      <a:pt x="7436908" y="2245794"/>
                    </a:lnTo>
                    <a:lnTo>
                      <a:pt x="7428493" y="2237087"/>
                    </a:lnTo>
                    <a:lnTo>
                      <a:pt x="7420567" y="2230772"/>
                    </a:lnTo>
                    <a:lnTo>
                      <a:pt x="7416725" y="2226332"/>
                    </a:lnTo>
                    <a:lnTo>
                      <a:pt x="7421827" y="2228850"/>
                    </a:lnTo>
                    <a:lnTo>
                      <a:pt x="7424155" y="2229428"/>
                    </a:lnTo>
                    <a:lnTo>
                      <a:pt x="7425649" y="2228026"/>
                    </a:lnTo>
                    <a:lnTo>
                      <a:pt x="7426389" y="2228834"/>
                    </a:lnTo>
                    <a:lnTo>
                      <a:pt x="7427527" y="2229618"/>
                    </a:lnTo>
                    <a:lnTo>
                      <a:pt x="7428525" y="2230469"/>
                    </a:lnTo>
                    <a:lnTo>
                      <a:pt x="7426151" y="2226115"/>
                    </a:lnTo>
                    <a:lnTo>
                      <a:pt x="7423125" y="2222468"/>
                    </a:lnTo>
                    <a:lnTo>
                      <a:pt x="7420745" y="2219040"/>
                    </a:lnTo>
                    <a:lnTo>
                      <a:pt x="7419682" y="2211229"/>
                    </a:lnTo>
                    <a:lnTo>
                      <a:pt x="7416935" y="2206974"/>
                    </a:lnTo>
                    <a:lnTo>
                      <a:pt x="7413687" y="2202807"/>
                    </a:lnTo>
                    <a:lnTo>
                      <a:pt x="7411594" y="2198914"/>
                    </a:lnTo>
                    <a:lnTo>
                      <a:pt x="7410500" y="2200099"/>
                    </a:lnTo>
                    <a:lnTo>
                      <a:pt x="7409098" y="2200780"/>
                    </a:lnTo>
                    <a:lnTo>
                      <a:pt x="7407437" y="2200728"/>
                    </a:lnTo>
                    <a:lnTo>
                      <a:pt x="7405481" y="2199672"/>
                    </a:lnTo>
                    <a:lnTo>
                      <a:pt x="7405480" y="2202185"/>
                    </a:lnTo>
                    <a:lnTo>
                      <a:pt x="7403954" y="2205362"/>
                    </a:lnTo>
                    <a:lnTo>
                      <a:pt x="7403731" y="2206986"/>
                    </a:lnTo>
                    <a:lnTo>
                      <a:pt x="7404724" y="2208761"/>
                    </a:lnTo>
                    <a:lnTo>
                      <a:pt x="7406244" y="2210071"/>
                    </a:lnTo>
                    <a:lnTo>
                      <a:pt x="7407170" y="2211531"/>
                    </a:lnTo>
                    <a:lnTo>
                      <a:pt x="7406315" y="2213658"/>
                    </a:lnTo>
                    <a:lnTo>
                      <a:pt x="7407351" y="2214921"/>
                    </a:lnTo>
                    <a:lnTo>
                      <a:pt x="7408222" y="2216211"/>
                    </a:lnTo>
                    <a:lnTo>
                      <a:pt x="7403687" y="2213733"/>
                    </a:lnTo>
                    <a:lnTo>
                      <a:pt x="7392651" y="2203412"/>
                    </a:lnTo>
                    <a:lnTo>
                      <a:pt x="7385822" y="2199271"/>
                    </a:lnTo>
                    <a:lnTo>
                      <a:pt x="7384392" y="2197443"/>
                    </a:lnTo>
                    <a:lnTo>
                      <a:pt x="7383771" y="2194774"/>
                    </a:lnTo>
                    <a:lnTo>
                      <a:pt x="7383126" y="2187071"/>
                    </a:lnTo>
                    <a:lnTo>
                      <a:pt x="7380094" y="2185150"/>
                    </a:lnTo>
                    <a:lnTo>
                      <a:pt x="7377525" y="2182124"/>
                    </a:lnTo>
                    <a:lnTo>
                      <a:pt x="7375318" y="2178206"/>
                    </a:lnTo>
                    <a:lnTo>
                      <a:pt x="7373332" y="2173564"/>
                    </a:lnTo>
                    <a:lnTo>
                      <a:pt x="7371019" y="2169036"/>
                    </a:lnTo>
                    <a:lnTo>
                      <a:pt x="7368637" y="2166505"/>
                    </a:lnTo>
                    <a:lnTo>
                      <a:pt x="7366068" y="2164487"/>
                    </a:lnTo>
                    <a:lnTo>
                      <a:pt x="7363193" y="2161510"/>
                    </a:lnTo>
                    <a:lnTo>
                      <a:pt x="7362199" y="2159953"/>
                    </a:lnTo>
                    <a:lnTo>
                      <a:pt x="7359663" y="2154966"/>
                    </a:lnTo>
                    <a:lnTo>
                      <a:pt x="7356127" y="2149820"/>
                    </a:lnTo>
                    <a:lnTo>
                      <a:pt x="7355127" y="2147742"/>
                    </a:lnTo>
                    <a:lnTo>
                      <a:pt x="7352841" y="2143697"/>
                    </a:lnTo>
                    <a:lnTo>
                      <a:pt x="7343061" y="2133213"/>
                    </a:lnTo>
                    <a:lnTo>
                      <a:pt x="7337403" y="2128117"/>
                    </a:lnTo>
                    <a:lnTo>
                      <a:pt x="7330977" y="2123330"/>
                    </a:lnTo>
                    <a:lnTo>
                      <a:pt x="7325140" y="2117544"/>
                    </a:lnTo>
                    <a:lnTo>
                      <a:pt x="7321243" y="2109438"/>
                    </a:lnTo>
                    <a:lnTo>
                      <a:pt x="7318136" y="2091909"/>
                    </a:lnTo>
                    <a:lnTo>
                      <a:pt x="7315313" y="2081920"/>
                    </a:lnTo>
                    <a:lnTo>
                      <a:pt x="7311780" y="2078476"/>
                    </a:lnTo>
                    <a:lnTo>
                      <a:pt x="7311400" y="2081299"/>
                    </a:lnTo>
                    <a:lnTo>
                      <a:pt x="7313826" y="2097713"/>
                    </a:lnTo>
                    <a:lnTo>
                      <a:pt x="7316471" y="2108607"/>
                    </a:lnTo>
                    <a:lnTo>
                      <a:pt x="7316240" y="2112566"/>
                    </a:lnTo>
                    <a:lnTo>
                      <a:pt x="7312522" y="2110508"/>
                    </a:lnTo>
                    <a:lnTo>
                      <a:pt x="7309188" y="2112385"/>
                    </a:lnTo>
                    <a:lnTo>
                      <a:pt x="7300430" y="2110604"/>
                    </a:lnTo>
                    <a:lnTo>
                      <a:pt x="7297149" y="2110995"/>
                    </a:lnTo>
                    <a:lnTo>
                      <a:pt x="7300405" y="2112588"/>
                    </a:lnTo>
                    <a:lnTo>
                      <a:pt x="7308086" y="2114684"/>
                    </a:lnTo>
                    <a:lnTo>
                      <a:pt x="7311728" y="2116876"/>
                    </a:lnTo>
                    <a:lnTo>
                      <a:pt x="7317870" y="2122252"/>
                    </a:lnTo>
                    <a:lnTo>
                      <a:pt x="7318509" y="2123011"/>
                    </a:lnTo>
                    <a:lnTo>
                      <a:pt x="7319164" y="2124233"/>
                    </a:lnTo>
                    <a:lnTo>
                      <a:pt x="7319888" y="2124907"/>
                    </a:lnTo>
                    <a:lnTo>
                      <a:pt x="7321142" y="2125525"/>
                    </a:lnTo>
                    <a:lnTo>
                      <a:pt x="7323458" y="2125896"/>
                    </a:lnTo>
                    <a:lnTo>
                      <a:pt x="7325936" y="2127202"/>
                    </a:lnTo>
                    <a:lnTo>
                      <a:pt x="7329720" y="2128613"/>
                    </a:lnTo>
                    <a:lnTo>
                      <a:pt x="7330875" y="2129898"/>
                    </a:lnTo>
                    <a:lnTo>
                      <a:pt x="7331965" y="2131823"/>
                    </a:lnTo>
                    <a:lnTo>
                      <a:pt x="7336887" y="2138405"/>
                    </a:lnTo>
                    <a:lnTo>
                      <a:pt x="7336472" y="2138182"/>
                    </a:lnTo>
                    <a:lnTo>
                      <a:pt x="7336387" y="2138932"/>
                    </a:lnTo>
                    <a:lnTo>
                      <a:pt x="7336580" y="2140060"/>
                    </a:lnTo>
                    <a:lnTo>
                      <a:pt x="7336997" y="2141048"/>
                    </a:lnTo>
                    <a:lnTo>
                      <a:pt x="7337854" y="2141846"/>
                    </a:lnTo>
                    <a:lnTo>
                      <a:pt x="7341282" y="2143990"/>
                    </a:lnTo>
                    <a:lnTo>
                      <a:pt x="7342877" y="2145721"/>
                    </a:lnTo>
                    <a:lnTo>
                      <a:pt x="7344116" y="2147794"/>
                    </a:lnTo>
                    <a:lnTo>
                      <a:pt x="7345081" y="2150082"/>
                    </a:lnTo>
                    <a:lnTo>
                      <a:pt x="7345881" y="2152492"/>
                    </a:lnTo>
                    <a:lnTo>
                      <a:pt x="7343232" y="2149846"/>
                    </a:lnTo>
                    <a:lnTo>
                      <a:pt x="7337076" y="2148110"/>
                    </a:lnTo>
                    <a:lnTo>
                      <a:pt x="7334046" y="2146348"/>
                    </a:lnTo>
                    <a:lnTo>
                      <a:pt x="7331905" y="2143631"/>
                    </a:lnTo>
                    <a:lnTo>
                      <a:pt x="7328978" y="2137606"/>
                    </a:lnTo>
                    <a:lnTo>
                      <a:pt x="7327451" y="2135131"/>
                    </a:lnTo>
                    <a:lnTo>
                      <a:pt x="7322276" y="2131301"/>
                    </a:lnTo>
                    <a:lnTo>
                      <a:pt x="7314765" y="2128055"/>
                    </a:lnTo>
                    <a:lnTo>
                      <a:pt x="7307698" y="2126670"/>
                    </a:lnTo>
                    <a:lnTo>
                      <a:pt x="7303819" y="2128386"/>
                    </a:lnTo>
                    <a:lnTo>
                      <a:pt x="7306870" y="2131099"/>
                    </a:lnTo>
                    <a:lnTo>
                      <a:pt x="7316101" y="2136517"/>
                    </a:lnTo>
                    <a:lnTo>
                      <a:pt x="7318489" y="2138764"/>
                    </a:lnTo>
                    <a:lnTo>
                      <a:pt x="7323371" y="2144118"/>
                    </a:lnTo>
                    <a:lnTo>
                      <a:pt x="7326381" y="2146513"/>
                    </a:lnTo>
                    <a:lnTo>
                      <a:pt x="7331991" y="2149164"/>
                    </a:lnTo>
                    <a:lnTo>
                      <a:pt x="7335005" y="2150985"/>
                    </a:lnTo>
                    <a:lnTo>
                      <a:pt x="7337272" y="2153547"/>
                    </a:lnTo>
                    <a:lnTo>
                      <a:pt x="7338217" y="2156893"/>
                    </a:lnTo>
                    <a:lnTo>
                      <a:pt x="7338452" y="2160302"/>
                    </a:lnTo>
                    <a:lnTo>
                      <a:pt x="7339252" y="2163334"/>
                    </a:lnTo>
                    <a:lnTo>
                      <a:pt x="7341872" y="2165512"/>
                    </a:lnTo>
                    <a:lnTo>
                      <a:pt x="7341327" y="2167522"/>
                    </a:lnTo>
                    <a:lnTo>
                      <a:pt x="7341715" y="2169468"/>
                    </a:lnTo>
                    <a:lnTo>
                      <a:pt x="7342833" y="2171117"/>
                    </a:lnTo>
                    <a:lnTo>
                      <a:pt x="7344429" y="2172175"/>
                    </a:lnTo>
                    <a:lnTo>
                      <a:pt x="7344195" y="2175518"/>
                    </a:lnTo>
                    <a:lnTo>
                      <a:pt x="7345818" y="2179572"/>
                    </a:lnTo>
                    <a:lnTo>
                      <a:pt x="7348265" y="2182945"/>
                    </a:lnTo>
                    <a:lnTo>
                      <a:pt x="7350469" y="2184238"/>
                    </a:lnTo>
                    <a:lnTo>
                      <a:pt x="7355767" y="2185418"/>
                    </a:lnTo>
                    <a:lnTo>
                      <a:pt x="7356995" y="2186091"/>
                    </a:lnTo>
                    <a:lnTo>
                      <a:pt x="7357842" y="2188239"/>
                    </a:lnTo>
                    <a:lnTo>
                      <a:pt x="7357543" y="2191848"/>
                    </a:lnTo>
                    <a:lnTo>
                      <a:pt x="7358591" y="2193631"/>
                    </a:lnTo>
                    <a:lnTo>
                      <a:pt x="7366222" y="2201417"/>
                    </a:lnTo>
                    <a:lnTo>
                      <a:pt x="7379299" y="2212787"/>
                    </a:lnTo>
                    <a:lnTo>
                      <a:pt x="7379654" y="2217609"/>
                    </a:lnTo>
                    <a:lnTo>
                      <a:pt x="7381182" y="2221040"/>
                    </a:lnTo>
                    <a:lnTo>
                      <a:pt x="7383664" y="2223790"/>
                    </a:lnTo>
                    <a:lnTo>
                      <a:pt x="7396778" y="2236396"/>
                    </a:lnTo>
                    <a:lnTo>
                      <a:pt x="7398359" y="2238499"/>
                    </a:lnTo>
                    <a:lnTo>
                      <a:pt x="7396737" y="2240745"/>
                    </a:lnTo>
                    <a:lnTo>
                      <a:pt x="7393485" y="2241959"/>
                    </a:lnTo>
                    <a:lnTo>
                      <a:pt x="7391853" y="2243839"/>
                    </a:lnTo>
                    <a:lnTo>
                      <a:pt x="7395075" y="2248048"/>
                    </a:lnTo>
                    <a:lnTo>
                      <a:pt x="7404361" y="2256178"/>
                    </a:lnTo>
                    <a:lnTo>
                      <a:pt x="7408216" y="2260769"/>
                    </a:lnTo>
                    <a:lnTo>
                      <a:pt x="7409502" y="2261512"/>
                    </a:lnTo>
                    <a:lnTo>
                      <a:pt x="7410251" y="2262320"/>
                    </a:lnTo>
                    <a:lnTo>
                      <a:pt x="7410670" y="2263218"/>
                    </a:lnTo>
                    <a:lnTo>
                      <a:pt x="7411285" y="2265349"/>
                    </a:lnTo>
                    <a:lnTo>
                      <a:pt x="7411737" y="2266202"/>
                    </a:lnTo>
                    <a:lnTo>
                      <a:pt x="7413056" y="2267581"/>
                    </a:lnTo>
                    <a:lnTo>
                      <a:pt x="7418092" y="2271838"/>
                    </a:lnTo>
                    <a:lnTo>
                      <a:pt x="7420776" y="2274784"/>
                    </a:lnTo>
                    <a:lnTo>
                      <a:pt x="7433171" y="2292160"/>
                    </a:lnTo>
                    <a:lnTo>
                      <a:pt x="7435028" y="2295800"/>
                    </a:lnTo>
                    <a:lnTo>
                      <a:pt x="7436912" y="2300364"/>
                    </a:lnTo>
                    <a:lnTo>
                      <a:pt x="7437164" y="2302484"/>
                    </a:lnTo>
                    <a:lnTo>
                      <a:pt x="7435724" y="2302210"/>
                    </a:lnTo>
                    <a:lnTo>
                      <a:pt x="7433768" y="2301498"/>
                    </a:lnTo>
                    <a:lnTo>
                      <a:pt x="7432540" y="2302357"/>
                    </a:lnTo>
                    <a:lnTo>
                      <a:pt x="7432724" y="2303751"/>
                    </a:lnTo>
                    <a:lnTo>
                      <a:pt x="7434937" y="2309759"/>
                    </a:lnTo>
                    <a:lnTo>
                      <a:pt x="7435880" y="2311720"/>
                    </a:lnTo>
                    <a:lnTo>
                      <a:pt x="7436600" y="2312783"/>
                    </a:lnTo>
                    <a:lnTo>
                      <a:pt x="7436998" y="2313685"/>
                    </a:lnTo>
                    <a:lnTo>
                      <a:pt x="7436978" y="2315113"/>
                    </a:lnTo>
                    <a:lnTo>
                      <a:pt x="7436232" y="2316230"/>
                    </a:lnTo>
                    <a:lnTo>
                      <a:pt x="7432937" y="2319257"/>
                    </a:lnTo>
                    <a:lnTo>
                      <a:pt x="7431776" y="2319941"/>
                    </a:lnTo>
                    <a:lnTo>
                      <a:pt x="7428046" y="2319951"/>
                    </a:lnTo>
                    <a:lnTo>
                      <a:pt x="7407850" y="2315595"/>
                    </a:lnTo>
                    <a:lnTo>
                      <a:pt x="7400716" y="2311407"/>
                    </a:lnTo>
                    <a:lnTo>
                      <a:pt x="7394154" y="2305210"/>
                    </a:lnTo>
                    <a:lnTo>
                      <a:pt x="7388208" y="2297125"/>
                    </a:lnTo>
                    <a:lnTo>
                      <a:pt x="7384765" y="2291147"/>
                    </a:lnTo>
                    <a:lnTo>
                      <a:pt x="7383497" y="2289302"/>
                    </a:lnTo>
                    <a:lnTo>
                      <a:pt x="7377618" y="2284466"/>
                    </a:lnTo>
                    <a:lnTo>
                      <a:pt x="7374611" y="2279878"/>
                    </a:lnTo>
                    <a:lnTo>
                      <a:pt x="7371477" y="2275945"/>
                    </a:lnTo>
                    <a:lnTo>
                      <a:pt x="7367999" y="2272969"/>
                    </a:lnTo>
                    <a:lnTo>
                      <a:pt x="7365384" y="2273351"/>
                    </a:lnTo>
                    <a:lnTo>
                      <a:pt x="7365582" y="2277028"/>
                    </a:lnTo>
                    <a:lnTo>
                      <a:pt x="7369100" y="2280707"/>
                    </a:lnTo>
                    <a:lnTo>
                      <a:pt x="7373416" y="2284066"/>
                    </a:lnTo>
                    <a:lnTo>
                      <a:pt x="7375981" y="2286785"/>
                    </a:lnTo>
                    <a:lnTo>
                      <a:pt x="7378300" y="2291284"/>
                    </a:lnTo>
                    <a:lnTo>
                      <a:pt x="7378625" y="2293334"/>
                    </a:lnTo>
                    <a:lnTo>
                      <a:pt x="7377016" y="2294418"/>
                    </a:lnTo>
                    <a:lnTo>
                      <a:pt x="7374786" y="2294293"/>
                    </a:lnTo>
                    <a:lnTo>
                      <a:pt x="7372741" y="2293515"/>
                    </a:lnTo>
                    <a:lnTo>
                      <a:pt x="7368379" y="2291118"/>
                    </a:lnTo>
                    <a:lnTo>
                      <a:pt x="7358698" y="2287159"/>
                    </a:lnTo>
                    <a:lnTo>
                      <a:pt x="7353791" y="2286465"/>
                    </a:lnTo>
                    <a:lnTo>
                      <a:pt x="7351127" y="2288362"/>
                    </a:lnTo>
                    <a:lnTo>
                      <a:pt x="7348864" y="2291051"/>
                    </a:lnTo>
                    <a:lnTo>
                      <a:pt x="7323597" y="2299619"/>
                    </a:lnTo>
                    <a:lnTo>
                      <a:pt x="7320512" y="2299590"/>
                    </a:lnTo>
                    <a:lnTo>
                      <a:pt x="7319503" y="2296892"/>
                    </a:lnTo>
                    <a:lnTo>
                      <a:pt x="7318535" y="2291590"/>
                    </a:lnTo>
                    <a:lnTo>
                      <a:pt x="7318164" y="2286150"/>
                    </a:lnTo>
                    <a:lnTo>
                      <a:pt x="7318930" y="2283052"/>
                    </a:lnTo>
                    <a:lnTo>
                      <a:pt x="7316487" y="2283315"/>
                    </a:lnTo>
                    <a:lnTo>
                      <a:pt x="7309779" y="2285525"/>
                    </a:lnTo>
                    <a:lnTo>
                      <a:pt x="7309285" y="2284188"/>
                    </a:lnTo>
                    <a:lnTo>
                      <a:pt x="7311062" y="2283997"/>
                    </a:lnTo>
                    <a:lnTo>
                      <a:pt x="7312131" y="2282932"/>
                    </a:lnTo>
                    <a:lnTo>
                      <a:pt x="7313038" y="2281604"/>
                    </a:lnTo>
                    <a:lnTo>
                      <a:pt x="7314361" y="2280676"/>
                    </a:lnTo>
                    <a:lnTo>
                      <a:pt x="7316233" y="2280430"/>
                    </a:lnTo>
                    <a:lnTo>
                      <a:pt x="7322049" y="2281289"/>
                    </a:lnTo>
                    <a:lnTo>
                      <a:pt x="7318909" y="2277373"/>
                    </a:lnTo>
                    <a:lnTo>
                      <a:pt x="7318798" y="2275667"/>
                    </a:lnTo>
                    <a:lnTo>
                      <a:pt x="7319468" y="2273893"/>
                    </a:lnTo>
                    <a:lnTo>
                      <a:pt x="7318695" y="2269773"/>
                    </a:lnTo>
                    <a:lnTo>
                      <a:pt x="7316839" y="2266289"/>
                    </a:lnTo>
                    <a:lnTo>
                      <a:pt x="7314516" y="2263964"/>
                    </a:lnTo>
                    <a:lnTo>
                      <a:pt x="7311890" y="2262555"/>
                    </a:lnTo>
                    <a:lnTo>
                      <a:pt x="7309192" y="2261778"/>
                    </a:lnTo>
                    <a:lnTo>
                      <a:pt x="7308696" y="2260442"/>
                    </a:lnTo>
                    <a:lnTo>
                      <a:pt x="7316106" y="2255397"/>
                    </a:lnTo>
                    <a:lnTo>
                      <a:pt x="7314171" y="2254928"/>
                    </a:lnTo>
                    <a:lnTo>
                      <a:pt x="7308670" y="2254600"/>
                    </a:lnTo>
                    <a:lnTo>
                      <a:pt x="7307435" y="2254331"/>
                    </a:lnTo>
                    <a:lnTo>
                      <a:pt x="7306663" y="2254024"/>
                    </a:lnTo>
                    <a:lnTo>
                      <a:pt x="7294868" y="2241391"/>
                    </a:lnTo>
                    <a:lnTo>
                      <a:pt x="7291918" y="2239018"/>
                    </a:lnTo>
                    <a:lnTo>
                      <a:pt x="7288777" y="2238990"/>
                    </a:lnTo>
                    <a:lnTo>
                      <a:pt x="7288995" y="2237953"/>
                    </a:lnTo>
                    <a:lnTo>
                      <a:pt x="7289004" y="2235977"/>
                    </a:lnTo>
                    <a:lnTo>
                      <a:pt x="7289182" y="2234894"/>
                    </a:lnTo>
                    <a:lnTo>
                      <a:pt x="7286937" y="2232587"/>
                    </a:lnTo>
                    <a:lnTo>
                      <a:pt x="7283584" y="2229698"/>
                    </a:lnTo>
                    <a:lnTo>
                      <a:pt x="7280264" y="2227278"/>
                    </a:lnTo>
                    <a:lnTo>
                      <a:pt x="7278081" y="2226341"/>
                    </a:lnTo>
                    <a:lnTo>
                      <a:pt x="7276405" y="2225104"/>
                    </a:lnTo>
                    <a:lnTo>
                      <a:pt x="7270832" y="2219277"/>
                    </a:lnTo>
                    <a:lnTo>
                      <a:pt x="7268081" y="2217777"/>
                    </a:lnTo>
                    <a:lnTo>
                      <a:pt x="7268868" y="2214982"/>
                    </a:lnTo>
                    <a:lnTo>
                      <a:pt x="7278720" y="2206457"/>
                    </a:lnTo>
                    <a:lnTo>
                      <a:pt x="7280295" y="2204487"/>
                    </a:lnTo>
                    <a:lnTo>
                      <a:pt x="7281568" y="2202147"/>
                    </a:lnTo>
                    <a:lnTo>
                      <a:pt x="7281970" y="2205657"/>
                    </a:lnTo>
                    <a:lnTo>
                      <a:pt x="7284434" y="2205514"/>
                    </a:lnTo>
                    <a:lnTo>
                      <a:pt x="7303013" y="2198199"/>
                    </a:lnTo>
                    <a:lnTo>
                      <a:pt x="7299982" y="2195269"/>
                    </a:lnTo>
                    <a:lnTo>
                      <a:pt x="7296176" y="2194064"/>
                    </a:lnTo>
                    <a:lnTo>
                      <a:pt x="7278318" y="2195461"/>
                    </a:lnTo>
                    <a:lnTo>
                      <a:pt x="7274202" y="2194673"/>
                    </a:lnTo>
                    <a:lnTo>
                      <a:pt x="7275563" y="2196393"/>
                    </a:lnTo>
                    <a:lnTo>
                      <a:pt x="7276938" y="2197250"/>
                    </a:lnTo>
                    <a:lnTo>
                      <a:pt x="7280073" y="2198146"/>
                    </a:lnTo>
                    <a:lnTo>
                      <a:pt x="7279040" y="2200308"/>
                    </a:lnTo>
                    <a:lnTo>
                      <a:pt x="7272456" y="2207877"/>
                    </a:lnTo>
                    <a:lnTo>
                      <a:pt x="7270636" y="2208789"/>
                    </a:lnTo>
                    <a:lnTo>
                      <a:pt x="7268089" y="2207920"/>
                    </a:lnTo>
                    <a:lnTo>
                      <a:pt x="7267385" y="2206436"/>
                    </a:lnTo>
                    <a:lnTo>
                      <a:pt x="7266604" y="2205567"/>
                    </a:lnTo>
                    <a:lnTo>
                      <a:pt x="7265835" y="2204581"/>
                    </a:lnTo>
                    <a:lnTo>
                      <a:pt x="7265141" y="2202698"/>
                    </a:lnTo>
                    <a:lnTo>
                      <a:pt x="7265048" y="2201143"/>
                    </a:lnTo>
                    <a:lnTo>
                      <a:pt x="7265411" y="2197404"/>
                    </a:lnTo>
                    <a:lnTo>
                      <a:pt x="7265372" y="2195718"/>
                    </a:lnTo>
                    <a:lnTo>
                      <a:pt x="7261804" y="2194589"/>
                    </a:lnTo>
                    <a:lnTo>
                      <a:pt x="7258000" y="2191700"/>
                    </a:lnTo>
                    <a:lnTo>
                      <a:pt x="7254585" y="2188077"/>
                    </a:lnTo>
                    <a:lnTo>
                      <a:pt x="7252175" y="2184765"/>
                    </a:lnTo>
                    <a:lnTo>
                      <a:pt x="7250784" y="2182064"/>
                    </a:lnTo>
                    <a:lnTo>
                      <a:pt x="7250135" y="2180260"/>
                    </a:lnTo>
                    <a:lnTo>
                      <a:pt x="7249310" y="2178742"/>
                    </a:lnTo>
                    <a:lnTo>
                      <a:pt x="7247409" y="2176855"/>
                    </a:lnTo>
                    <a:lnTo>
                      <a:pt x="7245432" y="2175672"/>
                    </a:lnTo>
                    <a:lnTo>
                      <a:pt x="7243142" y="2175015"/>
                    </a:lnTo>
                    <a:lnTo>
                      <a:pt x="7241103" y="2175155"/>
                    </a:lnTo>
                    <a:lnTo>
                      <a:pt x="7239857" y="2176362"/>
                    </a:lnTo>
                    <a:lnTo>
                      <a:pt x="7242474" y="2177942"/>
                    </a:lnTo>
                    <a:lnTo>
                      <a:pt x="7245225" y="2180888"/>
                    </a:lnTo>
                    <a:lnTo>
                      <a:pt x="7246939" y="2184189"/>
                    </a:lnTo>
                    <a:lnTo>
                      <a:pt x="7246467" y="2186829"/>
                    </a:lnTo>
                    <a:lnTo>
                      <a:pt x="7249190" y="2191048"/>
                    </a:lnTo>
                    <a:lnTo>
                      <a:pt x="7246792" y="2193814"/>
                    </a:lnTo>
                    <a:lnTo>
                      <a:pt x="7242822" y="2196019"/>
                    </a:lnTo>
                    <a:lnTo>
                      <a:pt x="7240790" y="2198609"/>
                    </a:lnTo>
                    <a:lnTo>
                      <a:pt x="7249293" y="2195541"/>
                    </a:lnTo>
                    <a:lnTo>
                      <a:pt x="7253719" y="2194896"/>
                    </a:lnTo>
                    <a:lnTo>
                      <a:pt x="7257119" y="2198075"/>
                    </a:lnTo>
                    <a:lnTo>
                      <a:pt x="7255595" y="2199506"/>
                    </a:lnTo>
                    <a:lnTo>
                      <a:pt x="7254950" y="2199846"/>
                    </a:lnTo>
                    <a:lnTo>
                      <a:pt x="7255400" y="2201061"/>
                    </a:lnTo>
                    <a:lnTo>
                      <a:pt x="7258218" y="2202113"/>
                    </a:lnTo>
                    <a:lnTo>
                      <a:pt x="7260401" y="2205602"/>
                    </a:lnTo>
                    <a:lnTo>
                      <a:pt x="7261763" y="2210149"/>
                    </a:lnTo>
                    <a:lnTo>
                      <a:pt x="7262135" y="2214299"/>
                    </a:lnTo>
                    <a:lnTo>
                      <a:pt x="7260920" y="2219952"/>
                    </a:lnTo>
                    <a:lnTo>
                      <a:pt x="7261233" y="2221996"/>
                    </a:lnTo>
                    <a:lnTo>
                      <a:pt x="7261862" y="2223895"/>
                    </a:lnTo>
                    <a:lnTo>
                      <a:pt x="7261766" y="2224726"/>
                    </a:lnTo>
                    <a:lnTo>
                      <a:pt x="7261171" y="2225634"/>
                    </a:lnTo>
                    <a:lnTo>
                      <a:pt x="7260272" y="2227736"/>
                    </a:lnTo>
                    <a:lnTo>
                      <a:pt x="7255069" y="2231900"/>
                    </a:lnTo>
                    <a:lnTo>
                      <a:pt x="7246461" y="2230186"/>
                    </a:lnTo>
                    <a:lnTo>
                      <a:pt x="7228855" y="2223616"/>
                    </a:lnTo>
                    <a:lnTo>
                      <a:pt x="7228414" y="2222409"/>
                    </a:lnTo>
                    <a:lnTo>
                      <a:pt x="7237490" y="2221993"/>
                    </a:lnTo>
                    <a:lnTo>
                      <a:pt x="7241874" y="2220778"/>
                    </a:lnTo>
                    <a:lnTo>
                      <a:pt x="7243239" y="2217902"/>
                    </a:lnTo>
                    <a:lnTo>
                      <a:pt x="7239658" y="2218460"/>
                    </a:lnTo>
                    <a:lnTo>
                      <a:pt x="7227794" y="2218307"/>
                    </a:lnTo>
                    <a:lnTo>
                      <a:pt x="7221979" y="2220753"/>
                    </a:lnTo>
                    <a:lnTo>
                      <a:pt x="7218624" y="2221156"/>
                    </a:lnTo>
                    <a:lnTo>
                      <a:pt x="7214772" y="2219119"/>
                    </a:lnTo>
                    <a:lnTo>
                      <a:pt x="7210530" y="2214013"/>
                    </a:lnTo>
                    <a:lnTo>
                      <a:pt x="7205743" y="2206356"/>
                    </a:lnTo>
                    <a:lnTo>
                      <a:pt x="7202660" y="2198960"/>
                    </a:lnTo>
                    <a:lnTo>
                      <a:pt x="7203554" y="2194614"/>
                    </a:lnTo>
                    <a:lnTo>
                      <a:pt x="7203023" y="2193162"/>
                    </a:lnTo>
                    <a:lnTo>
                      <a:pt x="7198907" y="2194306"/>
                    </a:lnTo>
                    <a:lnTo>
                      <a:pt x="7197335" y="2196556"/>
                    </a:lnTo>
                    <a:lnTo>
                      <a:pt x="7196442" y="2205136"/>
                    </a:lnTo>
                    <a:lnTo>
                      <a:pt x="7184428" y="2196048"/>
                    </a:lnTo>
                    <a:lnTo>
                      <a:pt x="7177471" y="2189630"/>
                    </a:lnTo>
                    <a:lnTo>
                      <a:pt x="7173945" y="2186943"/>
                    </a:lnTo>
                    <a:lnTo>
                      <a:pt x="7170987" y="2185736"/>
                    </a:lnTo>
                    <a:lnTo>
                      <a:pt x="7192585" y="2207094"/>
                    </a:lnTo>
                    <a:lnTo>
                      <a:pt x="7190515" y="2210680"/>
                    </a:lnTo>
                    <a:lnTo>
                      <a:pt x="7186907" y="2209680"/>
                    </a:lnTo>
                    <a:lnTo>
                      <a:pt x="7182777" y="2207051"/>
                    </a:lnTo>
                    <a:lnTo>
                      <a:pt x="7179135" y="2205741"/>
                    </a:lnTo>
                    <a:lnTo>
                      <a:pt x="7177413" y="2205673"/>
                    </a:lnTo>
                    <a:lnTo>
                      <a:pt x="7174984" y="2205214"/>
                    </a:lnTo>
                    <a:lnTo>
                      <a:pt x="7172481" y="2204401"/>
                    </a:lnTo>
                    <a:lnTo>
                      <a:pt x="7168123" y="2201740"/>
                    </a:lnTo>
                    <a:lnTo>
                      <a:pt x="7161037" y="2200861"/>
                    </a:lnTo>
                    <a:lnTo>
                      <a:pt x="7158875" y="2200065"/>
                    </a:lnTo>
                    <a:lnTo>
                      <a:pt x="7152906" y="2196249"/>
                    </a:lnTo>
                    <a:lnTo>
                      <a:pt x="7146295" y="2193348"/>
                    </a:lnTo>
                    <a:lnTo>
                      <a:pt x="7141156" y="2189735"/>
                    </a:lnTo>
                    <a:lnTo>
                      <a:pt x="7130505" y="2184812"/>
                    </a:lnTo>
                    <a:lnTo>
                      <a:pt x="7127023" y="2182226"/>
                    </a:lnTo>
                    <a:lnTo>
                      <a:pt x="7125136" y="2182125"/>
                    </a:lnTo>
                    <a:lnTo>
                      <a:pt x="7123793" y="2183358"/>
                    </a:lnTo>
                    <a:lnTo>
                      <a:pt x="7123800" y="2185040"/>
                    </a:lnTo>
                    <a:lnTo>
                      <a:pt x="7124722" y="2187272"/>
                    </a:lnTo>
                    <a:lnTo>
                      <a:pt x="7126730" y="2188127"/>
                    </a:lnTo>
                    <a:lnTo>
                      <a:pt x="7129784" y="2188773"/>
                    </a:lnTo>
                    <a:lnTo>
                      <a:pt x="7133309" y="2190803"/>
                    </a:lnTo>
                    <a:lnTo>
                      <a:pt x="7140119" y="2196185"/>
                    </a:lnTo>
                    <a:lnTo>
                      <a:pt x="7147136" y="2200074"/>
                    </a:lnTo>
                    <a:lnTo>
                      <a:pt x="7150434" y="2202544"/>
                    </a:lnTo>
                    <a:lnTo>
                      <a:pt x="7152930" y="2206705"/>
                    </a:lnTo>
                    <a:lnTo>
                      <a:pt x="7151964" y="2209325"/>
                    </a:lnTo>
                    <a:lnTo>
                      <a:pt x="7139572" y="2210228"/>
                    </a:lnTo>
                    <a:lnTo>
                      <a:pt x="7137991" y="2212354"/>
                    </a:lnTo>
                    <a:lnTo>
                      <a:pt x="7136348" y="2220418"/>
                    </a:lnTo>
                    <a:lnTo>
                      <a:pt x="7133944" y="2221613"/>
                    </a:lnTo>
                    <a:lnTo>
                      <a:pt x="7132497" y="2224003"/>
                    </a:lnTo>
                    <a:lnTo>
                      <a:pt x="7130737" y="2229354"/>
                    </a:lnTo>
                    <a:lnTo>
                      <a:pt x="7131209" y="2230689"/>
                    </a:lnTo>
                    <a:lnTo>
                      <a:pt x="7133716" y="2229913"/>
                    </a:lnTo>
                    <a:lnTo>
                      <a:pt x="7135932" y="2227823"/>
                    </a:lnTo>
                    <a:lnTo>
                      <a:pt x="7137698" y="2225023"/>
                    </a:lnTo>
                    <a:lnTo>
                      <a:pt x="7140036" y="2219162"/>
                    </a:lnTo>
                    <a:lnTo>
                      <a:pt x="7141727" y="2217014"/>
                    </a:lnTo>
                    <a:lnTo>
                      <a:pt x="7143953" y="2215648"/>
                    </a:lnTo>
                    <a:lnTo>
                      <a:pt x="7156736" y="2214404"/>
                    </a:lnTo>
                    <a:lnTo>
                      <a:pt x="7164393" y="2215544"/>
                    </a:lnTo>
                    <a:lnTo>
                      <a:pt x="7166481" y="2216324"/>
                    </a:lnTo>
                    <a:lnTo>
                      <a:pt x="7168300" y="2217506"/>
                    </a:lnTo>
                    <a:lnTo>
                      <a:pt x="7169580" y="2219097"/>
                    </a:lnTo>
                    <a:lnTo>
                      <a:pt x="7170240" y="2220543"/>
                    </a:lnTo>
                    <a:lnTo>
                      <a:pt x="7171036" y="2221924"/>
                    </a:lnTo>
                    <a:lnTo>
                      <a:pt x="7172721" y="2223237"/>
                    </a:lnTo>
                    <a:lnTo>
                      <a:pt x="7172829" y="2220315"/>
                    </a:lnTo>
                    <a:lnTo>
                      <a:pt x="7173896" y="2217887"/>
                    </a:lnTo>
                    <a:lnTo>
                      <a:pt x="7175730" y="2216232"/>
                    </a:lnTo>
                    <a:lnTo>
                      <a:pt x="7178162" y="2215690"/>
                    </a:lnTo>
                    <a:lnTo>
                      <a:pt x="7179927" y="2216233"/>
                    </a:lnTo>
                    <a:lnTo>
                      <a:pt x="7184869" y="2219093"/>
                    </a:lnTo>
                    <a:lnTo>
                      <a:pt x="7187979" y="2218886"/>
                    </a:lnTo>
                    <a:lnTo>
                      <a:pt x="7189500" y="2219084"/>
                    </a:lnTo>
                    <a:lnTo>
                      <a:pt x="7191357" y="2220361"/>
                    </a:lnTo>
                    <a:lnTo>
                      <a:pt x="7192953" y="2220972"/>
                    </a:lnTo>
                    <a:lnTo>
                      <a:pt x="7195225" y="2220985"/>
                    </a:lnTo>
                    <a:lnTo>
                      <a:pt x="7197332" y="2220479"/>
                    </a:lnTo>
                    <a:lnTo>
                      <a:pt x="7199489" y="2218486"/>
                    </a:lnTo>
                    <a:lnTo>
                      <a:pt x="7201116" y="2219184"/>
                    </a:lnTo>
                    <a:lnTo>
                      <a:pt x="7202907" y="2220426"/>
                    </a:lnTo>
                    <a:lnTo>
                      <a:pt x="7204447" y="2221003"/>
                    </a:lnTo>
                    <a:lnTo>
                      <a:pt x="7206874" y="2221502"/>
                    </a:lnTo>
                    <a:lnTo>
                      <a:pt x="7216167" y="2226473"/>
                    </a:lnTo>
                    <a:lnTo>
                      <a:pt x="7215868" y="2229587"/>
                    </a:lnTo>
                    <a:lnTo>
                      <a:pt x="7214037" y="2230617"/>
                    </a:lnTo>
                    <a:lnTo>
                      <a:pt x="7211606" y="2230806"/>
                    </a:lnTo>
                    <a:lnTo>
                      <a:pt x="7209547" y="2231407"/>
                    </a:lnTo>
                    <a:lnTo>
                      <a:pt x="7211034" y="2232750"/>
                    </a:lnTo>
                    <a:lnTo>
                      <a:pt x="7206689" y="2230345"/>
                    </a:lnTo>
                    <a:lnTo>
                      <a:pt x="7202110" y="2226202"/>
                    </a:lnTo>
                    <a:lnTo>
                      <a:pt x="7197596" y="2223361"/>
                    </a:lnTo>
                    <a:lnTo>
                      <a:pt x="7193465" y="2224926"/>
                    </a:lnTo>
                    <a:lnTo>
                      <a:pt x="7195304" y="2227478"/>
                    </a:lnTo>
                    <a:lnTo>
                      <a:pt x="7197300" y="2227432"/>
                    </a:lnTo>
                    <a:lnTo>
                      <a:pt x="7206112" y="2231800"/>
                    </a:lnTo>
                    <a:lnTo>
                      <a:pt x="7205329" y="2232983"/>
                    </a:lnTo>
                    <a:lnTo>
                      <a:pt x="7204194" y="2233635"/>
                    </a:lnTo>
                    <a:lnTo>
                      <a:pt x="7202816" y="2233891"/>
                    </a:lnTo>
                    <a:lnTo>
                      <a:pt x="7201269" y="2233870"/>
                    </a:lnTo>
                    <a:lnTo>
                      <a:pt x="7208810" y="2235240"/>
                    </a:lnTo>
                    <a:lnTo>
                      <a:pt x="7211982" y="2236814"/>
                    </a:lnTo>
                    <a:lnTo>
                      <a:pt x="7213902" y="2236593"/>
                    </a:lnTo>
                    <a:lnTo>
                      <a:pt x="7214972" y="2237165"/>
                    </a:lnTo>
                    <a:lnTo>
                      <a:pt x="7215831" y="2238449"/>
                    </a:lnTo>
                    <a:lnTo>
                      <a:pt x="7215871" y="2239538"/>
                    </a:lnTo>
                    <a:lnTo>
                      <a:pt x="7215783" y="2240608"/>
                    </a:lnTo>
                    <a:lnTo>
                      <a:pt x="7216262" y="2241885"/>
                    </a:lnTo>
                    <a:lnTo>
                      <a:pt x="7217858" y="2244343"/>
                    </a:lnTo>
                    <a:lnTo>
                      <a:pt x="7219057" y="2245928"/>
                    </a:lnTo>
                    <a:lnTo>
                      <a:pt x="7220539" y="2246668"/>
                    </a:lnTo>
                    <a:lnTo>
                      <a:pt x="7222994" y="2246651"/>
                    </a:lnTo>
                    <a:lnTo>
                      <a:pt x="7224825" y="2247310"/>
                    </a:lnTo>
                    <a:lnTo>
                      <a:pt x="7229266" y="2250634"/>
                    </a:lnTo>
                    <a:lnTo>
                      <a:pt x="7231505" y="2251237"/>
                    </a:lnTo>
                    <a:lnTo>
                      <a:pt x="7228262" y="2247552"/>
                    </a:lnTo>
                    <a:lnTo>
                      <a:pt x="7224589" y="2245076"/>
                    </a:lnTo>
                    <a:lnTo>
                      <a:pt x="7220997" y="2242086"/>
                    </a:lnTo>
                    <a:lnTo>
                      <a:pt x="7218003" y="2236817"/>
                    </a:lnTo>
                    <a:lnTo>
                      <a:pt x="7218833" y="2236423"/>
                    </a:lnTo>
                    <a:lnTo>
                      <a:pt x="7234469" y="2239530"/>
                    </a:lnTo>
                    <a:lnTo>
                      <a:pt x="7235890" y="2240368"/>
                    </a:lnTo>
                    <a:lnTo>
                      <a:pt x="7237458" y="2242025"/>
                    </a:lnTo>
                    <a:lnTo>
                      <a:pt x="7239987" y="2243622"/>
                    </a:lnTo>
                    <a:lnTo>
                      <a:pt x="7242180" y="2245464"/>
                    </a:lnTo>
                    <a:lnTo>
                      <a:pt x="7242774" y="2247915"/>
                    </a:lnTo>
                    <a:lnTo>
                      <a:pt x="7241971" y="2249581"/>
                    </a:lnTo>
                    <a:lnTo>
                      <a:pt x="7237767" y="2253298"/>
                    </a:lnTo>
                    <a:lnTo>
                      <a:pt x="7232306" y="2260507"/>
                    </a:lnTo>
                    <a:lnTo>
                      <a:pt x="7228862" y="2262890"/>
                    </a:lnTo>
                    <a:lnTo>
                      <a:pt x="7224351" y="2261917"/>
                    </a:lnTo>
                    <a:lnTo>
                      <a:pt x="7224028" y="2263346"/>
                    </a:lnTo>
                    <a:lnTo>
                      <a:pt x="7230254" y="2266417"/>
                    </a:lnTo>
                    <a:lnTo>
                      <a:pt x="7232057" y="2266716"/>
                    </a:lnTo>
                    <a:lnTo>
                      <a:pt x="7233271" y="2265847"/>
                    </a:lnTo>
                    <a:lnTo>
                      <a:pt x="7235825" y="2260599"/>
                    </a:lnTo>
                    <a:lnTo>
                      <a:pt x="7239300" y="2259204"/>
                    </a:lnTo>
                    <a:lnTo>
                      <a:pt x="7242960" y="2260406"/>
                    </a:lnTo>
                    <a:lnTo>
                      <a:pt x="7246739" y="2262323"/>
                    </a:lnTo>
                    <a:lnTo>
                      <a:pt x="7250603" y="2263070"/>
                    </a:lnTo>
                    <a:lnTo>
                      <a:pt x="7249124" y="2261558"/>
                    </a:lnTo>
                    <a:lnTo>
                      <a:pt x="7245951" y="2259347"/>
                    </a:lnTo>
                    <a:lnTo>
                      <a:pt x="7244995" y="2258016"/>
                    </a:lnTo>
                    <a:lnTo>
                      <a:pt x="7244760" y="2255971"/>
                    </a:lnTo>
                    <a:lnTo>
                      <a:pt x="7245571" y="2255131"/>
                    </a:lnTo>
                    <a:lnTo>
                      <a:pt x="7246761" y="2254968"/>
                    </a:lnTo>
                    <a:lnTo>
                      <a:pt x="7247682" y="2255061"/>
                    </a:lnTo>
                    <a:lnTo>
                      <a:pt x="7249330" y="2255658"/>
                    </a:lnTo>
                    <a:lnTo>
                      <a:pt x="7250771" y="2256634"/>
                    </a:lnTo>
                    <a:lnTo>
                      <a:pt x="7251903" y="2257034"/>
                    </a:lnTo>
                    <a:lnTo>
                      <a:pt x="7252649" y="2255870"/>
                    </a:lnTo>
                    <a:lnTo>
                      <a:pt x="7251212" y="2253467"/>
                    </a:lnTo>
                    <a:lnTo>
                      <a:pt x="7250333" y="2251297"/>
                    </a:lnTo>
                    <a:lnTo>
                      <a:pt x="7250166" y="2249079"/>
                    </a:lnTo>
                    <a:lnTo>
                      <a:pt x="7252431" y="2250656"/>
                    </a:lnTo>
                    <a:lnTo>
                      <a:pt x="7268308" y="2258228"/>
                    </a:lnTo>
                    <a:lnTo>
                      <a:pt x="7268798" y="2259564"/>
                    </a:lnTo>
                    <a:lnTo>
                      <a:pt x="7267617" y="2259718"/>
                    </a:lnTo>
                    <a:lnTo>
                      <a:pt x="7266918" y="2260114"/>
                    </a:lnTo>
                    <a:lnTo>
                      <a:pt x="7265688" y="2261320"/>
                    </a:lnTo>
                    <a:lnTo>
                      <a:pt x="7267259" y="2262364"/>
                    </a:lnTo>
                    <a:lnTo>
                      <a:pt x="7271969" y="2266145"/>
                    </a:lnTo>
                    <a:lnTo>
                      <a:pt x="7274227" y="2266164"/>
                    </a:lnTo>
                    <a:lnTo>
                      <a:pt x="7276428" y="2265525"/>
                    </a:lnTo>
                    <a:lnTo>
                      <a:pt x="7278512" y="2265854"/>
                    </a:lnTo>
                    <a:lnTo>
                      <a:pt x="7280361" y="2268700"/>
                    </a:lnTo>
                    <a:lnTo>
                      <a:pt x="7279953" y="2269519"/>
                    </a:lnTo>
                    <a:lnTo>
                      <a:pt x="7278454" y="2269669"/>
                    </a:lnTo>
                    <a:lnTo>
                      <a:pt x="7277187" y="2270464"/>
                    </a:lnTo>
                    <a:lnTo>
                      <a:pt x="7277475" y="2273168"/>
                    </a:lnTo>
                    <a:lnTo>
                      <a:pt x="7277245" y="2275086"/>
                    </a:lnTo>
                    <a:lnTo>
                      <a:pt x="7275338" y="2275889"/>
                    </a:lnTo>
                    <a:lnTo>
                      <a:pt x="7271104" y="2276117"/>
                    </a:lnTo>
                    <a:lnTo>
                      <a:pt x="7273837" y="2278992"/>
                    </a:lnTo>
                    <a:lnTo>
                      <a:pt x="7276310" y="2278996"/>
                    </a:lnTo>
                    <a:lnTo>
                      <a:pt x="7280381" y="2276298"/>
                    </a:lnTo>
                    <a:lnTo>
                      <a:pt x="7281716" y="2275927"/>
                    </a:lnTo>
                    <a:lnTo>
                      <a:pt x="7288334" y="2275784"/>
                    </a:lnTo>
                    <a:lnTo>
                      <a:pt x="7288738" y="2276767"/>
                    </a:lnTo>
                    <a:lnTo>
                      <a:pt x="7288545" y="2278150"/>
                    </a:lnTo>
                    <a:lnTo>
                      <a:pt x="7288920" y="2279475"/>
                    </a:lnTo>
                    <a:lnTo>
                      <a:pt x="7289738" y="2280725"/>
                    </a:lnTo>
                    <a:lnTo>
                      <a:pt x="7290382" y="2282019"/>
                    </a:lnTo>
                    <a:lnTo>
                      <a:pt x="7291222" y="2282967"/>
                    </a:lnTo>
                    <a:lnTo>
                      <a:pt x="7292652" y="2283223"/>
                    </a:lnTo>
                    <a:lnTo>
                      <a:pt x="7293978" y="2283724"/>
                    </a:lnTo>
                    <a:lnTo>
                      <a:pt x="7294754" y="2285218"/>
                    </a:lnTo>
                    <a:lnTo>
                      <a:pt x="7295318" y="2287020"/>
                    </a:lnTo>
                    <a:lnTo>
                      <a:pt x="7296032" y="2288531"/>
                    </a:lnTo>
                    <a:lnTo>
                      <a:pt x="7302858" y="2298270"/>
                    </a:lnTo>
                    <a:lnTo>
                      <a:pt x="7304792" y="2300038"/>
                    </a:lnTo>
                    <a:lnTo>
                      <a:pt x="7302877" y="2306100"/>
                    </a:lnTo>
                    <a:lnTo>
                      <a:pt x="7301407" y="2309112"/>
                    </a:lnTo>
                    <a:lnTo>
                      <a:pt x="7299002" y="2310604"/>
                    </a:lnTo>
                    <a:lnTo>
                      <a:pt x="7295398" y="2311671"/>
                    </a:lnTo>
                    <a:lnTo>
                      <a:pt x="7288687" y="2315323"/>
                    </a:lnTo>
                    <a:lnTo>
                      <a:pt x="7278171" y="2318465"/>
                    </a:lnTo>
                    <a:lnTo>
                      <a:pt x="7275889" y="2317665"/>
                    </a:lnTo>
                    <a:lnTo>
                      <a:pt x="7275614" y="2315340"/>
                    </a:lnTo>
                    <a:lnTo>
                      <a:pt x="7276257" y="2312916"/>
                    </a:lnTo>
                    <a:lnTo>
                      <a:pt x="7276713" y="2311793"/>
                    </a:lnTo>
                    <a:lnTo>
                      <a:pt x="7274905" y="2309330"/>
                    </a:lnTo>
                    <a:lnTo>
                      <a:pt x="7264238" y="2300570"/>
                    </a:lnTo>
                    <a:lnTo>
                      <a:pt x="7265971" y="2306095"/>
                    </a:lnTo>
                    <a:lnTo>
                      <a:pt x="7264544" y="2307147"/>
                    </a:lnTo>
                    <a:lnTo>
                      <a:pt x="7254715" y="2304751"/>
                    </a:lnTo>
                    <a:lnTo>
                      <a:pt x="7246591" y="2300906"/>
                    </a:lnTo>
                    <a:lnTo>
                      <a:pt x="7243279" y="2300206"/>
                    </a:lnTo>
                    <a:lnTo>
                      <a:pt x="7242005" y="2299573"/>
                    </a:lnTo>
                    <a:lnTo>
                      <a:pt x="7239727" y="2296716"/>
                    </a:lnTo>
                    <a:lnTo>
                      <a:pt x="7238682" y="2296553"/>
                    </a:lnTo>
                    <a:lnTo>
                      <a:pt x="7238158" y="2297940"/>
                    </a:lnTo>
                    <a:lnTo>
                      <a:pt x="7239148" y="2299510"/>
                    </a:lnTo>
                    <a:lnTo>
                      <a:pt x="7241537" y="2301915"/>
                    </a:lnTo>
                    <a:lnTo>
                      <a:pt x="7243470" y="2307746"/>
                    </a:lnTo>
                    <a:lnTo>
                      <a:pt x="7241880" y="2308898"/>
                    </a:lnTo>
                    <a:lnTo>
                      <a:pt x="7238814" y="2308799"/>
                    </a:lnTo>
                    <a:lnTo>
                      <a:pt x="7236354" y="2310863"/>
                    </a:lnTo>
                    <a:lnTo>
                      <a:pt x="7237687" y="2311216"/>
                    </a:lnTo>
                    <a:lnTo>
                      <a:pt x="7238824" y="2312032"/>
                    </a:lnTo>
                    <a:lnTo>
                      <a:pt x="7239771" y="2312828"/>
                    </a:lnTo>
                    <a:lnTo>
                      <a:pt x="7240501" y="2313159"/>
                    </a:lnTo>
                    <a:lnTo>
                      <a:pt x="7242157" y="2313386"/>
                    </a:lnTo>
                    <a:lnTo>
                      <a:pt x="7245146" y="2314918"/>
                    </a:lnTo>
                    <a:lnTo>
                      <a:pt x="7246344" y="2315279"/>
                    </a:lnTo>
                    <a:lnTo>
                      <a:pt x="7248762" y="2314928"/>
                    </a:lnTo>
                    <a:lnTo>
                      <a:pt x="7248305" y="2313861"/>
                    </a:lnTo>
                    <a:lnTo>
                      <a:pt x="7246890" y="2311933"/>
                    </a:lnTo>
                    <a:lnTo>
                      <a:pt x="7246422" y="2308934"/>
                    </a:lnTo>
                    <a:lnTo>
                      <a:pt x="7246959" y="2307273"/>
                    </a:lnTo>
                    <a:lnTo>
                      <a:pt x="7247744" y="2306958"/>
                    </a:lnTo>
                    <a:lnTo>
                      <a:pt x="7251003" y="2307656"/>
                    </a:lnTo>
                    <a:lnTo>
                      <a:pt x="7254559" y="2307248"/>
                    </a:lnTo>
                    <a:lnTo>
                      <a:pt x="7255612" y="2307525"/>
                    </a:lnTo>
                    <a:lnTo>
                      <a:pt x="7256354" y="2308329"/>
                    </a:lnTo>
                    <a:lnTo>
                      <a:pt x="7256907" y="2309218"/>
                    </a:lnTo>
                    <a:lnTo>
                      <a:pt x="7257370" y="2309713"/>
                    </a:lnTo>
                    <a:lnTo>
                      <a:pt x="7261249" y="2310985"/>
                    </a:lnTo>
                    <a:lnTo>
                      <a:pt x="7263289" y="2312144"/>
                    </a:lnTo>
                    <a:lnTo>
                      <a:pt x="7264634" y="2314462"/>
                    </a:lnTo>
                    <a:lnTo>
                      <a:pt x="7266347" y="2319186"/>
                    </a:lnTo>
                    <a:lnTo>
                      <a:pt x="7266390" y="2322558"/>
                    </a:lnTo>
                    <a:lnTo>
                      <a:pt x="7263490" y="2322277"/>
                    </a:lnTo>
                    <a:lnTo>
                      <a:pt x="7256722" y="2319667"/>
                    </a:lnTo>
                    <a:lnTo>
                      <a:pt x="7249417" y="2321464"/>
                    </a:lnTo>
                    <a:lnTo>
                      <a:pt x="7246487" y="2320836"/>
                    </a:lnTo>
                    <a:lnTo>
                      <a:pt x="7245343" y="2319921"/>
                    </a:lnTo>
                    <a:lnTo>
                      <a:pt x="7244364" y="2318639"/>
                    </a:lnTo>
                    <a:lnTo>
                      <a:pt x="7243314" y="2317540"/>
                    </a:lnTo>
                    <a:lnTo>
                      <a:pt x="7241942" y="2317174"/>
                    </a:lnTo>
                    <a:lnTo>
                      <a:pt x="7240045" y="2317191"/>
                    </a:lnTo>
                    <a:lnTo>
                      <a:pt x="7238243" y="2316766"/>
                    </a:lnTo>
                    <a:lnTo>
                      <a:pt x="7236420" y="2315862"/>
                    </a:lnTo>
                    <a:lnTo>
                      <a:pt x="7234458" y="2314477"/>
                    </a:lnTo>
                    <a:lnTo>
                      <a:pt x="7232466" y="2314305"/>
                    </a:lnTo>
                    <a:lnTo>
                      <a:pt x="7230018" y="2315628"/>
                    </a:lnTo>
                    <a:lnTo>
                      <a:pt x="7226298" y="2318950"/>
                    </a:lnTo>
                    <a:lnTo>
                      <a:pt x="7241002" y="2329007"/>
                    </a:lnTo>
                    <a:lnTo>
                      <a:pt x="7242436" y="2329690"/>
                    </a:lnTo>
                    <a:lnTo>
                      <a:pt x="7243598" y="2330918"/>
                    </a:lnTo>
                    <a:lnTo>
                      <a:pt x="7244489" y="2333579"/>
                    </a:lnTo>
                    <a:lnTo>
                      <a:pt x="7244277" y="2335320"/>
                    </a:lnTo>
                    <a:lnTo>
                      <a:pt x="7242599" y="2339973"/>
                    </a:lnTo>
                    <a:lnTo>
                      <a:pt x="7242057" y="2340930"/>
                    </a:lnTo>
                    <a:lnTo>
                      <a:pt x="7237155" y="2340530"/>
                    </a:lnTo>
                    <a:lnTo>
                      <a:pt x="7236452" y="2340809"/>
                    </a:lnTo>
                    <a:lnTo>
                      <a:pt x="7235361" y="2342201"/>
                    </a:lnTo>
                    <a:lnTo>
                      <a:pt x="7233570" y="2342437"/>
                    </a:lnTo>
                    <a:lnTo>
                      <a:pt x="7231477" y="2341869"/>
                    </a:lnTo>
                    <a:lnTo>
                      <a:pt x="7229468" y="2340851"/>
                    </a:lnTo>
                    <a:lnTo>
                      <a:pt x="7226141" y="2337645"/>
                    </a:lnTo>
                    <a:lnTo>
                      <a:pt x="7224104" y="2333622"/>
                    </a:lnTo>
                    <a:lnTo>
                      <a:pt x="7224429" y="2330468"/>
                    </a:lnTo>
                    <a:lnTo>
                      <a:pt x="7228245" y="2329846"/>
                    </a:lnTo>
                    <a:lnTo>
                      <a:pt x="7227800" y="2328877"/>
                    </a:lnTo>
                    <a:lnTo>
                      <a:pt x="7226582" y="2326744"/>
                    </a:lnTo>
                    <a:lnTo>
                      <a:pt x="7226006" y="2325930"/>
                    </a:lnTo>
                    <a:lnTo>
                      <a:pt x="7224278" y="2327402"/>
                    </a:lnTo>
                    <a:lnTo>
                      <a:pt x="7222132" y="2327950"/>
                    </a:lnTo>
                    <a:lnTo>
                      <a:pt x="7219997" y="2327346"/>
                    </a:lnTo>
                    <a:lnTo>
                      <a:pt x="7218284" y="2325293"/>
                    </a:lnTo>
                    <a:lnTo>
                      <a:pt x="7217742" y="2326713"/>
                    </a:lnTo>
                    <a:lnTo>
                      <a:pt x="7216800" y="2328013"/>
                    </a:lnTo>
                    <a:lnTo>
                      <a:pt x="7215543" y="2328792"/>
                    </a:lnTo>
                    <a:lnTo>
                      <a:pt x="7214020" y="2328674"/>
                    </a:lnTo>
                    <a:lnTo>
                      <a:pt x="7212079" y="2327335"/>
                    </a:lnTo>
                    <a:lnTo>
                      <a:pt x="7212194" y="2326136"/>
                    </a:lnTo>
                    <a:lnTo>
                      <a:pt x="7212740" y="2324841"/>
                    </a:lnTo>
                    <a:lnTo>
                      <a:pt x="7212085" y="2323215"/>
                    </a:lnTo>
                    <a:lnTo>
                      <a:pt x="7209656" y="2322245"/>
                    </a:lnTo>
                    <a:lnTo>
                      <a:pt x="7205642" y="2325489"/>
                    </a:lnTo>
                    <a:lnTo>
                      <a:pt x="7202134" y="2324332"/>
                    </a:lnTo>
                    <a:lnTo>
                      <a:pt x="7202594" y="2323386"/>
                    </a:lnTo>
                    <a:lnTo>
                      <a:pt x="7203154" y="2321087"/>
                    </a:lnTo>
                    <a:lnTo>
                      <a:pt x="7203588" y="2320119"/>
                    </a:lnTo>
                    <a:lnTo>
                      <a:pt x="7201430" y="2317528"/>
                    </a:lnTo>
                    <a:lnTo>
                      <a:pt x="7199145" y="2315275"/>
                    </a:lnTo>
                    <a:lnTo>
                      <a:pt x="7196786" y="2313577"/>
                    </a:lnTo>
                    <a:lnTo>
                      <a:pt x="7194391" y="2312678"/>
                    </a:lnTo>
                    <a:lnTo>
                      <a:pt x="7195820" y="2317561"/>
                    </a:lnTo>
                    <a:lnTo>
                      <a:pt x="7195191" y="2320414"/>
                    </a:lnTo>
                    <a:lnTo>
                      <a:pt x="7193350" y="2320389"/>
                    </a:lnTo>
                    <a:lnTo>
                      <a:pt x="7191151" y="2316593"/>
                    </a:lnTo>
                    <a:lnTo>
                      <a:pt x="7188451" y="2313169"/>
                    </a:lnTo>
                    <a:lnTo>
                      <a:pt x="7184193" y="2311260"/>
                    </a:lnTo>
                    <a:lnTo>
                      <a:pt x="7179618" y="2310513"/>
                    </a:lnTo>
                    <a:lnTo>
                      <a:pt x="7175924" y="2310578"/>
                    </a:lnTo>
                    <a:lnTo>
                      <a:pt x="7173944" y="2311087"/>
                    </a:lnTo>
                    <a:lnTo>
                      <a:pt x="7168944" y="2314126"/>
                    </a:lnTo>
                    <a:lnTo>
                      <a:pt x="7167662" y="2314616"/>
                    </a:lnTo>
                    <a:lnTo>
                      <a:pt x="7163124" y="2314771"/>
                    </a:lnTo>
                    <a:lnTo>
                      <a:pt x="7160196" y="2313805"/>
                    </a:lnTo>
                    <a:lnTo>
                      <a:pt x="7148709" y="2306662"/>
                    </a:lnTo>
                    <a:lnTo>
                      <a:pt x="7139683" y="2304878"/>
                    </a:lnTo>
                    <a:lnTo>
                      <a:pt x="7133232" y="2301851"/>
                    </a:lnTo>
                    <a:lnTo>
                      <a:pt x="7129988" y="2301009"/>
                    </a:lnTo>
                    <a:lnTo>
                      <a:pt x="7126616" y="2298512"/>
                    </a:lnTo>
                    <a:lnTo>
                      <a:pt x="7125385" y="2297994"/>
                    </a:lnTo>
                    <a:lnTo>
                      <a:pt x="7123374" y="2297768"/>
                    </a:lnTo>
                    <a:lnTo>
                      <a:pt x="7105549" y="2288713"/>
                    </a:lnTo>
                    <a:lnTo>
                      <a:pt x="7098726" y="2287351"/>
                    </a:lnTo>
                    <a:lnTo>
                      <a:pt x="7091214" y="2282868"/>
                    </a:lnTo>
                    <a:lnTo>
                      <a:pt x="7087262" y="2281383"/>
                    </a:lnTo>
                    <a:lnTo>
                      <a:pt x="7082902" y="2281393"/>
                    </a:lnTo>
                    <a:lnTo>
                      <a:pt x="7081273" y="2280844"/>
                    </a:lnTo>
                    <a:lnTo>
                      <a:pt x="7081915" y="2279190"/>
                    </a:lnTo>
                    <a:lnTo>
                      <a:pt x="7083692" y="2278238"/>
                    </a:lnTo>
                    <a:lnTo>
                      <a:pt x="7088397" y="2277677"/>
                    </a:lnTo>
                    <a:lnTo>
                      <a:pt x="7090306" y="2276892"/>
                    </a:lnTo>
                    <a:lnTo>
                      <a:pt x="7094090" y="2272080"/>
                    </a:lnTo>
                    <a:lnTo>
                      <a:pt x="7095552" y="2270781"/>
                    </a:lnTo>
                    <a:lnTo>
                      <a:pt x="7097445" y="2270220"/>
                    </a:lnTo>
                    <a:lnTo>
                      <a:pt x="7101596" y="2269724"/>
                    </a:lnTo>
                    <a:lnTo>
                      <a:pt x="7103018" y="2268454"/>
                    </a:lnTo>
                    <a:lnTo>
                      <a:pt x="7099356" y="2265470"/>
                    </a:lnTo>
                    <a:lnTo>
                      <a:pt x="7097332" y="2264206"/>
                    </a:lnTo>
                    <a:lnTo>
                      <a:pt x="7095857" y="2263691"/>
                    </a:lnTo>
                    <a:lnTo>
                      <a:pt x="7093915" y="2264423"/>
                    </a:lnTo>
                    <a:lnTo>
                      <a:pt x="7091535" y="2267728"/>
                    </a:lnTo>
                    <a:lnTo>
                      <a:pt x="7089723" y="2268644"/>
                    </a:lnTo>
                    <a:lnTo>
                      <a:pt x="7086141" y="2269637"/>
                    </a:lnTo>
                    <a:lnTo>
                      <a:pt x="7077877" y="2275469"/>
                    </a:lnTo>
                    <a:lnTo>
                      <a:pt x="7074371" y="2276104"/>
                    </a:lnTo>
                    <a:lnTo>
                      <a:pt x="7072553" y="2273627"/>
                    </a:lnTo>
                    <a:lnTo>
                      <a:pt x="7070515" y="2269781"/>
                    </a:lnTo>
                    <a:lnTo>
                      <a:pt x="7066389" y="2266201"/>
                    </a:lnTo>
                    <a:lnTo>
                      <a:pt x="7039728" y="2252981"/>
                    </a:lnTo>
                    <a:lnTo>
                      <a:pt x="7035589" y="2250096"/>
                    </a:lnTo>
                    <a:lnTo>
                      <a:pt x="7034139" y="2249395"/>
                    </a:lnTo>
                    <a:lnTo>
                      <a:pt x="7032238" y="2248775"/>
                    </a:lnTo>
                    <a:lnTo>
                      <a:pt x="7030427" y="2247914"/>
                    </a:lnTo>
                    <a:lnTo>
                      <a:pt x="7029308" y="2246551"/>
                    </a:lnTo>
                    <a:lnTo>
                      <a:pt x="7028650" y="2244051"/>
                    </a:lnTo>
                    <a:lnTo>
                      <a:pt x="7028105" y="2240288"/>
                    </a:lnTo>
                    <a:lnTo>
                      <a:pt x="7027240" y="2237794"/>
                    </a:lnTo>
                    <a:lnTo>
                      <a:pt x="7021940" y="2230119"/>
                    </a:lnTo>
                    <a:lnTo>
                      <a:pt x="7014647" y="2224453"/>
                    </a:lnTo>
                    <a:lnTo>
                      <a:pt x="6981818" y="2206602"/>
                    </a:lnTo>
                    <a:lnTo>
                      <a:pt x="6971869" y="2203160"/>
                    </a:lnTo>
                    <a:lnTo>
                      <a:pt x="6967007" y="2200731"/>
                    </a:lnTo>
                    <a:lnTo>
                      <a:pt x="6964933" y="2197243"/>
                    </a:lnTo>
                    <a:lnTo>
                      <a:pt x="6955383" y="2198448"/>
                    </a:lnTo>
                    <a:lnTo>
                      <a:pt x="6950488" y="2198248"/>
                    </a:lnTo>
                    <a:lnTo>
                      <a:pt x="6945641" y="2196637"/>
                    </a:lnTo>
                    <a:lnTo>
                      <a:pt x="6949897" y="2196387"/>
                    </a:lnTo>
                    <a:lnTo>
                      <a:pt x="6951757" y="2195798"/>
                    </a:lnTo>
                    <a:lnTo>
                      <a:pt x="6953061" y="2194354"/>
                    </a:lnTo>
                    <a:lnTo>
                      <a:pt x="6944867" y="2193203"/>
                    </a:lnTo>
                    <a:lnTo>
                      <a:pt x="6928354" y="2195949"/>
                    </a:lnTo>
                    <a:lnTo>
                      <a:pt x="6920432" y="2192373"/>
                    </a:lnTo>
                    <a:lnTo>
                      <a:pt x="6929738" y="2192521"/>
                    </a:lnTo>
                    <a:lnTo>
                      <a:pt x="6933899" y="2191634"/>
                    </a:lnTo>
                    <a:lnTo>
                      <a:pt x="6934826" y="2188753"/>
                    </a:lnTo>
                    <a:lnTo>
                      <a:pt x="6933992" y="2186657"/>
                    </a:lnTo>
                    <a:lnTo>
                      <a:pt x="6933638" y="2186004"/>
                    </a:lnTo>
                    <a:lnTo>
                      <a:pt x="6934330" y="2183411"/>
                    </a:lnTo>
                    <a:lnTo>
                      <a:pt x="6935287" y="2182227"/>
                    </a:lnTo>
                    <a:lnTo>
                      <a:pt x="6938314" y="2180801"/>
                    </a:lnTo>
                    <a:lnTo>
                      <a:pt x="6938933" y="2179307"/>
                    </a:lnTo>
                    <a:lnTo>
                      <a:pt x="6936971" y="2177806"/>
                    </a:lnTo>
                    <a:lnTo>
                      <a:pt x="6923656" y="2181367"/>
                    </a:lnTo>
                    <a:lnTo>
                      <a:pt x="6921097" y="2183603"/>
                    </a:lnTo>
                    <a:lnTo>
                      <a:pt x="6919580" y="2184212"/>
                    </a:lnTo>
                    <a:lnTo>
                      <a:pt x="6915403" y="2184648"/>
                    </a:lnTo>
                    <a:lnTo>
                      <a:pt x="6913571" y="2185257"/>
                    </a:lnTo>
                    <a:lnTo>
                      <a:pt x="6912500" y="2185942"/>
                    </a:lnTo>
                    <a:lnTo>
                      <a:pt x="6914744" y="2187719"/>
                    </a:lnTo>
                    <a:lnTo>
                      <a:pt x="6916880" y="2189870"/>
                    </a:lnTo>
                    <a:lnTo>
                      <a:pt x="6912591" y="2187197"/>
                    </a:lnTo>
                    <a:lnTo>
                      <a:pt x="6907202" y="2183866"/>
                    </a:lnTo>
                    <a:lnTo>
                      <a:pt x="6901353" y="2181625"/>
                    </a:lnTo>
                    <a:lnTo>
                      <a:pt x="6895260" y="2180491"/>
                    </a:lnTo>
                    <a:lnTo>
                      <a:pt x="6888635" y="2178189"/>
                    </a:lnTo>
                    <a:lnTo>
                      <a:pt x="6884654" y="2175869"/>
                    </a:lnTo>
                    <a:lnTo>
                      <a:pt x="6863277" y="2168668"/>
                    </a:lnTo>
                    <a:lnTo>
                      <a:pt x="6831679" y="2162837"/>
                    </a:lnTo>
                    <a:lnTo>
                      <a:pt x="6834114" y="2161486"/>
                    </a:lnTo>
                    <a:lnTo>
                      <a:pt x="6840972" y="2163813"/>
                    </a:lnTo>
                    <a:lnTo>
                      <a:pt x="6843566" y="2163009"/>
                    </a:lnTo>
                    <a:lnTo>
                      <a:pt x="6837289" y="2159004"/>
                    </a:lnTo>
                    <a:lnTo>
                      <a:pt x="6835641" y="2158319"/>
                    </a:lnTo>
                    <a:lnTo>
                      <a:pt x="6833372" y="2158344"/>
                    </a:lnTo>
                    <a:lnTo>
                      <a:pt x="6830949" y="2158884"/>
                    </a:lnTo>
                    <a:lnTo>
                      <a:pt x="6828560" y="2159019"/>
                    </a:lnTo>
                    <a:lnTo>
                      <a:pt x="6826342" y="2157753"/>
                    </a:lnTo>
                    <a:lnTo>
                      <a:pt x="6825165" y="2155391"/>
                    </a:lnTo>
                    <a:lnTo>
                      <a:pt x="6825498" y="2153713"/>
                    </a:lnTo>
                    <a:lnTo>
                      <a:pt x="6825531" y="2152417"/>
                    </a:lnTo>
                    <a:lnTo>
                      <a:pt x="6823433" y="2151320"/>
                    </a:lnTo>
                    <a:lnTo>
                      <a:pt x="6821720" y="2151443"/>
                    </a:lnTo>
                    <a:lnTo>
                      <a:pt x="6819589" y="2152321"/>
                    </a:lnTo>
                    <a:lnTo>
                      <a:pt x="6817901" y="2153695"/>
                    </a:lnTo>
                    <a:lnTo>
                      <a:pt x="6817475" y="2155227"/>
                    </a:lnTo>
                    <a:lnTo>
                      <a:pt x="6817208" y="2158109"/>
                    </a:lnTo>
                    <a:lnTo>
                      <a:pt x="6814052" y="2157370"/>
                    </a:lnTo>
                    <a:lnTo>
                      <a:pt x="6809803" y="2155318"/>
                    </a:lnTo>
                    <a:lnTo>
                      <a:pt x="6806220" y="2154303"/>
                    </a:lnTo>
                    <a:lnTo>
                      <a:pt x="6802098" y="2154029"/>
                    </a:lnTo>
                    <a:lnTo>
                      <a:pt x="6796623" y="2152719"/>
                    </a:lnTo>
                    <a:lnTo>
                      <a:pt x="6791154" y="2150649"/>
                    </a:lnTo>
                    <a:lnTo>
                      <a:pt x="6787012" y="2147979"/>
                    </a:lnTo>
                    <a:lnTo>
                      <a:pt x="6798099" y="2149766"/>
                    </a:lnTo>
                    <a:lnTo>
                      <a:pt x="6804273" y="2153025"/>
                    </a:lnTo>
                    <a:lnTo>
                      <a:pt x="6807431" y="2153111"/>
                    </a:lnTo>
                    <a:lnTo>
                      <a:pt x="6810185" y="2151885"/>
                    </a:lnTo>
                    <a:lnTo>
                      <a:pt x="6811971" y="2149603"/>
                    </a:lnTo>
                    <a:lnTo>
                      <a:pt x="6805724" y="2147163"/>
                    </a:lnTo>
                    <a:lnTo>
                      <a:pt x="6802575" y="2146595"/>
                    </a:lnTo>
                    <a:lnTo>
                      <a:pt x="6800388" y="2147387"/>
                    </a:lnTo>
                    <a:lnTo>
                      <a:pt x="6798340" y="2148656"/>
                    </a:lnTo>
                    <a:lnTo>
                      <a:pt x="6795727" y="2148777"/>
                    </a:lnTo>
                    <a:lnTo>
                      <a:pt x="6792921" y="2148102"/>
                    </a:lnTo>
                    <a:lnTo>
                      <a:pt x="6786162" y="2145316"/>
                    </a:lnTo>
                    <a:lnTo>
                      <a:pt x="6783296" y="2143444"/>
                    </a:lnTo>
                    <a:lnTo>
                      <a:pt x="6781863" y="2142892"/>
                    </a:lnTo>
                    <a:lnTo>
                      <a:pt x="6773033" y="2141128"/>
                    </a:lnTo>
                    <a:lnTo>
                      <a:pt x="6734288" y="2127019"/>
                    </a:lnTo>
                    <a:lnTo>
                      <a:pt x="6736219" y="2124299"/>
                    </a:lnTo>
                    <a:lnTo>
                      <a:pt x="6745846" y="2125575"/>
                    </a:lnTo>
                    <a:lnTo>
                      <a:pt x="6749681" y="2124267"/>
                    </a:lnTo>
                    <a:lnTo>
                      <a:pt x="6749133" y="2123536"/>
                    </a:lnTo>
                    <a:lnTo>
                      <a:pt x="6747930" y="2121564"/>
                    </a:lnTo>
                    <a:lnTo>
                      <a:pt x="6750625" y="2121461"/>
                    </a:lnTo>
                    <a:lnTo>
                      <a:pt x="6752425" y="2120435"/>
                    </a:lnTo>
                    <a:lnTo>
                      <a:pt x="6753515" y="2118417"/>
                    </a:lnTo>
                    <a:lnTo>
                      <a:pt x="6754050" y="2115367"/>
                    </a:lnTo>
                    <a:lnTo>
                      <a:pt x="6755963" y="2117244"/>
                    </a:lnTo>
                    <a:lnTo>
                      <a:pt x="6757949" y="2118827"/>
                    </a:lnTo>
                    <a:lnTo>
                      <a:pt x="6759740" y="2119205"/>
                    </a:lnTo>
                    <a:lnTo>
                      <a:pt x="6761103" y="2117519"/>
                    </a:lnTo>
                    <a:lnTo>
                      <a:pt x="6759736" y="2116283"/>
                    </a:lnTo>
                    <a:lnTo>
                      <a:pt x="6761136" y="2114526"/>
                    </a:lnTo>
                    <a:lnTo>
                      <a:pt x="6765954" y="2110192"/>
                    </a:lnTo>
                    <a:lnTo>
                      <a:pt x="6763472" y="2108839"/>
                    </a:lnTo>
                    <a:lnTo>
                      <a:pt x="6763963" y="2105368"/>
                    </a:lnTo>
                    <a:lnTo>
                      <a:pt x="6768190" y="2097231"/>
                    </a:lnTo>
                    <a:lnTo>
                      <a:pt x="6772533" y="2091504"/>
                    </a:lnTo>
                    <a:lnTo>
                      <a:pt x="6772557" y="2088856"/>
                    </a:lnTo>
                    <a:lnTo>
                      <a:pt x="6761892" y="2082013"/>
                    </a:lnTo>
                    <a:lnTo>
                      <a:pt x="6760502" y="2080594"/>
                    </a:lnTo>
                    <a:lnTo>
                      <a:pt x="6757872" y="2079339"/>
                    </a:lnTo>
                    <a:lnTo>
                      <a:pt x="6755501" y="2076002"/>
                    </a:lnTo>
                    <a:lnTo>
                      <a:pt x="6751830" y="2068895"/>
                    </a:lnTo>
                    <a:lnTo>
                      <a:pt x="6746271" y="2062206"/>
                    </a:lnTo>
                    <a:lnTo>
                      <a:pt x="6743043" y="2057178"/>
                    </a:lnTo>
                    <a:lnTo>
                      <a:pt x="6743256" y="2054702"/>
                    </a:lnTo>
                    <a:lnTo>
                      <a:pt x="6744391" y="2053731"/>
                    </a:lnTo>
                    <a:lnTo>
                      <a:pt x="6745733" y="2049830"/>
                    </a:lnTo>
                    <a:lnTo>
                      <a:pt x="6746731" y="2048874"/>
                    </a:lnTo>
                    <a:lnTo>
                      <a:pt x="6748298" y="2048350"/>
                    </a:lnTo>
                    <a:lnTo>
                      <a:pt x="6749668" y="2047217"/>
                    </a:lnTo>
                    <a:lnTo>
                      <a:pt x="6751793" y="2044133"/>
                    </a:lnTo>
                    <a:lnTo>
                      <a:pt x="6753387" y="2037244"/>
                    </a:lnTo>
                    <a:lnTo>
                      <a:pt x="6755252" y="2035246"/>
                    </a:lnTo>
                    <a:lnTo>
                      <a:pt x="6759109" y="2037361"/>
                    </a:lnTo>
                    <a:lnTo>
                      <a:pt x="6762504" y="2040238"/>
                    </a:lnTo>
                    <a:lnTo>
                      <a:pt x="6772173" y="2046309"/>
                    </a:lnTo>
                    <a:lnTo>
                      <a:pt x="6784619" y="2058122"/>
                    </a:lnTo>
                    <a:lnTo>
                      <a:pt x="6786012" y="2061270"/>
                    </a:lnTo>
                    <a:lnTo>
                      <a:pt x="6784261" y="2068445"/>
                    </a:lnTo>
                    <a:lnTo>
                      <a:pt x="6784757" y="2073794"/>
                    </a:lnTo>
                    <a:lnTo>
                      <a:pt x="6785621" y="2076368"/>
                    </a:lnTo>
                    <a:lnTo>
                      <a:pt x="6788763" y="2083107"/>
                    </a:lnTo>
                    <a:lnTo>
                      <a:pt x="6788678" y="2085395"/>
                    </a:lnTo>
                    <a:lnTo>
                      <a:pt x="6789063" y="2086630"/>
                    </a:lnTo>
                    <a:lnTo>
                      <a:pt x="6791300" y="2087344"/>
                    </a:lnTo>
                    <a:lnTo>
                      <a:pt x="6792627" y="2088139"/>
                    </a:lnTo>
                    <a:lnTo>
                      <a:pt x="6793901" y="2089154"/>
                    </a:lnTo>
                    <a:lnTo>
                      <a:pt x="6794612" y="2090112"/>
                    </a:lnTo>
                    <a:lnTo>
                      <a:pt x="6796506" y="2093841"/>
                    </a:lnTo>
                    <a:lnTo>
                      <a:pt x="6801925" y="2100232"/>
                    </a:lnTo>
                    <a:lnTo>
                      <a:pt x="6804806" y="2104917"/>
                    </a:lnTo>
                    <a:lnTo>
                      <a:pt x="6802405" y="2105332"/>
                    </a:lnTo>
                    <a:lnTo>
                      <a:pt x="6799583" y="2106476"/>
                    </a:lnTo>
                    <a:lnTo>
                      <a:pt x="6797274" y="2108057"/>
                    </a:lnTo>
                    <a:lnTo>
                      <a:pt x="6796451" y="2109880"/>
                    </a:lnTo>
                    <a:lnTo>
                      <a:pt x="6804785" y="2114010"/>
                    </a:lnTo>
                    <a:lnTo>
                      <a:pt x="6807427" y="2114380"/>
                    </a:lnTo>
                    <a:lnTo>
                      <a:pt x="6808444" y="2113058"/>
                    </a:lnTo>
                    <a:lnTo>
                      <a:pt x="6810014" y="2104389"/>
                    </a:lnTo>
                    <a:lnTo>
                      <a:pt x="6808182" y="2102171"/>
                    </a:lnTo>
                    <a:lnTo>
                      <a:pt x="6803144" y="2097501"/>
                    </a:lnTo>
                    <a:lnTo>
                      <a:pt x="6801983" y="2096229"/>
                    </a:lnTo>
                    <a:lnTo>
                      <a:pt x="6800001" y="2090007"/>
                    </a:lnTo>
                    <a:lnTo>
                      <a:pt x="6798688" y="2086725"/>
                    </a:lnTo>
                    <a:lnTo>
                      <a:pt x="6796992" y="2083646"/>
                    </a:lnTo>
                    <a:lnTo>
                      <a:pt x="6795973" y="2082744"/>
                    </a:lnTo>
                    <a:lnTo>
                      <a:pt x="6794991" y="2082460"/>
                    </a:lnTo>
                    <a:lnTo>
                      <a:pt x="6793985" y="2081680"/>
                    </a:lnTo>
                    <a:lnTo>
                      <a:pt x="6792877" y="2079260"/>
                    </a:lnTo>
                    <a:lnTo>
                      <a:pt x="6792983" y="2078243"/>
                    </a:lnTo>
                    <a:lnTo>
                      <a:pt x="6793974" y="2075015"/>
                    </a:lnTo>
                    <a:lnTo>
                      <a:pt x="6794403" y="2074318"/>
                    </a:lnTo>
                    <a:lnTo>
                      <a:pt x="6794913" y="2072909"/>
                    </a:lnTo>
                    <a:lnTo>
                      <a:pt x="6790700" y="2066527"/>
                    </a:lnTo>
                    <a:lnTo>
                      <a:pt x="6789719" y="2063826"/>
                    </a:lnTo>
                    <a:lnTo>
                      <a:pt x="6791209" y="2062081"/>
                    </a:lnTo>
                    <a:lnTo>
                      <a:pt x="6802131" y="2059122"/>
                    </a:lnTo>
                    <a:lnTo>
                      <a:pt x="6819751" y="2058104"/>
                    </a:lnTo>
                    <a:lnTo>
                      <a:pt x="6823243" y="2058626"/>
                    </a:lnTo>
                    <a:lnTo>
                      <a:pt x="6830134" y="2063087"/>
                    </a:lnTo>
                    <a:lnTo>
                      <a:pt x="6833826" y="2064635"/>
                    </a:lnTo>
                    <a:lnTo>
                      <a:pt x="6837153" y="2064715"/>
                    </a:lnTo>
                    <a:lnTo>
                      <a:pt x="6839498" y="2062829"/>
                    </a:lnTo>
                    <a:lnTo>
                      <a:pt x="6837867" y="2063096"/>
                    </a:lnTo>
                    <a:lnTo>
                      <a:pt x="6836261" y="2063018"/>
                    </a:lnTo>
                    <a:lnTo>
                      <a:pt x="6833010" y="2062127"/>
                    </a:lnTo>
                    <a:lnTo>
                      <a:pt x="6821916" y="2055723"/>
                    </a:lnTo>
                    <a:lnTo>
                      <a:pt x="6819828" y="2055153"/>
                    </a:lnTo>
                    <a:lnTo>
                      <a:pt x="6795146" y="2055775"/>
                    </a:lnTo>
                    <a:lnTo>
                      <a:pt x="6792121" y="2054624"/>
                    </a:lnTo>
                    <a:lnTo>
                      <a:pt x="6777904" y="2043956"/>
                    </a:lnTo>
                    <a:lnTo>
                      <a:pt x="6772921" y="2042316"/>
                    </a:lnTo>
                    <a:lnTo>
                      <a:pt x="6770398" y="2039781"/>
                    </a:lnTo>
                    <a:lnTo>
                      <a:pt x="6767978" y="2036844"/>
                    </a:lnTo>
                    <a:lnTo>
                      <a:pt x="6765859" y="2034621"/>
                    </a:lnTo>
                    <a:lnTo>
                      <a:pt x="6762396" y="2032859"/>
                    </a:lnTo>
                    <a:lnTo>
                      <a:pt x="6755514" y="2031574"/>
                    </a:lnTo>
                    <a:lnTo>
                      <a:pt x="6752168" y="2029783"/>
                    </a:lnTo>
                    <a:lnTo>
                      <a:pt x="6747635" y="2025405"/>
                    </a:lnTo>
                    <a:lnTo>
                      <a:pt x="6745600" y="2024616"/>
                    </a:lnTo>
                    <a:lnTo>
                      <a:pt x="6743295" y="2025835"/>
                    </a:lnTo>
                    <a:lnTo>
                      <a:pt x="6743714" y="2027650"/>
                    </a:lnTo>
                    <a:lnTo>
                      <a:pt x="6740931" y="2033939"/>
                    </a:lnTo>
                    <a:lnTo>
                      <a:pt x="6740941" y="2037818"/>
                    </a:lnTo>
                    <a:lnTo>
                      <a:pt x="6743007" y="2042177"/>
                    </a:lnTo>
                    <a:lnTo>
                      <a:pt x="6743582" y="2044142"/>
                    </a:lnTo>
                    <a:lnTo>
                      <a:pt x="6742783" y="2045038"/>
                    </a:lnTo>
                    <a:lnTo>
                      <a:pt x="6738715" y="2045755"/>
                    </a:lnTo>
                    <a:lnTo>
                      <a:pt x="6735011" y="2047306"/>
                    </a:lnTo>
                    <a:lnTo>
                      <a:pt x="6730346" y="2052133"/>
                    </a:lnTo>
                    <a:lnTo>
                      <a:pt x="6728044" y="2056878"/>
                    </a:lnTo>
                    <a:lnTo>
                      <a:pt x="6723333" y="2066369"/>
                    </a:lnTo>
                    <a:lnTo>
                      <a:pt x="6718553" y="2073811"/>
                    </a:lnTo>
                    <a:lnTo>
                      <a:pt x="6706213" y="2079986"/>
                    </a:lnTo>
                    <a:lnTo>
                      <a:pt x="6697001" y="2085872"/>
                    </a:lnTo>
                    <a:lnTo>
                      <a:pt x="6686810" y="2092826"/>
                    </a:lnTo>
                    <a:lnTo>
                      <a:pt x="6673693" y="2100055"/>
                    </a:lnTo>
                    <a:lnTo>
                      <a:pt x="6665500" y="2102624"/>
                    </a:lnTo>
                    <a:lnTo>
                      <a:pt x="6642520" y="2104011"/>
                    </a:lnTo>
                    <a:lnTo>
                      <a:pt x="6627564" y="2104771"/>
                    </a:lnTo>
                    <a:lnTo>
                      <a:pt x="6617699" y="2103702"/>
                    </a:lnTo>
                    <a:lnTo>
                      <a:pt x="6607829" y="2102647"/>
                    </a:lnTo>
                    <a:lnTo>
                      <a:pt x="6594019" y="2100489"/>
                    </a:lnTo>
                    <a:lnTo>
                      <a:pt x="6572728" y="2093490"/>
                    </a:lnTo>
                    <a:lnTo>
                      <a:pt x="6558212" y="2091019"/>
                    </a:lnTo>
                    <a:lnTo>
                      <a:pt x="6535708" y="2085140"/>
                    </a:lnTo>
                    <a:lnTo>
                      <a:pt x="6524921" y="2083145"/>
                    </a:lnTo>
                    <a:lnTo>
                      <a:pt x="6514760" y="2082452"/>
                    </a:lnTo>
                    <a:lnTo>
                      <a:pt x="6510959" y="2080814"/>
                    </a:lnTo>
                    <a:lnTo>
                      <a:pt x="6507975" y="2076896"/>
                    </a:lnTo>
                    <a:lnTo>
                      <a:pt x="6508545" y="2074120"/>
                    </a:lnTo>
                    <a:lnTo>
                      <a:pt x="6510958" y="2072231"/>
                    </a:lnTo>
                    <a:lnTo>
                      <a:pt x="6513547" y="2071048"/>
                    </a:lnTo>
                    <a:lnTo>
                      <a:pt x="6511312" y="2073286"/>
                    </a:lnTo>
                    <a:lnTo>
                      <a:pt x="6510380" y="2074830"/>
                    </a:lnTo>
                    <a:lnTo>
                      <a:pt x="6509806" y="2076836"/>
                    </a:lnTo>
                    <a:lnTo>
                      <a:pt x="6512188" y="2077888"/>
                    </a:lnTo>
                    <a:lnTo>
                      <a:pt x="6515141" y="2076869"/>
                    </a:lnTo>
                    <a:lnTo>
                      <a:pt x="6521626" y="2072260"/>
                    </a:lnTo>
                    <a:lnTo>
                      <a:pt x="6522170" y="2071269"/>
                    </a:lnTo>
                    <a:lnTo>
                      <a:pt x="6522993" y="2070489"/>
                    </a:lnTo>
                    <a:lnTo>
                      <a:pt x="6525921" y="2069615"/>
                    </a:lnTo>
                    <a:lnTo>
                      <a:pt x="6529287" y="2067654"/>
                    </a:lnTo>
                    <a:lnTo>
                      <a:pt x="6530193" y="2066819"/>
                    </a:lnTo>
                    <a:lnTo>
                      <a:pt x="6530516" y="2064395"/>
                    </a:lnTo>
                    <a:lnTo>
                      <a:pt x="6530126" y="2060763"/>
                    </a:lnTo>
                    <a:lnTo>
                      <a:pt x="6529223" y="2056804"/>
                    </a:lnTo>
                    <a:lnTo>
                      <a:pt x="6528033" y="2053407"/>
                    </a:lnTo>
                    <a:lnTo>
                      <a:pt x="6526247" y="2050132"/>
                    </a:lnTo>
                    <a:lnTo>
                      <a:pt x="6524100" y="2047324"/>
                    </a:lnTo>
                    <a:lnTo>
                      <a:pt x="6521593" y="2045062"/>
                    </a:lnTo>
                    <a:lnTo>
                      <a:pt x="6518773" y="2043348"/>
                    </a:lnTo>
                    <a:lnTo>
                      <a:pt x="6519682" y="2043387"/>
                    </a:lnTo>
                    <a:lnTo>
                      <a:pt x="6522311" y="2043026"/>
                    </a:lnTo>
                    <a:lnTo>
                      <a:pt x="6518273" y="2039437"/>
                    </a:lnTo>
                    <a:lnTo>
                      <a:pt x="6512328" y="2037495"/>
                    </a:lnTo>
                    <a:lnTo>
                      <a:pt x="6507277" y="2034937"/>
                    </a:lnTo>
                    <a:lnTo>
                      <a:pt x="6505909" y="2029435"/>
                    </a:lnTo>
                    <a:lnTo>
                      <a:pt x="6497956" y="2031444"/>
                    </a:lnTo>
                    <a:lnTo>
                      <a:pt x="6494553" y="2033653"/>
                    </a:lnTo>
                    <a:lnTo>
                      <a:pt x="6495037" y="2036609"/>
                    </a:lnTo>
                    <a:lnTo>
                      <a:pt x="6499736" y="2042686"/>
                    </a:lnTo>
                    <a:lnTo>
                      <a:pt x="6500990" y="2043473"/>
                    </a:lnTo>
                    <a:lnTo>
                      <a:pt x="6503044" y="2043628"/>
                    </a:lnTo>
                    <a:lnTo>
                      <a:pt x="6504822" y="2044393"/>
                    </a:lnTo>
                    <a:lnTo>
                      <a:pt x="6508237" y="2047026"/>
                    </a:lnTo>
                    <a:lnTo>
                      <a:pt x="6510968" y="2050363"/>
                    </a:lnTo>
                    <a:lnTo>
                      <a:pt x="6510801" y="2052925"/>
                    </a:lnTo>
                    <a:lnTo>
                      <a:pt x="6508539" y="2054662"/>
                    </a:lnTo>
                    <a:lnTo>
                      <a:pt x="6501448" y="2056364"/>
                    </a:lnTo>
                    <a:lnTo>
                      <a:pt x="6485753" y="2065727"/>
                    </a:lnTo>
                    <a:lnTo>
                      <a:pt x="6478624" y="2067940"/>
                    </a:lnTo>
                    <a:lnTo>
                      <a:pt x="6470997" y="2068218"/>
                    </a:lnTo>
                    <a:lnTo>
                      <a:pt x="6448052" y="2061389"/>
                    </a:lnTo>
                    <a:lnTo>
                      <a:pt x="6437380" y="2058222"/>
                    </a:lnTo>
                    <a:lnTo>
                      <a:pt x="6419846" y="2058319"/>
                    </a:lnTo>
                    <a:lnTo>
                      <a:pt x="6407018" y="2055943"/>
                    </a:lnTo>
                    <a:lnTo>
                      <a:pt x="6386682" y="2054722"/>
                    </a:lnTo>
                    <a:lnTo>
                      <a:pt x="6369009" y="2054585"/>
                    </a:lnTo>
                    <a:lnTo>
                      <a:pt x="6348283" y="2051056"/>
                    </a:lnTo>
                    <a:lnTo>
                      <a:pt x="6327601" y="2050804"/>
                    </a:lnTo>
                    <a:lnTo>
                      <a:pt x="6305295" y="2056586"/>
                    </a:lnTo>
                    <a:lnTo>
                      <a:pt x="6279426" y="2063600"/>
                    </a:lnTo>
                    <a:lnTo>
                      <a:pt x="6246052" y="2069213"/>
                    </a:lnTo>
                    <a:lnTo>
                      <a:pt x="6227668" y="2071320"/>
                    </a:lnTo>
                    <a:lnTo>
                      <a:pt x="6211127" y="2077363"/>
                    </a:lnTo>
                    <a:lnTo>
                      <a:pt x="6197746" y="2083360"/>
                    </a:lnTo>
                    <a:lnTo>
                      <a:pt x="6190837" y="2084558"/>
                    </a:lnTo>
                    <a:lnTo>
                      <a:pt x="6173547" y="2079743"/>
                    </a:lnTo>
                    <a:lnTo>
                      <a:pt x="6165292" y="2079634"/>
                    </a:lnTo>
                    <a:lnTo>
                      <a:pt x="6146899" y="2080895"/>
                    </a:lnTo>
                    <a:lnTo>
                      <a:pt x="6161397" y="2078334"/>
                    </a:lnTo>
                    <a:lnTo>
                      <a:pt x="6174661" y="2078450"/>
                    </a:lnTo>
                    <a:lnTo>
                      <a:pt x="6178062" y="2077073"/>
                    </a:lnTo>
                    <a:lnTo>
                      <a:pt x="6174779" y="2073029"/>
                    </a:lnTo>
                    <a:lnTo>
                      <a:pt x="6169993" y="2069784"/>
                    </a:lnTo>
                    <a:lnTo>
                      <a:pt x="6147158" y="2058547"/>
                    </a:lnTo>
                    <a:lnTo>
                      <a:pt x="6145253" y="2058005"/>
                    </a:lnTo>
                    <a:lnTo>
                      <a:pt x="6142670" y="2058007"/>
                    </a:lnTo>
                    <a:lnTo>
                      <a:pt x="6140719" y="2057162"/>
                    </a:lnTo>
                    <a:lnTo>
                      <a:pt x="6141686" y="2054934"/>
                    </a:lnTo>
                    <a:lnTo>
                      <a:pt x="6145330" y="2051191"/>
                    </a:lnTo>
                    <a:lnTo>
                      <a:pt x="6146313" y="2050901"/>
                    </a:lnTo>
                    <a:lnTo>
                      <a:pt x="6147081" y="2050360"/>
                    </a:lnTo>
                    <a:lnTo>
                      <a:pt x="6147120" y="2048957"/>
                    </a:lnTo>
                    <a:lnTo>
                      <a:pt x="6146418" y="2047433"/>
                    </a:lnTo>
                    <a:lnTo>
                      <a:pt x="6145421" y="2046719"/>
                    </a:lnTo>
                    <a:lnTo>
                      <a:pt x="6144414" y="2046860"/>
                    </a:lnTo>
                    <a:lnTo>
                      <a:pt x="6143687" y="2047863"/>
                    </a:lnTo>
                    <a:lnTo>
                      <a:pt x="6139849" y="2050445"/>
                    </a:lnTo>
                    <a:lnTo>
                      <a:pt x="6126433" y="2049034"/>
                    </a:lnTo>
                    <a:lnTo>
                      <a:pt x="6121652" y="2050251"/>
                    </a:lnTo>
                    <a:lnTo>
                      <a:pt x="6124004" y="2052650"/>
                    </a:lnTo>
                    <a:lnTo>
                      <a:pt x="6114757" y="2054799"/>
                    </a:lnTo>
                    <a:lnTo>
                      <a:pt x="6112718" y="2054353"/>
                    </a:lnTo>
                    <a:lnTo>
                      <a:pt x="6110420" y="2053068"/>
                    </a:lnTo>
                    <a:lnTo>
                      <a:pt x="6109099" y="2051340"/>
                    </a:lnTo>
                    <a:lnTo>
                      <a:pt x="6110024" y="2049631"/>
                    </a:lnTo>
                    <a:lnTo>
                      <a:pt x="6107528" y="2047443"/>
                    </a:lnTo>
                    <a:lnTo>
                      <a:pt x="6104437" y="2048901"/>
                    </a:lnTo>
                    <a:lnTo>
                      <a:pt x="6101252" y="2051620"/>
                    </a:lnTo>
                    <a:lnTo>
                      <a:pt x="6098501" y="2053171"/>
                    </a:lnTo>
                    <a:lnTo>
                      <a:pt x="6094370" y="2052324"/>
                    </a:lnTo>
                    <a:lnTo>
                      <a:pt x="6086289" y="2049167"/>
                    </a:lnTo>
                    <a:lnTo>
                      <a:pt x="6082012" y="2047647"/>
                    </a:lnTo>
                    <a:lnTo>
                      <a:pt x="6083725" y="2047152"/>
                    </a:lnTo>
                    <a:lnTo>
                      <a:pt x="6085413" y="2047519"/>
                    </a:lnTo>
                    <a:lnTo>
                      <a:pt x="6086690" y="2048158"/>
                    </a:lnTo>
                    <a:lnTo>
                      <a:pt x="6088507" y="2048645"/>
                    </a:lnTo>
                    <a:lnTo>
                      <a:pt x="6087988" y="2047645"/>
                    </a:lnTo>
                    <a:lnTo>
                      <a:pt x="6084606" y="2043408"/>
                    </a:lnTo>
                    <a:lnTo>
                      <a:pt x="6079006" y="2038416"/>
                    </a:lnTo>
                    <a:lnTo>
                      <a:pt x="6073169" y="2036494"/>
                    </a:lnTo>
                    <a:lnTo>
                      <a:pt x="6071647" y="2035591"/>
                    </a:lnTo>
                    <a:lnTo>
                      <a:pt x="6070136" y="2034384"/>
                    </a:lnTo>
                    <a:lnTo>
                      <a:pt x="6068069" y="2033255"/>
                    </a:lnTo>
                    <a:lnTo>
                      <a:pt x="6066121" y="2032747"/>
                    </a:lnTo>
                    <a:lnTo>
                      <a:pt x="6064951" y="2033378"/>
                    </a:lnTo>
                    <a:lnTo>
                      <a:pt x="6063495" y="2035218"/>
                    </a:lnTo>
                    <a:lnTo>
                      <a:pt x="6062000" y="2034762"/>
                    </a:lnTo>
                    <a:lnTo>
                      <a:pt x="6060576" y="2033709"/>
                    </a:lnTo>
                    <a:lnTo>
                      <a:pt x="6059312" y="2033784"/>
                    </a:lnTo>
                    <a:lnTo>
                      <a:pt x="6058124" y="2034358"/>
                    </a:lnTo>
                    <a:lnTo>
                      <a:pt x="6055908" y="2033796"/>
                    </a:lnTo>
                    <a:lnTo>
                      <a:pt x="6054986" y="2034096"/>
                    </a:lnTo>
                    <a:lnTo>
                      <a:pt x="6053253" y="2036242"/>
                    </a:lnTo>
                    <a:lnTo>
                      <a:pt x="6051320" y="2036333"/>
                    </a:lnTo>
                    <a:lnTo>
                      <a:pt x="6049813" y="2036135"/>
                    </a:lnTo>
                    <a:lnTo>
                      <a:pt x="6048247" y="2035453"/>
                    </a:lnTo>
                    <a:lnTo>
                      <a:pt x="6046093" y="2034057"/>
                    </a:lnTo>
                    <a:lnTo>
                      <a:pt x="6046558" y="2032098"/>
                    </a:lnTo>
                    <a:lnTo>
                      <a:pt x="6048411" y="2030038"/>
                    </a:lnTo>
                    <a:lnTo>
                      <a:pt x="6050704" y="2025121"/>
                    </a:lnTo>
                    <a:lnTo>
                      <a:pt x="6050813" y="2024166"/>
                    </a:lnTo>
                    <a:lnTo>
                      <a:pt x="6050068" y="2022598"/>
                    </a:lnTo>
                    <a:lnTo>
                      <a:pt x="6049138" y="2022166"/>
                    </a:lnTo>
                    <a:lnTo>
                      <a:pt x="6048275" y="2022149"/>
                    </a:lnTo>
                    <a:lnTo>
                      <a:pt x="6047702" y="2021811"/>
                    </a:lnTo>
                    <a:lnTo>
                      <a:pt x="6046139" y="2019348"/>
                    </a:lnTo>
                    <a:lnTo>
                      <a:pt x="6046135" y="2018192"/>
                    </a:lnTo>
                    <a:lnTo>
                      <a:pt x="6047214" y="2016349"/>
                    </a:lnTo>
                    <a:lnTo>
                      <a:pt x="6048753" y="2015139"/>
                    </a:lnTo>
                    <a:lnTo>
                      <a:pt x="6050682" y="2014672"/>
                    </a:lnTo>
                    <a:lnTo>
                      <a:pt x="6054871" y="2014578"/>
                    </a:lnTo>
                    <a:lnTo>
                      <a:pt x="6054528" y="2013127"/>
                    </a:lnTo>
                    <a:lnTo>
                      <a:pt x="6051249" y="2011613"/>
                    </a:lnTo>
                    <a:lnTo>
                      <a:pt x="6052803" y="2008017"/>
                    </a:lnTo>
                    <a:lnTo>
                      <a:pt x="6057953" y="2001979"/>
                    </a:lnTo>
                    <a:lnTo>
                      <a:pt x="6057012" y="1999864"/>
                    </a:lnTo>
                    <a:lnTo>
                      <a:pt x="6056334" y="1996920"/>
                    </a:lnTo>
                    <a:lnTo>
                      <a:pt x="6055418" y="1995398"/>
                    </a:lnTo>
                    <a:lnTo>
                      <a:pt x="6052175" y="1999990"/>
                    </a:lnTo>
                    <a:lnTo>
                      <a:pt x="6049848" y="2001586"/>
                    </a:lnTo>
                    <a:lnTo>
                      <a:pt x="6047269" y="2001515"/>
                    </a:lnTo>
                    <a:lnTo>
                      <a:pt x="6044859" y="1998880"/>
                    </a:lnTo>
                    <a:lnTo>
                      <a:pt x="6045387" y="1996773"/>
                    </a:lnTo>
                    <a:lnTo>
                      <a:pt x="6046234" y="1995541"/>
                    </a:lnTo>
                    <a:lnTo>
                      <a:pt x="6047198" y="1994597"/>
                    </a:lnTo>
                    <a:lnTo>
                      <a:pt x="6048581" y="1992427"/>
                    </a:lnTo>
                    <a:lnTo>
                      <a:pt x="6049602" y="1991246"/>
                    </a:lnTo>
                    <a:lnTo>
                      <a:pt x="6049986" y="1990553"/>
                    </a:lnTo>
                    <a:lnTo>
                      <a:pt x="6049885" y="1989534"/>
                    </a:lnTo>
                    <a:lnTo>
                      <a:pt x="6049392" y="1988181"/>
                    </a:lnTo>
                    <a:lnTo>
                      <a:pt x="6049068" y="1986994"/>
                    </a:lnTo>
                    <a:lnTo>
                      <a:pt x="6049450" y="1986444"/>
                    </a:lnTo>
                    <a:lnTo>
                      <a:pt x="6050584" y="1985375"/>
                    </a:lnTo>
                    <a:lnTo>
                      <a:pt x="6050350" y="1983162"/>
                    </a:lnTo>
                    <a:lnTo>
                      <a:pt x="6048943" y="1979126"/>
                    </a:lnTo>
                    <a:lnTo>
                      <a:pt x="6048779" y="1976988"/>
                    </a:lnTo>
                    <a:lnTo>
                      <a:pt x="6049257" y="1975317"/>
                    </a:lnTo>
                    <a:lnTo>
                      <a:pt x="6051028" y="1972863"/>
                    </a:lnTo>
                    <a:lnTo>
                      <a:pt x="6053382" y="1970719"/>
                    </a:lnTo>
                    <a:lnTo>
                      <a:pt x="6053861" y="1969690"/>
                    </a:lnTo>
                    <a:lnTo>
                      <a:pt x="6054111" y="1967138"/>
                    </a:lnTo>
                    <a:lnTo>
                      <a:pt x="6053549" y="1965311"/>
                    </a:lnTo>
                    <a:lnTo>
                      <a:pt x="6052501" y="1963214"/>
                    </a:lnTo>
                    <a:lnTo>
                      <a:pt x="6052168" y="1961427"/>
                    </a:lnTo>
                    <a:lnTo>
                      <a:pt x="6053770" y="1960556"/>
                    </a:lnTo>
                    <a:lnTo>
                      <a:pt x="6057747" y="1961195"/>
                    </a:lnTo>
                    <a:lnTo>
                      <a:pt x="6061645" y="1962530"/>
                    </a:lnTo>
                    <a:lnTo>
                      <a:pt x="6065247" y="1962962"/>
                    </a:lnTo>
                    <a:lnTo>
                      <a:pt x="6068321" y="1960835"/>
                    </a:lnTo>
                    <a:lnTo>
                      <a:pt x="6069741" y="1958638"/>
                    </a:lnTo>
                    <a:lnTo>
                      <a:pt x="6069946" y="1957251"/>
                    </a:lnTo>
                    <a:lnTo>
                      <a:pt x="6069589" y="1955233"/>
                    </a:lnTo>
                    <a:lnTo>
                      <a:pt x="6068404" y="1952120"/>
                    </a:lnTo>
                    <a:lnTo>
                      <a:pt x="6067412" y="1951584"/>
                    </a:lnTo>
                    <a:lnTo>
                      <a:pt x="6066171" y="1952301"/>
                    </a:lnTo>
                    <a:lnTo>
                      <a:pt x="6057661" y="1954908"/>
                    </a:lnTo>
                    <a:lnTo>
                      <a:pt x="6054576" y="1956824"/>
                    </a:lnTo>
                    <a:lnTo>
                      <a:pt x="6052213" y="1959201"/>
                    </a:lnTo>
                    <a:lnTo>
                      <a:pt x="6050937" y="1962270"/>
                    </a:lnTo>
                    <a:lnTo>
                      <a:pt x="6049996" y="1965930"/>
                    </a:lnTo>
                    <a:lnTo>
                      <a:pt x="6048530" y="1969067"/>
                    </a:lnTo>
                    <a:lnTo>
                      <a:pt x="6042526" y="1972117"/>
                    </a:lnTo>
                    <a:lnTo>
                      <a:pt x="6041526" y="1975412"/>
                    </a:lnTo>
                    <a:lnTo>
                      <a:pt x="6041273" y="1979407"/>
                    </a:lnTo>
                    <a:lnTo>
                      <a:pt x="6040332" y="1983060"/>
                    </a:lnTo>
                    <a:lnTo>
                      <a:pt x="6038408" y="1985165"/>
                    </a:lnTo>
                    <a:lnTo>
                      <a:pt x="6031493" y="1989670"/>
                    </a:lnTo>
                    <a:lnTo>
                      <a:pt x="6028463" y="1990641"/>
                    </a:lnTo>
                    <a:lnTo>
                      <a:pt x="6026264" y="1992127"/>
                    </a:lnTo>
                    <a:lnTo>
                      <a:pt x="6024342" y="1995392"/>
                    </a:lnTo>
                    <a:lnTo>
                      <a:pt x="6021826" y="2001995"/>
                    </a:lnTo>
                    <a:lnTo>
                      <a:pt x="6020184" y="2008752"/>
                    </a:lnTo>
                    <a:lnTo>
                      <a:pt x="6018701" y="2011785"/>
                    </a:lnTo>
                    <a:lnTo>
                      <a:pt x="6012988" y="2014609"/>
                    </a:lnTo>
                    <a:lnTo>
                      <a:pt x="6005998" y="2024764"/>
                    </a:lnTo>
                    <a:lnTo>
                      <a:pt x="6002226" y="2027202"/>
                    </a:lnTo>
                    <a:lnTo>
                      <a:pt x="5997751" y="2027770"/>
                    </a:lnTo>
                    <a:lnTo>
                      <a:pt x="5986811" y="2027197"/>
                    </a:lnTo>
                    <a:lnTo>
                      <a:pt x="5984931" y="2026589"/>
                    </a:lnTo>
                    <a:lnTo>
                      <a:pt x="5983096" y="2025609"/>
                    </a:lnTo>
                    <a:lnTo>
                      <a:pt x="5979712" y="2022980"/>
                    </a:lnTo>
                    <a:lnTo>
                      <a:pt x="5975467" y="2022223"/>
                    </a:lnTo>
                    <a:lnTo>
                      <a:pt x="5973533" y="2021521"/>
                    </a:lnTo>
                    <a:lnTo>
                      <a:pt x="5972318" y="2020170"/>
                    </a:lnTo>
                    <a:lnTo>
                      <a:pt x="5970226" y="2016321"/>
                    </a:lnTo>
                    <a:lnTo>
                      <a:pt x="5969258" y="2014954"/>
                    </a:lnTo>
                    <a:lnTo>
                      <a:pt x="5967392" y="2014056"/>
                    </a:lnTo>
                    <a:lnTo>
                      <a:pt x="5962970" y="2013308"/>
                    </a:lnTo>
                    <a:lnTo>
                      <a:pt x="5959690" y="2011609"/>
                    </a:lnTo>
                    <a:lnTo>
                      <a:pt x="5946692" y="2011106"/>
                    </a:lnTo>
                    <a:lnTo>
                      <a:pt x="5938944" y="2010229"/>
                    </a:lnTo>
                    <a:lnTo>
                      <a:pt x="5930177" y="2012949"/>
                    </a:lnTo>
                    <a:lnTo>
                      <a:pt x="5922668" y="2014787"/>
                    </a:lnTo>
                    <a:lnTo>
                      <a:pt x="5913102" y="2013769"/>
                    </a:lnTo>
                    <a:lnTo>
                      <a:pt x="5912110" y="2010869"/>
                    </a:lnTo>
                    <a:lnTo>
                      <a:pt x="5914127" y="2008999"/>
                    </a:lnTo>
                    <a:lnTo>
                      <a:pt x="5919198" y="2007139"/>
                    </a:lnTo>
                    <a:lnTo>
                      <a:pt x="5920981" y="2005523"/>
                    </a:lnTo>
                    <a:lnTo>
                      <a:pt x="5922569" y="2003072"/>
                    </a:lnTo>
                    <a:lnTo>
                      <a:pt x="5930551" y="1995612"/>
                    </a:lnTo>
                    <a:lnTo>
                      <a:pt x="5939149" y="1982110"/>
                    </a:lnTo>
                    <a:lnTo>
                      <a:pt x="5939548" y="1980090"/>
                    </a:lnTo>
                    <a:lnTo>
                      <a:pt x="5939855" y="1976707"/>
                    </a:lnTo>
                    <a:lnTo>
                      <a:pt x="5941765" y="1974633"/>
                    </a:lnTo>
                    <a:lnTo>
                      <a:pt x="5943791" y="1973014"/>
                    </a:lnTo>
                    <a:lnTo>
                      <a:pt x="5944496" y="1970965"/>
                    </a:lnTo>
                    <a:lnTo>
                      <a:pt x="5942660" y="1967897"/>
                    </a:lnTo>
                    <a:lnTo>
                      <a:pt x="5939930" y="1968875"/>
                    </a:lnTo>
                    <a:lnTo>
                      <a:pt x="5935732" y="1972787"/>
                    </a:lnTo>
                    <a:lnTo>
                      <a:pt x="5917999" y="1980992"/>
                    </a:lnTo>
                    <a:lnTo>
                      <a:pt x="5913180" y="1979802"/>
                    </a:lnTo>
                    <a:lnTo>
                      <a:pt x="5918027" y="1977294"/>
                    </a:lnTo>
                    <a:lnTo>
                      <a:pt x="5920164" y="1975230"/>
                    </a:lnTo>
                    <a:lnTo>
                      <a:pt x="5921194" y="1972544"/>
                    </a:lnTo>
                    <a:lnTo>
                      <a:pt x="5918696" y="1972329"/>
                    </a:lnTo>
                    <a:lnTo>
                      <a:pt x="5914367" y="1974267"/>
                    </a:lnTo>
                    <a:lnTo>
                      <a:pt x="5911724" y="1973180"/>
                    </a:lnTo>
                    <a:lnTo>
                      <a:pt x="5914247" y="1970323"/>
                    </a:lnTo>
                    <a:lnTo>
                      <a:pt x="5915156" y="1968502"/>
                    </a:lnTo>
                    <a:lnTo>
                      <a:pt x="5915404" y="1966094"/>
                    </a:lnTo>
                    <a:lnTo>
                      <a:pt x="5913255" y="1966759"/>
                    </a:lnTo>
                    <a:lnTo>
                      <a:pt x="5910475" y="1968680"/>
                    </a:lnTo>
                    <a:lnTo>
                      <a:pt x="5908191" y="1971320"/>
                    </a:lnTo>
                    <a:lnTo>
                      <a:pt x="5906735" y="1976991"/>
                    </a:lnTo>
                    <a:lnTo>
                      <a:pt x="5903679" y="1978587"/>
                    </a:lnTo>
                    <a:lnTo>
                      <a:pt x="5897319" y="1979497"/>
                    </a:lnTo>
                    <a:lnTo>
                      <a:pt x="5897950" y="1976801"/>
                    </a:lnTo>
                    <a:lnTo>
                      <a:pt x="5899041" y="1975144"/>
                    </a:lnTo>
                    <a:lnTo>
                      <a:pt x="5901981" y="1972485"/>
                    </a:lnTo>
                    <a:lnTo>
                      <a:pt x="5903105" y="1970732"/>
                    </a:lnTo>
                    <a:lnTo>
                      <a:pt x="5904681" y="1966980"/>
                    </a:lnTo>
                    <a:lnTo>
                      <a:pt x="5905686" y="1965521"/>
                    </a:lnTo>
                    <a:lnTo>
                      <a:pt x="5902419" y="1964899"/>
                    </a:lnTo>
                    <a:lnTo>
                      <a:pt x="5899500" y="1967132"/>
                    </a:lnTo>
                    <a:lnTo>
                      <a:pt x="5896714" y="1970084"/>
                    </a:lnTo>
                    <a:lnTo>
                      <a:pt x="5893870" y="1971679"/>
                    </a:lnTo>
                    <a:lnTo>
                      <a:pt x="5890618" y="1972582"/>
                    </a:lnTo>
                    <a:lnTo>
                      <a:pt x="5872799" y="1980930"/>
                    </a:lnTo>
                    <a:lnTo>
                      <a:pt x="5867700" y="1981621"/>
                    </a:lnTo>
                    <a:lnTo>
                      <a:pt x="5864935" y="1979547"/>
                    </a:lnTo>
                    <a:lnTo>
                      <a:pt x="5864683" y="1979044"/>
                    </a:lnTo>
                    <a:lnTo>
                      <a:pt x="5864282" y="1978702"/>
                    </a:lnTo>
                    <a:lnTo>
                      <a:pt x="5863834" y="1978140"/>
                    </a:lnTo>
                    <a:lnTo>
                      <a:pt x="5863437" y="1976967"/>
                    </a:lnTo>
                    <a:lnTo>
                      <a:pt x="5863702" y="1976406"/>
                    </a:lnTo>
                    <a:lnTo>
                      <a:pt x="5865581" y="1976044"/>
                    </a:lnTo>
                    <a:lnTo>
                      <a:pt x="5866252" y="1975505"/>
                    </a:lnTo>
                    <a:lnTo>
                      <a:pt x="5867123" y="1974106"/>
                    </a:lnTo>
                    <a:lnTo>
                      <a:pt x="5879398" y="1963832"/>
                    </a:lnTo>
                    <a:lnTo>
                      <a:pt x="5883720" y="1962563"/>
                    </a:lnTo>
                    <a:lnTo>
                      <a:pt x="5884923" y="1961645"/>
                    </a:lnTo>
                    <a:lnTo>
                      <a:pt x="5885642" y="1960152"/>
                    </a:lnTo>
                    <a:lnTo>
                      <a:pt x="5885600" y="1958076"/>
                    </a:lnTo>
                    <a:lnTo>
                      <a:pt x="5886163" y="1957247"/>
                    </a:lnTo>
                    <a:lnTo>
                      <a:pt x="5889885" y="1958535"/>
                    </a:lnTo>
                    <a:lnTo>
                      <a:pt x="5890596" y="1957010"/>
                    </a:lnTo>
                    <a:lnTo>
                      <a:pt x="5890052" y="1955943"/>
                    </a:lnTo>
                    <a:lnTo>
                      <a:pt x="5886954" y="1951896"/>
                    </a:lnTo>
                    <a:lnTo>
                      <a:pt x="5887279" y="1950148"/>
                    </a:lnTo>
                    <a:lnTo>
                      <a:pt x="5887149" y="1948909"/>
                    </a:lnTo>
                    <a:lnTo>
                      <a:pt x="5886089" y="1947925"/>
                    </a:lnTo>
                    <a:lnTo>
                      <a:pt x="5885337" y="1947800"/>
                    </a:lnTo>
                    <a:lnTo>
                      <a:pt x="5884470" y="1947888"/>
                    </a:lnTo>
                    <a:lnTo>
                      <a:pt x="5883784" y="1948238"/>
                    </a:lnTo>
                    <a:lnTo>
                      <a:pt x="5883591" y="1948834"/>
                    </a:lnTo>
                    <a:lnTo>
                      <a:pt x="5883039" y="1952394"/>
                    </a:lnTo>
                    <a:lnTo>
                      <a:pt x="5880652" y="1955597"/>
                    </a:lnTo>
                    <a:lnTo>
                      <a:pt x="5875453" y="1959487"/>
                    </a:lnTo>
                    <a:lnTo>
                      <a:pt x="5872338" y="1960498"/>
                    </a:lnTo>
                    <a:lnTo>
                      <a:pt x="5870283" y="1959977"/>
                    </a:lnTo>
                    <a:lnTo>
                      <a:pt x="5869947" y="1958217"/>
                    </a:lnTo>
                    <a:lnTo>
                      <a:pt x="5871976" y="1955447"/>
                    </a:lnTo>
                    <a:lnTo>
                      <a:pt x="5866272" y="1956962"/>
                    </a:lnTo>
                    <a:lnTo>
                      <a:pt x="5864729" y="1958038"/>
                    </a:lnTo>
                    <a:lnTo>
                      <a:pt x="5863841" y="1959727"/>
                    </a:lnTo>
                    <a:lnTo>
                      <a:pt x="5863255" y="1961769"/>
                    </a:lnTo>
                    <a:lnTo>
                      <a:pt x="5862413" y="1963511"/>
                    </a:lnTo>
                    <a:lnTo>
                      <a:pt x="5860778" y="1964336"/>
                    </a:lnTo>
                    <a:lnTo>
                      <a:pt x="5856754" y="1964341"/>
                    </a:lnTo>
                    <a:lnTo>
                      <a:pt x="5855102" y="1963313"/>
                    </a:lnTo>
                    <a:lnTo>
                      <a:pt x="5853906" y="1960889"/>
                    </a:lnTo>
                    <a:lnTo>
                      <a:pt x="5853623" y="1958271"/>
                    </a:lnTo>
                    <a:lnTo>
                      <a:pt x="5854288" y="1956838"/>
                    </a:lnTo>
                    <a:lnTo>
                      <a:pt x="5855286" y="1955680"/>
                    </a:lnTo>
                    <a:lnTo>
                      <a:pt x="5855973" y="1953925"/>
                    </a:lnTo>
                    <a:lnTo>
                      <a:pt x="5852675" y="1955697"/>
                    </a:lnTo>
                    <a:lnTo>
                      <a:pt x="5849278" y="1963369"/>
                    </a:lnTo>
                    <a:lnTo>
                      <a:pt x="5845149" y="1965936"/>
                    </a:lnTo>
                    <a:lnTo>
                      <a:pt x="5842235" y="1969112"/>
                    </a:lnTo>
                    <a:lnTo>
                      <a:pt x="5841410" y="1970329"/>
                    </a:lnTo>
                    <a:lnTo>
                      <a:pt x="5840008" y="1971370"/>
                    </a:lnTo>
                    <a:lnTo>
                      <a:pt x="5834843" y="1973473"/>
                    </a:lnTo>
                    <a:lnTo>
                      <a:pt x="5833391" y="1973525"/>
                    </a:lnTo>
                    <a:lnTo>
                      <a:pt x="5829945" y="1971604"/>
                    </a:lnTo>
                    <a:lnTo>
                      <a:pt x="5825733" y="1971217"/>
                    </a:lnTo>
                    <a:lnTo>
                      <a:pt x="5813997" y="1972682"/>
                    </a:lnTo>
                    <a:lnTo>
                      <a:pt x="5812910" y="1972297"/>
                    </a:lnTo>
                    <a:lnTo>
                      <a:pt x="5812483" y="1971197"/>
                    </a:lnTo>
                    <a:lnTo>
                      <a:pt x="5812297" y="1969890"/>
                    </a:lnTo>
                    <a:lnTo>
                      <a:pt x="5811844" y="1968801"/>
                    </a:lnTo>
                    <a:lnTo>
                      <a:pt x="5810543" y="1967542"/>
                    </a:lnTo>
                    <a:lnTo>
                      <a:pt x="5805620" y="1963962"/>
                    </a:lnTo>
                    <a:lnTo>
                      <a:pt x="5807460" y="1962290"/>
                    </a:lnTo>
                    <a:lnTo>
                      <a:pt x="5809846" y="1962683"/>
                    </a:lnTo>
                    <a:lnTo>
                      <a:pt x="5812406" y="1964248"/>
                    </a:lnTo>
                    <a:lnTo>
                      <a:pt x="5814767" y="1966071"/>
                    </a:lnTo>
                    <a:lnTo>
                      <a:pt x="5814742" y="1961897"/>
                    </a:lnTo>
                    <a:lnTo>
                      <a:pt x="5815024" y="1960161"/>
                    </a:lnTo>
                    <a:lnTo>
                      <a:pt x="5815913" y="1959053"/>
                    </a:lnTo>
                    <a:lnTo>
                      <a:pt x="5817965" y="1959186"/>
                    </a:lnTo>
                    <a:lnTo>
                      <a:pt x="5822131" y="1961717"/>
                    </a:lnTo>
                    <a:lnTo>
                      <a:pt x="5825330" y="1959892"/>
                    </a:lnTo>
                    <a:lnTo>
                      <a:pt x="5829435" y="1962548"/>
                    </a:lnTo>
                    <a:lnTo>
                      <a:pt x="5830896" y="1961623"/>
                    </a:lnTo>
                    <a:lnTo>
                      <a:pt x="5830673" y="1959226"/>
                    </a:lnTo>
                    <a:lnTo>
                      <a:pt x="5828650" y="1957838"/>
                    </a:lnTo>
                    <a:lnTo>
                      <a:pt x="5826101" y="1957257"/>
                    </a:lnTo>
                    <a:lnTo>
                      <a:pt x="5824335" y="1957297"/>
                    </a:lnTo>
                    <a:lnTo>
                      <a:pt x="5826852" y="1955700"/>
                    </a:lnTo>
                    <a:lnTo>
                      <a:pt x="5829915" y="1955665"/>
                    </a:lnTo>
                    <a:lnTo>
                      <a:pt x="5835963" y="1956557"/>
                    </a:lnTo>
                    <a:lnTo>
                      <a:pt x="5838267" y="1955993"/>
                    </a:lnTo>
                    <a:lnTo>
                      <a:pt x="5842977" y="1953839"/>
                    </a:lnTo>
                    <a:lnTo>
                      <a:pt x="5848164" y="1952610"/>
                    </a:lnTo>
                    <a:lnTo>
                      <a:pt x="5857369" y="1947701"/>
                    </a:lnTo>
                    <a:lnTo>
                      <a:pt x="5865429" y="1945274"/>
                    </a:lnTo>
                    <a:lnTo>
                      <a:pt x="5865144" y="1943950"/>
                    </a:lnTo>
                    <a:lnTo>
                      <a:pt x="5860894" y="1943382"/>
                    </a:lnTo>
                    <a:lnTo>
                      <a:pt x="5859296" y="1941656"/>
                    </a:lnTo>
                    <a:lnTo>
                      <a:pt x="5860334" y="1939744"/>
                    </a:lnTo>
                    <a:lnTo>
                      <a:pt x="5864005" y="1938666"/>
                    </a:lnTo>
                    <a:lnTo>
                      <a:pt x="5877420" y="1940469"/>
                    </a:lnTo>
                    <a:lnTo>
                      <a:pt x="5858912" y="1931548"/>
                    </a:lnTo>
                    <a:lnTo>
                      <a:pt x="5855402" y="1933134"/>
                    </a:lnTo>
                    <a:lnTo>
                      <a:pt x="5853038" y="1938471"/>
                    </a:lnTo>
                    <a:lnTo>
                      <a:pt x="5849468" y="1943133"/>
                    </a:lnTo>
                    <a:lnTo>
                      <a:pt x="5844906" y="1946255"/>
                    </a:lnTo>
                    <a:lnTo>
                      <a:pt x="5839553" y="1946951"/>
                    </a:lnTo>
                    <a:lnTo>
                      <a:pt x="5839273" y="1945629"/>
                    </a:lnTo>
                    <a:lnTo>
                      <a:pt x="5839794" y="1944836"/>
                    </a:lnTo>
                    <a:lnTo>
                      <a:pt x="5839994" y="1944001"/>
                    </a:lnTo>
                    <a:lnTo>
                      <a:pt x="5840218" y="1941544"/>
                    </a:lnTo>
                    <a:lnTo>
                      <a:pt x="5825822" y="1948213"/>
                    </a:lnTo>
                    <a:lnTo>
                      <a:pt x="5819546" y="1946888"/>
                    </a:lnTo>
                    <a:lnTo>
                      <a:pt x="5819314" y="1943359"/>
                    </a:lnTo>
                    <a:lnTo>
                      <a:pt x="5817449" y="1941865"/>
                    </a:lnTo>
                    <a:lnTo>
                      <a:pt x="5815061" y="1942152"/>
                    </a:lnTo>
                    <a:lnTo>
                      <a:pt x="5813245" y="1943943"/>
                    </a:lnTo>
                    <a:lnTo>
                      <a:pt x="5811792" y="1946661"/>
                    </a:lnTo>
                    <a:lnTo>
                      <a:pt x="5810792" y="1947458"/>
                    </a:lnTo>
                    <a:lnTo>
                      <a:pt x="5810154" y="1946030"/>
                    </a:lnTo>
                    <a:lnTo>
                      <a:pt x="5809797" y="1942149"/>
                    </a:lnTo>
                    <a:lnTo>
                      <a:pt x="5811604" y="1940168"/>
                    </a:lnTo>
                    <a:lnTo>
                      <a:pt x="5811808" y="1939342"/>
                    </a:lnTo>
                    <a:lnTo>
                      <a:pt x="5810902" y="1937675"/>
                    </a:lnTo>
                    <a:lnTo>
                      <a:pt x="5809452" y="1936467"/>
                    </a:lnTo>
                    <a:lnTo>
                      <a:pt x="5807888" y="1935734"/>
                    </a:lnTo>
                    <a:lnTo>
                      <a:pt x="5806680" y="1935524"/>
                    </a:lnTo>
                    <a:lnTo>
                      <a:pt x="5805032" y="1936250"/>
                    </a:lnTo>
                    <a:lnTo>
                      <a:pt x="5803594" y="1937394"/>
                    </a:lnTo>
                    <a:lnTo>
                      <a:pt x="5801748" y="1937724"/>
                    </a:lnTo>
                    <a:lnTo>
                      <a:pt x="5798890" y="1936014"/>
                    </a:lnTo>
                    <a:lnTo>
                      <a:pt x="5798594" y="1935482"/>
                    </a:lnTo>
                    <a:lnTo>
                      <a:pt x="5796354" y="1932153"/>
                    </a:lnTo>
                    <a:lnTo>
                      <a:pt x="5795234" y="1931026"/>
                    </a:lnTo>
                    <a:lnTo>
                      <a:pt x="5794277" y="1930448"/>
                    </a:lnTo>
                    <a:lnTo>
                      <a:pt x="5793471" y="1929605"/>
                    </a:lnTo>
                    <a:lnTo>
                      <a:pt x="5792841" y="1927699"/>
                    </a:lnTo>
                    <a:lnTo>
                      <a:pt x="5789991" y="1923722"/>
                    </a:lnTo>
                    <a:lnTo>
                      <a:pt x="5789636" y="1921927"/>
                    </a:lnTo>
                    <a:lnTo>
                      <a:pt x="5792545" y="1921696"/>
                    </a:lnTo>
                    <a:lnTo>
                      <a:pt x="5794631" y="1922498"/>
                    </a:lnTo>
                    <a:lnTo>
                      <a:pt x="5798069" y="1924740"/>
                    </a:lnTo>
                    <a:lnTo>
                      <a:pt x="5809286" y="1926010"/>
                    </a:lnTo>
                    <a:lnTo>
                      <a:pt x="5811374" y="1924393"/>
                    </a:lnTo>
                    <a:lnTo>
                      <a:pt x="5806831" y="1922662"/>
                    </a:lnTo>
                    <a:lnTo>
                      <a:pt x="5800571" y="1921408"/>
                    </a:lnTo>
                    <a:lnTo>
                      <a:pt x="5795810" y="1919075"/>
                    </a:lnTo>
                    <a:lnTo>
                      <a:pt x="5795725" y="1914074"/>
                    </a:lnTo>
                    <a:lnTo>
                      <a:pt x="5796230" y="1912231"/>
                    </a:lnTo>
                    <a:lnTo>
                      <a:pt x="5796949" y="1908065"/>
                    </a:lnTo>
                    <a:lnTo>
                      <a:pt x="5797962" y="1906519"/>
                    </a:lnTo>
                    <a:lnTo>
                      <a:pt x="5800223" y="1906024"/>
                    </a:lnTo>
                    <a:lnTo>
                      <a:pt x="5807166" y="1907377"/>
                    </a:lnTo>
                    <a:lnTo>
                      <a:pt x="5809684" y="1908454"/>
                    </a:lnTo>
                    <a:lnTo>
                      <a:pt x="5809812" y="1907640"/>
                    </a:lnTo>
                    <a:lnTo>
                      <a:pt x="5809869" y="1905508"/>
                    </a:lnTo>
                    <a:lnTo>
                      <a:pt x="5809800" y="1904539"/>
                    </a:lnTo>
                    <a:lnTo>
                      <a:pt x="5803797" y="1903565"/>
                    </a:lnTo>
                    <a:lnTo>
                      <a:pt x="5800843" y="1902556"/>
                    </a:lnTo>
                    <a:lnTo>
                      <a:pt x="5798392" y="1899921"/>
                    </a:lnTo>
                    <a:lnTo>
                      <a:pt x="5809265" y="1896856"/>
                    </a:lnTo>
                    <a:lnTo>
                      <a:pt x="5843515" y="1895523"/>
                    </a:lnTo>
                    <a:lnTo>
                      <a:pt x="5848880" y="1892651"/>
                    </a:lnTo>
                    <a:lnTo>
                      <a:pt x="5842516" y="1887493"/>
                    </a:lnTo>
                    <a:lnTo>
                      <a:pt x="5839352" y="1885787"/>
                    </a:lnTo>
                    <a:lnTo>
                      <a:pt x="5835992" y="1885232"/>
                    </a:lnTo>
                    <a:lnTo>
                      <a:pt x="5829136" y="1886043"/>
                    </a:lnTo>
                    <a:lnTo>
                      <a:pt x="5822644" y="1885507"/>
                    </a:lnTo>
                    <a:lnTo>
                      <a:pt x="5815158" y="1887024"/>
                    </a:lnTo>
                    <a:lnTo>
                      <a:pt x="5803598" y="1887317"/>
                    </a:lnTo>
                    <a:lnTo>
                      <a:pt x="5800887" y="1888606"/>
                    </a:lnTo>
                    <a:lnTo>
                      <a:pt x="5798591" y="1891039"/>
                    </a:lnTo>
                    <a:lnTo>
                      <a:pt x="5794404" y="1897377"/>
                    </a:lnTo>
                    <a:lnTo>
                      <a:pt x="5789684" y="1902217"/>
                    </a:lnTo>
                    <a:lnTo>
                      <a:pt x="5779141" y="1909357"/>
                    </a:lnTo>
                    <a:lnTo>
                      <a:pt x="5775374" y="1914732"/>
                    </a:lnTo>
                    <a:lnTo>
                      <a:pt x="5774013" y="1918809"/>
                    </a:lnTo>
                    <a:lnTo>
                      <a:pt x="5772074" y="1921496"/>
                    </a:lnTo>
                    <a:lnTo>
                      <a:pt x="5769910" y="1923583"/>
                    </a:lnTo>
                    <a:lnTo>
                      <a:pt x="5765721" y="1926280"/>
                    </a:lnTo>
                    <a:lnTo>
                      <a:pt x="5762364" y="1927245"/>
                    </a:lnTo>
                    <a:lnTo>
                      <a:pt x="5758751" y="1927042"/>
                    </a:lnTo>
                    <a:lnTo>
                      <a:pt x="5755023" y="1925357"/>
                    </a:lnTo>
                    <a:lnTo>
                      <a:pt x="5758729" y="1920102"/>
                    </a:lnTo>
                    <a:lnTo>
                      <a:pt x="5760023" y="1917018"/>
                    </a:lnTo>
                    <a:lnTo>
                      <a:pt x="5759139" y="1915734"/>
                    </a:lnTo>
                    <a:lnTo>
                      <a:pt x="5756464" y="1915682"/>
                    </a:lnTo>
                    <a:lnTo>
                      <a:pt x="5755722" y="1915943"/>
                    </a:lnTo>
                    <a:lnTo>
                      <a:pt x="5755273" y="1916633"/>
                    </a:lnTo>
                    <a:lnTo>
                      <a:pt x="5755301" y="1917427"/>
                    </a:lnTo>
                    <a:lnTo>
                      <a:pt x="5755428" y="1918161"/>
                    </a:lnTo>
                    <a:lnTo>
                      <a:pt x="5755330" y="1918645"/>
                    </a:lnTo>
                    <a:lnTo>
                      <a:pt x="5753765" y="1920749"/>
                    </a:lnTo>
                    <a:lnTo>
                      <a:pt x="5752641" y="1921542"/>
                    </a:lnTo>
                    <a:lnTo>
                      <a:pt x="5750810" y="1921598"/>
                    </a:lnTo>
                    <a:lnTo>
                      <a:pt x="5751550" y="1918820"/>
                    </a:lnTo>
                    <a:lnTo>
                      <a:pt x="5751880" y="1916697"/>
                    </a:lnTo>
                    <a:lnTo>
                      <a:pt x="5751030" y="1915394"/>
                    </a:lnTo>
                    <a:lnTo>
                      <a:pt x="5745422" y="1914572"/>
                    </a:lnTo>
                    <a:lnTo>
                      <a:pt x="5744131" y="1914747"/>
                    </a:lnTo>
                    <a:lnTo>
                      <a:pt x="5742260" y="1917290"/>
                    </a:lnTo>
                    <a:lnTo>
                      <a:pt x="5739079" y="1919634"/>
                    </a:lnTo>
                    <a:lnTo>
                      <a:pt x="5739393" y="1922650"/>
                    </a:lnTo>
                    <a:lnTo>
                      <a:pt x="5740546" y="1925138"/>
                    </a:lnTo>
                    <a:lnTo>
                      <a:pt x="5740834" y="1926890"/>
                    </a:lnTo>
                    <a:lnTo>
                      <a:pt x="5738533" y="1927698"/>
                    </a:lnTo>
                    <a:lnTo>
                      <a:pt x="5735915" y="1927306"/>
                    </a:lnTo>
                    <a:lnTo>
                      <a:pt x="5733862" y="1925804"/>
                    </a:lnTo>
                    <a:lnTo>
                      <a:pt x="5732323" y="1923157"/>
                    </a:lnTo>
                    <a:lnTo>
                      <a:pt x="5731254" y="1919380"/>
                    </a:lnTo>
                    <a:lnTo>
                      <a:pt x="5731046" y="1916828"/>
                    </a:lnTo>
                    <a:lnTo>
                      <a:pt x="5731082" y="1915672"/>
                    </a:lnTo>
                    <a:lnTo>
                      <a:pt x="5730456" y="1915940"/>
                    </a:lnTo>
                    <a:lnTo>
                      <a:pt x="5725712" y="1920031"/>
                    </a:lnTo>
                    <a:lnTo>
                      <a:pt x="5724553" y="1920508"/>
                    </a:lnTo>
                    <a:lnTo>
                      <a:pt x="5722302" y="1918198"/>
                    </a:lnTo>
                    <a:lnTo>
                      <a:pt x="5721013" y="1917757"/>
                    </a:lnTo>
                    <a:lnTo>
                      <a:pt x="5720911" y="1920001"/>
                    </a:lnTo>
                    <a:lnTo>
                      <a:pt x="5721908" y="1922028"/>
                    </a:lnTo>
                    <a:lnTo>
                      <a:pt x="5725342" y="1925152"/>
                    </a:lnTo>
                    <a:lnTo>
                      <a:pt x="5726630" y="1927074"/>
                    </a:lnTo>
                    <a:lnTo>
                      <a:pt x="5727491" y="1930903"/>
                    </a:lnTo>
                    <a:lnTo>
                      <a:pt x="5726329" y="1932471"/>
                    </a:lnTo>
                    <a:lnTo>
                      <a:pt x="5720825" y="1932767"/>
                    </a:lnTo>
                    <a:lnTo>
                      <a:pt x="5721975" y="1934148"/>
                    </a:lnTo>
                    <a:lnTo>
                      <a:pt x="5718190" y="1938979"/>
                    </a:lnTo>
                    <a:lnTo>
                      <a:pt x="5715799" y="1940730"/>
                    </a:lnTo>
                    <a:lnTo>
                      <a:pt x="5714308" y="1939288"/>
                    </a:lnTo>
                    <a:lnTo>
                      <a:pt x="5712635" y="1936471"/>
                    </a:lnTo>
                    <a:lnTo>
                      <a:pt x="5710044" y="1936855"/>
                    </a:lnTo>
                    <a:lnTo>
                      <a:pt x="5707168" y="1938436"/>
                    </a:lnTo>
                    <a:lnTo>
                      <a:pt x="5704668" y="1939179"/>
                    </a:lnTo>
                    <a:lnTo>
                      <a:pt x="5705252" y="1934373"/>
                    </a:lnTo>
                    <a:lnTo>
                      <a:pt x="5710172" y="1922582"/>
                    </a:lnTo>
                    <a:lnTo>
                      <a:pt x="5707556" y="1921702"/>
                    </a:lnTo>
                    <a:lnTo>
                      <a:pt x="5705883" y="1923888"/>
                    </a:lnTo>
                    <a:lnTo>
                      <a:pt x="5704470" y="1926902"/>
                    </a:lnTo>
                    <a:lnTo>
                      <a:pt x="5702629" y="1928499"/>
                    </a:lnTo>
                    <a:lnTo>
                      <a:pt x="5701014" y="1927017"/>
                    </a:lnTo>
                    <a:lnTo>
                      <a:pt x="5701379" y="1923484"/>
                    </a:lnTo>
                    <a:lnTo>
                      <a:pt x="5702705" y="1919750"/>
                    </a:lnTo>
                    <a:lnTo>
                      <a:pt x="5703949" y="1917726"/>
                    </a:lnTo>
                    <a:lnTo>
                      <a:pt x="5700354" y="1918218"/>
                    </a:lnTo>
                    <a:lnTo>
                      <a:pt x="5698603" y="1920368"/>
                    </a:lnTo>
                    <a:lnTo>
                      <a:pt x="5696642" y="1926844"/>
                    </a:lnTo>
                    <a:lnTo>
                      <a:pt x="5696279" y="1935131"/>
                    </a:lnTo>
                    <a:lnTo>
                      <a:pt x="5695334" y="1938746"/>
                    </a:lnTo>
                    <a:lnTo>
                      <a:pt x="5692685" y="1937771"/>
                    </a:lnTo>
                    <a:lnTo>
                      <a:pt x="5689557" y="1923794"/>
                    </a:lnTo>
                    <a:lnTo>
                      <a:pt x="5689732" y="1920154"/>
                    </a:lnTo>
                    <a:lnTo>
                      <a:pt x="5690377" y="1917680"/>
                    </a:lnTo>
                    <a:lnTo>
                      <a:pt x="5690382" y="1914957"/>
                    </a:lnTo>
                    <a:lnTo>
                      <a:pt x="5688637" y="1910492"/>
                    </a:lnTo>
                    <a:lnTo>
                      <a:pt x="5689763" y="1909287"/>
                    </a:lnTo>
                    <a:lnTo>
                      <a:pt x="5693257" y="1907196"/>
                    </a:lnTo>
                    <a:lnTo>
                      <a:pt x="5693952" y="1906296"/>
                    </a:lnTo>
                    <a:lnTo>
                      <a:pt x="5693339" y="1904390"/>
                    </a:lnTo>
                    <a:lnTo>
                      <a:pt x="5692180" y="1903607"/>
                    </a:lnTo>
                    <a:lnTo>
                      <a:pt x="5690861" y="1903231"/>
                    </a:lnTo>
                    <a:lnTo>
                      <a:pt x="5689765" y="1902530"/>
                    </a:lnTo>
                    <a:lnTo>
                      <a:pt x="5687979" y="1899843"/>
                    </a:lnTo>
                    <a:lnTo>
                      <a:pt x="5686635" y="1896762"/>
                    </a:lnTo>
                    <a:lnTo>
                      <a:pt x="5686336" y="1893917"/>
                    </a:lnTo>
                    <a:lnTo>
                      <a:pt x="5687690" y="1891848"/>
                    </a:lnTo>
                    <a:lnTo>
                      <a:pt x="5685817" y="1891003"/>
                    </a:lnTo>
                    <a:lnTo>
                      <a:pt x="5683423" y="1890633"/>
                    </a:lnTo>
                    <a:lnTo>
                      <a:pt x="5681239" y="1890985"/>
                    </a:lnTo>
                    <a:lnTo>
                      <a:pt x="5679947" y="1892301"/>
                    </a:lnTo>
                    <a:lnTo>
                      <a:pt x="5679763" y="1894905"/>
                    </a:lnTo>
                    <a:lnTo>
                      <a:pt x="5680789" y="1896547"/>
                    </a:lnTo>
                    <a:lnTo>
                      <a:pt x="5682166" y="1897883"/>
                    </a:lnTo>
                    <a:lnTo>
                      <a:pt x="5683071" y="1899533"/>
                    </a:lnTo>
                    <a:lnTo>
                      <a:pt x="5683180" y="1904301"/>
                    </a:lnTo>
                    <a:lnTo>
                      <a:pt x="5682259" y="1909830"/>
                    </a:lnTo>
                    <a:lnTo>
                      <a:pt x="5680623" y="1914429"/>
                    </a:lnTo>
                    <a:lnTo>
                      <a:pt x="5678584" y="1916426"/>
                    </a:lnTo>
                    <a:lnTo>
                      <a:pt x="5676279" y="1916997"/>
                    </a:lnTo>
                    <a:lnTo>
                      <a:pt x="5674130" y="1918075"/>
                    </a:lnTo>
                    <a:lnTo>
                      <a:pt x="5673476" y="1919069"/>
                    </a:lnTo>
                    <a:lnTo>
                      <a:pt x="5675657" y="1919380"/>
                    </a:lnTo>
                    <a:lnTo>
                      <a:pt x="5679073" y="1918864"/>
                    </a:lnTo>
                    <a:lnTo>
                      <a:pt x="5679934" y="1919133"/>
                    </a:lnTo>
                    <a:lnTo>
                      <a:pt x="5681140" y="1920821"/>
                    </a:lnTo>
                    <a:lnTo>
                      <a:pt x="5680959" y="1921716"/>
                    </a:lnTo>
                    <a:lnTo>
                      <a:pt x="5680266" y="1922313"/>
                    </a:lnTo>
                    <a:lnTo>
                      <a:pt x="5679914" y="1923137"/>
                    </a:lnTo>
                    <a:lnTo>
                      <a:pt x="5679790" y="1924187"/>
                    </a:lnTo>
                    <a:lnTo>
                      <a:pt x="5678970" y="1925915"/>
                    </a:lnTo>
                    <a:lnTo>
                      <a:pt x="5678843" y="1926543"/>
                    </a:lnTo>
                    <a:lnTo>
                      <a:pt x="5679607" y="1928083"/>
                    </a:lnTo>
                    <a:lnTo>
                      <a:pt x="5680788" y="1928429"/>
                    </a:lnTo>
                    <a:lnTo>
                      <a:pt x="5682058" y="1928410"/>
                    </a:lnTo>
                    <a:lnTo>
                      <a:pt x="5683154" y="1928960"/>
                    </a:lnTo>
                    <a:lnTo>
                      <a:pt x="5684045" y="1931123"/>
                    </a:lnTo>
                    <a:lnTo>
                      <a:pt x="5684322" y="1936233"/>
                    </a:lnTo>
                    <a:lnTo>
                      <a:pt x="5685448" y="1938844"/>
                    </a:lnTo>
                    <a:lnTo>
                      <a:pt x="5686840" y="1943517"/>
                    </a:lnTo>
                    <a:lnTo>
                      <a:pt x="5687173" y="1946748"/>
                    </a:lnTo>
                    <a:lnTo>
                      <a:pt x="5685988" y="1948290"/>
                    </a:lnTo>
                    <a:lnTo>
                      <a:pt x="5679319" y="1949313"/>
                    </a:lnTo>
                    <a:lnTo>
                      <a:pt x="5676908" y="1948201"/>
                    </a:lnTo>
                    <a:lnTo>
                      <a:pt x="5677585" y="1941161"/>
                    </a:lnTo>
                    <a:lnTo>
                      <a:pt x="5675273" y="1941661"/>
                    </a:lnTo>
                    <a:lnTo>
                      <a:pt x="5672140" y="1943290"/>
                    </a:lnTo>
                    <a:lnTo>
                      <a:pt x="5669901" y="1943752"/>
                    </a:lnTo>
                    <a:lnTo>
                      <a:pt x="5669221" y="1941714"/>
                    </a:lnTo>
                    <a:lnTo>
                      <a:pt x="5669258" y="1938176"/>
                    </a:lnTo>
                    <a:lnTo>
                      <a:pt x="5669963" y="1934705"/>
                    </a:lnTo>
                    <a:lnTo>
                      <a:pt x="5671307" y="1932861"/>
                    </a:lnTo>
                    <a:lnTo>
                      <a:pt x="5671081" y="1931671"/>
                    </a:lnTo>
                    <a:lnTo>
                      <a:pt x="5668123" y="1932486"/>
                    </a:lnTo>
                    <a:lnTo>
                      <a:pt x="5663552" y="1936353"/>
                    </a:lnTo>
                    <a:lnTo>
                      <a:pt x="5661462" y="1936226"/>
                    </a:lnTo>
                    <a:lnTo>
                      <a:pt x="5661229" y="1936964"/>
                    </a:lnTo>
                    <a:lnTo>
                      <a:pt x="5661143" y="1937542"/>
                    </a:lnTo>
                    <a:lnTo>
                      <a:pt x="5661111" y="1938905"/>
                    </a:lnTo>
                    <a:lnTo>
                      <a:pt x="5664113" y="1939784"/>
                    </a:lnTo>
                    <a:lnTo>
                      <a:pt x="5663615" y="1942273"/>
                    </a:lnTo>
                    <a:lnTo>
                      <a:pt x="5660027" y="1946991"/>
                    </a:lnTo>
                    <a:lnTo>
                      <a:pt x="5664860" y="1948436"/>
                    </a:lnTo>
                    <a:lnTo>
                      <a:pt x="5665652" y="1948797"/>
                    </a:lnTo>
                    <a:lnTo>
                      <a:pt x="5666337" y="1949356"/>
                    </a:lnTo>
                    <a:lnTo>
                      <a:pt x="5667774" y="1950883"/>
                    </a:lnTo>
                    <a:lnTo>
                      <a:pt x="5668897" y="1952506"/>
                    </a:lnTo>
                    <a:lnTo>
                      <a:pt x="5668635" y="1953309"/>
                    </a:lnTo>
                    <a:lnTo>
                      <a:pt x="5667553" y="1953777"/>
                    </a:lnTo>
                    <a:lnTo>
                      <a:pt x="5665443" y="1955737"/>
                    </a:lnTo>
                    <a:lnTo>
                      <a:pt x="5663979" y="1956244"/>
                    </a:lnTo>
                    <a:lnTo>
                      <a:pt x="5654209" y="1954774"/>
                    </a:lnTo>
                    <a:lnTo>
                      <a:pt x="5651937" y="1953436"/>
                    </a:lnTo>
                    <a:lnTo>
                      <a:pt x="5649952" y="1951448"/>
                    </a:lnTo>
                    <a:lnTo>
                      <a:pt x="5648276" y="1949113"/>
                    </a:lnTo>
                    <a:lnTo>
                      <a:pt x="5646502" y="1945337"/>
                    </a:lnTo>
                    <a:lnTo>
                      <a:pt x="5645571" y="1943915"/>
                    </a:lnTo>
                    <a:lnTo>
                      <a:pt x="5644185" y="1942330"/>
                    </a:lnTo>
                    <a:lnTo>
                      <a:pt x="5643107" y="1941499"/>
                    </a:lnTo>
                    <a:lnTo>
                      <a:pt x="5631658" y="1935711"/>
                    </a:lnTo>
                    <a:lnTo>
                      <a:pt x="5629153" y="1935246"/>
                    </a:lnTo>
                    <a:lnTo>
                      <a:pt x="5627519" y="1934278"/>
                    </a:lnTo>
                    <a:lnTo>
                      <a:pt x="5629106" y="1931803"/>
                    </a:lnTo>
                    <a:lnTo>
                      <a:pt x="5632971" y="1927761"/>
                    </a:lnTo>
                    <a:lnTo>
                      <a:pt x="5632568" y="1926669"/>
                    </a:lnTo>
                    <a:lnTo>
                      <a:pt x="5632144" y="1926200"/>
                    </a:lnTo>
                    <a:lnTo>
                      <a:pt x="5631985" y="1925675"/>
                    </a:lnTo>
                    <a:lnTo>
                      <a:pt x="5632347" y="1924392"/>
                    </a:lnTo>
                    <a:lnTo>
                      <a:pt x="5633285" y="1923256"/>
                    </a:lnTo>
                    <a:lnTo>
                      <a:pt x="5635985" y="1922501"/>
                    </a:lnTo>
                    <a:lnTo>
                      <a:pt x="5637015" y="1921584"/>
                    </a:lnTo>
                    <a:lnTo>
                      <a:pt x="5638037" y="1918743"/>
                    </a:lnTo>
                    <a:lnTo>
                      <a:pt x="5639013" y="1913374"/>
                    </a:lnTo>
                    <a:lnTo>
                      <a:pt x="5640226" y="1910610"/>
                    </a:lnTo>
                    <a:lnTo>
                      <a:pt x="5638232" y="1909711"/>
                    </a:lnTo>
                    <a:lnTo>
                      <a:pt x="5637435" y="1909550"/>
                    </a:lnTo>
                    <a:lnTo>
                      <a:pt x="5638924" y="1905457"/>
                    </a:lnTo>
                    <a:lnTo>
                      <a:pt x="5642282" y="1900370"/>
                    </a:lnTo>
                    <a:lnTo>
                      <a:pt x="5646259" y="1896001"/>
                    </a:lnTo>
                    <a:lnTo>
                      <a:pt x="5649619" y="1894052"/>
                    </a:lnTo>
                    <a:lnTo>
                      <a:pt x="5650864" y="1892875"/>
                    </a:lnTo>
                    <a:lnTo>
                      <a:pt x="5653862" y="1887465"/>
                    </a:lnTo>
                    <a:lnTo>
                      <a:pt x="5655416" y="1885602"/>
                    </a:lnTo>
                    <a:lnTo>
                      <a:pt x="5660200" y="1883228"/>
                    </a:lnTo>
                    <a:lnTo>
                      <a:pt x="5661530" y="1880933"/>
                    </a:lnTo>
                    <a:lnTo>
                      <a:pt x="5659783" y="1877346"/>
                    </a:lnTo>
                    <a:lnTo>
                      <a:pt x="5657103" y="1880728"/>
                    </a:lnTo>
                    <a:lnTo>
                      <a:pt x="5655457" y="1881402"/>
                    </a:lnTo>
                    <a:lnTo>
                      <a:pt x="5653477" y="1880371"/>
                    </a:lnTo>
                    <a:lnTo>
                      <a:pt x="5657326" y="1872830"/>
                    </a:lnTo>
                    <a:lnTo>
                      <a:pt x="5657917" y="1869442"/>
                    </a:lnTo>
                    <a:lnTo>
                      <a:pt x="5655542" y="1868259"/>
                    </a:lnTo>
                    <a:lnTo>
                      <a:pt x="5653495" y="1869116"/>
                    </a:lnTo>
                    <a:lnTo>
                      <a:pt x="5652142" y="1871363"/>
                    </a:lnTo>
                    <a:lnTo>
                      <a:pt x="5650169" y="1876555"/>
                    </a:lnTo>
                    <a:lnTo>
                      <a:pt x="5645733" y="1884893"/>
                    </a:lnTo>
                    <a:lnTo>
                      <a:pt x="5644691" y="1886216"/>
                    </a:lnTo>
                    <a:lnTo>
                      <a:pt x="5641343" y="1888211"/>
                    </a:lnTo>
                    <a:lnTo>
                      <a:pt x="5637714" y="1892662"/>
                    </a:lnTo>
                    <a:lnTo>
                      <a:pt x="5632474" y="1901830"/>
                    </a:lnTo>
                    <a:lnTo>
                      <a:pt x="5629999" y="1912139"/>
                    </a:lnTo>
                    <a:lnTo>
                      <a:pt x="5628092" y="1917184"/>
                    </a:lnTo>
                    <a:lnTo>
                      <a:pt x="5624915" y="1919477"/>
                    </a:lnTo>
                    <a:lnTo>
                      <a:pt x="5622164" y="1920059"/>
                    </a:lnTo>
                    <a:lnTo>
                      <a:pt x="5621096" y="1919689"/>
                    </a:lnTo>
                    <a:lnTo>
                      <a:pt x="5620129" y="1918804"/>
                    </a:lnTo>
                    <a:lnTo>
                      <a:pt x="5618727" y="1916386"/>
                    </a:lnTo>
                    <a:lnTo>
                      <a:pt x="5615654" y="1913105"/>
                    </a:lnTo>
                    <a:lnTo>
                      <a:pt x="5614082" y="1910425"/>
                    </a:lnTo>
                    <a:lnTo>
                      <a:pt x="5612393" y="1908110"/>
                    </a:lnTo>
                    <a:lnTo>
                      <a:pt x="5610073" y="1907070"/>
                    </a:lnTo>
                    <a:lnTo>
                      <a:pt x="5610515" y="1903421"/>
                    </a:lnTo>
                    <a:lnTo>
                      <a:pt x="5609589" y="1902487"/>
                    </a:lnTo>
                    <a:lnTo>
                      <a:pt x="5607929" y="1903206"/>
                    </a:lnTo>
                    <a:lnTo>
                      <a:pt x="5603864" y="1905838"/>
                    </a:lnTo>
                    <a:lnTo>
                      <a:pt x="5596329" y="1907825"/>
                    </a:lnTo>
                    <a:lnTo>
                      <a:pt x="5594043" y="1908999"/>
                    </a:lnTo>
                    <a:lnTo>
                      <a:pt x="5591107" y="1911471"/>
                    </a:lnTo>
                    <a:lnTo>
                      <a:pt x="5580752" y="1913948"/>
                    </a:lnTo>
                    <a:lnTo>
                      <a:pt x="5578630" y="1915461"/>
                    </a:lnTo>
                    <a:lnTo>
                      <a:pt x="5580338" y="1916300"/>
                    </a:lnTo>
                    <a:lnTo>
                      <a:pt x="5583521" y="1916740"/>
                    </a:lnTo>
                    <a:lnTo>
                      <a:pt x="5585167" y="1917763"/>
                    </a:lnTo>
                    <a:lnTo>
                      <a:pt x="5584092" y="1918981"/>
                    </a:lnTo>
                    <a:lnTo>
                      <a:pt x="5582137" y="1922306"/>
                    </a:lnTo>
                    <a:lnTo>
                      <a:pt x="5581478" y="1923915"/>
                    </a:lnTo>
                    <a:lnTo>
                      <a:pt x="5580526" y="1924969"/>
                    </a:lnTo>
                    <a:lnTo>
                      <a:pt x="5575668" y="1927494"/>
                    </a:lnTo>
                    <a:lnTo>
                      <a:pt x="5575924" y="1928935"/>
                    </a:lnTo>
                    <a:lnTo>
                      <a:pt x="5581065" y="1929733"/>
                    </a:lnTo>
                    <a:lnTo>
                      <a:pt x="5584984" y="1927017"/>
                    </a:lnTo>
                    <a:lnTo>
                      <a:pt x="5591304" y="1918655"/>
                    </a:lnTo>
                    <a:lnTo>
                      <a:pt x="5595091" y="1915570"/>
                    </a:lnTo>
                    <a:lnTo>
                      <a:pt x="5601024" y="1912123"/>
                    </a:lnTo>
                    <a:lnTo>
                      <a:pt x="5607075" y="1910693"/>
                    </a:lnTo>
                    <a:lnTo>
                      <a:pt x="5611283" y="1913681"/>
                    </a:lnTo>
                    <a:lnTo>
                      <a:pt x="5609551" y="1914620"/>
                    </a:lnTo>
                    <a:lnTo>
                      <a:pt x="5609488" y="1916452"/>
                    </a:lnTo>
                    <a:lnTo>
                      <a:pt x="5609921" y="1918741"/>
                    </a:lnTo>
                    <a:lnTo>
                      <a:pt x="5609630" y="1920976"/>
                    </a:lnTo>
                    <a:lnTo>
                      <a:pt x="5606722" y="1929215"/>
                    </a:lnTo>
                    <a:lnTo>
                      <a:pt x="5605644" y="1931118"/>
                    </a:lnTo>
                    <a:lnTo>
                      <a:pt x="5602051" y="1934782"/>
                    </a:lnTo>
                    <a:lnTo>
                      <a:pt x="5600565" y="1935619"/>
                    </a:lnTo>
                    <a:lnTo>
                      <a:pt x="5598348" y="1935190"/>
                    </a:lnTo>
                    <a:lnTo>
                      <a:pt x="5593786" y="1932290"/>
                    </a:lnTo>
                    <a:lnTo>
                      <a:pt x="5591279" y="1932114"/>
                    </a:lnTo>
                    <a:lnTo>
                      <a:pt x="5592543" y="1934051"/>
                    </a:lnTo>
                    <a:lnTo>
                      <a:pt x="5598119" y="1939085"/>
                    </a:lnTo>
                    <a:lnTo>
                      <a:pt x="5599565" y="1941590"/>
                    </a:lnTo>
                    <a:lnTo>
                      <a:pt x="5599214" y="1943018"/>
                    </a:lnTo>
                    <a:lnTo>
                      <a:pt x="5598093" y="1944343"/>
                    </a:lnTo>
                    <a:lnTo>
                      <a:pt x="5597255" y="1946584"/>
                    </a:lnTo>
                    <a:lnTo>
                      <a:pt x="5597578" y="1949597"/>
                    </a:lnTo>
                    <a:lnTo>
                      <a:pt x="5598420" y="1952582"/>
                    </a:lnTo>
                    <a:lnTo>
                      <a:pt x="5598655" y="1954909"/>
                    </a:lnTo>
                    <a:lnTo>
                      <a:pt x="5597159" y="1955937"/>
                    </a:lnTo>
                    <a:lnTo>
                      <a:pt x="5594778" y="1955643"/>
                    </a:lnTo>
                    <a:lnTo>
                      <a:pt x="5589875" y="1954086"/>
                    </a:lnTo>
                    <a:lnTo>
                      <a:pt x="5587190" y="1953802"/>
                    </a:lnTo>
                    <a:lnTo>
                      <a:pt x="5594139" y="1958828"/>
                    </a:lnTo>
                    <a:lnTo>
                      <a:pt x="5596576" y="1961537"/>
                    </a:lnTo>
                    <a:lnTo>
                      <a:pt x="5594100" y="1962897"/>
                    </a:lnTo>
                    <a:lnTo>
                      <a:pt x="5590291" y="1962338"/>
                    </a:lnTo>
                    <a:lnTo>
                      <a:pt x="5583999" y="1959111"/>
                    </a:lnTo>
                    <a:lnTo>
                      <a:pt x="5580157" y="1958194"/>
                    </a:lnTo>
                    <a:lnTo>
                      <a:pt x="5571842" y="1958756"/>
                    </a:lnTo>
                    <a:lnTo>
                      <a:pt x="5564243" y="1961098"/>
                    </a:lnTo>
                    <a:lnTo>
                      <a:pt x="5550715" y="1969195"/>
                    </a:lnTo>
                    <a:lnTo>
                      <a:pt x="5555193" y="1970369"/>
                    </a:lnTo>
                    <a:lnTo>
                      <a:pt x="5559342" y="1968562"/>
                    </a:lnTo>
                    <a:lnTo>
                      <a:pt x="5563333" y="1965862"/>
                    </a:lnTo>
                    <a:lnTo>
                      <a:pt x="5567338" y="1964323"/>
                    </a:lnTo>
                    <a:lnTo>
                      <a:pt x="5568234" y="1964673"/>
                    </a:lnTo>
                    <a:lnTo>
                      <a:pt x="5569606" y="1966367"/>
                    </a:lnTo>
                    <a:lnTo>
                      <a:pt x="5570319" y="1966711"/>
                    </a:lnTo>
                    <a:lnTo>
                      <a:pt x="5571350" y="1966498"/>
                    </a:lnTo>
                    <a:lnTo>
                      <a:pt x="5578671" y="1963500"/>
                    </a:lnTo>
                    <a:lnTo>
                      <a:pt x="5580770" y="1963755"/>
                    </a:lnTo>
                    <a:lnTo>
                      <a:pt x="5582495" y="1966065"/>
                    </a:lnTo>
                    <a:lnTo>
                      <a:pt x="5578003" y="1968182"/>
                    </a:lnTo>
                    <a:lnTo>
                      <a:pt x="5566902" y="1970488"/>
                    </a:lnTo>
                    <a:lnTo>
                      <a:pt x="5563391" y="1974356"/>
                    </a:lnTo>
                    <a:lnTo>
                      <a:pt x="5562175" y="1976472"/>
                    </a:lnTo>
                    <a:lnTo>
                      <a:pt x="5559235" y="1979562"/>
                    </a:lnTo>
                    <a:lnTo>
                      <a:pt x="5558153" y="1982038"/>
                    </a:lnTo>
                    <a:lnTo>
                      <a:pt x="5557078" y="1986915"/>
                    </a:lnTo>
                    <a:lnTo>
                      <a:pt x="5556053" y="1989110"/>
                    </a:lnTo>
                    <a:lnTo>
                      <a:pt x="5554336" y="1990249"/>
                    </a:lnTo>
                    <a:lnTo>
                      <a:pt x="5554584" y="1991693"/>
                    </a:lnTo>
                    <a:lnTo>
                      <a:pt x="5559238" y="1991856"/>
                    </a:lnTo>
                    <a:lnTo>
                      <a:pt x="5560637" y="1991378"/>
                    </a:lnTo>
                    <a:lnTo>
                      <a:pt x="5562000" y="1990240"/>
                    </a:lnTo>
                    <a:lnTo>
                      <a:pt x="5564387" y="1987552"/>
                    </a:lnTo>
                    <a:lnTo>
                      <a:pt x="5567155" y="1986533"/>
                    </a:lnTo>
                    <a:lnTo>
                      <a:pt x="5568079" y="1985481"/>
                    </a:lnTo>
                    <a:lnTo>
                      <a:pt x="5568629" y="1983963"/>
                    </a:lnTo>
                    <a:lnTo>
                      <a:pt x="5568622" y="1982157"/>
                    </a:lnTo>
                    <a:lnTo>
                      <a:pt x="5568379" y="1979393"/>
                    </a:lnTo>
                    <a:lnTo>
                      <a:pt x="5568913" y="1978553"/>
                    </a:lnTo>
                    <a:lnTo>
                      <a:pt x="5569984" y="1978330"/>
                    </a:lnTo>
                    <a:lnTo>
                      <a:pt x="5571370" y="1977469"/>
                    </a:lnTo>
                    <a:lnTo>
                      <a:pt x="5573902" y="1974947"/>
                    </a:lnTo>
                    <a:lnTo>
                      <a:pt x="5576122" y="1973565"/>
                    </a:lnTo>
                    <a:lnTo>
                      <a:pt x="5578588" y="1972926"/>
                    </a:lnTo>
                    <a:lnTo>
                      <a:pt x="5581839" y="1972665"/>
                    </a:lnTo>
                    <a:lnTo>
                      <a:pt x="5583159" y="1972189"/>
                    </a:lnTo>
                    <a:lnTo>
                      <a:pt x="5584502" y="1970366"/>
                    </a:lnTo>
                    <a:lnTo>
                      <a:pt x="5585311" y="1969926"/>
                    </a:lnTo>
                    <a:lnTo>
                      <a:pt x="5592674" y="1969531"/>
                    </a:lnTo>
                    <a:lnTo>
                      <a:pt x="5592909" y="1970855"/>
                    </a:lnTo>
                    <a:lnTo>
                      <a:pt x="5591183" y="1970948"/>
                    </a:lnTo>
                    <a:lnTo>
                      <a:pt x="5591397" y="1972154"/>
                    </a:lnTo>
                    <a:lnTo>
                      <a:pt x="5592679" y="1972539"/>
                    </a:lnTo>
                    <a:lnTo>
                      <a:pt x="5593831" y="1973353"/>
                    </a:lnTo>
                    <a:lnTo>
                      <a:pt x="5594815" y="1974573"/>
                    </a:lnTo>
                    <a:lnTo>
                      <a:pt x="5595594" y="1976179"/>
                    </a:lnTo>
                    <a:lnTo>
                      <a:pt x="5592687" y="1977338"/>
                    </a:lnTo>
                    <a:lnTo>
                      <a:pt x="5591645" y="1978374"/>
                    </a:lnTo>
                    <a:lnTo>
                      <a:pt x="5591109" y="1980296"/>
                    </a:lnTo>
                    <a:lnTo>
                      <a:pt x="5591533" y="1982073"/>
                    </a:lnTo>
                    <a:lnTo>
                      <a:pt x="5593195" y="1987127"/>
                    </a:lnTo>
                    <a:lnTo>
                      <a:pt x="5592901" y="1988217"/>
                    </a:lnTo>
                    <a:lnTo>
                      <a:pt x="5589585" y="1989277"/>
                    </a:lnTo>
                    <a:lnTo>
                      <a:pt x="5588963" y="1991676"/>
                    </a:lnTo>
                    <a:lnTo>
                      <a:pt x="5590868" y="1999147"/>
                    </a:lnTo>
                    <a:lnTo>
                      <a:pt x="5591896" y="1997874"/>
                    </a:lnTo>
                    <a:lnTo>
                      <a:pt x="5594229" y="1993497"/>
                    </a:lnTo>
                    <a:lnTo>
                      <a:pt x="5595722" y="1992438"/>
                    </a:lnTo>
                    <a:lnTo>
                      <a:pt x="5597198" y="1991945"/>
                    </a:lnTo>
                    <a:lnTo>
                      <a:pt x="5598553" y="1991163"/>
                    </a:lnTo>
                    <a:lnTo>
                      <a:pt x="5599674" y="1989311"/>
                    </a:lnTo>
                    <a:lnTo>
                      <a:pt x="5599370" y="1984096"/>
                    </a:lnTo>
                    <a:lnTo>
                      <a:pt x="5602597" y="1977808"/>
                    </a:lnTo>
                    <a:lnTo>
                      <a:pt x="5607216" y="1972423"/>
                    </a:lnTo>
                    <a:lnTo>
                      <a:pt x="5611082" y="1969872"/>
                    </a:lnTo>
                    <a:lnTo>
                      <a:pt x="5611299" y="1971079"/>
                    </a:lnTo>
                    <a:lnTo>
                      <a:pt x="5609505" y="1973558"/>
                    </a:lnTo>
                    <a:lnTo>
                      <a:pt x="5609074" y="1976789"/>
                    </a:lnTo>
                    <a:lnTo>
                      <a:pt x="5609907" y="1980540"/>
                    </a:lnTo>
                    <a:lnTo>
                      <a:pt x="5611895" y="1984518"/>
                    </a:lnTo>
                    <a:lnTo>
                      <a:pt x="5613206" y="1986238"/>
                    </a:lnTo>
                    <a:lnTo>
                      <a:pt x="5616034" y="1989071"/>
                    </a:lnTo>
                    <a:lnTo>
                      <a:pt x="5617508" y="1991022"/>
                    </a:lnTo>
                    <a:lnTo>
                      <a:pt x="5618315" y="1992818"/>
                    </a:lnTo>
                    <a:lnTo>
                      <a:pt x="5618658" y="1994376"/>
                    </a:lnTo>
                    <a:lnTo>
                      <a:pt x="5619155" y="1995902"/>
                    </a:lnTo>
                    <a:lnTo>
                      <a:pt x="5620421" y="1997555"/>
                    </a:lnTo>
                    <a:lnTo>
                      <a:pt x="5619481" y="1999207"/>
                    </a:lnTo>
                    <a:lnTo>
                      <a:pt x="5618071" y="2000551"/>
                    </a:lnTo>
                    <a:lnTo>
                      <a:pt x="5616380" y="2001478"/>
                    </a:lnTo>
                    <a:lnTo>
                      <a:pt x="5614606" y="2001870"/>
                    </a:lnTo>
                    <a:lnTo>
                      <a:pt x="5608120" y="2013693"/>
                    </a:lnTo>
                    <a:lnTo>
                      <a:pt x="5605675" y="2015608"/>
                    </a:lnTo>
                    <a:lnTo>
                      <a:pt x="5602404" y="2014566"/>
                    </a:lnTo>
                    <a:lnTo>
                      <a:pt x="5602190" y="2013357"/>
                    </a:lnTo>
                    <a:lnTo>
                      <a:pt x="5601562" y="2011574"/>
                    </a:lnTo>
                    <a:lnTo>
                      <a:pt x="5594949" y="2012534"/>
                    </a:lnTo>
                    <a:lnTo>
                      <a:pt x="5592848" y="2010390"/>
                    </a:lnTo>
                    <a:lnTo>
                      <a:pt x="5591052" y="2007293"/>
                    </a:lnTo>
                    <a:lnTo>
                      <a:pt x="5588085" y="2007012"/>
                    </a:lnTo>
                    <a:lnTo>
                      <a:pt x="5585027" y="2008560"/>
                    </a:lnTo>
                    <a:lnTo>
                      <a:pt x="5581210" y="2013110"/>
                    </a:lnTo>
                    <a:lnTo>
                      <a:pt x="5572708" y="2019491"/>
                    </a:lnTo>
                    <a:lnTo>
                      <a:pt x="5566584" y="2025927"/>
                    </a:lnTo>
                    <a:lnTo>
                      <a:pt x="5565201" y="2027999"/>
                    </a:lnTo>
                    <a:lnTo>
                      <a:pt x="5563784" y="2031227"/>
                    </a:lnTo>
                    <a:lnTo>
                      <a:pt x="5563625" y="2034151"/>
                    </a:lnTo>
                    <a:lnTo>
                      <a:pt x="5566048" y="2035315"/>
                    </a:lnTo>
                    <a:lnTo>
                      <a:pt x="5568518" y="2033905"/>
                    </a:lnTo>
                    <a:lnTo>
                      <a:pt x="5572166" y="2028122"/>
                    </a:lnTo>
                    <a:lnTo>
                      <a:pt x="5578838" y="2024132"/>
                    </a:lnTo>
                    <a:lnTo>
                      <a:pt x="5583590" y="2019157"/>
                    </a:lnTo>
                    <a:lnTo>
                      <a:pt x="5588570" y="2015421"/>
                    </a:lnTo>
                    <a:lnTo>
                      <a:pt x="5593918" y="2016476"/>
                    </a:lnTo>
                    <a:lnTo>
                      <a:pt x="5594636" y="2018494"/>
                    </a:lnTo>
                    <a:lnTo>
                      <a:pt x="5597075" y="2019208"/>
                    </a:lnTo>
                    <a:lnTo>
                      <a:pt x="5600079" y="2019446"/>
                    </a:lnTo>
                    <a:lnTo>
                      <a:pt x="5602497" y="2020019"/>
                    </a:lnTo>
                    <a:lnTo>
                      <a:pt x="5601208" y="2022655"/>
                    </a:lnTo>
                    <a:lnTo>
                      <a:pt x="5605284" y="2021727"/>
                    </a:lnTo>
                    <a:lnTo>
                      <a:pt x="5606265" y="2022223"/>
                    </a:lnTo>
                    <a:lnTo>
                      <a:pt x="5605433" y="2024491"/>
                    </a:lnTo>
                    <a:lnTo>
                      <a:pt x="5604850" y="2026778"/>
                    </a:lnTo>
                    <a:lnTo>
                      <a:pt x="5606289" y="2027315"/>
                    </a:lnTo>
                    <a:lnTo>
                      <a:pt x="5608549" y="2026692"/>
                    </a:lnTo>
                    <a:lnTo>
                      <a:pt x="5610478" y="2025488"/>
                    </a:lnTo>
                    <a:lnTo>
                      <a:pt x="5614922" y="2024054"/>
                    </a:lnTo>
                    <a:lnTo>
                      <a:pt x="5616713" y="2028278"/>
                    </a:lnTo>
                    <a:lnTo>
                      <a:pt x="5618069" y="2032477"/>
                    </a:lnTo>
                    <a:lnTo>
                      <a:pt x="5621187" y="2031056"/>
                    </a:lnTo>
                    <a:lnTo>
                      <a:pt x="5622412" y="2028702"/>
                    </a:lnTo>
                    <a:lnTo>
                      <a:pt x="5622232" y="2026910"/>
                    </a:lnTo>
                    <a:lnTo>
                      <a:pt x="5621345" y="2024998"/>
                    </a:lnTo>
                    <a:lnTo>
                      <a:pt x="5620506" y="2022341"/>
                    </a:lnTo>
                    <a:lnTo>
                      <a:pt x="5620103" y="2021646"/>
                    </a:lnTo>
                    <a:lnTo>
                      <a:pt x="5619480" y="2020874"/>
                    </a:lnTo>
                    <a:lnTo>
                      <a:pt x="5619079" y="2019859"/>
                    </a:lnTo>
                    <a:lnTo>
                      <a:pt x="5619369" y="2018440"/>
                    </a:lnTo>
                    <a:lnTo>
                      <a:pt x="5619973" y="2017771"/>
                    </a:lnTo>
                    <a:lnTo>
                      <a:pt x="5621670" y="2016347"/>
                    </a:lnTo>
                    <a:lnTo>
                      <a:pt x="5621921" y="2015569"/>
                    </a:lnTo>
                    <a:lnTo>
                      <a:pt x="5622115" y="2013597"/>
                    </a:lnTo>
                    <a:lnTo>
                      <a:pt x="5623100" y="2011943"/>
                    </a:lnTo>
                    <a:lnTo>
                      <a:pt x="5624426" y="2011224"/>
                    </a:lnTo>
                    <a:lnTo>
                      <a:pt x="5625665" y="2012089"/>
                    </a:lnTo>
                    <a:lnTo>
                      <a:pt x="5626431" y="2014606"/>
                    </a:lnTo>
                    <a:lnTo>
                      <a:pt x="5626505" y="2017472"/>
                    </a:lnTo>
                    <a:lnTo>
                      <a:pt x="5626137" y="2019955"/>
                    </a:lnTo>
                    <a:lnTo>
                      <a:pt x="5625577" y="2021340"/>
                    </a:lnTo>
                    <a:lnTo>
                      <a:pt x="5628698" y="2021999"/>
                    </a:lnTo>
                    <a:lnTo>
                      <a:pt x="5629368" y="2017356"/>
                    </a:lnTo>
                    <a:lnTo>
                      <a:pt x="5629027" y="2010982"/>
                    </a:lnTo>
                    <a:lnTo>
                      <a:pt x="5629120" y="2006545"/>
                    </a:lnTo>
                    <a:lnTo>
                      <a:pt x="5630207" y="2005147"/>
                    </a:lnTo>
                    <a:lnTo>
                      <a:pt x="5634323" y="2001716"/>
                    </a:lnTo>
                    <a:lnTo>
                      <a:pt x="5635573" y="2001394"/>
                    </a:lnTo>
                    <a:lnTo>
                      <a:pt x="5638071" y="2004971"/>
                    </a:lnTo>
                    <a:lnTo>
                      <a:pt x="5639511" y="2006437"/>
                    </a:lnTo>
                    <a:lnTo>
                      <a:pt x="5641455" y="2007087"/>
                    </a:lnTo>
                    <a:lnTo>
                      <a:pt x="5640009" y="2013981"/>
                    </a:lnTo>
                    <a:lnTo>
                      <a:pt x="5641426" y="2013537"/>
                    </a:lnTo>
                    <a:lnTo>
                      <a:pt x="5643826" y="2011404"/>
                    </a:lnTo>
                    <a:lnTo>
                      <a:pt x="5644803" y="2011038"/>
                    </a:lnTo>
                    <a:lnTo>
                      <a:pt x="5646697" y="2011961"/>
                    </a:lnTo>
                    <a:lnTo>
                      <a:pt x="5647581" y="2013308"/>
                    </a:lnTo>
                    <a:lnTo>
                      <a:pt x="5648187" y="2014821"/>
                    </a:lnTo>
                    <a:lnTo>
                      <a:pt x="5649241" y="2016134"/>
                    </a:lnTo>
                    <a:lnTo>
                      <a:pt x="5651034" y="2016863"/>
                    </a:lnTo>
                    <a:lnTo>
                      <a:pt x="5652928" y="2017269"/>
                    </a:lnTo>
                    <a:lnTo>
                      <a:pt x="5654539" y="2018391"/>
                    </a:lnTo>
                    <a:lnTo>
                      <a:pt x="5655416" y="2021150"/>
                    </a:lnTo>
                    <a:lnTo>
                      <a:pt x="5654973" y="2022458"/>
                    </a:lnTo>
                    <a:lnTo>
                      <a:pt x="5653753" y="2023818"/>
                    </a:lnTo>
                    <a:lnTo>
                      <a:pt x="5652250" y="2024906"/>
                    </a:lnTo>
                    <a:lnTo>
                      <a:pt x="5650938" y="2025409"/>
                    </a:lnTo>
                    <a:lnTo>
                      <a:pt x="5653173" y="2028372"/>
                    </a:lnTo>
                    <a:lnTo>
                      <a:pt x="5655773" y="2027845"/>
                    </a:lnTo>
                    <a:lnTo>
                      <a:pt x="5658061" y="2026793"/>
                    </a:lnTo>
                    <a:lnTo>
                      <a:pt x="5659419" y="2028234"/>
                    </a:lnTo>
                    <a:lnTo>
                      <a:pt x="5659304" y="2031789"/>
                    </a:lnTo>
                    <a:lnTo>
                      <a:pt x="5657626" y="2033246"/>
                    </a:lnTo>
                    <a:lnTo>
                      <a:pt x="5652393" y="2033369"/>
                    </a:lnTo>
                    <a:lnTo>
                      <a:pt x="5653266" y="2036344"/>
                    </a:lnTo>
                    <a:lnTo>
                      <a:pt x="5651477" y="2038564"/>
                    </a:lnTo>
                    <a:lnTo>
                      <a:pt x="5648592" y="2039985"/>
                    </a:lnTo>
                    <a:lnTo>
                      <a:pt x="5646195" y="2040532"/>
                    </a:lnTo>
                    <a:lnTo>
                      <a:pt x="5641868" y="2037451"/>
                    </a:lnTo>
                    <a:lnTo>
                      <a:pt x="5640397" y="2037476"/>
                    </a:lnTo>
                    <a:lnTo>
                      <a:pt x="5642451" y="2041949"/>
                    </a:lnTo>
                    <a:lnTo>
                      <a:pt x="5639327" y="2041435"/>
                    </a:lnTo>
                    <a:lnTo>
                      <a:pt x="5632987" y="2038750"/>
                    </a:lnTo>
                    <a:lnTo>
                      <a:pt x="5629638" y="2038629"/>
                    </a:lnTo>
                    <a:lnTo>
                      <a:pt x="5631339" y="2039884"/>
                    </a:lnTo>
                    <a:lnTo>
                      <a:pt x="5636953" y="2045512"/>
                    </a:lnTo>
                    <a:lnTo>
                      <a:pt x="5638213" y="2047645"/>
                    </a:lnTo>
                    <a:lnTo>
                      <a:pt x="5636859" y="2050248"/>
                    </a:lnTo>
                    <a:lnTo>
                      <a:pt x="5633453" y="2050896"/>
                    </a:lnTo>
                    <a:lnTo>
                      <a:pt x="5629659" y="2050408"/>
                    </a:lnTo>
                    <a:lnTo>
                      <a:pt x="5627135" y="2049588"/>
                    </a:lnTo>
                    <a:lnTo>
                      <a:pt x="5626605" y="2046003"/>
                    </a:lnTo>
                    <a:lnTo>
                      <a:pt x="5624221" y="2045143"/>
                    </a:lnTo>
                    <a:lnTo>
                      <a:pt x="5621732" y="2046409"/>
                    </a:lnTo>
                    <a:lnTo>
                      <a:pt x="5620918" y="2049253"/>
                    </a:lnTo>
                    <a:lnTo>
                      <a:pt x="5622126" y="2052355"/>
                    </a:lnTo>
                    <a:lnTo>
                      <a:pt x="5623698" y="2052174"/>
                    </a:lnTo>
                    <a:lnTo>
                      <a:pt x="5625550" y="2051277"/>
                    </a:lnTo>
                    <a:lnTo>
                      <a:pt x="5627609" y="2052241"/>
                    </a:lnTo>
                    <a:lnTo>
                      <a:pt x="5628737" y="2057216"/>
                    </a:lnTo>
                    <a:lnTo>
                      <a:pt x="5626287" y="2062103"/>
                    </a:lnTo>
                    <a:lnTo>
                      <a:pt x="5622399" y="2065854"/>
                    </a:lnTo>
                    <a:lnTo>
                      <a:pt x="5618350" y="2067875"/>
                    </a:lnTo>
                    <a:lnTo>
                      <a:pt x="5617437" y="2069775"/>
                    </a:lnTo>
                    <a:lnTo>
                      <a:pt x="5616233" y="2070254"/>
                    </a:lnTo>
                    <a:lnTo>
                      <a:pt x="5614998" y="2069618"/>
                    </a:lnTo>
                    <a:lnTo>
                      <a:pt x="5612498" y="2066312"/>
                    </a:lnTo>
                    <a:lnTo>
                      <a:pt x="5611330" y="2065154"/>
                    </a:lnTo>
                    <a:lnTo>
                      <a:pt x="5608905" y="2065043"/>
                    </a:lnTo>
                    <a:lnTo>
                      <a:pt x="5607822" y="2067065"/>
                    </a:lnTo>
                    <a:lnTo>
                      <a:pt x="5607965" y="2069497"/>
                    </a:lnTo>
                    <a:lnTo>
                      <a:pt x="5609208" y="2070629"/>
                    </a:lnTo>
                    <a:lnTo>
                      <a:pt x="5611606" y="2071475"/>
                    </a:lnTo>
                    <a:lnTo>
                      <a:pt x="5612397" y="2073714"/>
                    </a:lnTo>
                    <a:lnTo>
                      <a:pt x="5612055" y="2076437"/>
                    </a:lnTo>
                    <a:lnTo>
                      <a:pt x="5611062" y="2078693"/>
                    </a:lnTo>
                    <a:lnTo>
                      <a:pt x="5609211" y="2080372"/>
                    </a:lnTo>
                    <a:lnTo>
                      <a:pt x="5607184" y="2081413"/>
                    </a:lnTo>
                    <a:lnTo>
                      <a:pt x="5605407" y="2082832"/>
                    </a:lnTo>
                    <a:lnTo>
                      <a:pt x="5604330" y="2085617"/>
                    </a:lnTo>
                    <a:lnTo>
                      <a:pt x="5608646" y="2084926"/>
                    </a:lnTo>
                    <a:lnTo>
                      <a:pt x="5612705" y="2083403"/>
                    </a:lnTo>
                    <a:lnTo>
                      <a:pt x="5616426" y="2081138"/>
                    </a:lnTo>
                    <a:lnTo>
                      <a:pt x="5619732" y="2078231"/>
                    </a:lnTo>
                    <a:lnTo>
                      <a:pt x="5625672" y="2071137"/>
                    </a:lnTo>
                    <a:lnTo>
                      <a:pt x="5629507" y="2069239"/>
                    </a:lnTo>
                    <a:lnTo>
                      <a:pt x="5634427" y="2070736"/>
                    </a:lnTo>
                    <a:lnTo>
                      <a:pt x="5634643" y="2071946"/>
                    </a:lnTo>
                    <a:lnTo>
                      <a:pt x="5629717" y="2072786"/>
                    </a:lnTo>
                    <a:lnTo>
                      <a:pt x="5625489" y="2074993"/>
                    </a:lnTo>
                    <a:lnTo>
                      <a:pt x="5627949" y="2075995"/>
                    </a:lnTo>
                    <a:lnTo>
                      <a:pt x="5633679" y="2076907"/>
                    </a:lnTo>
                    <a:lnTo>
                      <a:pt x="5635826" y="2078572"/>
                    </a:lnTo>
                    <a:lnTo>
                      <a:pt x="5636862" y="2081374"/>
                    </a:lnTo>
                    <a:lnTo>
                      <a:pt x="5636582" y="2083959"/>
                    </a:lnTo>
                    <a:lnTo>
                      <a:pt x="5635123" y="2089450"/>
                    </a:lnTo>
                    <a:lnTo>
                      <a:pt x="5637683" y="2087413"/>
                    </a:lnTo>
                    <a:lnTo>
                      <a:pt x="5639550" y="2077979"/>
                    </a:lnTo>
                    <a:lnTo>
                      <a:pt x="5641295" y="2074139"/>
                    </a:lnTo>
                    <a:lnTo>
                      <a:pt x="5642329" y="2073685"/>
                    </a:lnTo>
                    <a:lnTo>
                      <a:pt x="5644086" y="2073525"/>
                    </a:lnTo>
                    <a:lnTo>
                      <a:pt x="5645866" y="2074147"/>
                    </a:lnTo>
                    <a:lnTo>
                      <a:pt x="5646932" y="2076036"/>
                    </a:lnTo>
                    <a:lnTo>
                      <a:pt x="5647063" y="2078344"/>
                    </a:lnTo>
                    <a:lnTo>
                      <a:pt x="5646597" y="2079943"/>
                    </a:lnTo>
                    <a:lnTo>
                      <a:pt x="5641164" y="2090450"/>
                    </a:lnTo>
                    <a:lnTo>
                      <a:pt x="5638592" y="2093401"/>
                    </a:lnTo>
                    <a:lnTo>
                      <a:pt x="5635206" y="2094694"/>
                    </a:lnTo>
                    <a:lnTo>
                      <a:pt x="5627328" y="2095475"/>
                    </a:lnTo>
                    <a:lnTo>
                      <a:pt x="5624456" y="2093824"/>
                    </a:lnTo>
                    <a:lnTo>
                      <a:pt x="5625174" y="2088644"/>
                    </a:lnTo>
                    <a:lnTo>
                      <a:pt x="5622937" y="2088500"/>
                    </a:lnTo>
                    <a:lnTo>
                      <a:pt x="5620089" y="2086969"/>
                    </a:lnTo>
                    <a:lnTo>
                      <a:pt x="5618875" y="2087520"/>
                    </a:lnTo>
                    <a:lnTo>
                      <a:pt x="5616185" y="2097842"/>
                    </a:lnTo>
                    <a:lnTo>
                      <a:pt x="5616594" y="2104000"/>
                    </a:lnTo>
                    <a:lnTo>
                      <a:pt x="5615639" y="2109593"/>
                    </a:lnTo>
                    <a:lnTo>
                      <a:pt x="5613270" y="2113632"/>
                    </a:lnTo>
                    <a:lnTo>
                      <a:pt x="5609445" y="2115063"/>
                    </a:lnTo>
                    <a:lnTo>
                      <a:pt x="5609676" y="2116393"/>
                    </a:lnTo>
                    <a:lnTo>
                      <a:pt x="5614497" y="2117593"/>
                    </a:lnTo>
                    <a:lnTo>
                      <a:pt x="5615290" y="2118046"/>
                    </a:lnTo>
                    <a:lnTo>
                      <a:pt x="5615329" y="2119706"/>
                    </a:lnTo>
                    <a:lnTo>
                      <a:pt x="5615065" y="2120471"/>
                    </a:lnTo>
                    <a:lnTo>
                      <a:pt x="5615107" y="2121188"/>
                    </a:lnTo>
                    <a:lnTo>
                      <a:pt x="5616108" y="2122748"/>
                    </a:lnTo>
                    <a:lnTo>
                      <a:pt x="5612886" y="2129214"/>
                    </a:lnTo>
                    <a:lnTo>
                      <a:pt x="5610968" y="2130153"/>
                    </a:lnTo>
                    <a:lnTo>
                      <a:pt x="5607913" y="2127197"/>
                    </a:lnTo>
                    <a:lnTo>
                      <a:pt x="5602875" y="2119145"/>
                    </a:lnTo>
                    <a:lnTo>
                      <a:pt x="5599913" y="2116306"/>
                    </a:lnTo>
                    <a:lnTo>
                      <a:pt x="5596190" y="2115756"/>
                    </a:lnTo>
                    <a:lnTo>
                      <a:pt x="5598323" y="2119406"/>
                    </a:lnTo>
                    <a:lnTo>
                      <a:pt x="5598719" y="2122548"/>
                    </a:lnTo>
                    <a:lnTo>
                      <a:pt x="5597647" y="2124993"/>
                    </a:lnTo>
                    <a:lnTo>
                      <a:pt x="5595373" y="2126517"/>
                    </a:lnTo>
                    <a:lnTo>
                      <a:pt x="5598045" y="2127961"/>
                    </a:lnTo>
                    <a:lnTo>
                      <a:pt x="5596669" y="2130491"/>
                    </a:lnTo>
                    <a:lnTo>
                      <a:pt x="5586980" y="2137654"/>
                    </a:lnTo>
                    <a:lnTo>
                      <a:pt x="5585657" y="2137746"/>
                    </a:lnTo>
                    <a:lnTo>
                      <a:pt x="5584114" y="2136235"/>
                    </a:lnTo>
                    <a:lnTo>
                      <a:pt x="5583988" y="2134548"/>
                    </a:lnTo>
                    <a:lnTo>
                      <a:pt x="5584663" y="2133101"/>
                    </a:lnTo>
                    <a:lnTo>
                      <a:pt x="5585538" y="2132263"/>
                    </a:lnTo>
                    <a:lnTo>
                      <a:pt x="5583369" y="2131434"/>
                    </a:lnTo>
                    <a:lnTo>
                      <a:pt x="5581463" y="2131738"/>
                    </a:lnTo>
                    <a:lnTo>
                      <a:pt x="5579630" y="2132423"/>
                    </a:lnTo>
                    <a:lnTo>
                      <a:pt x="5577686" y="2132666"/>
                    </a:lnTo>
                    <a:lnTo>
                      <a:pt x="5575983" y="2132194"/>
                    </a:lnTo>
                    <a:lnTo>
                      <a:pt x="5572862" y="2130725"/>
                    </a:lnTo>
                    <a:lnTo>
                      <a:pt x="5571021" y="2130442"/>
                    </a:lnTo>
                    <a:lnTo>
                      <a:pt x="5567469" y="2131701"/>
                    </a:lnTo>
                    <a:lnTo>
                      <a:pt x="5560891" y="2136226"/>
                    </a:lnTo>
                    <a:lnTo>
                      <a:pt x="5556914" y="2136402"/>
                    </a:lnTo>
                    <a:lnTo>
                      <a:pt x="5554398" y="2134827"/>
                    </a:lnTo>
                    <a:lnTo>
                      <a:pt x="5549231" y="2130080"/>
                    </a:lnTo>
                    <a:lnTo>
                      <a:pt x="5545853" y="2129035"/>
                    </a:lnTo>
                    <a:lnTo>
                      <a:pt x="5539563" y="2131393"/>
                    </a:lnTo>
                    <a:lnTo>
                      <a:pt x="5536822" y="2131448"/>
                    </a:lnTo>
                    <a:lnTo>
                      <a:pt x="5536825" y="2128143"/>
                    </a:lnTo>
                    <a:lnTo>
                      <a:pt x="5530109" y="2131428"/>
                    </a:lnTo>
                    <a:lnTo>
                      <a:pt x="5525984" y="2131727"/>
                    </a:lnTo>
                    <a:lnTo>
                      <a:pt x="5523405" y="2127464"/>
                    </a:lnTo>
                    <a:lnTo>
                      <a:pt x="5524584" y="2125172"/>
                    </a:lnTo>
                    <a:lnTo>
                      <a:pt x="5530573" y="2118015"/>
                    </a:lnTo>
                    <a:lnTo>
                      <a:pt x="5532103" y="2114986"/>
                    </a:lnTo>
                    <a:lnTo>
                      <a:pt x="5527811" y="2113603"/>
                    </a:lnTo>
                    <a:lnTo>
                      <a:pt x="5523659" y="2114366"/>
                    </a:lnTo>
                    <a:lnTo>
                      <a:pt x="5519919" y="2116624"/>
                    </a:lnTo>
                    <a:lnTo>
                      <a:pt x="5513499" y="2123487"/>
                    </a:lnTo>
                    <a:lnTo>
                      <a:pt x="5512718" y="2124649"/>
                    </a:lnTo>
                    <a:lnTo>
                      <a:pt x="5512390" y="2126652"/>
                    </a:lnTo>
                    <a:lnTo>
                      <a:pt x="5512564" y="2128727"/>
                    </a:lnTo>
                    <a:lnTo>
                      <a:pt x="5512550" y="2130619"/>
                    </a:lnTo>
                    <a:lnTo>
                      <a:pt x="5511641" y="2132050"/>
                    </a:lnTo>
                    <a:lnTo>
                      <a:pt x="5511996" y="2135091"/>
                    </a:lnTo>
                    <a:lnTo>
                      <a:pt x="5510495" y="2138187"/>
                    </a:lnTo>
                    <a:lnTo>
                      <a:pt x="5509564" y="2140937"/>
                    </a:lnTo>
                    <a:lnTo>
                      <a:pt x="5511597" y="2142898"/>
                    </a:lnTo>
                    <a:lnTo>
                      <a:pt x="5510762" y="2145461"/>
                    </a:lnTo>
                    <a:lnTo>
                      <a:pt x="5509006" y="2148387"/>
                    </a:lnTo>
                    <a:lnTo>
                      <a:pt x="5507101" y="2150634"/>
                    </a:lnTo>
                    <a:lnTo>
                      <a:pt x="5505808" y="2151208"/>
                    </a:lnTo>
                    <a:lnTo>
                      <a:pt x="5504476" y="2148725"/>
                    </a:lnTo>
                    <a:lnTo>
                      <a:pt x="5503642" y="2141438"/>
                    </a:lnTo>
                    <a:lnTo>
                      <a:pt x="5501787" y="2137178"/>
                    </a:lnTo>
                    <a:lnTo>
                      <a:pt x="5501408" y="2135393"/>
                    </a:lnTo>
                    <a:lnTo>
                      <a:pt x="5500969" y="2131904"/>
                    </a:lnTo>
                    <a:lnTo>
                      <a:pt x="5500165" y="2131241"/>
                    </a:lnTo>
                    <a:lnTo>
                      <a:pt x="5498668" y="2131001"/>
                    </a:lnTo>
                    <a:lnTo>
                      <a:pt x="5497238" y="2130112"/>
                    </a:lnTo>
                    <a:lnTo>
                      <a:pt x="5496647" y="2127555"/>
                    </a:lnTo>
                    <a:lnTo>
                      <a:pt x="5497321" y="2126828"/>
                    </a:lnTo>
                    <a:lnTo>
                      <a:pt x="5500125" y="2125617"/>
                    </a:lnTo>
                    <a:lnTo>
                      <a:pt x="5500608" y="2124565"/>
                    </a:lnTo>
                    <a:lnTo>
                      <a:pt x="5499376" y="2122400"/>
                    </a:lnTo>
                    <a:lnTo>
                      <a:pt x="5497382" y="2122120"/>
                    </a:lnTo>
                    <a:lnTo>
                      <a:pt x="5494117" y="2122794"/>
                    </a:lnTo>
                    <a:lnTo>
                      <a:pt x="5490336" y="2109540"/>
                    </a:lnTo>
                    <a:lnTo>
                      <a:pt x="5488585" y="2105643"/>
                    </a:lnTo>
                    <a:lnTo>
                      <a:pt x="5485572" y="2103612"/>
                    </a:lnTo>
                    <a:lnTo>
                      <a:pt x="5482314" y="2103504"/>
                    </a:lnTo>
                    <a:lnTo>
                      <a:pt x="5479860" y="2105367"/>
                    </a:lnTo>
                    <a:lnTo>
                      <a:pt x="5479398" y="2107660"/>
                    </a:lnTo>
                    <a:lnTo>
                      <a:pt x="5479260" y="2111549"/>
                    </a:lnTo>
                    <a:lnTo>
                      <a:pt x="5479575" y="2115553"/>
                    </a:lnTo>
                    <a:lnTo>
                      <a:pt x="5480448" y="2118095"/>
                    </a:lnTo>
                    <a:lnTo>
                      <a:pt x="5483562" y="2123298"/>
                    </a:lnTo>
                    <a:lnTo>
                      <a:pt x="5484277" y="2124118"/>
                    </a:lnTo>
                    <a:lnTo>
                      <a:pt x="5488725" y="2127934"/>
                    </a:lnTo>
                    <a:lnTo>
                      <a:pt x="5485125" y="2129326"/>
                    </a:lnTo>
                    <a:lnTo>
                      <a:pt x="5483451" y="2130410"/>
                    </a:lnTo>
                    <a:lnTo>
                      <a:pt x="5482201" y="2132128"/>
                    </a:lnTo>
                    <a:lnTo>
                      <a:pt x="5481894" y="2134025"/>
                    </a:lnTo>
                    <a:lnTo>
                      <a:pt x="5482102" y="2138531"/>
                    </a:lnTo>
                    <a:lnTo>
                      <a:pt x="5481663" y="2140068"/>
                    </a:lnTo>
                    <a:lnTo>
                      <a:pt x="5479988" y="2141272"/>
                    </a:lnTo>
                    <a:lnTo>
                      <a:pt x="5478406" y="2141083"/>
                    </a:lnTo>
                    <a:lnTo>
                      <a:pt x="5476702" y="2140469"/>
                    </a:lnTo>
                    <a:lnTo>
                      <a:pt x="5474611" y="2140400"/>
                    </a:lnTo>
                    <a:lnTo>
                      <a:pt x="5472891" y="2141501"/>
                    </a:lnTo>
                    <a:lnTo>
                      <a:pt x="5469875" y="2145295"/>
                    </a:lnTo>
                    <a:lnTo>
                      <a:pt x="5468830" y="2146144"/>
                    </a:lnTo>
                    <a:lnTo>
                      <a:pt x="5467479" y="2148519"/>
                    </a:lnTo>
                    <a:lnTo>
                      <a:pt x="5465244" y="2158837"/>
                    </a:lnTo>
                    <a:lnTo>
                      <a:pt x="5463146" y="2161256"/>
                    </a:lnTo>
                    <a:lnTo>
                      <a:pt x="5462942" y="2162318"/>
                    </a:lnTo>
                    <a:lnTo>
                      <a:pt x="5464268" y="2164556"/>
                    </a:lnTo>
                    <a:lnTo>
                      <a:pt x="5466155" y="2166767"/>
                    </a:lnTo>
                    <a:lnTo>
                      <a:pt x="5467659" y="2167743"/>
                    </a:lnTo>
                    <a:lnTo>
                      <a:pt x="5469510" y="2169653"/>
                    </a:lnTo>
                    <a:lnTo>
                      <a:pt x="5470307" y="2170175"/>
                    </a:lnTo>
                    <a:lnTo>
                      <a:pt x="5471572" y="2170396"/>
                    </a:lnTo>
                    <a:lnTo>
                      <a:pt x="5475614" y="2169928"/>
                    </a:lnTo>
                    <a:lnTo>
                      <a:pt x="5475093" y="2172267"/>
                    </a:lnTo>
                    <a:lnTo>
                      <a:pt x="5475039" y="2173963"/>
                    </a:lnTo>
                    <a:lnTo>
                      <a:pt x="5475328" y="2175346"/>
                    </a:lnTo>
                    <a:lnTo>
                      <a:pt x="5475769" y="2176739"/>
                    </a:lnTo>
                    <a:lnTo>
                      <a:pt x="5478313" y="2179271"/>
                    </a:lnTo>
                    <a:lnTo>
                      <a:pt x="5479589" y="2181231"/>
                    </a:lnTo>
                    <a:lnTo>
                      <a:pt x="5479374" y="2183278"/>
                    </a:lnTo>
                    <a:lnTo>
                      <a:pt x="5477999" y="2183558"/>
                    </a:lnTo>
                    <a:lnTo>
                      <a:pt x="5476054" y="2182331"/>
                    </a:lnTo>
                    <a:lnTo>
                      <a:pt x="5472720" y="2179563"/>
                    </a:lnTo>
                    <a:lnTo>
                      <a:pt x="5470666" y="2178844"/>
                    </a:lnTo>
                    <a:lnTo>
                      <a:pt x="5464374" y="2178608"/>
                    </a:lnTo>
                    <a:lnTo>
                      <a:pt x="5468334" y="2174234"/>
                    </a:lnTo>
                    <a:lnTo>
                      <a:pt x="5468882" y="2173052"/>
                    </a:lnTo>
                    <a:lnTo>
                      <a:pt x="5467671" y="2171047"/>
                    </a:lnTo>
                    <a:lnTo>
                      <a:pt x="5465490" y="2170781"/>
                    </a:lnTo>
                    <a:lnTo>
                      <a:pt x="5463108" y="2171026"/>
                    </a:lnTo>
                    <a:lnTo>
                      <a:pt x="5461367" y="2170588"/>
                    </a:lnTo>
                    <a:lnTo>
                      <a:pt x="5461511" y="2167557"/>
                    </a:lnTo>
                    <a:lnTo>
                      <a:pt x="5457562" y="2164769"/>
                    </a:lnTo>
                    <a:lnTo>
                      <a:pt x="5457847" y="2162115"/>
                    </a:lnTo>
                    <a:lnTo>
                      <a:pt x="5458421" y="2160157"/>
                    </a:lnTo>
                    <a:lnTo>
                      <a:pt x="5459358" y="2153539"/>
                    </a:lnTo>
                    <a:lnTo>
                      <a:pt x="5459394" y="2151273"/>
                    </a:lnTo>
                    <a:lnTo>
                      <a:pt x="5457572" y="2146106"/>
                    </a:lnTo>
                    <a:lnTo>
                      <a:pt x="5454146" y="2140857"/>
                    </a:lnTo>
                    <a:lnTo>
                      <a:pt x="5450106" y="2137135"/>
                    </a:lnTo>
                    <a:lnTo>
                      <a:pt x="5446398" y="2136468"/>
                    </a:lnTo>
                    <a:lnTo>
                      <a:pt x="5444776" y="2139597"/>
                    </a:lnTo>
                    <a:lnTo>
                      <a:pt x="5446760" y="2150800"/>
                    </a:lnTo>
                    <a:lnTo>
                      <a:pt x="5446198" y="2155955"/>
                    </a:lnTo>
                    <a:lnTo>
                      <a:pt x="5444723" y="2160929"/>
                    </a:lnTo>
                    <a:lnTo>
                      <a:pt x="5443422" y="2161833"/>
                    </a:lnTo>
                    <a:lnTo>
                      <a:pt x="5440296" y="2160843"/>
                    </a:lnTo>
                    <a:lnTo>
                      <a:pt x="5435938" y="2157992"/>
                    </a:lnTo>
                    <a:lnTo>
                      <a:pt x="5433680" y="2157767"/>
                    </a:lnTo>
                    <a:lnTo>
                      <a:pt x="5431246" y="2159911"/>
                    </a:lnTo>
                    <a:lnTo>
                      <a:pt x="5433073" y="2160770"/>
                    </a:lnTo>
                    <a:lnTo>
                      <a:pt x="5435112" y="2162242"/>
                    </a:lnTo>
                    <a:lnTo>
                      <a:pt x="5442441" y="2168860"/>
                    </a:lnTo>
                    <a:lnTo>
                      <a:pt x="5445867" y="2171298"/>
                    </a:lnTo>
                    <a:lnTo>
                      <a:pt x="5450700" y="2187138"/>
                    </a:lnTo>
                    <a:lnTo>
                      <a:pt x="5451041" y="2191402"/>
                    </a:lnTo>
                    <a:lnTo>
                      <a:pt x="5452353" y="2194417"/>
                    </a:lnTo>
                    <a:lnTo>
                      <a:pt x="5451141" y="2195478"/>
                    </a:lnTo>
                    <a:lnTo>
                      <a:pt x="5448740" y="2195036"/>
                    </a:lnTo>
                    <a:lnTo>
                      <a:pt x="5446479" y="2193494"/>
                    </a:lnTo>
                    <a:lnTo>
                      <a:pt x="5443636" y="2190836"/>
                    </a:lnTo>
                    <a:lnTo>
                      <a:pt x="5442772" y="2189781"/>
                    </a:lnTo>
                    <a:lnTo>
                      <a:pt x="5443278" y="2186405"/>
                    </a:lnTo>
                    <a:lnTo>
                      <a:pt x="5442930" y="2184952"/>
                    </a:lnTo>
                    <a:lnTo>
                      <a:pt x="5440849" y="2183497"/>
                    </a:lnTo>
                    <a:lnTo>
                      <a:pt x="5435995" y="2182128"/>
                    </a:lnTo>
                    <a:lnTo>
                      <a:pt x="5433847" y="2180667"/>
                    </a:lnTo>
                    <a:lnTo>
                      <a:pt x="5427748" y="2174572"/>
                    </a:lnTo>
                    <a:lnTo>
                      <a:pt x="5426522" y="2173638"/>
                    </a:lnTo>
                    <a:lnTo>
                      <a:pt x="5420807" y="2173047"/>
                    </a:lnTo>
                    <a:lnTo>
                      <a:pt x="5413152" y="2170410"/>
                    </a:lnTo>
                    <a:lnTo>
                      <a:pt x="5411441" y="2170342"/>
                    </a:lnTo>
                    <a:lnTo>
                      <a:pt x="5410741" y="2171689"/>
                    </a:lnTo>
                    <a:lnTo>
                      <a:pt x="5410952" y="2174999"/>
                    </a:lnTo>
                    <a:lnTo>
                      <a:pt x="5419764" y="2179285"/>
                    </a:lnTo>
                    <a:lnTo>
                      <a:pt x="5420600" y="2180301"/>
                    </a:lnTo>
                    <a:lnTo>
                      <a:pt x="5422679" y="2183920"/>
                    </a:lnTo>
                    <a:lnTo>
                      <a:pt x="5423963" y="2184724"/>
                    </a:lnTo>
                    <a:lnTo>
                      <a:pt x="5427219" y="2184962"/>
                    </a:lnTo>
                    <a:lnTo>
                      <a:pt x="5428732" y="2185589"/>
                    </a:lnTo>
                    <a:lnTo>
                      <a:pt x="5424772" y="2195137"/>
                    </a:lnTo>
                    <a:lnTo>
                      <a:pt x="5419681" y="2200815"/>
                    </a:lnTo>
                    <a:lnTo>
                      <a:pt x="5418769" y="2203562"/>
                    </a:lnTo>
                    <a:lnTo>
                      <a:pt x="5416105" y="2201939"/>
                    </a:lnTo>
                    <a:lnTo>
                      <a:pt x="5414304" y="2199591"/>
                    </a:lnTo>
                    <a:lnTo>
                      <a:pt x="5411172" y="2194396"/>
                    </a:lnTo>
                    <a:lnTo>
                      <a:pt x="5409079" y="2192748"/>
                    </a:lnTo>
                    <a:lnTo>
                      <a:pt x="5405796" y="2190929"/>
                    </a:lnTo>
                    <a:lnTo>
                      <a:pt x="5402863" y="2190115"/>
                    </a:lnTo>
                    <a:lnTo>
                      <a:pt x="5401819" y="2191517"/>
                    </a:lnTo>
                    <a:lnTo>
                      <a:pt x="5403220" y="2193898"/>
                    </a:lnTo>
                    <a:lnTo>
                      <a:pt x="5405550" y="2195537"/>
                    </a:lnTo>
                    <a:lnTo>
                      <a:pt x="5407338" y="2197430"/>
                    </a:lnTo>
                    <a:lnTo>
                      <a:pt x="5407118" y="2200672"/>
                    </a:lnTo>
                    <a:lnTo>
                      <a:pt x="5406447" y="2203790"/>
                    </a:lnTo>
                    <a:lnTo>
                      <a:pt x="5406838" y="2206695"/>
                    </a:lnTo>
                    <a:lnTo>
                      <a:pt x="5408083" y="2209037"/>
                    </a:lnTo>
                    <a:lnTo>
                      <a:pt x="5409921" y="2210537"/>
                    </a:lnTo>
                    <a:lnTo>
                      <a:pt x="5407403" y="2213522"/>
                    </a:lnTo>
                    <a:lnTo>
                      <a:pt x="5405931" y="2214567"/>
                    </a:lnTo>
                    <a:lnTo>
                      <a:pt x="5404300" y="2215038"/>
                    </a:lnTo>
                    <a:lnTo>
                      <a:pt x="5402300" y="2214470"/>
                    </a:lnTo>
                    <a:lnTo>
                      <a:pt x="5399631" y="2211631"/>
                    </a:lnTo>
                    <a:lnTo>
                      <a:pt x="5398269" y="2211043"/>
                    </a:lnTo>
                    <a:lnTo>
                      <a:pt x="5395725" y="2212662"/>
                    </a:lnTo>
                    <a:lnTo>
                      <a:pt x="5396085" y="2216207"/>
                    </a:lnTo>
                    <a:lnTo>
                      <a:pt x="5397972" y="2220199"/>
                    </a:lnTo>
                    <a:lnTo>
                      <a:pt x="5400011" y="2223257"/>
                    </a:lnTo>
                    <a:lnTo>
                      <a:pt x="5392165" y="2223243"/>
                    </a:lnTo>
                    <a:lnTo>
                      <a:pt x="5389779" y="2224862"/>
                    </a:lnTo>
                    <a:lnTo>
                      <a:pt x="5392037" y="2230308"/>
                    </a:lnTo>
                    <a:lnTo>
                      <a:pt x="5387597" y="2230784"/>
                    </a:lnTo>
                    <a:lnTo>
                      <a:pt x="5386189" y="2231539"/>
                    </a:lnTo>
                    <a:lnTo>
                      <a:pt x="5382073" y="2235028"/>
                    </a:lnTo>
                    <a:lnTo>
                      <a:pt x="5379395" y="2236325"/>
                    </a:lnTo>
                    <a:lnTo>
                      <a:pt x="5376545" y="2236540"/>
                    </a:lnTo>
                    <a:lnTo>
                      <a:pt x="5373761" y="2235092"/>
                    </a:lnTo>
                    <a:lnTo>
                      <a:pt x="5374655" y="2234703"/>
                    </a:lnTo>
                    <a:lnTo>
                      <a:pt x="5376154" y="2233730"/>
                    </a:lnTo>
                    <a:lnTo>
                      <a:pt x="5377218" y="2233501"/>
                    </a:lnTo>
                    <a:lnTo>
                      <a:pt x="5375065" y="2231555"/>
                    </a:lnTo>
                    <a:lnTo>
                      <a:pt x="5374022" y="2231072"/>
                    </a:lnTo>
                    <a:lnTo>
                      <a:pt x="5375665" y="2230188"/>
                    </a:lnTo>
                    <a:lnTo>
                      <a:pt x="5377446" y="2229634"/>
                    </a:lnTo>
                    <a:lnTo>
                      <a:pt x="5378942" y="2228708"/>
                    </a:lnTo>
                    <a:lnTo>
                      <a:pt x="5379795" y="2226804"/>
                    </a:lnTo>
                    <a:lnTo>
                      <a:pt x="5377811" y="2226815"/>
                    </a:lnTo>
                    <a:lnTo>
                      <a:pt x="5376633" y="2225500"/>
                    </a:lnTo>
                    <a:lnTo>
                      <a:pt x="5376177" y="2223524"/>
                    </a:lnTo>
                    <a:lnTo>
                      <a:pt x="5376355" y="2221472"/>
                    </a:lnTo>
                    <a:lnTo>
                      <a:pt x="5377477" y="2219605"/>
                    </a:lnTo>
                    <a:lnTo>
                      <a:pt x="5381102" y="2217814"/>
                    </a:lnTo>
                    <a:lnTo>
                      <a:pt x="5382484" y="2216581"/>
                    </a:lnTo>
                    <a:lnTo>
                      <a:pt x="5383289" y="2214104"/>
                    </a:lnTo>
                    <a:lnTo>
                      <a:pt x="5383021" y="2212200"/>
                    </a:lnTo>
                    <a:lnTo>
                      <a:pt x="5382620" y="2210462"/>
                    </a:lnTo>
                    <a:lnTo>
                      <a:pt x="5383043" y="2208464"/>
                    </a:lnTo>
                    <a:lnTo>
                      <a:pt x="5385267" y="2205279"/>
                    </a:lnTo>
                    <a:lnTo>
                      <a:pt x="5385508" y="2203497"/>
                    </a:lnTo>
                    <a:lnTo>
                      <a:pt x="5384219" y="2200918"/>
                    </a:lnTo>
                    <a:lnTo>
                      <a:pt x="5386666" y="2197215"/>
                    </a:lnTo>
                    <a:lnTo>
                      <a:pt x="5388712" y="2191677"/>
                    </a:lnTo>
                    <a:lnTo>
                      <a:pt x="5388776" y="2187772"/>
                    </a:lnTo>
                    <a:lnTo>
                      <a:pt x="5385290" y="2188951"/>
                    </a:lnTo>
                    <a:lnTo>
                      <a:pt x="5382339" y="2192621"/>
                    </a:lnTo>
                    <a:lnTo>
                      <a:pt x="5374958" y="2210548"/>
                    </a:lnTo>
                    <a:lnTo>
                      <a:pt x="5372067" y="2213558"/>
                    </a:lnTo>
                    <a:lnTo>
                      <a:pt x="5370588" y="2215744"/>
                    </a:lnTo>
                    <a:lnTo>
                      <a:pt x="5367737" y="2224629"/>
                    </a:lnTo>
                    <a:lnTo>
                      <a:pt x="5363400" y="2232187"/>
                    </a:lnTo>
                    <a:lnTo>
                      <a:pt x="5363298" y="2235386"/>
                    </a:lnTo>
                    <a:lnTo>
                      <a:pt x="5362258" y="2237553"/>
                    </a:lnTo>
                    <a:lnTo>
                      <a:pt x="5360563" y="2237935"/>
                    </a:lnTo>
                    <a:lnTo>
                      <a:pt x="5358494" y="2235729"/>
                    </a:lnTo>
                    <a:lnTo>
                      <a:pt x="5358647" y="2232417"/>
                    </a:lnTo>
                    <a:lnTo>
                      <a:pt x="5352808" y="2228538"/>
                    </a:lnTo>
                    <a:lnTo>
                      <a:pt x="5350777" y="2224615"/>
                    </a:lnTo>
                    <a:lnTo>
                      <a:pt x="5351457" y="2221698"/>
                    </a:lnTo>
                    <a:lnTo>
                      <a:pt x="5355747" y="2215358"/>
                    </a:lnTo>
                    <a:lnTo>
                      <a:pt x="5356977" y="2211572"/>
                    </a:lnTo>
                    <a:lnTo>
                      <a:pt x="5352046" y="2211585"/>
                    </a:lnTo>
                    <a:lnTo>
                      <a:pt x="5341742" y="2219360"/>
                    </a:lnTo>
                    <a:lnTo>
                      <a:pt x="5336795" y="2221900"/>
                    </a:lnTo>
                    <a:lnTo>
                      <a:pt x="5336957" y="2223106"/>
                    </a:lnTo>
                    <a:lnTo>
                      <a:pt x="5339643" y="2223995"/>
                    </a:lnTo>
                    <a:lnTo>
                      <a:pt x="5342989" y="2226299"/>
                    </a:lnTo>
                    <a:lnTo>
                      <a:pt x="5346118" y="2229261"/>
                    </a:lnTo>
                    <a:lnTo>
                      <a:pt x="5348130" y="2232148"/>
                    </a:lnTo>
                    <a:lnTo>
                      <a:pt x="5348649" y="2235257"/>
                    </a:lnTo>
                    <a:lnTo>
                      <a:pt x="5347146" y="2236852"/>
                    </a:lnTo>
                    <a:lnTo>
                      <a:pt x="5341823" y="2239224"/>
                    </a:lnTo>
                    <a:lnTo>
                      <a:pt x="5341985" y="2240423"/>
                    </a:lnTo>
                    <a:lnTo>
                      <a:pt x="5345050" y="2241584"/>
                    </a:lnTo>
                    <a:lnTo>
                      <a:pt x="5346455" y="2242588"/>
                    </a:lnTo>
                    <a:lnTo>
                      <a:pt x="5346019" y="2243851"/>
                    </a:lnTo>
                    <a:lnTo>
                      <a:pt x="5343587" y="2245724"/>
                    </a:lnTo>
                    <a:lnTo>
                      <a:pt x="5340678" y="2246968"/>
                    </a:lnTo>
                    <a:lnTo>
                      <a:pt x="5330821" y="2247702"/>
                    </a:lnTo>
                    <a:lnTo>
                      <a:pt x="5330313" y="2249176"/>
                    </a:lnTo>
                    <a:lnTo>
                      <a:pt x="5329597" y="2252383"/>
                    </a:lnTo>
                    <a:lnTo>
                      <a:pt x="5328442" y="2255607"/>
                    </a:lnTo>
                    <a:lnTo>
                      <a:pt x="5326621" y="2257141"/>
                    </a:lnTo>
                    <a:lnTo>
                      <a:pt x="5324307" y="2257913"/>
                    </a:lnTo>
                    <a:lnTo>
                      <a:pt x="5317039" y="2263656"/>
                    </a:lnTo>
                    <a:lnTo>
                      <a:pt x="5316207" y="2264560"/>
                    </a:lnTo>
                    <a:lnTo>
                      <a:pt x="5315304" y="2265331"/>
                    </a:lnTo>
                    <a:lnTo>
                      <a:pt x="5308463" y="2267357"/>
                    </a:lnTo>
                    <a:lnTo>
                      <a:pt x="5308751" y="2269207"/>
                    </a:lnTo>
                    <a:lnTo>
                      <a:pt x="5310240" y="2271984"/>
                    </a:lnTo>
                    <a:lnTo>
                      <a:pt x="5313889" y="2277257"/>
                    </a:lnTo>
                    <a:lnTo>
                      <a:pt x="5313595" y="2280712"/>
                    </a:lnTo>
                    <a:lnTo>
                      <a:pt x="5308675" y="2282726"/>
                    </a:lnTo>
                    <a:lnTo>
                      <a:pt x="5304442" y="2285600"/>
                    </a:lnTo>
                    <a:lnTo>
                      <a:pt x="5306174" y="2291573"/>
                    </a:lnTo>
                    <a:lnTo>
                      <a:pt x="5300600" y="2287299"/>
                    </a:lnTo>
                    <a:lnTo>
                      <a:pt x="5298249" y="2284426"/>
                    </a:lnTo>
                    <a:lnTo>
                      <a:pt x="5298180" y="2281767"/>
                    </a:lnTo>
                    <a:lnTo>
                      <a:pt x="5299580" y="2279174"/>
                    </a:lnTo>
                    <a:lnTo>
                      <a:pt x="5299254" y="2278299"/>
                    </a:lnTo>
                    <a:lnTo>
                      <a:pt x="5297877" y="2278009"/>
                    </a:lnTo>
                    <a:lnTo>
                      <a:pt x="5296199" y="2277219"/>
                    </a:lnTo>
                    <a:lnTo>
                      <a:pt x="5293898" y="2274617"/>
                    </a:lnTo>
                    <a:lnTo>
                      <a:pt x="5292785" y="2273733"/>
                    </a:lnTo>
                    <a:lnTo>
                      <a:pt x="5291204" y="2273386"/>
                    </a:lnTo>
                    <a:lnTo>
                      <a:pt x="5289735" y="2274107"/>
                    </a:lnTo>
                    <a:lnTo>
                      <a:pt x="5288274" y="2275464"/>
                    </a:lnTo>
                    <a:lnTo>
                      <a:pt x="5286518" y="2276346"/>
                    </a:lnTo>
                    <a:lnTo>
                      <a:pt x="5282458" y="2274768"/>
                    </a:lnTo>
                    <a:lnTo>
                      <a:pt x="5275060" y="2273660"/>
                    </a:lnTo>
                    <a:lnTo>
                      <a:pt x="5267836" y="2270922"/>
                    </a:lnTo>
                    <a:lnTo>
                      <a:pt x="5265844" y="2270590"/>
                    </a:lnTo>
                    <a:lnTo>
                      <a:pt x="5263948" y="2270804"/>
                    </a:lnTo>
                    <a:lnTo>
                      <a:pt x="5262057" y="2271809"/>
                    </a:lnTo>
                    <a:lnTo>
                      <a:pt x="5264467" y="2274569"/>
                    </a:lnTo>
                    <a:lnTo>
                      <a:pt x="5267370" y="2274828"/>
                    </a:lnTo>
                    <a:lnTo>
                      <a:pt x="5270359" y="2274636"/>
                    </a:lnTo>
                    <a:lnTo>
                      <a:pt x="5272988" y="2276022"/>
                    </a:lnTo>
                    <a:lnTo>
                      <a:pt x="5275015" y="2277910"/>
                    </a:lnTo>
                    <a:lnTo>
                      <a:pt x="5282247" y="2281773"/>
                    </a:lnTo>
                    <a:lnTo>
                      <a:pt x="5285100" y="2282630"/>
                    </a:lnTo>
                    <a:lnTo>
                      <a:pt x="5286507" y="2283439"/>
                    </a:lnTo>
                    <a:lnTo>
                      <a:pt x="5287247" y="2284920"/>
                    </a:lnTo>
                    <a:lnTo>
                      <a:pt x="5287187" y="2286624"/>
                    </a:lnTo>
                    <a:lnTo>
                      <a:pt x="5286659" y="2288202"/>
                    </a:lnTo>
                    <a:lnTo>
                      <a:pt x="5285800" y="2289362"/>
                    </a:lnTo>
                    <a:lnTo>
                      <a:pt x="5281289" y="2291379"/>
                    </a:lnTo>
                    <a:lnTo>
                      <a:pt x="5279318" y="2291813"/>
                    </a:lnTo>
                    <a:lnTo>
                      <a:pt x="5276314" y="2290017"/>
                    </a:lnTo>
                    <a:lnTo>
                      <a:pt x="5272315" y="2289019"/>
                    </a:lnTo>
                    <a:lnTo>
                      <a:pt x="5270941" y="2288894"/>
                    </a:lnTo>
                    <a:lnTo>
                      <a:pt x="5264087" y="2289653"/>
                    </a:lnTo>
                    <a:lnTo>
                      <a:pt x="5261415" y="2289250"/>
                    </a:lnTo>
                    <a:lnTo>
                      <a:pt x="5253769" y="2286020"/>
                    </a:lnTo>
                    <a:lnTo>
                      <a:pt x="5250539" y="2285268"/>
                    </a:lnTo>
                    <a:lnTo>
                      <a:pt x="5248196" y="2283630"/>
                    </a:lnTo>
                    <a:lnTo>
                      <a:pt x="5247109" y="2283087"/>
                    </a:lnTo>
                    <a:lnTo>
                      <a:pt x="5245383" y="2282799"/>
                    </a:lnTo>
                    <a:lnTo>
                      <a:pt x="5244325" y="2283029"/>
                    </a:lnTo>
                    <a:lnTo>
                      <a:pt x="5233904" y="2288199"/>
                    </a:lnTo>
                    <a:lnTo>
                      <a:pt x="5231716" y="2290338"/>
                    </a:lnTo>
                    <a:lnTo>
                      <a:pt x="5233331" y="2290872"/>
                    </a:lnTo>
                    <a:lnTo>
                      <a:pt x="5236314" y="2291082"/>
                    </a:lnTo>
                    <a:lnTo>
                      <a:pt x="5238106" y="2291577"/>
                    </a:lnTo>
                    <a:lnTo>
                      <a:pt x="5236333" y="2294987"/>
                    </a:lnTo>
                    <a:lnTo>
                      <a:pt x="5232758" y="2295684"/>
                    </a:lnTo>
                    <a:lnTo>
                      <a:pt x="5224869" y="2294609"/>
                    </a:lnTo>
                    <a:lnTo>
                      <a:pt x="5221489" y="2295113"/>
                    </a:lnTo>
                    <a:lnTo>
                      <a:pt x="5219912" y="2296001"/>
                    </a:lnTo>
                    <a:lnTo>
                      <a:pt x="5219836" y="2297592"/>
                    </a:lnTo>
                    <a:lnTo>
                      <a:pt x="5221604" y="2298974"/>
                    </a:lnTo>
                    <a:lnTo>
                      <a:pt x="5225098" y="2297636"/>
                    </a:lnTo>
                    <a:lnTo>
                      <a:pt x="5226465" y="2300031"/>
                    </a:lnTo>
                    <a:lnTo>
                      <a:pt x="5211614" y="2303058"/>
                    </a:lnTo>
                    <a:lnTo>
                      <a:pt x="5203769" y="2302527"/>
                    </a:lnTo>
                    <a:lnTo>
                      <a:pt x="5199849" y="2297569"/>
                    </a:lnTo>
                    <a:lnTo>
                      <a:pt x="5200324" y="2294295"/>
                    </a:lnTo>
                    <a:lnTo>
                      <a:pt x="5200328" y="2292331"/>
                    </a:lnTo>
                    <a:lnTo>
                      <a:pt x="5199600" y="2291478"/>
                    </a:lnTo>
                    <a:lnTo>
                      <a:pt x="5189699" y="2293929"/>
                    </a:lnTo>
                    <a:lnTo>
                      <a:pt x="5186051" y="2294006"/>
                    </a:lnTo>
                    <a:lnTo>
                      <a:pt x="5182568" y="2292760"/>
                    </a:lnTo>
                    <a:lnTo>
                      <a:pt x="5179866" y="2289476"/>
                    </a:lnTo>
                    <a:lnTo>
                      <a:pt x="5181957" y="2289357"/>
                    </a:lnTo>
                    <a:lnTo>
                      <a:pt x="5182958" y="2288637"/>
                    </a:lnTo>
                    <a:lnTo>
                      <a:pt x="5182744" y="2287319"/>
                    </a:lnTo>
                    <a:lnTo>
                      <a:pt x="5181217" y="2285424"/>
                    </a:lnTo>
                    <a:lnTo>
                      <a:pt x="5179909" y="2284847"/>
                    </a:lnTo>
                    <a:lnTo>
                      <a:pt x="5174763" y="2284311"/>
                    </a:lnTo>
                    <a:lnTo>
                      <a:pt x="5172422" y="2283298"/>
                    </a:lnTo>
                    <a:lnTo>
                      <a:pt x="5170205" y="2281665"/>
                    </a:lnTo>
                    <a:lnTo>
                      <a:pt x="5168658" y="2279084"/>
                    </a:lnTo>
                    <a:lnTo>
                      <a:pt x="5168331" y="2275145"/>
                    </a:lnTo>
                    <a:lnTo>
                      <a:pt x="5169294" y="2272664"/>
                    </a:lnTo>
                    <a:lnTo>
                      <a:pt x="5171265" y="2270260"/>
                    </a:lnTo>
                    <a:lnTo>
                      <a:pt x="5175427" y="2266872"/>
                    </a:lnTo>
                    <a:lnTo>
                      <a:pt x="5179040" y="2265639"/>
                    </a:lnTo>
                    <a:lnTo>
                      <a:pt x="5189867" y="2266375"/>
                    </a:lnTo>
                    <a:lnTo>
                      <a:pt x="5186902" y="2263797"/>
                    </a:lnTo>
                    <a:lnTo>
                      <a:pt x="5180477" y="2260541"/>
                    </a:lnTo>
                    <a:lnTo>
                      <a:pt x="5177692" y="2257980"/>
                    </a:lnTo>
                    <a:lnTo>
                      <a:pt x="5178196" y="2255228"/>
                    </a:lnTo>
                    <a:lnTo>
                      <a:pt x="5181795" y="2252344"/>
                    </a:lnTo>
                    <a:lnTo>
                      <a:pt x="5188827" y="2248784"/>
                    </a:lnTo>
                    <a:lnTo>
                      <a:pt x="5196582" y="2248162"/>
                    </a:lnTo>
                    <a:lnTo>
                      <a:pt x="5200400" y="2246999"/>
                    </a:lnTo>
                    <a:lnTo>
                      <a:pt x="5201732" y="2243817"/>
                    </a:lnTo>
                    <a:lnTo>
                      <a:pt x="5203552" y="2241121"/>
                    </a:lnTo>
                    <a:lnTo>
                      <a:pt x="5208301" y="2239853"/>
                    </a:lnTo>
                    <a:lnTo>
                      <a:pt x="5232534" y="2240509"/>
                    </a:lnTo>
                    <a:lnTo>
                      <a:pt x="5236298" y="2242574"/>
                    </a:lnTo>
                    <a:lnTo>
                      <a:pt x="5239008" y="2245011"/>
                    </a:lnTo>
                    <a:lnTo>
                      <a:pt x="5242173" y="2246617"/>
                    </a:lnTo>
                    <a:lnTo>
                      <a:pt x="5244598" y="2246599"/>
                    </a:lnTo>
                    <a:lnTo>
                      <a:pt x="5245074" y="2244189"/>
                    </a:lnTo>
                    <a:lnTo>
                      <a:pt x="5242882" y="2240976"/>
                    </a:lnTo>
                    <a:lnTo>
                      <a:pt x="5235808" y="2237344"/>
                    </a:lnTo>
                    <a:lnTo>
                      <a:pt x="5234015" y="2234570"/>
                    </a:lnTo>
                    <a:lnTo>
                      <a:pt x="5234754" y="2229823"/>
                    </a:lnTo>
                    <a:lnTo>
                      <a:pt x="5237561" y="2226960"/>
                    </a:lnTo>
                    <a:lnTo>
                      <a:pt x="5244388" y="2224028"/>
                    </a:lnTo>
                    <a:lnTo>
                      <a:pt x="5247166" y="2223686"/>
                    </a:lnTo>
                    <a:lnTo>
                      <a:pt x="5253767" y="2224436"/>
                    </a:lnTo>
                    <a:lnTo>
                      <a:pt x="5256078" y="2223592"/>
                    </a:lnTo>
                    <a:lnTo>
                      <a:pt x="5256719" y="2221367"/>
                    </a:lnTo>
                    <a:lnTo>
                      <a:pt x="5256535" y="2218734"/>
                    </a:lnTo>
                    <a:lnTo>
                      <a:pt x="5257085" y="2216465"/>
                    </a:lnTo>
                    <a:lnTo>
                      <a:pt x="5259945" y="2215424"/>
                    </a:lnTo>
                    <a:lnTo>
                      <a:pt x="5265417" y="2215863"/>
                    </a:lnTo>
                    <a:lnTo>
                      <a:pt x="5268049" y="2215276"/>
                    </a:lnTo>
                    <a:lnTo>
                      <a:pt x="5267793" y="2213117"/>
                    </a:lnTo>
                    <a:lnTo>
                      <a:pt x="5263862" y="2209225"/>
                    </a:lnTo>
                    <a:lnTo>
                      <a:pt x="5263488" y="2207397"/>
                    </a:lnTo>
                    <a:lnTo>
                      <a:pt x="5265328" y="2204521"/>
                    </a:lnTo>
                    <a:lnTo>
                      <a:pt x="5266944" y="2203224"/>
                    </a:lnTo>
                    <a:lnTo>
                      <a:pt x="5270535" y="2201412"/>
                    </a:lnTo>
                    <a:lnTo>
                      <a:pt x="5271922" y="2200124"/>
                    </a:lnTo>
                    <a:lnTo>
                      <a:pt x="5272902" y="2198030"/>
                    </a:lnTo>
                    <a:lnTo>
                      <a:pt x="5274014" y="2193380"/>
                    </a:lnTo>
                    <a:lnTo>
                      <a:pt x="5274866" y="2191386"/>
                    </a:lnTo>
                    <a:lnTo>
                      <a:pt x="5277538" y="2187952"/>
                    </a:lnTo>
                    <a:lnTo>
                      <a:pt x="5287208" y="2179479"/>
                    </a:lnTo>
                    <a:lnTo>
                      <a:pt x="5282799" y="2176416"/>
                    </a:lnTo>
                    <a:lnTo>
                      <a:pt x="5277215" y="2176395"/>
                    </a:lnTo>
                    <a:lnTo>
                      <a:pt x="5271904" y="2178608"/>
                    </a:lnTo>
                    <a:lnTo>
                      <a:pt x="5266666" y="2184012"/>
                    </a:lnTo>
                    <a:lnTo>
                      <a:pt x="5259491" y="2187226"/>
                    </a:lnTo>
                    <a:lnTo>
                      <a:pt x="5239206" y="2201694"/>
                    </a:lnTo>
                    <a:lnTo>
                      <a:pt x="5234639" y="2202868"/>
                    </a:lnTo>
                    <a:lnTo>
                      <a:pt x="5232943" y="2203638"/>
                    </a:lnTo>
                    <a:lnTo>
                      <a:pt x="5230732" y="2205441"/>
                    </a:lnTo>
                    <a:lnTo>
                      <a:pt x="5228878" y="2207685"/>
                    </a:lnTo>
                    <a:lnTo>
                      <a:pt x="5228238" y="2209788"/>
                    </a:lnTo>
                    <a:lnTo>
                      <a:pt x="5229504" y="2211655"/>
                    </a:lnTo>
                    <a:lnTo>
                      <a:pt x="5232078" y="2213083"/>
                    </a:lnTo>
                    <a:lnTo>
                      <a:pt x="5234300" y="2214109"/>
                    </a:lnTo>
                    <a:lnTo>
                      <a:pt x="5234929" y="2214277"/>
                    </a:lnTo>
                    <a:lnTo>
                      <a:pt x="5237007" y="2214942"/>
                    </a:lnTo>
                    <a:lnTo>
                      <a:pt x="5234281" y="2214246"/>
                    </a:lnTo>
                    <a:lnTo>
                      <a:pt x="5191366" y="2201880"/>
                    </a:lnTo>
                    <a:lnTo>
                      <a:pt x="5186734" y="2200211"/>
                    </a:lnTo>
                    <a:lnTo>
                      <a:pt x="5179607" y="2195762"/>
                    </a:lnTo>
                    <a:lnTo>
                      <a:pt x="5173599" y="2189465"/>
                    </a:lnTo>
                    <a:lnTo>
                      <a:pt x="5171324" y="2182291"/>
                    </a:lnTo>
                    <a:lnTo>
                      <a:pt x="5171852" y="2180267"/>
                    </a:lnTo>
                    <a:lnTo>
                      <a:pt x="5175015" y="2175611"/>
                    </a:lnTo>
                    <a:lnTo>
                      <a:pt x="5175649" y="2173386"/>
                    </a:lnTo>
                    <a:lnTo>
                      <a:pt x="5176463" y="2168630"/>
                    </a:lnTo>
                    <a:lnTo>
                      <a:pt x="5185400" y="2142355"/>
                    </a:lnTo>
                    <a:lnTo>
                      <a:pt x="5185696" y="2138408"/>
                    </a:lnTo>
                    <a:lnTo>
                      <a:pt x="5186390" y="2135155"/>
                    </a:lnTo>
                    <a:lnTo>
                      <a:pt x="5188447" y="2131797"/>
                    </a:lnTo>
                    <a:lnTo>
                      <a:pt x="5216037" y="2102268"/>
                    </a:lnTo>
                    <a:lnTo>
                      <a:pt x="5219954" y="2096519"/>
                    </a:lnTo>
                    <a:lnTo>
                      <a:pt x="5222473" y="2089386"/>
                    </a:lnTo>
                    <a:lnTo>
                      <a:pt x="5222954" y="2080120"/>
                    </a:lnTo>
                    <a:lnTo>
                      <a:pt x="5221543" y="2071458"/>
                    </a:lnTo>
                    <a:lnTo>
                      <a:pt x="5221555" y="2068527"/>
                    </a:lnTo>
                    <a:lnTo>
                      <a:pt x="5223072" y="2066055"/>
                    </a:lnTo>
                    <a:lnTo>
                      <a:pt x="5224725" y="2064835"/>
                    </a:lnTo>
                    <a:lnTo>
                      <a:pt x="5226379" y="2064151"/>
                    </a:lnTo>
                    <a:lnTo>
                      <a:pt x="5230249" y="2063719"/>
                    </a:lnTo>
                    <a:lnTo>
                      <a:pt x="5231673" y="2062777"/>
                    </a:lnTo>
                    <a:lnTo>
                      <a:pt x="5231928" y="2060607"/>
                    </a:lnTo>
                    <a:lnTo>
                      <a:pt x="5231463" y="2055685"/>
                    </a:lnTo>
                    <a:lnTo>
                      <a:pt x="5232136" y="2043067"/>
                    </a:lnTo>
                    <a:lnTo>
                      <a:pt x="5231895" y="2038958"/>
                    </a:lnTo>
                    <a:lnTo>
                      <a:pt x="5230941" y="2033518"/>
                    </a:lnTo>
                    <a:lnTo>
                      <a:pt x="5229747" y="2030890"/>
                    </a:lnTo>
                    <a:lnTo>
                      <a:pt x="5225061" y="2026506"/>
                    </a:lnTo>
                    <a:lnTo>
                      <a:pt x="5223079" y="2023068"/>
                    </a:lnTo>
                    <a:lnTo>
                      <a:pt x="5219229" y="2013966"/>
                    </a:lnTo>
                    <a:lnTo>
                      <a:pt x="5215871" y="2010459"/>
                    </a:lnTo>
                    <a:lnTo>
                      <a:pt x="5213070" y="2006537"/>
                    </a:lnTo>
                    <a:lnTo>
                      <a:pt x="5210491" y="2002123"/>
                    </a:lnTo>
                    <a:lnTo>
                      <a:pt x="5209391" y="1999033"/>
                    </a:lnTo>
                    <a:lnTo>
                      <a:pt x="5211494" y="1995087"/>
                    </a:lnTo>
                    <a:lnTo>
                      <a:pt x="5220742" y="1994528"/>
                    </a:lnTo>
                    <a:lnTo>
                      <a:pt x="5223836" y="1992554"/>
                    </a:lnTo>
                    <a:lnTo>
                      <a:pt x="5226097" y="1988829"/>
                    </a:lnTo>
                    <a:lnTo>
                      <a:pt x="5228820" y="1987155"/>
                    </a:lnTo>
                    <a:lnTo>
                      <a:pt x="5251562" y="1984315"/>
                    </a:lnTo>
                    <a:lnTo>
                      <a:pt x="5254801" y="1982047"/>
                    </a:lnTo>
                    <a:lnTo>
                      <a:pt x="5256679" y="1979301"/>
                    </a:lnTo>
                    <a:lnTo>
                      <a:pt x="5286835" y="1955352"/>
                    </a:lnTo>
                    <a:lnTo>
                      <a:pt x="5305608" y="1944480"/>
                    </a:lnTo>
                    <a:lnTo>
                      <a:pt x="5323048" y="1932881"/>
                    </a:lnTo>
                    <a:lnTo>
                      <a:pt x="5330914" y="1930006"/>
                    </a:lnTo>
                    <a:lnTo>
                      <a:pt x="5337880" y="1932508"/>
                    </a:lnTo>
                    <a:lnTo>
                      <a:pt x="5339978" y="1935975"/>
                    </a:lnTo>
                    <a:lnTo>
                      <a:pt x="5342221" y="1940776"/>
                    </a:lnTo>
                    <a:lnTo>
                      <a:pt x="5344873" y="1944981"/>
                    </a:lnTo>
                    <a:lnTo>
                      <a:pt x="5349690" y="1947243"/>
                    </a:lnTo>
                    <a:lnTo>
                      <a:pt x="5352859" y="1949863"/>
                    </a:lnTo>
                    <a:lnTo>
                      <a:pt x="5354364" y="1950416"/>
                    </a:lnTo>
                    <a:lnTo>
                      <a:pt x="5377826" y="1953351"/>
                    </a:lnTo>
                    <a:lnTo>
                      <a:pt x="5385492" y="1948720"/>
                    </a:lnTo>
                    <a:lnTo>
                      <a:pt x="5391248" y="1947300"/>
                    </a:lnTo>
                    <a:lnTo>
                      <a:pt x="5400533" y="1941194"/>
                    </a:lnTo>
                    <a:lnTo>
                      <a:pt x="5403690" y="1940199"/>
                    </a:lnTo>
                    <a:lnTo>
                      <a:pt x="5412771" y="1940633"/>
                    </a:lnTo>
                    <a:lnTo>
                      <a:pt x="5417475" y="1941644"/>
                    </a:lnTo>
                    <a:lnTo>
                      <a:pt x="5422041" y="1943341"/>
                    </a:lnTo>
                    <a:lnTo>
                      <a:pt x="5428181" y="1946576"/>
                    </a:lnTo>
                    <a:lnTo>
                      <a:pt x="5430390" y="1946940"/>
                    </a:lnTo>
                    <a:lnTo>
                      <a:pt x="5442422" y="1946367"/>
                    </a:lnTo>
                    <a:lnTo>
                      <a:pt x="5444918" y="1946876"/>
                    </a:lnTo>
                    <a:lnTo>
                      <a:pt x="5450364" y="1949368"/>
                    </a:lnTo>
                    <a:lnTo>
                      <a:pt x="5494481" y="1954292"/>
                    </a:lnTo>
                    <a:lnTo>
                      <a:pt x="5497492" y="1955223"/>
                    </a:lnTo>
                    <a:lnTo>
                      <a:pt x="5499312" y="1956308"/>
                    </a:lnTo>
                    <a:lnTo>
                      <a:pt x="5501164" y="1957836"/>
                    </a:lnTo>
                    <a:lnTo>
                      <a:pt x="5503806" y="1959149"/>
                    </a:lnTo>
                    <a:lnTo>
                      <a:pt x="5506379" y="1959784"/>
                    </a:lnTo>
                    <a:lnTo>
                      <a:pt x="5508046" y="1959261"/>
                    </a:lnTo>
                    <a:lnTo>
                      <a:pt x="5502256" y="1951234"/>
                    </a:lnTo>
                    <a:lnTo>
                      <a:pt x="5494856" y="1945488"/>
                    </a:lnTo>
                    <a:lnTo>
                      <a:pt x="5487017" y="1942296"/>
                    </a:lnTo>
                    <a:lnTo>
                      <a:pt x="5479879" y="1941888"/>
                    </a:lnTo>
                    <a:lnTo>
                      <a:pt x="5466811" y="1946539"/>
                    </a:lnTo>
                    <a:lnTo>
                      <a:pt x="5463702" y="1946008"/>
                    </a:lnTo>
                    <a:lnTo>
                      <a:pt x="5460756" y="1943586"/>
                    </a:lnTo>
                    <a:lnTo>
                      <a:pt x="5446364" y="1937368"/>
                    </a:lnTo>
                    <a:lnTo>
                      <a:pt x="5442072" y="1936367"/>
                    </a:lnTo>
                    <a:lnTo>
                      <a:pt x="5429109" y="1935811"/>
                    </a:lnTo>
                    <a:lnTo>
                      <a:pt x="5406827" y="1926965"/>
                    </a:lnTo>
                    <a:lnTo>
                      <a:pt x="5400212" y="1921801"/>
                    </a:lnTo>
                    <a:lnTo>
                      <a:pt x="5389574" y="1918224"/>
                    </a:lnTo>
                    <a:lnTo>
                      <a:pt x="5367934" y="1907242"/>
                    </a:lnTo>
                    <a:lnTo>
                      <a:pt x="5368703" y="1903983"/>
                    </a:lnTo>
                    <a:lnTo>
                      <a:pt x="5370497" y="1899861"/>
                    </a:lnTo>
                    <a:lnTo>
                      <a:pt x="5372934" y="1897160"/>
                    </a:lnTo>
                    <a:lnTo>
                      <a:pt x="5375636" y="1898130"/>
                    </a:lnTo>
                    <a:lnTo>
                      <a:pt x="5378127" y="1898461"/>
                    </a:lnTo>
                    <a:lnTo>
                      <a:pt x="5381749" y="1896496"/>
                    </a:lnTo>
                    <a:lnTo>
                      <a:pt x="5385181" y="1893684"/>
                    </a:lnTo>
                    <a:lnTo>
                      <a:pt x="5387132" y="1891502"/>
                    </a:lnTo>
                    <a:lnTo>
                      <a:pt x="5387636" y="1889856"/>
                    </a:lnTo>
                    <a:lnTo>
                      <a:pt x="5388464" y="1883457"/>
                    </a:lnTo>
                    <a:lnTo>
                      <a:pt x="5389017" y="1881594"/>
                    </a:lnTo>
                    <a:lnTo>
                      <a:pt x="5394820" y="1871821"/>
                    </a:lnTo>
                    <a:lnTo>
                      <a:pt x="5396324" y="1870262"/>
                    </a:lnTo>
                    <a:lnTo>
                      <a:pt x="5398147" y="1869843"/>
                    </a:lnTo>
                    <a:lnTo>
                      <a:pt x="5400044" y="1869849"/>
                    </a:lnTo>
                    <a:lnTo>
                      <a:pt x="5401749" y="1869563"/>
                    </a:lnTo>
                    <a:lnTo>
                      <a:pt x="5404178" y="1867390"/>
                    </a:lnTo>
                    <a:lnTo>
                      <a:pt x="5406479" y="1860986"/>
                    </a:lnTo>
                    <a:lnTo>
                      <a:pt x="5408604" y="1857939"/>
                    </a:lnTo>
                    <a:lnTo>
                      <a:pt x="5411755" y="1855914"/>
                    </a:lnTo>
                    <a:lnTo>
                      <a:pt x="5451258" y="1840347"/>
                    </a:lnTo>
                    <a:lnTo>
                      <a:pt x="5456202" y="1839620"/>
                    </a:lnTo>
                    <a:lnTo>
                      <a:pt x="5458332" y="1838538"/>
                    </a:lnTo>
                    <a:lnTo>
                      <a:pt x="5459860" y="1836063"/>
                    </a:lnTo>
                    <a:lnTo>
                      <a:pt x="5455529" y="1834807"/>
                    </a:lnTo>
                    <a:lnTo>
                      <a:pt x="5438625" y="1837112"/>
                    </a:lnTo>
                    <a:lnTo>
                      <a:pt x="5440105" y="1835710"/>
                    </a:lnTo>
                    <a:lnTo>
                      <a:pt x="5436775" y="1834440"/>
                    </a:lnTo>
                    <a:lnTo>
                      <a:pt x="5410209" y="1840582"/>
                    </a:lnTo>
                    <a:lnTo>
                      <a:pt x="5397772" y="1847946"/>
                    </a:lnTo>
                    <a:lnTo>
                      <a:pt x="5393894" y="1853740"/>
                    </a:lnTo>
                    <a:lnTo>
                      <a:pt x="5391836" y="1855840"/>
                    </a:lnTo>
                    <a:lnTo>
                      <a:pt x="5386508" y="1859642"/>
                    </a:lnTo>
                    <a:lnTo>
                      <a:pt x="5384582" y="1861639"/>
                    </a:lnTo>
                    <a:lnTo>
                      <a:pt x="5382821" y="1864610"/>
                    </a:lnTo>
                    <a:lnTo>
                      <a:pt x="5381682" y="1868281"/>
                    </a:lnTo>
                    <a:lnTo>
                      <a:pt x="5381845" y="1876508"/>
                    </a:lnTo>
                    <a:lnTo>
                      <a:pt x="5381460" y="1880628"/>
                    </a:lnTo>
                    <a:lnTo>
                      <a:pt x="5380611" y="1884183"/>
                    </a:lnTo>
                    <a:lnTo>
                      <a:pt x="5379496" y="1886531"/>
                    </a:lnTo>
                    <a:lnTo>
                      <a:pt x="5375746" y="1889254"/>
                    </a:lnTo>
                    <a:lnTo>
                      <a:pt x="5338277" y="1888282"/>
                    </a:lnTo>
                    <a:lnTo>
                      <a:pt x="5336443" y="1887264"/>
                    </a:lnTo>
                    <a:lnTo>
                      <a:pt x="5334704" y="1885471"/>
                    </a:lnTo>
                    <a:lnTo>
                      <a:pt x="5334013" y="1884290"/>
                    </a:lnTo>
                    <a:lnTo>
                      <a:pt x="5333428" y="1884277"/>
                    </a:lnTo>
                    <a:lnTo>
                      <a:pt x="5331974" y="1886003"/>
                    </a:lnTo>
                    <a:lnTo>
                      <a:pt x="5332412" y="1886166"/>
                    </a:lnTo>
                    <a:lnTo>
                      <a:pt x="5332765" y="1887298"/>
                    </a:lnTo>
                    <a:lnTo>
                      <a:pt x="5332868" y="1888766"/>
                    </a:lnTo>
                    <a:lnTo>
                      <a:pt x="5332552" y="1889968"/>
                    </a:lnTo>
                    <a:lnTo>
                      <a:pt x="5331776" y="1890326"/>
                    </a:lnTo>
                    <a:lnTo>
                      <a:pt x="5317235" y="1890635"/>
                    </a:lnTo>
                    <a:lnTo>
                      <a:pt x="5310850" y="1889143"/>
                    </a:lnTo>
                    <a:lnTo>
                      <a:pt x="5304902" y="1884556"/>
                    </a:lnTo>
                    <a:lnTo>
                      <a:pt x="5301520" y="1877484"/>
                    </a:lnTo>
                    <a:lnTo>
                      <a:pt x="5302806" y="1868562"/>
                    </a:lnTo>
                    <a:lnTo>
                      <a:pt x="5300068" y="1869429"/>
                    </a:lnTo>
                    <a:lnTo>
                      <a:pt x="5297443" y="1872152"/>
                    </a:lnTo>
                    <a:lnTo>
                      <a:pt x="5296304" y="1876005"/>
                    </a:lnTo>
                    <a:lnTo>
                      <a:pt x="5299285" y="1883229"/>
                    </a:lnTo>
                    <a:lnTo>
                      <a:pt x="5296966" y="1883968"/>
                    </a:lnTo>
                    <a:lnTo>
                      <a:pt x="5293097" y="1882707"/>
                    </a:lnTo>
                    <a:lnTo>
                      <a:pt x="5289764" y="1879859"/>
                    </a:lnTo>
                    <a:lnTo>
                      <a:pt x="5286469" y="1887093"/>
                    </a:lnTo>
                    <a:lnTo>
                      <a:pt x="5282148" y="1891856"/>
                    </a:lnTo>
                    <a:lnTo>
                      <a:pt x="5263105" y="1900356"/>
                    </a:lnTo>
                    <a:lnTo>
                      <a:pt x="5256158" y="1901280"/>
                    </a:lnTo>
                    <a:lnTo>
                      <a:pt x="5255004" y="1901928"/>
                    </a:lnTo>
                    <a:lnTo>
                      <a:pt x="5253144" y="1904662"/>
                    </a:lnTo>
                    <a:lnTo>
                      <a:pt x="5251497" y="1905338"/>
                    </a:lnTo>
                    <a:lnTo>
                      <a:pt x="5249965" y="1905612"/>
                    </a:lnTo>
                    <a:lnTo>
                      <a:pt x="5246774" y="1907190"/>
                    </a:lnTo>
                    <a:lnTo>
                      <a:pt x="5245484" y="1908239"/>
                    </a:lnTo>
                    <a:lnTo>
                      <a:pt x="5243217" y="1911083"/>
                    </a:lnTo>
                    <a:lnTo>
                      <a:pt x="5236543" y="1924786"/>
                    </a:lnTo>
                    <a:lnTo>
                      <a:pt x="5235416" y="1927941"/>
                    </a:lnTo>
                    <a:lnTo>
                      <a:pt x="5233954" y="1930674"/>
                    </a:lnTo>
                    <a:lnTo>
                      <a:pt x="5231412" y="1932816"/>
                    </a:lnTo>
                    <a:lnTo>
                      <a:pt x="5223412" y="1935986"/>
                    </a:lnTo>
                    <a:lnTo>
                      <a:pt x="5215111" y="1937551"/>
                    </a:lnTo>
                    <a:lnTo>
                      <a:pt x="5213588" y="1938227"/>
                    </a:lnTo>
                    <a:lnTo>
                      <a:pt x="5210668" y="1941085"/>
                    </a:lnTo>
                    <a:lnTo>
                      <a:pt x="5209133" y="1941770"/>
                    </a:lnTo>
                    <a:lnTo>
                      <a:pt x="5199450" y="1940681"/>
                    </a:lnTo>
                    <a:lnTo>
                      <a:pt x="5194691" y="1941407"/>
                    </a:lnTo>
                    <a:lnTo>
                      <a:pt x="5189064" y="1943256"/>
                    </a:lnTo>
                    <a:lnTo>
                      <a:pt x="5183819" y="1946191"/>
                    </a:lnTo>
                    <a:lnTo>
                      <a:pt x="5178716" y="1952070"/>
                    </a:lnTo>
                    <a:lnTo>
                      <a:pt x="5174835" y="1954992"/>
                    </a:lnTo>
                    <a:lnTo>
                      <a:pt x="5170944" y="1959479"/>
                    </a:lnTo>
                    <a:lnTo>
                      <a:pt x="5165509" y="1960493"/>
                    </a:lnTo>
                    <a:lnTo>
                      <a:pt x="5162925" y="1962075"/>
                    </a:lnTo>
                    <a:lnTo>
                      <a:pt x="5162701" y="1965718"/>
                    </a:lnTo>
                    <a:lnTo>
                      <a:pt x="5157927" y="1971566"/>
                    </a:lnTo>
                    <a:lnTo>
                      <a:pt x="5156839" y="1975707"/>
                    </a:lnTo>
                    <a:lnTo>
                      <a:pt x="5157265" y="1977718"/>
                    </a:lnTo>
                    <a:lnTo>
                      <a:pt x="5158140" y="1979468"/>
                    </a:lnTo>
                    <a:lnTo>
                      <a:pt x="5170672" y="1995614"/>
                    </a:lnTo>
                    <a:lnTo>
                      <a:pt x="5171886" y="1998946"/>
                    </a:lnTo>
                    <a:lnTo>
                      <a:pt x="5167630" y="2000574"/>
                    </a:lnTo>
                    <a:lnTo>
                      <a:pt x="5163247" y="1999582"/>
                    </a:lnTo>
                    <a:lnTo>
                      <a:pt x="5154890" y="1994611"/>
                    </a:lnTo>
                    <a:lnTo>
                      <a:pt x="5151010" y="1993196"/>
                    </a:lnTo>
                    <a:lnTo>
                      <a:pt x="5151375" y="1994055"/>
                    </a:lnTo>
                    <a:lnTo>
                      <a:pt x="5152063" y="1996232"/>
                    </a:lnTo>
                    <a:lnTo>
                      <a:pt x="5152421" y="1997123"/>
                    </a:lnTo>
                    <a:lnTo>
                      <a:pt x="5146535" y="1998805"/>
                    </a:lnTo>
                    <a:lnTo>
                      <a:pt x="5143951" y="2000027"/>
                    </a:lnTo>
                    <a:lnTo>
                      <a:pt x="5140278" y="2004410"/>
                    </a:lnTo>
                    <a:lnTo>
                      <a:pt x="5134593" y="2009029"/>
                    </a:lnTo>
                    <a:lnTo>
                      <a:pt x="5132377" y="2009914"/>
                    </a:lnTo>
                    <a:lnTo>
                      <a:pt x="5130701" y="2010138"/>
                    </a:lnTo>
                    <a:lnTo>
                      <a:pt x="5129889" y="2010665"/>
                    </a:lnTo>
                    <a:lnTo>
                      <a:pt x="5128816" y="2012700"/>
                    </a:lnTo>
                    <a:lnTo>
                      <a:pt x="5128726" y="2013178"/>
                    </a:lnTo>
                    <a:lnTo>
                      <a:pt x="5124847" y="2022392"/>
                    </a:lnTo>
                    <a:lnTo>
                      <a:pt x="5123943" y="2023502"/>
                    </a:lnTo>
                    <a:lnTo>
                      <a:pt x="5122569" y="2024468"/>
                    </a:lnTo>
                    <a:lnTo>
                      <a:pt x="5119874" y="2025732"/>
                    </a:lnTo>
                    <a:lnTo>
                      <a:pt x="5116656" y="2029091"/>
                    </a:lnTo>
                    <a:lnTo>
                      <a:pt x="5109250" y="2033429"/>
                    </a:lnTo>
                    <a:lnTo>
                      <a:pt x="5099862" y="2044268"/>
                    </a:lnTo>
                    <a:lnTo>
                      <a:pt x="5098348" y="2046919"/>
                    </a:lnTo>
                    <a:lnTo>
                      <a:pt x="5097353" y="2050138"/>
                    </a:lnTo>
                    <a:lnTo>
                      <a:pt x="5097328" y="2053787"/>
                    </a:lnTo>
                    <a:lnTo>
                      <a:pt x="5098713" y="2057730"/>
                    </a:lnTo>
                    <a:lnTo>
                      <a:pt x="5101409" y="2060839"/>
                    </a:lnTo>
                    <a:lnTo>
                      <a:pt x="5104527" y="2062250"/>
                    </a:lnTo>
                    <a:lnTo>
                      <a:pt x="5110976" y="2064107"/>
                    </a:lnTo>
                    <a:lnTo>
                      <a:pt x="5111109" y="2065309"/>
                    </a:lnTo>
                    <a:lnTo>
                      <a:pt x="5096258" y="2073231"/>
                    </a:lnTo>
                    <a:lnTo>
                      <a:pt x="5093002" y="2078002"/>
                    </a:lnTo>
                    <a:lnTo>
                      <a:pt x="5092771" y="2079398"/>
                    </a:lnTo>
                    <a:lnTo>
                      <a:pt x="5092672" y="2082718"/>
                    </a:lnTo>
                    <a:lnTo>
                      <a:pt x="5092327" y="2084014"/>
                    </a:lnTo>
                    <a:lnTo>
                      <a:pt x="5091375" y="2085109"/>
                    </a:lnTo>
                    <a:lnTo>
                      <a:pt x="5085043" y="2088328"/>
                    </a:lnTo>
                    <a:lnTo>
                      <a:pt x="5079432" y="2090007"/>
                    </a:lnTo>
                    <a:lnTo>
                      <a:pt x="5076802" y="2091828"/>
                    </a:lnTo>
                    <a:lnTo>
                      <a:pt x="5069614" y="2099316"/>
                    </a:lnTo>
                    <a:lnTo>
                      <a:pt x="5067143" y="2100211"/>
                    </a:lnTo>
                    <a:lnTo>
                      <a:pt x="5064736" y="2099190"/>
                    </a:lnTo>
                    <a:lnTo>
                      <a:pt x="5062256" y="2097498"/>
                    </a:lnTo>
                    <a:lnTo>
                      <a:pt x="5059572" y="2096366"/>
                    </a:lnTo>
                    <a:lnTo>
                      <a:pt x="5042557" y="2098855"/>
                    </a:lnTo>
                    <a:lnTo>
                      <a:pt x="5036658" y="2097065"/>
                    </a:lnTo>
                    <a:lnTo>
                      <a:pt x="5037598" y="2094918"/>
                    </a:lnTo>
                    <a:lnTo>
                      <a:pt x="5039640" y="2094754"/>
                    </a:lnTo>
                    <a:lnTo>
                      <a:pt x="5042144" y="2095375"/>
                    </a:lnTo>
                    <a:lnTo>
                      <a:pt x="5044515" y="2095614"/>
                    </a:lnTo>
                    <a:lnTo>
                      <a:pt x="5044369" y="2094165"/>
                    </a:lnTo>
                    <a:lnTo>
                      <a:pt x="5037531" y="2092516"/>
                    </a:lnTo>
                    <a:lnTo>
                      <a:pt x="5034488" y="2093107"/>
                    </a:lnTo>
                    <a:lnTo>
                      <a:pt x="5031265" y="2096013"/>
                    </a:lnTo>
                    <a:lnTo>
                      <a:pt x="5029810" y="2091383"/>
                    </a:lnTo>
                    <a:lnTo>
                      <a:pt x="5029524" y="2087535"/>
                    </a:lnTo>
                    <a:lnTo>
                      <a:pt x="5028266" y="2084963"/>
                    </a:lnTo>
                    <a:lnTo>
                      <a:pt x="5023934" y="2084133"/>
                    </a:lnTo>
                    <a:lnTo>
                      <a:pt x="5014478" y="2084410"/>
                    </a:lnTo>
                    <a:lnTo>
                      <a:pt x="5009893" y="2085290"/>
                    </a:lnTo>
                    <a:lnTo>
                      <a:pt x="5005685" y="2087331"/>
                    </a:lnTo>
                    <a:lnTo>
                      <a:pt x="5003015" y="2090176"/>
                    </a:lnTo>
                    <a:lnTo>
                      <a:pt x="5003409" y="2091822"/>
                    </a:lnTo>
                    <a:lnTo>
                      <a:pt x="5005543" y="2091713"/>
                    </a:lnTo>
                    <a:lnTo>
                      <a:pt x="5008109" y="2089260"/>
                    </a:lnTo>
                    <a:lnTo>
                      <a:pt x="5011434" y="2087244"/>
                    </a:lnTo>
                    <a:lnTo>
                      <a:pt x="5016681" y="2086804"/>
                    </a:lnTo>
                    <a:lnTo>
                      <a:pt x="5021990" y="2088006"/>
                    </a:lnTo>
                    <a:lnTo>
                      <a:pt x="5025466" y="2090862"/>
                    </a:lnTo>
                    <a:lnTo>
                      <a:pt x="5025895" y="2092499"/>
                    </a:lnTo>
                    <a:lnTo>
                      <a:pt x="5025747" y="2095842"/>
                    </a:lnTo>
                    <a:lnTo>
                      <a:pt x="5026107" y="2097379"/>
                    </a:lnTo>
                    <a:lnTo>
                      <a:pt x="5027434" y="2098895"/>
                    </a:lnTo>
                    <a:lnTo>
                      <a:pt x="5030880" y="2100712"/>
                    </a:lnTo>
                    <a:lnTo>
                      <a:pt x="5035734" y="2104401"/>
                    </a:lnTo>
                    <a:lnTo>
                      <a:pt x="5048348" y="2107354"/>
                    </a:lnTo>
                    <a:lnTo>
                      <a:pt x="5051811" y="2110352"/>
                    </a:lnTo>
                    <a:lnTo>
                      <a:pt x="5053236" y="2111206"/>
                    </a:lnTo>
                    <a:lnTo>
                      <a:pt x="5054309" y="2111324"/>
                    </a:lnTo>
                    <a:lnTo>
                      <a:pt x="5056565" y="2110889"/>
                    </a:lnTo>
                    <a:lnTo>
                      <a:pt x="5057630" y="2111070"/>
                    </a:lnTo>
                    <a:lnTo>
                      <a:pt x="5059757" y="2112427"/>
                    </a:lnTo>
                    <a:lnTo>
                      <a:pt x="5060684" y="2113351"/>
                    </a:lnTo>
                    <a:lnTo>
                      <a:pt x="5060081" y="2113781"/>
                    </a:lnTo>
                    <a:lnTo>
                      <a:pt x="5059567" y="2114624"/>
                    </a:lnTo>
                    <a:lnTo>
                      <a:pt x="5059985" y="2116389"/>
                    </a:lnTo>
                    <a:lnTo>
                      <a:pt x="5061021" y="2118135"/>
                    </a:lnTo>
                    <a:lnTo>
                      <a:pt x="5062378" y="2118927"/>
                    </a:lnTo>
                    <a:lnTo>
                      <a:pt x="5063728" y="2119419"/>
                    </a:lnTo>
                    <a:lnTo>
                      <a:pt x="5073143" y="2125787"/>
                    </a:lnTo>
                    <a:lnTo>
                      <a:pt x="5074880" y="2127886"/>
                    </a:lnTo>
                    <a:lnTo>
                      <a:pt x="5075099" y="2130040"/>
                    </a:lnTo>
                    <a:lnTo>
                      <a:pt x="5073150" y="2135462"/>
                    </a:lnTo>
                    <a:lnTo>
                      <a:pt x="5071660" y="2137328"/>
                    </a:lnTo>
                    <a:lnTo>
                      <a:pt x="5069202" y="2137611"/>
                    </a:lnTo>
                    <a:lnTo>
                      <a:pt x="5069339" y="2138942"/>
                    </a:lnTo>
                    <a:lnTo>
                      <a:pt x="5069855" y="2139180"/>
                    </a:lnTo>
                    <a:lnTo>
                      <a:pt x="5071141" y="2140094"/>
                    </a:lnTo>
                    <a:lnTo>
                      <a:pt x="5065467" y="2145068"/>
                    </a:lnTo>
                    <a:lnTo>
                      <a:pt x="5063967" y="2147102"/>
                    </a:lnTo>
                    <a:lnTo>
                      <a:pt x="5062733" y="2150563"/>
                    </a:lnTo>
                    <a:lnTo>
                      <a:pt x="5061582" y="2157697"/>
                    </a:lnTo>
                    <a:lnTo>
                      <a:pt x="5060026" y="2160684"/>
                    </a:lnTo>
                    <a:lnTo>
                      <a:pt x="5057697" y="2162162"/>
                    </a:lnTo>
                    <a:lnTo>
                      <a:pt x="5048797" y="2164792"/>
                    </a:lnTo>
                    <a:lnTo>
                      <a:pt x="5046002" y="2166616"/>
                    </a:lnTo>
                    <a:lnTo>
                      <a:pt x="5044542" y="2167280"/>
                    </a:lnTo>
                    <a:lnTo>
                      <a:pt x="5042792" y="2167754"/>
                    </a:lnTo>
                    <a:lnTo>
                      <a:pt x="5036376" y="2167134"/>
                    </a:lnTo>
                    <a:lnTo>
                      <a:pt x="5035229" y="2167310"/>
                    </a:lnTo>
                    <a:lnTo>
                      <a:pt x="5032693" y="2168529"/>
                    </a:lnTo>
                    <a:lnTo>
                      <a:pt x="5021299" y="2167049"/>
                    </a:lnTo>
                    <a:lnTo>
                      <a:pt x="5018119" y="2167577"/>
                    </a:lnTo>
                    <a:lnTo>
                      <a:pt x="5012339" y="2169651"/>
                    </a:lnTo>
                    <a:lnTo>
                      <a:pt x="4994587" y="2171797"/>
                    </a:lnTo>
                    <a:lnTo>
                      <a:pt x="4992923" y="2173019"/>
                    </a:lnTo>
                    <a:lnTo>
                      <a:pt x="4990747" y="2175813"/>
                    </a:lnTo>
                    <a:lnTo>
                      <a:pt x="4988809" y="2179014"/>
                    </a:lnTo>
                    <a:lnTo>
                      <a:pt x="4987869" y="2181449"/>
                    </a:lnTo>
                    <a:lnTo>
                      <a:pt x="4991949" y="2181097"/>
                    </a:lnTo>
                    <a:lnTo>
                      <a:pt x="4995733" y="2179538"/>
                    </a:lnTo>
                    <a:lnTo>
                      <a:pt x="4999566" y="2178644"/>
                    </a:lnTo>
                    <a:lnTo>
                      <a:pt x="5005730" y="2181022"/>
                    </a:lnTo>
                    <a:lnTo>
                      <a:pt x="5007408" y="2180617"/>
                    </a:lnTo>
                    <a:lnTo>
                      <a:pt x="5008958" y="2179834"/>
                    </a:lnTo>
                    <a:lnTo>
                      <a:pt x="5017380" y="2177956"/>
                    </a:lnTo>
                    <a:lnTo>
                      <a:pt x="5023309" y="2178040"/>
                    </a:lnTo>
                    <a:lnTo>
                      <a:pt x="5024472" y="2179039"/>
                    </a:lnTo>
                    <a:lnTo>
                      <a:pt x="5025463" y="2181721"/>
                    </a:lnTo>
                    <a:lnTo>
                      <a:pt x="5025703" y="2184219"/>
                    </a:lnTo>
                    <a:lnTo>
                      <a:pt x="5025175" y="2185729"/>
                    </a:lnTo>
                    <a:lnTo>
                      <a:pt x="5024507" y="2187069"/>
                    </a:lnTo>
                    <a:lnTo>
                      <a:pt x="5023910" y="2191603"/>
                    </a:lnTo>
                    <a:lnTo>
                      <a:pt x="5021382" y="2199589"/>
                    </a:lnTo>
                    <a:lnTo>
                      <a:pt x="5020192" y="2202009"/>
                    </a:lnTo>
                    <a:lnTo>
                      <a:pt x="5017222" y="2203812"/>
                    </a:lnTo>
                    <a:lnTo>
                      <a:pt x="5009633" y="2206851"/>
                    </a:lnTo>
                    <a:lnTo>
                      <a:pt x="5008305" y="2209562"/>
                    </a:lnTo>
                    <a:lnTo>
                      <a:pt x="5006556" y="2211416"/>
                    </a:lnTo>
                    <a:lnTo>
                      <a:pt x="5002349" y="2213452"/>
                    </a:lnTo>
                    <a:lnTo>
                      <a:pt x="4997650" y="2214815"/>
                    </a:lnTo>
                    <a:lnTo>
                      <a:pt x="4994466" y="2214616"/>
                    </a:lnTo>
                    <a:lnTo>
                      <a:pt x="4993438" y="2213213"/>
                    </a:lnTo>
                    <a:lnTo>
                      <a:pt x="4991691" y="2209308"/>
                    </a:lnTo>
                    <a:lnTo>
                      <a:pt x="4990310" y="2208185"/>
                    </a:lnTo>
                    <a:lnTo>
                      <a:pt x="4987798" y="2208452"/>
                    </a:lnTo>
                    <a:lnTo>
                      <a:pt x="4986855" y="2210387"/>
                    </a:lnTo>
                    <a:lnTo>
                      <a:pt x="4987209" y="2212565"/>
                    </a:lnTo>
                    <a:lnTo>
                      <a:pt x="4988567" y="2213579"/>
                    </a:lnTo>
                    <a:lnTo>
                      <a:pt x="4989160" y="2214166"/>
                    </a:lnTo>
                    <a:lnTo>
                      <a:pt x="4988568" y="2215519"/>
                    </a:lnTo>
                    <a:lnTo>
                      <a:pt x="4987283" y="2216875"/>
                    </a:lnTo>
                    <a:lnTo>
                      <a:pt x="4985791" y="2217528"/>
                    </a:lnTo>
                    <a:lnTo>
                      <a:pt x="4983552" y="2217349"/>
                    </a:lnTo>
                    <a:lnTo>
                      <a:pt x="4977443" y="2215080"/>
                    </a:lnTo>
                    <a:lnTo>
                      <a:pt x="4976375" y="2214894"/>
                    </a:lnTo>
                    <a:lnTo>
                      <a:pt x="4972981" y="2215200"/>
                    </a:lnTo>
                    <a:lnTo>
                      <a:pt x="4972874" y="2214002"/>
                    </a:lnTo>
                    <a:lnTo>
                      <a:pt x="4974840" y="2212375"/>
                    </a:lnTo>
                    <a:lnTo>
                      <a:pt x="4976010" y="2210674"/>
                    </a:lnTo>
                    <a:lnTo>
                      <a:pt x="4980389" y="2201043"/>
                    </a:lnTo>
                    <a:lnTo>
                      <a:pt x="4982073" y="2200067"/>
                    </a:lnTo>
                    <a:lnTo>
                      <a:pt x="4985238" y="2201531"/>
                    </a:lnTo>
                    <a:lnTo>
                      <a:pt x="4983163" y="2199060"/>
                    </a:lnTo>
                    <a:lnTo>
                      <a:pt x="4977095" y="2197101"/>
                    </a:lnTo>
                    <a:lnTo>
                      <a:pt x="4966935" y="2187357"/>
                    </a:lnTo>
                    <a:lnTo>
                      <a:pt x="4967372" y="2190707"/>
                    </a:lnTo>
                    <a:lnTo>
                      <a:pt x="4967230" y="2193431"/>
                    </a:lnTo>
                    <a:lnTo>
                      <a:pt x="4967551" y="2196284"/>
                    </a:lnTo>
                    <a:lnTo>
                      <a:pt x="4969362" y="2200028"/>
                    </a:lnTo>
                    <a:lnTo>
                      <a:pt x="4969181" y="2202124"/>
                    </a:lnTo>
                    <a:lnTo>
                      <a:pt x="4967294" y="2210412"/>
                    </a:lnTo>
                    <a:lnTo>
                      <a:pt x="4966517" y="2212836"/>
                    </a:lnTo>
                    <a:lnTo>
                      <a:pt x="4964414" y="2215285"/>
                    </a:lnTo>
                    <a:lnTo>
                      <a:pt x="4961620" y="2216981"/>
                    </a:lnTo>
                    <a:lnTo>
                      <a:pt x="4958571" y="2217968"/>
                    </a:lnTo>
                    <a:lnTo>
                      <a:pt x="4955728" y="2218328"/>
                    </a:lnTo>
                    <a:lnTo>
                      <a:pt x="4953763" y="2217115"/>
                    </a:lnTo>
                    <a:lnTo>
                      <a:pt x="4949932" y="2211234"/>
                    </a:lnTo>
                    <a:lnTo>
                      <a:pt x="4948169" y="2209307"/>
                    </a:lnTo>
                    <a:lnTo>
                      <a:pt x="4948969" y="2208396"/>
                    </a:lnTo>
                    <a:lnTo>
                      <a:pt x="4949328" y="2208116"/>
                    </a:lnTo>
                    <a:lnTo>
                      <a:pt x="4949919" y="2207927"/>
                    </a:lnTo>
                    <a:lnTo>
                      <a:pt x="4949793" y="2206467"/>
                    </a:lnTo>
                    <a:lnTo>
                      <a:pt x="4946416" y="2206936"/>
                    </a:lnTo>
                    <a:lnTo>
                      <a:pt x="4946160" y="2208985"/>
                    </a:lnTo>
                    <a:lnTo>
                      <a:pt x="4946994" y="2211827"/>
                    </a:lnTo>
                    <a:lnTo>
                      <a:pt x="4946919" y="2214684"/>
                    </a:lnTo>
                    <a:lnTo>
                      <a:pt x="4944550" y="2216145"/>
                    </a:lnTo>
                    <a:lnTo>
                      <a:pt x="4937721" y="2217035"/>
                    </a:lnTo>
                    <a:lnTo>
                      <a:pt x="4936521" y="2219546"/>
                    </a:lnTo>
                    <a:lnTo>
                      <a:pt x="4947825" y="2219989"/>
                    </a:lnTo>
                    <a:lnTo>
                      <a:pt x="4948932" y="2220263"/>
                    </a:lnTo>
                    <a:lnTo>
                      <a:pt x="4954691" y="2223550"/>
                    </a:lnTo>
                    <a:lnTo>
                      <a:pt x="4955259" y="2223504"/>
                    </a:lnTo>
                    <a:lnTo>
                      <a:pt x="4955078" y="2226364"/>
                    </a:lnTo>
                    <a:lnTo>
                      <a:pt x="4953294" y="2231733"/>
                    </a:lnTo>
                    <a:lnTo>
                      <a:pt x="4948845" y="2234235"/>
                    </a:lnTo>
                    <a:lnTo>
                      <a:pt x="4926786" y="2237202"/>
                    </a:lnTo>
                    <a:lnTo>
                      <a:pt x="4923947" y="2234688"/>
                    </a:lnTo>
                    <a:lnTo>
                      <a:pt x="4921044" y="2234075"/>
                    </a:lnTo>
                    <a:lnTo>
                      <a:pt x="4918201" y="2234933"/>
                    </a:lnTo>
                    <a:lnTo>
                      <a:pt x="4915550" y="2236819"/>
                    </a:lnTo>
                    <a:lnTo>
                      <a:pt x="4920459" y="2237072"/>
                    </a:lnTo>
                    <a:lnTo>
                      <a:pt x="4924281" y="2238172"/>
                    </a:lnTo>
                    <a:lnTo>
                      <a:pt x="4927674" y="2240188"/>
                    </a:lnTo>
                    <a:lnTo>
                      <a:pt x="4934171" y="2245851"/>
                    </a:lnTo>
                    <a:lnTo>
                      <a:pt x="4936430" y="2248826"/>
                    </a:lnTo>
                    <a:lnTo>
                      <a:pt x="4936834" y="2251984"/>
                    </a:lnTo>
                    <a:lnTo>
                      <a:pt x="4934115" y="2255173"/>
                    </a:lnTo>
                    <a:lnTo>
                      <a:pt x="4933741" y="2257108"/>
                    </a:lnTo>
                    <a:lnTo>
                      <a:pt x="4930061" y="2258426"/>
                    </a:lnTo>
                    <a:lnTo>
                      <a:pt x="4921805" y="2259481"/>
                    </a:lnTo>
                    <a:lnTo>
                      <a:pt x="4914798" y="2259151"/>
                    </a:lnTo>
                    <a:lnTo>
                      <a:pt x="4912752" y="2259702"/>
                    </a:lnTo>
                    <a:lnTo>
                      <a:pt x="4911649" y="2260780"/>
                    </a:lnTo>
                    <a:lnTo>
                      <a:pt x="4910023" y="2263923"/>
                    </a:lnTo>
                    <a:lnTo>
                      <a:pt x="4908769" y="2265147"/>
                    </a:lnTo>
                    <a:lnTo>
                      <a:pt x="4898201" y="2268073"/>
                    </a:lnTo>
                    <a:lnTo>
                      <a:pt x="4897246" y="2267953"/>
                    </a:lnTo>
                    <a:lnTo>
                      <a:pt x="4895526" y="2266951"/>
                    </a:lnTo>
                    <a:lnTo>
                      <a:pt x="4894422" y="2266825"/>
                    </a:lnTo>
                    <a:lnTo>
                      <a:pt x="4893809" y="2267269"/>
                    </a:lnTo>
                    <a:lnTo>
                      <a:pt x="4892537" y="2269122"/>
                    </a:lnTo>
                    <a:lnTo>
                      <a:pt x="4891940" y="2269677"/>
                    </a:lnTo>
                    <a:lnTo>
                      <a:pt x="4889562" y="2270187"/>
                    </a:lnTo>
                    <a:lnTo>
                      <a:pt x="4882875" y="2269887"/>
                    </a:lnTo>
                    <a:lnTo>
                      <a:pt x="4887614" y="2273910"/>
                    </a:lnTo>
                    <a:lnTo>
                      <a:pt x="4893771" y="2276059"/>
                    </a:lnTo>
                    <a:lnTo>
                      <a:pt x="4899463" y="2275313"/>
                    </a:lnTo>
                    <a:lnTo>
                      <a:pt x="4902816" y="2270640"/>
                    </a:lnTo>
                    <a:lnTo>
                      <a:pt x="4904149" y="2271467"/>
                    </a:lnTo>
                    <a:lnTo>
                      <a:pt x="4905524" y="2271913"/>
                    </a:lnTo>
                    <a:lnTo>
                      <a:pt x="4906919" y="2272046"/>
                    </a:lnTo>
                    <a:lnTo>
                      <a:pt x="4908320" y="2271838"/>
                    </a:lnTo>
                    <a:lnTo>
                      <a:pt x="4908425" y="2273173"/>
                    </a:lnTo>
                    <a:lnTo>
                      <a:pt x="4899014" y="2277235"/>
                    </a:lnTo>
                    <a:lnTo>
                      <a:pt x="4888405" y="2284689"/>
                    </a:lnTo>
                    <a:lnTo>
                      <a:pt x="4886477" y="2286828"/>
                    </a:lnTo>
                    <a:lnTo>
                      <a:pt x="4885020" y="2289306"/>
                    </a:lnTo>
                    <a:lnTo>
                      <a:pt x="4884556" y="2291953"/>
                    </a:lnTo>
                    <a:lnTo>
                      <a:pt x="4884432" y="2298392"/>
                    </a:lnTo>
                    <a:lnTo>
                      <a:pt x="4885330" y="2300579"/>
                    </a:lnTo>
                    <a:lnTo>
                      <a:pt x="4888081" y="2300491"/>
                    </a:lnTo>
                    <a:lnTo>
                      <a:pt x="4887353" y="2303647"/>
                    </a:lnTo>
                    <a:lnTo>
                      <a:pt x="4885391" y="2304792"/>
                    </a:lnTo>
                    <a:lnTo>
                      <a:pt x="4880098" y="2304689"/>
                    </a:lnTo>
                    <a:lnTo>
                      <a:pt x="4881294" y="2308606"/>
                    </a:lnTo>
                    <a:lnTo>
                      <a:pt x="4879057" y="2310689"/>
                    </a:lnTo>
                    <a:lnTo>
                      <a:pt x="4875434" y="2311511"/>
                    </a:lnTo>
                    <a:lnTo>
                      <a:pt x="4872482" y="2311673"/>
                    </a:lnTo>
                    <a:lnTo>
                      <a:pt x="4875112" y="2312834"/>
                    </a:lnTo>
                    <a:lnTo>
                      <a:pt x="4876208" y="2313048"/>
                    </a:lnTo>
                    <a:lnTo>
                      <a:pt x="4875080" y="2314196"/>
                    </a:lnTo>
                    <a:lnTo>
                      <a:pt x="4873815" y="2315030"/>
                    </a:lnTo>
                    <a:lnTo>
                      <a:pt x="4872444" y="2315523"/>
                    </a:lnTo>
                    <a:lnTo>
                      <a:pt x="4870973" y="2315715"/>
                    </a:lnTo>
                    <a:lnTo>
                      <a:pt x="4872347" y="2319191"/>
                    </a:lnTo>
                    <a:lnTo>
                      <a:pt x="4874750" y="2319711"/>
                    </a:lnTo>
                    <a:lnTo>
                      <a:pt x="4880206" y="2318185"/>
                    </a:lnTo>
                    <a:lnTo>
                      <a:pt x="4882364" y="2319109"/>
                    </a:lnTo>
                    <a:lnTo>
                      <a:pt x="4883241" y="2321281"/>
                    </a:lnTo>
                    <a:lnTo>
                      <a:pt x="4882743" y="2323540"/>
                    </a:lnTo>
                    <a:lnTo>
                      <a:pt x="4880778" y="2324732"/>
                    </a:lnTo>
                    <a:lnTo>
                      <a:pt x="4882124" y="2325826"/>
                    </a:lnTo>
                    <a:lnTo>
                      <a:pt x="4882700" y="2326148"/>
                    </a:lnTo>
                    <a:lnTo>
                      <a:pt x="4882800" y="2327484"/>
                    </a:lnTo>
                    <a:lnTo>
                      <a:pt x="4880354" y="2329501"/>
                    </a:lnTo>
                    <a:lnTo>
                      <a:pt x="4880469" y="2333636"/>
                    </a:lnTo>
                    <a:lnTo>
                      <a:pt x="4882431" y="2337682"/>
                    </a:lnTo>
                    <a:lnTo>
                      <a:pt x="4885518" y="2339455"/>
                    </a:lnTo>
                    <a:lnTo>
                      <a:pt x="4888721" y="2338289"/>
                    </a:lnTo>
                    <a:lnTo>
                      <a:pt x="4891085" y="2335643"/>
                    </a:lnTo>
                    <a:lnTo>
                      <a:pt x="4893216" y="2332484"/>
                    </a:lnTo>
                    <a:lnTo>
                      <a:pt x="4895757" y="2329866"/>
                    </a:lnTo>
                    <a:lnTo>
                      <a:pt x="4903636" y="2327602"/>
                    </a:lnTo>
                    <a:lnTo>
                      <a:pt x="4920782" y="2330781"/>
                    </a:lnTo>
                    <a:lnTo>
                      <a:pt x="4928541" y="2330411"/>
                    </a:lnTo>
                    <a:lnTo>
                      <a:pt x="4931135" y="2329190"/>
                    </a:lnTo>
                    <a:lnTo>
                      <a:pt x="4932145" y="2328903"/>
                    </a:lnTo>
                    <a:lnTo>
                      <a:pt x="4944995" y="2329183"/>
                    </a:lnTo>
                    <a:lnTo>
                      <a:pt x="4948124" y="2330492"/>
                    </a:lnTo>
                    <a:lnTo>
                      <a:pt x="4950970" y="2332574"/>
                    </a:lnTo>
                    <a:lnTo>
                      <a:pt x="4953440" y="2335280"/>
                    </a:lnTo>
                    <a:lnTo>
                      <a:pt x="4956299" y="2339372"/>
                    </a:lnTo>
                    <a:lnTo>
                      <a:pt x="4957593" y="2340519"/>
                    </a:lnTo>
                    <a:lnTo>
                      <a:pt x="4963188" y="2342482"/>
                    </a:lnTo>
                    <a:lnTo>
                      <a:pt x="4964661" y="2343569"/>
                    </a:lnTo>
                    <a:lnTo>
                      <a:pt x="4966298" y="2344333"/>
                    </a:lnTo>
                    <a:lnTo>
                      <a:pt x="4968886" y="2344522"/>
                    </a:lnTo>
                    <a:lnTo>
                      <a:pt x="4971421" y="2344202"/>
                    </a:lnTo>
                    <a:lnTo>
                      <a:pt x="4972908" y="2343357"/>
                    </a:lnTo>
                    <a:lnTo>
                      <a:pt x="4974513" y="2341615"/>
                    </a:lnTo>
                    <a:lnTo>
                      <a:pt x="4975891" y="2341771"/>
                    </a:lnTo>
                    <a:lnTo>
                      <a:pt x="4978774" y="2343874"/>
                    </a:lnTo>
                    <a:lnTo>
                      <a:pt x="4984213" y="2345735"/>
                    </a:lnTo>
                    <a:lnTo>
                      <a:pt x="4985957" y="2347092"/>
                    </a:lnTo>
                    <a:lnTo>
                      <a:pt x="4991093" y="2353502"/>
                    </a:lnTo>
                    <a:lnTo>
                      <a:pt x="4992594" y="2354339"/>
                    </a:lnTo>
                    <a:lnTo>
                      <a:pt x="4996672" y="2354230"/>
                    </a:lnTo>
                    <a:lnTo>
                      <a:pt x="4997737" y="2354673"/>
                    </a:lnTo>
                    <a:lnTo>
                      <a:pt x="4997748" y="2355767"/>
                    </a:lnTo>
                    <a:lnTo>
                      <a:pt x="4997415" y="2357101"/>
                    </a:lnTo>
                    <a:lnTo>
                      <a:pt x="4997482" y="2358224"/>
                    </a:lnTo>
                    <a:lnTo>
                      <a:pt x="4999618" y="2362335"/>
                    </a:lnTo>
                    <a:lnTo>
                      <a:pt x="5001012" y="2363360"/>
                    </a:lnTo>
                    <a:lnTo>
                      <a:pt x="5003412" y="2363430"/>
                    </a:lnTo>
                    <a:lnTo>
                      <a:pt x="5003532" y="2364769"/>
                    </a:lnTo>
                    <a:lnTo>
                      <a:pt x="5001720" y="2365640"/>
                    </a:lnTo>
                    <a:lnTo>
                      <a:pt x="4994575" y="2366470"/>
                    </a:lnTo>
                    <a:lnTo>
                      <a:pt x="4996430" y="2367547"/>
                    </a:lnTo>
                    <a:lnTo>
                      <a:pt x="4998554" y="2367929"/>
                    </a:lnTo>
                    <a:lnTo>
                      <a:pt x="5006915" y="2366665"/>
                    </a:lnTo>
                    <a:lnTo>
                      <a:pt x="5008472" y="2367119"/>
                    </a:lnTo>
                    <a:lnTo>
                      <a:pt x="5008052" y="2369390"/>
                    </a:lnTo>
                    <a:lnTo>
                      <a:pt x="5004954" y="2372069"/>
                    </a:lnTo>
                    <a:lnTo>
                      <a:pt x="4998205" y="2370110"/>
                    </a:lnTo>
                    <a:lnTo>
                      <a:pt x="4995036" y="2371697"/>
                    </a:lnTo>
                    <a:lnTo>
                      <a:pt x="4993432" y="2375340"/>
                    </a:lnTo>
                    <a:lnTo>
                      <a:pt x="4991880" y="2384583"/>
                    </a:lnTo>
                    <a:lnTo>
                      <a:pt x="4990508" y="2388750"/>
                    </a:lnTo>
                    <a:lnTo>
                      <a:pt x="4988593" y="2392092"/>
                    </a:lnTo>
                    <a:lnTo>
                      <a:pt x="4986884" y="2394254"/>
                    </a:lnTo>
                    <a:lnTo>
                      <a:pt x="4975630" y="2401809"/>
                    </a:lnTo>
                    <a:lnTo>
                      <a:pt x="4971301" y="2402280"/>
                    </a:lnTo>
                    <a:lnTo>
                      <a:pt x="4969243" y="2403100"/>
                    </a:lnTo>
                    <a:lnTo>
                      <a:pt x="4968533" y="2405411"/>
                    </a:lnTo>
                    <a:lnTo>
                      <a:pt x="4967880" y="2409472"/>
                    </a:lnTo>
                    <a:lnTo>
                      <a:pt x="4965640" y="2412310"/>
                    </a:lnTo>
                    <a:lnTo>
                      <a:pt x="4962529" y="2414250"/>
                    </a:lnTo>
                    <a:lnTo>
                      <a:pt x="4955039" y="2417068"/>
                    </a:lnTo>
                    <a:lnTo>
                      <a:pt x="4941106" y="2418897"/>
                    </a:lnTo>
                    <a:lnTo>
                      <a:pt x="4931869" y="2417977"/>
                    </a:lnTo>
                    <a:lnTo>
                      <a:pt x="4927140" y="2418707"/>
                    </a:lnTo>
                    <a:lnTo>
                      <a:pt x="4925641" y="2421956"/>
                    </a:lnTo>
                    <a:lnTo>
                      <a:pt x="4926057" y="2423439"/>
                    </a:lnTo>
                    <a:lnTo>
                      <a:pt x="4926685" y="2424328"/>
                    </a:lnTo>
                    <a:lnTo>
                      <a:pt x="4927561" y="2424675"/>
                    </a:lnTo>
                    <a:lnTo>
                      <a:pt x="4927053" y="2425934"/>
                    </a:lnTo>
                    <a:lnTo>
                      <a:pt x="4926099" y="2428195"/>
                    </a:lnTo>
                    <a:lnTo>
                      <a:pt x="4925459" y="2430648"/>
                    </a:lnTo>
                    <a:lnTo>
                      <a:pt x="4924251" y="2433674"/>
                    </a:lnTo>
                    <a:lnTo>
                      <a:pt x="4924312" y="2434248"/>
                    </a:lnTo>
                    <a:lnTo>
                      <a:pt x="4924167" y="2434700"/>
                    </a:lnTo>
                    <a:lnTo>
                      <a:pt x="4923102" y="2435429"/>
                    </a:lnTo>
                    <a:lnTo>
                      <a:pt x="4922142" y="2435331"/>
                    </a:lnTo>
                    <a:lnTo>
                      <a:pt x="4921011" y="2434727"/>
                    </a:lnTo>
                    <a:lnTo>
                      <a:pt x="4919780" y="2434475"/>
                    </a:lnTo>
                    <a:lnTo>
                      <a:pt x="4918516" y="2435536"/>
                    </a:lnTo>
                    <a:lnTo>
                      <a:pt x="4920193" y="2436192"/>
                    </a:lnTo>
                    <a:lnTo>
                      <a:pt x="4924144" y="2436987"/>
                    </a:lnTo>
                    <a:lnTo>
                      <a:pt x="4925148" y="2438051"/>
                    </a:lnTo>
                    <a:lnTo>
                      <a:pt x="4924635" y="2439421"/>
                    </a:lnTo>
                    <a:lnTo>
                      <a:pt x="4923122" y="2441153"/>
                    </a:lnTo>
                    <a:lnTo>
                      <a:pt x="4921319" y="2442699"/>
                    </a:lnTo>
                    <a:lnTo>
                      <a:pt x="4919975" y="2443546"/>
                    </a:lnTo>
                    <a:lnTo>
                      <a:pt x="4915375" y="2443653"/>
                    </a:lnTo>
                    <a:lnTo>
                      <a:pt x="4909786" y="2442808"/>
                    </a:lnTo>
                    <a:lnTo>
                      <a:pt x="4904515" y="2443104"/>
                    </a:lnTo>
                    <a:lnTo>
                      <a:pt x="4900903" y="2446665"/>
                    </a:lnTo>
                    <a:lnTo>
                      <a:pt x="4902936" y="2448537"/>
                    </a:lnTo>
                    <a:lnTo>
                      <a:pt x="4905597" y="2454570"/>
                    </a:lnTo>
                    <a:lnTo>
                      <a:pt x="4907312" y="2457387"/>
                    </a:lnTo>
                    <a:lnTo>
                      <a:pt x="4907630" y="2458316"/>
                    </a:lnTo>
                    <a:lnTo>
                      <a:pt x="4907444" y="2459183"/>
                    </a:lnTo>
                    <a:lnTo>
                      <a:pt x="4907458" y="2459807"/>
                    </a:lnTo>
                    <a:lnTo>
                      <a:pt x="4908398" y="2460033"/>
                    </a:lnTo>
                    <a:lnTo>
                      <a:pt x="4912530" y="2459938"/>
                    </a:lnTo>
                    <a:lnTo>
                      <a:pt x="4914071" y="2460751"/>
                    </a:lnTo>
                    <a:lnTo>
                      <a:pt x="4915922" y="2462539"/>
                    </a:lnTo>
                    <a:lnTo>
                      <a:pt x="4917116" y="2464359"/>
                    </a:lnTo>
                    <a:lnTo>
                      <a:pt x="4916625" y="2465211"/>
                    </a:lnTo>
                    <a:lnTo>
                      <a:pt x="4915183" y="2465589"/>
                    </a:lnTo>
                    <a:lnTo>
                      <a:pt x="4909119" y="2468672"/>
                    </a:lnTo>
                    <a:lnTo>
                      <a:pt x="4905574" y="2469506"/>
                    </a:lnTo>
                    <a:lnTo>
                      <a:pt x="4891889" y="2469814"/>
                    </a:lnTo>
                    <a:lnTo>
                      <a:pt x="4891054" y="2470969"/>
                    </a:lnTo>
                    <a:lnTo>
                      <a:pt x="4891882" y="2471510"/>
                    </a:lnTo>
                    <a:lnTo>
                      <a:pt x="4891451" y="2472608"/>
                    </a:lnTo>
                    <a:lnTo>
                      <a:pt x="4889953" y="2474001"/>
                    </a:lnTo>
                    <a:lnTo>
                      <a:pt x="4888518" y="2474633"/>
                    </a:lnTo>
                    <a:lnTo>
                      <a:pt x="4885066" y="2475102"/>
                    </a:lnTo>
                    <a:lnTo>
                      <a:pt x="4877610" y="2478065"/>
                    </a:lnTo>
                    <a:lnTo>
                      <a:pt x="4875236" y="2480013"/>
                    </a:lnTo>
                    <a:lnTo>
                      <a:pt x="4874860" y="2482382"/>
                    </a:lnTo>
                    <a:lnTo>
                      <a:pt x="4869427" y="2485179"/>
                    </a:lnTo>
                    <a:lnTo>
                      <a:pt x="4870664" y="2486265"/>
                    </a:lnTo>
                    <a:lnTo>
                      <a:pt x="4871370" y="2487834"/>
                    </a:lnTo>
                    <a:lnTo>
                      <a:pt x="4871198" y="2489423"/>
                    </a:lnTo>
                    <a:lnTo>
                      <a:pt x="4869807" y="2490549"/>
                    </a:lnTo>
                    <a:lnTo>
                      <a:pt x="4871361" y="2490972"/>
                    </a:lnTo>
                    <a:lnTo>
                      <a:pt x="4872560" y="2490153"/>
                    </a:lnTo>
                    <a:lnTo>
                      <a:pt x="4873739" y="2488840"/>
                    </a:lnTo>
                    <a:lnTo>
                      <a:pt x="4875244" y="2487751"/>
                    </a:lnTo>
                    <a:lnTo>
                      <a:pt x="4877163" y="2487310"/>
                    </a:lnTo>
                    <a:lnTo>
                      <a:pt x="4880798" y="2487086"/>
                    </a:lnTo>
                    <a:lnTo>
                      <a:pt x="4882526" y="2486240"/>
                    </a:lnTo>
                    <a:lnTo>
                      <a:pt x="4881764" y="2482840"/>
                    </a:lnTo>
                    <a:lnTo>
                      <a:pt x="4884194" y="2481954"/>
                    </a:lnTo>
                    <a:lnTo>
                      <a:pt x="4890542" y="2482039"/>
                    </a:lnTo>
                    <a:lnTo>
                      <a:pt x="4890989" y="2481372"/>
                    </a:lnTo>
                    <a:lnTo>
                      <a:pt x="4891410" y="2480138"/>
                    </a:lnTo>
                    <a:lnTo>
                      <a:pt x="4892012" y="2478836"/>
                    </a:lnTo>
                    <a:lnTo>
                      <a:pt x="4893005" y="2477967"/>
                    </a:lnTo>
                    <a:lnTo>
                      <a:pt x="4894974" y="2477410"/>
                    </a:lnTo>
                    <a:lnTo>
                      <a:pt x="4895819" y="2477903"/>
                    </a:lnTo>
                    <a:lnTo>
                      <a:pt x="4896483" y="2479073"/>
                    </a:lnTo>
                    <a:lnTo>
                      <a:pt x="4902347" y="2485511"/>
                    </a:lnTo>
                    <a:lnTo>
                      <a:pt x="4898367" y="2487322"/>
                    </a:lnTo>
                    <a:lnTo>
                      <a:pt x="4891073" y="2488157"/>
                    </a:lnTo>
                    <a:lnTo>
                      <a:pt x="4885586" y="2490206"/>
                    </a:lnTo>
                    <a:lnTo>
                      <a:pt x="4893809" y="2491417"/>
                    </a:lnTo>
                    <a:lnTo>
                      <a:pt x="4896977" y="2493564"/>
                    </a:lnTo>
                    <a:lnTo>
                      <a:pt x="4897260" y="2498009"/>
                    </a:lnTo>
                    <a:lnTo>
                      <a:pt x="4894505" y="2501729"/>
                    </a:lnTo>
                    <a:lnTo>
                      <a:pt x="4890119" y="2503164"/>
                    </a:lnTo>
                    <a:lnTo>
                      <a:pt x="4885420" y="2502755"/>
                    </a:lnTo>
                    <a:lnTo>
                      <a:pt x="4881741" y="2501042"/>
                    </a:lnTo>
                    <a:lnTo>
                      <a:pt x="4880777" y="2501670"/>
                    </a:lnTo>
                    <a:lnTo>
                      <a:pt x="4879061" y="2502444"/>
                    </a:lnTo>
                    <a:lnTo>
                      <a:pt x="4881269" y="2505286"/>
                    </a:lnTo>
                    <a:lnTo>
                      <a:pt x="4888654" y="2510289"/>
                    </a:lnTo>
                    <a:lnTo>
                      <a:pt x="4890029" y="2513070"/>
                    </a:lnTo>
                    <a:lnTo>
                      <a:pt x="4887576" y="2516007"/>
                    </a:lnTo>
                    <a:lnTo>
                      <a:pt x="4882930" y="2514804"/>
                    </a:lnTo>
                    <a:lnTo>
                      <a:pt x="4874839" y="2509262"/>
                    </a:lnTo>
                    <a:lnTo>
                      <a:pt x="4873438" y="2512638"/>
                    </a:lnTo>
                    <a:lnTo>
                      <a:pt x="4874098" y="2514930"/>
                    </a:lnTo>
                    <a:lnTo>
                      <a:pt x="4875565" y="2517093"/>
                    </a:lnTo>
                    <a:lnTo>
                      <a:pt x="4876620" y="2520090"/>
                    </a:lnTo>
                    <a:lnTo>
                      <a:pt x="4876045" y="2524331"/>
                    </a:lnTo>
                    <a:lnTo>
                      <a:pt x="4873814" y="2525003"/>
                    </a:lnTo>
                    <a:lnTo>
                      <a:pt x="4871349" y="2523398"/>
                    </a:lnTo>
                    <a:lnTo>
                      <a:pt x="4868752" y="2518143"/>
                    </a:lnTo>
                    <a:lnTo>
                      <a:pt x="4865960" y="2516161"/>
                    </a:lnTo>
                    <a:lnTo>
                      <a:pt x="4862886" y="2514568"/>
                    </a:lnTo>
                    <a:lnTo>
                      <a:pt x="4860690" y="2513028"/>
                    </a:lnTo>
                    <a:lnTo>
                      <a:pt x="4859913" y="2511675"/>
                    </a:lnTo>
                    <a:lnTo>
                      <a:pt x="4859381" y="2509973"/>
                    </a:lnTo>
                    <a:lnTo>
                      <a:pt x="4859053" y="2508114"/>
                    </a:lnTo>
                    <a:lnTo>
                      <a:pt x="4858878" y="2506293"/>
                    </a:lnTo>
                    <a:lnTo>
                      <a:pt x="4858047" y="2504574"/>
                    </a:lnTo>
                    <a:lnTo>
                      <a:pt x="4856309" y="2503329"/>
                    </a:lnTo>
                    <a:lnTo>
                      <a:pt x="4852999" y="2501653"/>
                    </a:lnTo>
                    <a:lnTo>
                      <a:pt x="4857329" y="2512594"/>
                    </a:lnTo>
                    <a:lnTo>
                      <a:pt x="4858755" y="2518858"/>
                    </a:lnTo>
                    <a:lnTo>
                      <a:pt x="4857816" y="2523844"/>
                    </a:lnTo>
                    <a:lnTo>
                      <a:pt x="4853866" y="2524326"/>
                    </a:lnTo>
                    <a:lnTo>
                      <a:pt x="4842792" y="2517089"/>
                    </a:lnTo>
                    <a:lnTo>
                      <a:pt x="4838277" y="2518197"/>
                    </a:lnTo>
                    <a:lnTo>
                      <a:pt x="4839028" y="2519520"/>
                    </a:lnTo>
                    <a:lnTo>
                      <a:pt x="4846557" y="2525405"/>
                    </a:lnTo>
                    <a:lnTo>
                      <a:pt x="4846653" y="2526092"/>
                    </a:lnTo>
                    <a:lnTo>
                      <a:pt x="4847773" y="2527735"/>
                    </a:lnTo>
                    <a:lnTo>
                      <a:pt x="4847164" y="2531447"/>
                    </a:lnTo>
                    <a:lnTo>
                      <a:pt x="4845467" y="2535183"/>
                    </a:lnTo>
                    <a:lnTo>
                      <a:pt x="4843289" y="2536909"/>
                    </a:lnTo>
                    <a:lnTo>
                      <a:pt x="4836668" y="2535817"/>
                    </a:lnTo>
                    <a:lnTo>
                      <a:pt x="4834770" y="2535014"/>
                    </a:lnTo>
                    <a:lnTo>
                      <a:pt x="4834160" y="2533055"/>
                    </a:lnTo>
                    <a:lnTo>
                      <a:pt x="4833998" y="2530784"/>
                    </a:lnTo>
                    <a:lnTo>
                      <a:pt x="4833430" y="2529033"/>
                    </a:lnTo>
                    <a:lnTo>
                      <a:pt x="4830877" y="2527835"/>
                    </a:lnTo>
                    <a:lnTo>
                      <a:pt x="4827820" y="2528568"/>
                    </a:lnTo>
                    <a:lnTo>
                      <a:pt x="4824830" y="2530596"/>
                    </a:lnTo>
                    <a:lnTo>
                      <a:pt x="4822479" y="2533285"/>
                    </a:lnTo>
                    <a:lnTo>
                      <a:pt x="4822057" y="2534479"/>
                    </a:lnTo>
                    <a:lnTo>
                      <a:pt x="4821762" y="2537313"/>
                    </a:lnTo>
                    <a:lnTo>
                      <a:pt x="4821056" y="2538816"/>
                    </a:lnTo>
                    <a:lnTo>
                      <a:pt x="4819994" y="2539806"/>
                    </a:lnTo>
                    <a:lnTo>
                      <a:pt x="4818504" y="2540692"/>
                    </a:lnTo>
                    <a:lnTo>
                      <a:pt x="4816916" y="2541348"/>
                    </a:lnTo>
                    <a:lnTo>
                      <a:pt x="4815569" y="2541607"/>
                    </a:lnTo>
                    <a:lnTo>
                      <a:pt x="4812589" y="2540830"/>
                    </a:lnTo>
                    <a:lnTo>
                      <a:pt x="4806118" y="2537252"/>
                    </a:lnTo>
                    <a:lnTo>
                      <a:pt x="4802696" y="2536476"/>
                    </a:lnTo>
                    <a:lnTo>
                      <a:pt x="4790076" y="2536710"/>
                    </a:lnTo>
                    <a:lnTo>
                      <a:pt x="4783440" y="2537936"/>
                    </a:lnTo>
                    <a:lnTo>
                      <a:pt x="4781225" y="2539618"/>
                    </a:lnTo>
                    <a:lnTo>
                      <a:pt x="4782963" y="2542214"/>
                    </a:lnTo>
                    <a:lnTo>
                      <a:pt x="4781042" y="2547664"/>
                    </a:lnTo>
                    <a:lnTo>
                      <a:pt x="4778690" y="2550462"/>
                    </a:lnTo>
                    <a:lnTo>
                      <a:pt x="4775322" y="2551499"/>
                    </a:lnTo>
                    <a:lnTo>
                      <a:pt x="4770329" y="2551723"/>
                    </a:lnTo>
                    <a:lnTo>
                      <a:pt x="4777417" y="2559586"/>
                    </a:lnTo>
                    <a:lnTo>
                      <a:pt x="4778733" y="2563265"/>
                    </a:lnTo>
                    <a:lnTo>
                      <a:pt x="4775012" y="2566688"/>
                    </a:lnTo>
                    <a:lnTo>
                      <a:pt x="4769562" y="2568202"/>
                    </a:lnTo>
                    <a:lnTo>
                      <a:pt x="4753491" y="2567060"/>
                    </a:lnTo>
                    <a:lnTo>
                      <a:pt x="4757918" y="2571354"/>
                    </a:lnTo>
                    <a:lnTo>
                      <a:pt x="4758572" y="2572889"/>
                    </a:lnTo>
                    <a:lnTo>
                      <a:pt x="4757713" y="2574514"/>
                    </a:lnTo>
                    <a:lnTo>
                      <a:pt x="4755565" y="2575586"/>
                    </a:lnTo>
                    <a:lnTo>
                      <a:pt x="4751257" y="2576379"/>
                    </a:lnTo>
                    <a:lnTo>
                      <a:pt x="4746688" y="2575350"/>
                    </a:lnTo>
                    <a:lnTo>
                      <a:pt x="4744317" y="2575244"/>
                    </a:lnTo>
                    <a:lnTo>
                      <a:pt x="4742817" y="2576520"/>
                    </a:lnTo>
                    <a:lnTo>
                      <a:pt x="4743206" y="2577836"/>
                    </a:lnTo>
                    <a:lnTo>
                      <a:pt x="4746925" y="2583306"/>
                    </a:lnTo>
                    <a:lnTo>
                      <a:pt x="4741931" y="2582025"/>
                    </a:lnTo>
                    <a:lnTo>
                      <a:pt x="4740229" y="2582069"/>
                    </a:lnTo>
                    <a:lnTo>
                      <a:pt x="4740302" y="2583414"/>
                    </a:lnTo>
                    <a:lnTo>
                      <a:pt x="4743385" y="2584879"/>
                    </a:lnTo>
                    <a:lnTo>
                      <a:pt x="4746845" y="2587877"/>
                    </a:lnTo>
                    <a:lnTo>
                      <a:pt x="4748815" y="2591468"/>
                    </a:lnTo>
                    <a:lnTo>
                      <a:pt x="4747467" y="2594721"/>
                    </a:lnTo>
                    <a:lnTo>
                      <a:pt x="4746004" y="2595508"/>
                    </a:lnTo>
                    <a:lnTo>
                      <a:pt x="4741973" y="2596761"/>
                    </a:lnTo>
                    <a:lnTo>
                      <a:pt x="4738674" y="2597247"/>
                    </a:lnTo>
                    <a:lnTo>
                      <a:pt x="4737338" y="2597702"/>
                    </a:lnTo>
                    <a:lnTo>
                      <a:pt x="4736105" y="2597803"/>
                    </a:lnTo>
                    <a:lnTo>
                      <a:pt x="4734493" y="2597075"/>
                    </a:lnTo>
                    <a:lnTo>
                      <a:pt x="4730550" y="2593939"/>
                    </a:lnTo>
                    <a:lnTo>
                      <a:pt x="4722616" y="2590697"/>
                    </a:lnTo>
                    <a:lnTo>
                      <a:pt x="4720580" y="2590449"/>
                    </a:lnTo>
                    <a:lnTo>
                      <a:pt x="4717145" y="2588915"/>
                    </a:lnTo>
                    <a:lnTo>
                      <a:pt x="4714014" y="2585877"/>
                    </a:lnTo>
                    <a:lnTo>
                      <a:pt x="4710667" y="2583805"/>
                    </a:lnTo>
                    <a:lnTo>
                      <a:pt x="4706588" y="2585166"/>
                    </a:lnTo>
                    <a:lnTo>
                      <a:pt x="4705015" y="2587466"/>
                    </a:lnTo>
                    <a:lnTo>
                      <a:pt x="4703719" y="2590989"/>
                    </a:lnTo>
                    <a:lnTo>
                      <a:pt x="4702874" y="2594849"/>
                    </a:lnTo>
                    <a:lnTo>
                      <a:pt x="4702642" y="2598181"/>
                    </a:lnTo>
                    <a:lnTo>
                      <a:pt x="4704289" y="2601764"/>
                    </a:lnTo>
                    <a:lnTo>
                      <a:pt x="4709859" y="2605328"/>
                    </a:lnTo>
                    <a:lnTo>
                      <a:pt x="4709697" y="2608114"/>
                    </a:lnTo>
                    <a:lnTo>
                      <a:pt x="4706913" y="2610065"/>
                    </a:lnTo>
                    <a:lnTo>
                      <a:pt x="4694542" y="2613713"/>
                    </a:lnTo>
                    <a:lnTo>
                      <a:pt x="4686497" y="2613831"/>
                    </a:lnTo>
                    <a:lnTo>
                      <a:pt x="4685210" y="2614547"/>
                    </a:lnTo>
                    <a:lnTo>
                      <a:pt x="4686839" y="2616016"/>
                    </a:lnTo>
                    <a:lnTo>
                      <a:pt x="4690486" y="2617936"/>
                    </a:lnTo>
                    <a:lnTo>
                      <a:pt x="4690756" y="2619015"/>
                    </a:lnTo>
                    <a:lnTo>
                      <a:pt x="4690554" y="2620141"/>
                    </a:lnTo>
                    <a:lnTo>
                      <a:pt x="4690102" y="2621118"/>
                    </a:lnTo>
                    <a:lnTo>
                      <a:pt x="4689650" y="2621855"/>
                    </a:lnTo>
                    <a:lnTo>
                      <a:pt x="4690609" y="2624336"/>
                    </a:lnTo>
                    <a:lnTo>
                      <a:pt x="4690432" y="2628808"/>
                    </a:lnTo>
                    <a:lnTo>
                      <a:pt x="4691131" y="2631397"/>
                    </a:lnTo>
                    <a:lnTo>
                      <a:pt x="4690171" y="2632742"/>
                    </a:lnTo>
                    <a:lnTo>
                      <a:pt x="4683150" y="2634321"/>
                    </a:lnTo>
                    <a:lnTo>
                      <a:pt x="4681394" y="2633687"/>
                    </a:lnTo>
                    <a:lnTo>
                      <a:pt x="4680718" y="2632156"/>
                    </a:lnTo>
                    <a:lnTo>
                      <a:pt x="4680398" y="2630348"/>
                    </a:lnTo>
                    <a:lnTo>
                      <a:pt x="4679737" y="2628864"/>
                    </a:lnTo>
                    <a:lnTo>
                      <a:pt x="4678337" y="2627552"/>
                    </a:lnTo>
                    <a:lnTo>
                      <a:pt x="4677558" y="2627499"/>
                    </a:lnTo>
                    <a:lnTo>
                      <a:pt x="4675480" y="2630881"/>
                    </a:lnTo>
                    <a:lnTo>
                      <a:pt x="4673583" y="2631630"/>
                    </a:lnTo>
                    <a:lnTo>
                      <a:pt x="4667795" y="2632175"/>
                    </a:lnTo>
                    <a:lnTo>
                      <a:pt x="4666643" y="2633820"/>
                    </a:lnTo>
                    <a:lnTo>
                      <a:pt x="4665247" y="2637169"/>
                    </a:lnTo>
                    <a:lnTo>
                      <a:pt x="4661660" y="2636631"/>
                    </a:lnTo>
                    <a:lnTo>
                      <a:pt x="4657599" y="2634013"/>
                    </a:lnTo>
                    <a:lnTo>
                      <a:pt x="4651609" y="2628397"/>
                    </a:lnTo>
                    <a:lnTo>
                      <a:pt x="4649788" y="2629480"/>
                    </a:lnTo>
                    <a:lnTo>
                      <a:pt x="4649927" y="2632598"/>
                    </a:lnTo>
                    <a:lnTo>
                      <a:pt x="4652638" y="2635957"/>
                    </a:lnTo>
                    <a:lnTo>
                      <a:pt x="4652697" y="2637305"/>
                    </a:lnTo>
                    <a:lnTo>
                      <a:pt x="4643461" y="2636317"/>
                    </a:lnTo>
                    <a:lnTo>
                      <a:pt x="4640399" y="2637464"/>
                    </a:lnTo>
                    <a:lnTo>
                      <a:pt x="4642352" y="2639830"/>
                    </a:lnTo>
                    <a:lnTo>
                      <a:pt x="4647890" y="2640063"/>
                    </a:lnTo>
                    <a:lnTo>
                      <a:pt x="4649139" y="2642134"/>
                    </a:lnTo>
                    <a:lnTo>
                      <a:pt x="4649258" y="2645606"/>
                    </a:lnTo>
                    <a:lnTo>
                      <a:pt x="4649582" y="2648533"/>
                    </a:lnTo>
                    <a:lnTo>
                      <a:pt x="4650501" y="2650744"/>
                    </a:lnTo>
                    <a:lnTo>
                      <a:pt x="4652396" y="2652124"/>
                    </a:lnTo>
                    <a:lnTo>
                      <a:pt x="4647315" y="2657360"/>
                    </a:lnTo>
                    <a:lnTo>
                      <a:pt x="4639990" y="2654114"/>
                    </a:lnTo>
                    <a:lnTo>
                      <a:pt x="4632214" y="2648995"/>
                    </a:lnTo>
                    <a:lnTo>
                      <a:pt x="4625717" y="2648552"/>
                    </a:lnTo>
                    <a:lnTo>
                      <a:pt x="4624775" y="2650129"/>
                    </a:lnTo>
                    <a:lnTo>
                      <a:pt x="4624289" y="2652397"/>
                    </a:lnTo>
                    <a:lnTo>
                      <a:pt x="4624101" y="2655289"/>
                    </a:lnTo>
                    <a:lnTo>
                      <a:pt x="4622694" y="2656342"/>
                    </a:lnTo>
                    <a:lnTo>
                      <a:pt x="4618681" y="2657835"/>
                    </a:lnTo>
                    <a:lnTo>
                      <a:pt x="4613122" y="2658840"/>
                    </a:lnTo>
                    <a:lnTo>
                      <a:pt x="4609050" y="2660750"/>
                    </a:lnTo>
                    <a:lnTo>
                      <a:pt x="4591263" y="2675875"/>
                    </a:lnTo>
                    <a:lnTo>
                      <a:pt x="4588218" y="2676198"/>
                    </a:lnTo>
                    <a:lnTo>
                      <a:pt x="4584521" y="2677273"/>
                    </a:lnTo>
                    <a:lnTo>
                      <a:pt x="4581288" y="2679355"/>
                    </a:lnTo>
                    <a:lnTo>
                      <a:pt x="4579662" y="2682745"/>
                    </a:lnTo>
                    <a:lnTo>
                      <a:pt x="4580184" y="2687463"/>
                    </a:lnTo>
                    <a:lnTo>
                      <a:pt x="4582716" y="2687942"/>
                    </a:lnTo>
                    <a:lnTo>
                      <a:pt x="4602461" y="2680674"/>
                    </a:lnTo>
                    <a:lnTo>
                      <a:pt x="4607619" y="2681306"/>
                    </a:lnTo>
                    <a:lnTo>
                      <a:pt x="4609068" y="2681193"/>
                    </a:lnTo>
                    <a:lnTo>
                      <a:pt x="4608600" y="2683439"/>
                    </a:lnTo>
                    <a:lnTo>
                      <a:pt x="4609875" y="2686421"/>
                    </a:lnTo>
                    <a:lnTo>
                      <a:pt x="4609374" y="2689270"/>
                    </a:lnTo>
                    <a:lnTo>
                      <a:pt x="4608706" y="2689375"/>
                    </a:lnTo>
                    <a:lnTo>
                      <a:pt x="4608541" y="2689031"/>
                    </a:lnTo>
                    <a:lnTo>
                      <a:pt x="4608554" y="2688476"/>
                    </a:lnTo>
                    <a:lnTo>
                      <a:pt x="4608378" y="2687948"/>
                    </a:lnTo>
                    <a:lnTo>
                      <a:pt x="4607710" y="2692993"/>
                    </a:lnTo>
                    <a:lnTo>
                      <a:pt x="4604105" y="2695323"/>
                    </a:lnTo>
                    <a:lnTo>
                      <a:pt x="4595403" y="2697517"/>
                    </a:lnTo>
                    <a:lnTo>
                      <a:pt x="4595452" y="2698866"/>
                    </a:lnTo>
                    <a:lnTo>
                      <a:pt x="4597739" y="2698914"/>
                    </a:lnTo>
                    <a:lnTo>
                      <a:pt x="4600581" y="2699685"/>
                    </a:lnTo>
                    <a:lnTo>
                      <a:pt x="4603043" y="2701241"/>
                    </a:lnTo>
                    <a:lnTo>
                      <a:pt x="4604145" y="2703551"/>
                    </a:lnTo>
                    <a:lnTo>
                      <a:pt x="4604873" y="2704571"/>
                    </a:lnTo>
                    <a:lnTo>
                      <a:pt x="4608066" y="2705162"/>
                    </a:lnTo>
                    <a:lnTo>
                      <a:pt x="4609044" y="2705584"/>
                    </a:lnTo>
                    <a:lnTo>
                      <a:pt x="4609838" y="2707649"/>
                    </a:lnTo>
                    <a:lnTo>
                      <a:pt x="4609447" y="2708538"/>
                    </a:lnTo>
                    <a:lnTo>
                      <a:pt x="4608669" y="2709133"/>
                    </a:lnTo>
                    <a:lnTo>
                      <a:pt x="4608271" y="2710247"/>
                    </a:lnTo>
                    <a:lnTo>
                      <a:pt x="4605942" y="2714517"/>
                    </a:lnTo>
                    <a:lnTo>
                      <a:pt x="4594305" y="2718127"/>
                    </a:lnTo>
                    <a:lnTo>
                      <a:pt x="4590539" y="2720499"/>
                    </a:lnTo>
                    <a:lnTo>
                      <a:pt x="4593098" y="2722907"/>
                    </a:lnTo>
                    <a:lnTo>
                      <a:pt x="4595563" y="2725846"/>
                    </a:lnTo>
                    <a:lnTo>
                      <a:pt x="4593222" y="2727319"/>
                    </a:lnTo>
                    <a:lnTo>
                      <a:pt x="4591646" y="2725986"/>
                    </a:lnTo>
                    <a:lnTo>
                      <a:pt x="4590572" y="2723940"/>
                    </a:lnTo>
                    <a:lnTo>
                      <a:pt x="4589689" y="2723330"/>
                    </a:lnTo>
                    <a:lnTo>
                      <a:pt x="4588804" y="2725310"/>
                    </a:lnTo>
                    <a:lnTo>
                      <a:pt x="4588818" y="2730520"/>
                    </a:lnTo>
                    <a:lnTo>
                      <a:pt x="4588121" y="2732794"/>
                    </a:lnTo>
                    <a:lnTo>
                      <a:pt x="4586187" y="2733980"/>
                    </a:lnTo>
                    <a:lnTo>
                      <a:pt x="4583442" y="2734098"/>
                    </a:lnTo>
                    <a:lnTo>
                      <a:pt x="4580668" y="2733581"/>
                    </a:lnTo>
                    <a:lnTo>
                      <a:pt x="4578626" y="2732894"/>
                    </a:lnTo>
                    <a:lnTo>
                      <a:pt x="4576803" y="2731859"/>
                    </a:lnTo>
                    <a:lnTo>
                      <a:pt x="4571717" y="2727569"/>
                    </a:lnTo>
                    <a:lnTo>
                      <a:pt x="4570891" y="2728807"/>
                    </a:lnTo>
                    <a:lnTo>
                      <a:pt x="4571851" y="2731612"/>
                    </a:lnTo>
                    <a:lnTo>
                      <a:pt x="4569083" y="2731641"/>
                    </a:lnTo>
                    <a:lnTo>
                      <a:pt x="4580576" y="2742202"/>
                    </a:lnTo>
                    <a:lnTo>
                      <a:pt x="4582896" y="2746465"/>
                    </a:lnTo>
                    <a:lnTo>
                      <a:pt x="4579491" y="2746427"/>
                    </a:lnTo>
                    <a:lnTo>
                      <a:pt x="4567850" y="2743635"/>
                    </a:lnTo>
                    <a:lnTo>
                      <a:pt x="4566282" y="2743538"/>
                    </a:lnTo>
                    <a:lnTo>
                      <a:pt x="4564872" y="2743222"/>
                    </a:lnTo>
                    <a:lnTo>
                      <a:pt x="4563645" y="2742485"/>
                    </a:lnTo>
                    <a:lnTo>
                      <a:pt x="4563030" y="2741463"/>
                    </a:lnTo>
                    <a:lnTo>
                      <a:pt x="4561054" y="2737123"/>
                    </a:lnTo>
                    <a:lnTo>
                      <a:pt x="4560429" y="2736702"/>
                    </a:lnTo>
                    <a:lnTo>
                      <a:pt x="4559447" y="2735788"/>
                    </a:lnTo>
                    <a:lnTo>
                      <a:pt x="4558182" y="2734866"/>
                    </a:lnTo>
                    <a:lnTo>
                      <a:pt x="4550902" y="2733168"/>
                    </a:lnTo>
                    <a:lnTo>
                      <a:pt x="4549746" y="2733693"/>
                    </a:lnTo>
                    <a:lnTo>
                      <a:pt x="4548851" y="2734979"/>
                    </a:lnTo>
                    <a:lnTo>
                      <a:pt x="4548424" y="2736568"/>
                    </a:lnTo>
                    <a:lnTo>
                      <a:pt x="4548722" y="2737972"/>
                    </a:lnTo>
                    <a:lnTo>
                      <a:pt x="4549668" y="2738855"/>
                    </a:lnTo>
                    <a:lnTo>
                      <a:pt x="4551063" y="2739856"/>
                    </a:lnTo>
                    <a:lnTo>
                      <a:pt x="4552375" y="2741050"/>
                    </a:lnTo>
                    <a:lnTo>
                      <a:pt x="4553099" y="2742587"/>
                    </a:lnTo>
                    <a:lnTo>
                      <a:pt x="4553070" y="2744952"/>
                    </a:lnTo>
                    <a:lnTo>
                      <a:pt x="4552302" y="2745973"/>
                    </a:lnTo>
                    <a:lnTo>
                      <a:pt x="4551269" y="2746658"/>
                    </a:lnTo>
                    <a:lnTo>
                      <a:pt x="4550409" y="2748017"/>
                    </a:lnTo>
                    <a:lnTo>
                      <a:pt x="4550042" y="2749774"/>
                    </a:lnTo>
                    <a:lnTo>
                      <a:pt x="4549900" y="2753074"/>
                    </a:lnTo>
                    <a:lnTo>
                      <a:pt x="4549671" y="2754894"/>
                    </a:lnTo>
                    <a:lnTo>
                      <a:pt x="4548721" y="2758386"/>
                    </a:lnTo>
                    <a:lnTo>
                      <a:pt x="4547170" y="2761876"/>
                    </a:lnTo>
                    <a:lnTo>
                      <a:pt x="4545130" y="2763753"/>
                    </a:lnTo>
                    <a:lnTo>
                      <a:pt x="4542709" y="2762448"/>
                    </a:lnTo>
                    <a:lnTo>
                      <a:pt x="4535752" y="2753001"/>
                    </a:lnTo>
                    <a:lnTo>
                      <a:pt x="4533581" y="2751098"/>
                    </a:lnTo>
                    <a:lnTo>
                      <a:pt x="4530337" y="2749404"/>
                    </a:lnTo>
                    <a:lnTo>
                      <a:pt x="4527259" y="2748305"/>
                    </a:lnTo>
                    <a:lnTo>
                      <a:pt x="4525585" y="2748239"/>
                    </a:lnTo>
                    <a:lnTo>
                      <a:pt x="4527002" y="2750229"/>
                    </a:lnTo>
                    <a:lnTo>
                      <a:pt x="4527737" y="2752580"/>
                    </a:lnTo>
                    <a:lnTo>
                      <a:pt x="4527693" y="2754809"/>
                    </a:lnTo>
                    <a:lnTo>
                      <a:pt x="4526769" y="2756450"/>
                    </a:lnTo>
                    <a:lnTo>
                      <a:pt x="4527413" y="2757426"/>
                    </a:lnTo>
                    <a:lnTo>
                      <a:pt x="4528215" y="2759413"/>
                    </a:lnTo>
                    <a:lnTo>
                      <a:pt x="4528778" y="2760488"/>
                    </a:lnTo>
                    <a:lnTo>
                      <a:pt x="4527059" y="2761186"/>
                    </a:lnTo>
                    <a:lnTo>
                      <a:pt x="4521110" y="2761904"/>
                    </a:lnTo>
                    <a:lnTo>
                      <a:pt x="4516402" y="2765426"/>
                    </a:lnTo>
                    <a:lnTo>
                      <a:pt x="4515066" y="2765992"/>
                    </a:lnTo>
                    <a:lnTo>
                      <a:pt x="4513686" y="2767806"/>
                    </a:lnTo>
                    <a:lnTo>
                      <a:pt x="4509976" y="2775955"/>
                    </a:lnTo>
                    <a:lnTo>
                      <a:pt x="4508186" y="2778198"/>
                    </a:lnTo>
                    <a:lnTo>
                      <a:pt x="4505213" y="2777296"/>
                    </a:lnTo>
                    <a:lnTo>
                      <a:pt x="4497119" y="2772586"/>
                    </a:lnTo>
                    <a:lnTo>
                      <a:pt x="4494179" y="2773589"/>
                    </a:lnTo>
                    <a:lnTo>
                      <a:pt x="4495252" y="2775095"/>
                    </a:lnTo>
                    <a:lnTo>
                      <a:pt x="4498257" y="2777197"/>
                    </a:lnTo>
                    <a:lnTo>
                      <a:pt x="4500386" y="2780375"/>
                    </a:lnTo>
                    <a:lnTo>
                      <a:pt x="4498800" y="2785144"/>
                    </a:lnTo>
                    <a:lnTo>
                      <a:pt x="4494754" y="2788105"/>
                    </a:lnTo>
                    <a:lnTo>
                      <a:pt x="4491124" y="2787327"/>
                    </a:lnTo>
                    <a:lnTo>
                      <a:pt x="4487705" y="2785146"/>
                    </a:lnTo>
                    <a:lnTo>
                      <a:pt x="4480996" y="2783172"/>
                    </a:lnTo>
                    <a:lnTo>
                      <a:pt x="4478287" y="2781235"/>
                    </a:lnTo>
                    <a:lnTo>
                      <a:pt x="4469787" y="2773406"/>
                    </a:lnTo>
                    <a:lnTo>
                      <a:pt x="4466030" y="2771104"/>
                    </a:lnTo>
                    <a:lnTo>
                      <a:pt x="4462141" y="2770309"/>
                    </a:lnTo>
                    <a:lnTo>
                      <a:pt x="4458795" y="2772478"/>
                    </a:lnTo>
                    <a:lnTo>
                      <a:pt x="4456634" y="2774487"/>
                    </a:lnTo>
                    <a:lnTo>
                      <a:pt x="4455789" y="2775755"/>
                    </a:lnTo>
                    <a:lnTo>
                      <a:pt x="4455474" y="2777954"/>
                    </a:lnTo>
                    <a:lnTo>
                      <a:pt x="4456176" y="2780542"/>
                    </a:lnTo>
                    <a:lnTo>
                      <a:pt x="4457749" y="2781498"/>
                    </a:lnTo>
                    <a:lnTo>
                      <a:pt x="4459648" y="2781840"/>
                    </a:lnTo>
                    <a:lnTo>
                      <a:pt x="4461307" y="2782578"/>
                    </a:lnTo>
                    <a:lnTo>
                      <a:pt x="4462726" y="2784268"/>
                    </a:lnTo>
                    <a:lnTo>
                      <a:pt x="4463998" y="2786497"/>
                    </a:lnTo>
                    <a:lnTo>
                      <a:pt x="4464684" y="2788811"/>
                    </a:lnTo>
                    <a:lnTo>
                      <a:pt x="4464435" y="2790793"/>
                    </a:lnTo>
                    <a:lnTo>
                      <a:pt x="4463588" y="2789769"/>
                    </a:lnTo>
                    <a:lnTo>
                      <a:pt x="4462550" y="2788945"/>
                    </a:lnTo>
                    <a:lnTo>
                      <a:pt x="4461477" y="2788525"/>
                    </a:lnTo>
                    <a:lnTo>
                      <a:pt x="4460524" y="2788725"/>
                    </a:lnTo>
                    <a:lnTo>
                      <a:pt x="4459923" y="2789438"/>
                    </a:lnTo>
                    <a:lnTo>
                      <a:pt x="4459114" y="2790650"/>
                    </a:lnTo>
                    <a:lnTo>
                      <a:pt x="4458556" y="2791780"/>
                    </a:lnTo>
                    <a:lnTo>
                      <a:pt x="4458718" y="2792181"/>
                    </a:lnTo>
                    <a:lnTo>
                      <a:pt x="4456599" y="2792259"/>
                    </a:lnTo>
                    <a:lnTo>
                      <a:pt x="4450040" y="2790881"/>
                    </a:lnTo>
                    <a:lnTo>
                      <a:pt x="4446885" y="2793170"/>
                    </a:lnTo>
                    <a:lnTo>
                      <a:pt x="4444123" y="2797509"/>
                    </a:lnTo>
                    <a:lnTo>
                      <a:pt x="4441201" y="2800254"/>
                    </a:lnTo>
                    <a:lnTo>
                      <a:pt x="4437607" y="2797698"/>
                    </a:lnTo>
                    <a:lnTo>
                      <a:pt x="4436676" y="2799185"/>
                    </a:lnTo>
                    <a:lnTo>
                      <a:pt x="4438151" y="2800079"/>
                    </a:lnTo>
                    <a:lnTo>
                      <a:pt x="4439380" y="2801111"/>
                    </a:lnTo>
                    <a:lnTo>
                      <a:pt x="4440231" y="2802483"/>
                    </a:lnTo>
                    <a:lnTo>
                      <a:pt x="4440605" y="2804446"/>
                    </a:lnTo>
                    <a:lnTo>
                      <a:pt x="4441625" y="2803079"/>
                    </a:lnTo>
                    <a:lnTo>
                      <a:pt x="4443501" y="2806394"/>
                    </a:lnTo>
                    <a:lnTo>
                      <a:pt x="4446682" y="2807954"/>
                    </a:lnTo>
                    <a:lnTo>
                      <a:pt x="4453651" y="2808421"/>
                    </a:lnTo>
                    <a:lnTo>
                      <a:pt x="4454400" y="2809278"/>
                    </a:lnTo>
                    <a:lnTo>
                      <a:pt x="4456926" y="2813064"/>
                    </a:lnTo>
                    <a:lnTo>
                      <a:pt x="4457681" y="2813929"/>
                    </a:lnTo>
                    <a:lnTo>
                      <a:pt x="4458073" y="2814684"/>
                    </a:lnTo>
                    <a:lnTo>
                      <a:pt x="4457066" y="2816415"/>
                    </a:lnTo>
                    <a:lnTo>
                      <a:pt x="4455524" y="2818219"/>
                    </a:lnTo>
                    <a:lnTo>
                      <a:pt x="4454305" y="2819235"/>
                    </a:lnTo>
                    <a:lnTo>
                      <a:pt x="4450121" y="2819307"/>
                    </a:lnTo>
                    <a:lnTo>
                      <a:pt x="4440053" y="2817149"/>
                    </a:lnTo>
                    <a:lnTo>
                      <a:pt x="4436582" y="2818714"/>
                    </a:lnTo>
                    <a:lnTo>
                      <a:pt x="4433104" y="2821174"/>
                    </a:lnTo>
                    <a:lnTo>
                      <a:pt x="4428764" y="2821148"/>
                    </a:lnTo>
                    <a:lnTo>
                      <a:pt x="4424588" y="2819405"/>
                    </a:lnTo>
                    <a:lnTo>
                      <a:pt x="4421556" y="2816713"/>
                    </a:lnTo>
                    <a:lnTo>
                      <a:pt x="4416463" y="2808765"/>
                    </a:lnTo>
                    <a:lnTo>
                      <a:pt x="4413332" y="2806774"/>
                    </a:lnTo>
                    <a:lnTo>
                      <a:pt x="4408961" y="2808034"/>
                    </a:lnTo>
                    <a:lnTo>
                      <a:pt x="4404290" y="2810471"/>
                    </a:lnTo>
                    <a:lnTo>
                      <a:pt x="4402835" y="2812112"/>
                    </a:lnTo>
                    <a:lnTo>
                      <a:pt x="4400982" y="2813183"/>
                    </a:lnTo>
                    <a:lnTo>
                      <a:pt x="4395871" y="2812697"/>
                    </a:lnTo>
                    <a:lnTo>
                      <a:pt x="4393693" y="2812899"/>
                    </a:lnTo>
                    <a:lnTo>
                      <a:pt x="4391018" y="2815100"/>
                    </a:lnTo>
                    <a:lnTo>
                      <a:pt x="4386480" y="2821142"/>
                    </a:lnTo>
                    <a:lnTo>
                      <a:pt x="4384127" y="2822391"/>
                    </a:lnTo>
                    <a:lnTo>
                      <a:pt x="4376989" y="2823882"/>
                    </a:lnTo>
                    <a:lnTo>
                      <a:pt x="4376216" y="2824223"/>
                    </a:lnTo>
                    <a:lnTo>
                      <a:pt x="4375423" y="2825023"/>
                    </a:lnTo>
                    <a:lnTo>
                      <a:pt x="4374817" y="2826081"/>
                    </a:lnTo>
                    <a:lnTo>
                      <a:pt x="4374588" y="2827153"/>
                    </a:lnTo>
                    <a:lnTo>
                      <a:pt x="4373961" y="2827881"/>
                    </a:lnTo>
                    <a:lnTo>
                      <a:pt x="4369703" y="2827846"/>
                    </a:lnTo>
                    <a:lnTo>
                      <a:pt x="4366931" y="2829160"/>
                    </a:lnTo>
                    <a:lnTo>
                      <a:pt x="4365043" y="2831010"/>
                    </a:lnTo>
                    <a:lnTo>
                      <a:pt x="4363819" y="2833665"/>
                    </a:lnTo>
                    <a:lnTo>
                      <a:pt x="4363079" y="2837462"/>
                    </a:lnTo>
                    <a:lnTo>
                      <a:pt x="4371246" y="2835859"/>
                    </a:lnTo>
                    <a:lnTo>
                      <a:pt x="4386853" y="2829535"/>
                    </a:lnTo>
                    <a:lnTo>
                      <a:pt x="4398338" y="2829361"/>
                    </a:lnTo>
                    <a:lnTo>
                      <a:pt x="4400167" y="2829668"/>
                    </a:lnTo>
                    <a:lnTo>
                      <a:pt x="4401603" y="2830435"/>
                    </a:lnTo>
                    <a:lnTo>
                      <a:pt x="4402882" y="2832323"/>
                    </a:lnTo>
                    <a:lnTo>
                      <a:pt x="4403166" y="2834144"/>
                    </a:lnTo>
                    <a:lnTo>
                      <a:pt x="4403307" y="2835964"/>
                    </a:lnTo>
                    <a:lnTo>
                      <a:pt x="4404159" y="2837918"/>
                    </a:lnTo>
                    <a:lnTo>
                      <a:pt x="4404826" y="2840051"/>
                    </a:lnTo>
                    <a:lnTo>
                      <a:pt x="4403996" y="2841876"/>
                    </a:lnTo>
                    <a:lnTo>
                      <a:pt x="4401279" y="2844628"/>
                    </a:lnTo>
                    <a:lnTo>
                      <a:pt x="4399260" y="2847658"/>
                    </a:lnTo>
                    <a:lnTo>
                      <a:pt x="4398281" y="2848074"/>
                    </a:lnTo>
                    <a:lnTo>
                      <a:pt x="4396080" y="2848163"/>
                    </a:lnTo>
                    <a:lnTo>
                      <a:pt x="4388062" y="2846832"/>
                    </a:lnTo>
                    <a:lnTo>
                      <a:pt x="4372294" y="2841085"/>
                    </a:lnTo>
                    <a:lnTo>
                      <a:pt x="4364067" y="2840167"/>
                    </a:lnTo>
                    <a:lnTo>
                      <a:pt x="4360330" y="2840854"/>
                    </a:lnTo>
                    <a:lnTo>
                      <a:pt x="4358635" y="2842020"/>
                    </a:lnTo>
                    <a:lnTo>
                      <a:pt x="4358245" y="2844100"/>
                    </a:lnTo>
                    <a:lnTo>
                      <a:pt x="4359562" y="2845620"/>
                    </a:lnTo>
                    <a:lnTo>
                      <a:pt x="4363320" y="2844231"/>
                    </a:lnTo>
                    <a:lnTo>
                      <a:pt x="4364125" y="2846115"/>
                    </a:lnTo>
                    <a:lnTo>
                      <a:pt x="4362479" y="2850303"/>
                    </a:lnTo>
                    <a:lnTo>
                      <a:pt x="4358537" y="2851620"/>
                    </a:lnTo>
                    <a:lnTo>
                      <a:pt x="4350696" y="2851012"/>
                    </a:lnTo>
                    <a:lnTo>
                      <a:pt x="4346887" y="2851932"/>
                    </a:lnTo>
                    <a:lnTo>
                      <a:pt x="4345109" y="2851839"/>
                    </a:lnTo>
                    <a:lnTo>
                      <a:pt x="4343381" y="2850296"/>
                    </a:lnTo>
                    <a:lnTo>
                      <a:pt x="4342204" y="2849477"/>
                    </a:lnTo>
                    <a:lnTo>
                      <a:pt x="4337116" y="2848343"/>
                    </a:lnTo>
                    <a:lnTo>
                      <a:pt x="4334212" y="2848412"/>
                    </a:lnTo>
                    <a:lnTo>
                      <a:pt x="4331912" y="2849263"/>
                    </a:lnTo>
                    <a:lnTo>
                      <a:pt x="4323386" y="2854163"/>
                    </a:lnTo>
                    <a:lnTo>
                      <a:pt x="4321237" y="2855835"/>
                    </a:lnTo>
                    <a:lnTo>
                      <a:pt x="4319559" y="2857821"/>
                    </a:lnTo>
                    <a:lnTo>
                      <a:pt x="4317832" y="2860549"/>
                    </a:lnTo>
                    <a:lnTo>
                      <a:pt x="4315571" y="2863325"/>
                    </a:lnTo>
                    <a:lnTo>
                      <a:pt x="4310352" y="2867678"/>
                    </a:lnTo>
                    <a:lnTo>
                      <a:pt x="4308236" y="2870147"/>
                    </a:lnTo>
                    <a:lnTo>
                      <a:pt x="4308986" y="2871171"/>
                    </a:lnTo>
                    <a:lnTo>
                      <a:pt x="4310170" y="2874210"/>
                    </a:lnTo>
                    <a:lnTo>
                      <a:pt x="4305772" y="2874795"/>
                    </a:lnTo>
                    <a:lnTo>
                      <a:pt x="4300736" y="2877219"/>
                    </a:lnTo>
                    <a:lnTo>
                      <a:pt x="4296070" y="2880466"/>
                    </a:lnTo>
                    <a:lnTo>
                      <a:pt x="4292825" y="2883573"/>
                    </a:lnTo>
                    <a:lnTo>
                      <a:pt x="4290904" y="2889045"/>
                    </a:lnTo>
                    <a:lnTo>
                      <a:pt x="4294639" y="2891914"/>
                    </a:lnTo>
                    <a:lnTo>
                      <a:pt x="4306382" y="2893163"/>
                    </a:lnTo>
                    <a:lnTo>
                      <a:pt x="4305355" y="2891196"/>
                    </a:lnTo>
                    <a:lnTo>
                      <a:pt x="4304058" y="2889704"/>
                    </a:lnTo>
                    <a:lnTo>
                      <a:pt x="4302960" y="2888084"/>
                    </a:lnTo>
                    <a:lnTo>
                      <a:pt x="4302487" y="2885729"/>
                    </a:lnTo>
                    <a:lnTo>
                      <a:pt x="4303054" y="2883357"/>
                    </a:lnTo>
                    <a:lnTo>
                      <a:pt x="4304413" y="2881596"/>
                    </a:lnTo>
                    <a:lnTo>
                      <a:pt x="4315400" y="2874728"/>
                    </a:lnTo>
                    <a:lnTo>
                      <a:pt x="4318905" y="2875166"/>
                    </a:lnTo>
                    <a:lnTo>
                      <a:pt x="4319860" y="2880835"/>
                    </a:lnTo>
                    <a:lnTo>
                      <a:pt x="4321119" y="2879720"/>
                    </a:lnTo>
                    <a:lnTo>
                      <a:pt x="4322390" y="2879105"/>
                    </a:lnTo>
                    <a:lnTo>
                      <a:pt x="4323619" y="2879023"/>
                    </a:lnTo>
                    <a:lnTo>
                      <a:pt x="4324761" y="2879473"/>
                    </a:lnTo>
                    <a:lnTo>
                      <a:pt x="4324301" y="2880620"/>
                    </a:lnTo>
                    <a:lnTo>
                      <a:pt x="4323729" y="2883540"/>
                    </a:lnTo>
                    <a:lnTo>
                      <a:pt x="4329595" y="2879465"/>
                    </a:lnTo>
                    <a:lnTo>
                      <a:pt x="4333450" y="2878102"/>
                    </a:lnTo>
                    <a:lnTo>
                      <a:pt x="4334799" y="2878527"/>
                    </a:lnTo>
                    <a:lnTo>
                      <a:pt x="4336749" y="2880371"/>
                    </a:lnTo>
                    <a:lnTo>
                      <a:pt x="4337805" y="2880804"/>
                    </a:lnTo>
                    <a:lnTo>
                      <a:pt x="4345741" y="2882142"/>
                    </a:lnTo>
                    <a:lnTo>
                      <a:pt x="4350206" y="2883865"/>
                    </a:lnTo>
                    <a:lnTo>
                      <a:pt x="4352921" y="2886319"/>
                    </a:lnTo>
                    <a:lnTo>
                      <a:pt x="4350445" y="2889327"/>
                    </a:lnTo>
                    <a:lnTo>
                      <a:pt x="4347372" y="2891932"/>
                    </a:lnTo>
                    <a:lnTo>
                      <a:pt x="4343910" y="2893755"/>
                    </a:lnTo>
                    <a:lnTo>
                      <a:pt x="4338605" y="2894888"/>
                    </a:lnTo>
                    <a:lnTo>
                      <a:pt x="4335003" y="2896752"/>
                    </a:lnTo>
                    <a:lnTo>
                      <a:pt x="4333086" y="2897191"/>
                    </a:lnTo>
                    <a:lnTo>
                      <a:pt x="4331203" y="2896928"/>
                    </a:lnTo>
                    <a:lnTo>
                      <a:pt x="4327733" y="2895878"/>
                    </a:lnTo>
                    <a:lnTo>
                      <a:pt x="4325731" y="2895849"/>
                    </a:lnTo>
                    <a:lnTo>
                      <a:pt x="4326583" y="2897429"/>
                    </a:lnTo>
                    <a:lnTo>
                      <a:pt x="4326089" y="2898898"/>
                    </a:lnTo>
                    <a:lnTo>
                      <a:pt x="4324943" y="2900522"/>
                    </a:lnTo>
                    <a:lnTo>
                      <a:pt x="4323829" y="2902614"/>
                    </a:lnTo>
                    <a:lnTo>
                      <a:pt x="4325881" y="2901885"/>
                    </a:lnTo>
                    <a:lnTo>
                      <a:pt x="4328071" y="2900420"/>
                    </a:lnTo>
                    <a:lnTo>
                      <a:pt x="4330215" y="2899544"/>
                    </a:lnTo>
                    <a:lnTo>
                      <a:pt x="4336306" y="2902923"/>
                    </a:lnTo>
                    <a:lnTo>
                      <a:pt x="4336782" y="2904277"/>
                    </a:lnTo>
                    <a:lnTo>
                      <a:pt x="4333630" y="2906665"/>
                    </a:lnTo>
                    <a:lnTo>
                      <a:pt x="4337487" y="2908013"/>
                    </a:lnTo>
                    <a:lnTo>
                      <a:pt x="4341749" y="2905889"/>
                    </a:lnTo>
                    <a:lnTo>
                      <a:pt x="4345964" y="2902805"/>
                    </a:lnTo>
                    <a:lnTo>
                      <a:pt x="4353343" y="2899438"/>
                    </a:lnTo>
                    <a:lnTo>
                      <a:pt x="4357435" y="2896038"/>
                    </a:lnTo>
                    <a:lnTo>
                      <a:pt x="4361614" y="2893855"/>
                    </a:lnTo>
                    <a:lnTo>
                      <a:pt x="4365575" y="2895756"/>
                    </a:lnTo>
                    <a:lnTo>
                      <a:pt x="4361176" y="2897076"/>
                    </a:lnTo>
                    <a:lnTo>
                      <a:pt x="4359747" y="2897807"/>
                    </a:lnTo>
                    <a:lnTo>
                      <a:pt x="4358754" y="2898971"/>
                    </a:lnTo>
                    <a:lnTo>
                      <a:pt x="4357890" y="2900556"/>
                    </a:lnTo>
                    <a:lnTo>
                      <a:pt x="4356882" y="2901954"/>
                    </a:lnTo>
                    <a:lnTo>
                      <a:pt x="4354469" y="2903116"/>
                    </a:lnTo>
                    <a:lnTo>
                      <a:pt x="4352219" y="2905743"/>
                    </a:lnTo>
                    <a:lnTo>
                      <a:pt x="4351153" y="2906626"/>
                    </a:lnTo>
                    <a:lnTo>
                      <a:pt x="4349393" y="2906824"/>
                    </a:lnTo>
                    <a:lnTo>
                      <a:pt x="4347792" y="2906456"/>
                    </a:lnTo>
                    <a:lnTo>
                      <a:pt x="4346147" y="2906492"/>
                    </a:lnTo>
                    <a:lnTo>
                      <a:pt x="4344293" y="2907998"/>
                    </a:lnTo>
                    <a:lnTo>
                      <a:pt x="4345359" y="2909344"/>
                    </a:lnTo>
                    <a:lnTo>
                      <a:pt x="4341571" y="2910604"/>
                    </a:lnTo>
                    <a:lnTo>
                      <a:pt x="4336694" y="2911106"/>
                    </a:lnTo>
                    <a:lnTo>
                      <a:pt x="4332732" y="2912784"/>
                    </a:lnTo>
                    <a:lnTo>
                      <a:pt x="4331670" y="2917509"/>
                    </a:lnTo>
                    <a:lnTo>
                      <a:pt x="4328439" y="2915723"/>
                    </a:lnTo>
                    <a:lnTo>
                      <a:pt x="4327658" y="2912455"/>
                    </a:lnTo>
                    <a:lnTo>
                      <a:pt x="4327673" y="2908992"/>
                    </a:lnTo>
                    <a:lnTo>
                      <a:pt x="4326846" y="2906677"/>
                    </a:lnTo>
                    <a:lnTo>
                      <a:pt x="4324522" y="2906826"/>
                    </a:lnTo>
                    <a:lnTo>
                      <a:pt x="4322962" y="2909718"/>
                    </a:lnTo>
                    <a:lnTo>
                      <a:pt x="4322621" y="2913497"/>
                    </a:lnTo>
                    <a:lnTo>
                      <a:pt x="4323901" y="2916288"/>
                    </a:lnTo>
                    <a:lnTo>
                      <a:pt x="4321193" y="2916453"/>
                    </a:lnTo>
                    <a:lnTo>
                      <a:pt x="4320032" y="2916293"/>
                    </a:lnTo>
                    <a:lnTo>
                      <a:pt x="4321962" y="2920214"/>
                    </a:lnTo>
                    <a:lnTo>
                      <a:pt x="4324236" y="2923876"/>
                    </a:lnTo>
                    <a:lnTo>
                      <a:pt x="4324925" y="2927137"/>
                    </a:lnTo>
                    <a:lnTo>
                      <a:pt x="4322041" y="2929839"/>
                    </a:lnTo>
                    <a:lnTo>
                      <a:pt x="4320012" y="2925837"/>
                    </a:lnTo>
                    <a:lnTo>
                      <a:pt x="4319482" y="2923868"/>
                    </a:lnTo>
                    <a:lnTo>
                      <a:pt x="4320057" y="2921590"/>
                    </a:lnTo>
                    <a:lnTo>
                      <a:pt x="4318255" y="2921011"/>
                    </a:lnTo>
                    <a:lnTo>
                      <a:pt x="4311806" y="2921601"/>
                    </a:lnTo>
                    <a:lnTo>
                      <a:pt x="4311306" y="2922554"/>
                    </a:lnTo>
                    <a:lnTo>
                      <a:pt x="4312772" y="2924716"/>
                    </a:lnTo>
                    <a:lnTo>
                      <a:pt x="4316116" y="2928491"/>
                    </a:lnTo>
                    <a:lnTo>
                      <a:pt x="4313648" y="2930884"/>
                    </a:lnTo>
                    <a:lnTo>
                      <a:pt x="4314004" y="2934203"/>
                    </a:lnTo>
                    <a:lnTo>
                      <a:pt x="4316189" y="2936357"/>
                    </a:lnTo>
                    <a:lnTo>
                      <a:pt x="4318335" y="2934642"/>
                    </a:lnTo>
                    <a:lnTo>
                      <a:pt x="4317946" y="2934077"/>
                    </a:lnTo>
                    <a:lnTo>
                      <a:pt x="4317682" y="2933415"/>
                    </a:lnTo>
                    <a:lnTo>
                      <a:pt x="4317193" y="2932551"/>
                    </a:lnTo>
                    <a:lnTo>
                      <a:pt x="4321194" y="2934193"/>
                    </a:lnTo>
                    <a:lnTo>
                      <a:pt x="4322815" y="2937946"/>
                    </a:lnTo>
                    <a:lnTo>
                      <a:pt x="4322155" y="2941412"/>
                    </a:lnTo>
                    <a:lnTo>
                      <a:pt x="4319269" y="2942168"/>
                    </a:lnTo>
                    <a:lnTo>
                      <a:pt x="4317507" y="2940734"/>
                    </a:lnTo>
                    <a:lnTo>
                      <a:pt x="4314152" y="2936296"/>
                    </a:lnTo>
                    <a:lnTo>
                      <a:pt x="4312346" y="2935271"/>
                    </a:lnTo>
                    <a:lnTo>
                      <a:pt x="4310247" y="2936009"/>
                    </a:lnTo>
                    <a:lnTo>
                      <a:pt x="4310112" y="2938175"/>
                    </a:lnTo>
                    <a:lnTo>
                      <a:pt x="4311100" y="2940894"/>
                    </a:lnTo>
                    <a:lnTo>
                      <a:pt x="4312378" y="2943406"/>
                    </a:lnTo>
                    <a:lnTo>
                      <a:pt x="4310062" y="2943521"/>
                    </a:lnTo>
                    <a:lnTo>
                      <a:pt x="4307053" y="2941844"/>
                    </a:lnTo>
                    <a:lnTo>
                      <a:pt x="4304038" y="2939230"/>
                    </a:lnTo>
                    <a:lnTo>
                      <a:pt x="4301663" y="2936639"/>
                    </a:lnTo>
                    <a:lnTo>
                      <a:pt x="4310390" y="2932560"/>
                    </a:lnTo>
                    <a:lnTo>
                      <a:pt x="4310385" y="2931203"/>
                    </a:lnTo>
                    <a:lnTo>
                      <a:pt x="4302214" y="2933385"/>
                    </a:lnTo>
                    <a:lnTo>
                      <a:pt x="4299630" y="2934662"/>
                    </a:lnTo>
                    <a:lnTo>
                      <a:pt x="4297455" y="2934713"/>
                    </a:lnTo>
                    <a:lnTo>
                      <a:pt x="4296916" y="2932354"/>
                    </a:lnTo>
                    <a:lnTo>
                      <a:pt x="4297968" y="2929616"/>
                    </a:lnTo>
                    <a:lnTo>
                      <a:pt x="4300582" y="2928508"/>
                    </a:lnTo>
                    <a:lnTo>
                      <a:pt x="4300578" y="2927151"/>
                    </a:lnTo>
                    <a:lnTo>
                      <a:pt x="4297295" y="2925522"/>
                    </a:lnTo>
                    <a:lnTo>
                      <a:pt x="4297340" y="2922777"/>
                    </a:lnTo>
                    <a:lnTo>
                      <a:pt x="4299610" y="2920176"/>
                    </a:lnTo>
                    <a:lnTo>
                      <a:pt x="4303070" y="2919026"/>
                    </a:lnTo>
                    <a:lnTo>
                      <a:pt x="4303245" y="2918106"/>
                    </a:lnTo>
                    <a:lnTo>
                      <a:pt x="4304735" y="2913720"/>
                    </a:lnTo>
                    <a:lnTo>
                      <a:pt x="4305475" y="2912242"/>
                    </a:lnTo>
                    <a:lnTo>
                      <a:pt x="4306068" y="2912033"/>
                    </a:lnTo>
                    <a:lnTo>
                      <a:pt x="4307746" y="2912402"/>
                    </a:lnTo>
                    <a:lnTo>
                      <a:pt x="4309009" y="2912093"/>
                    </a:lnTo>
                    <a:lnTo>
                      <a:pt x="4309634" y="2912311"/>
                    </a:lnTo>
                    <a:lnTo>
                      <a:pt x="4310123" y="2912318"/>
                    </a:lnTo>
                    <a:lnTo>
                      <a:pt x="4310311" y="2911495"/>
                    </a:lnTo>
                    <a:lnTo>
                      <a:pt x="4310270" y="2909736"/>
                    </a:lnTo>
                    <a:lnTo>
                      <a:pt x="4310303" y="2909404"/>
                    </a:lnTo>
                    <a:lnTo>
                      <a:pt x="4313271" y="2907657"/>
                    </a:lnTo>
                    <a:lnTo>
                      <a:pt x="4314702" y="2906243"/>
                    </a:lnTo>
                    <a:lnTo>
                      <a:pt x="4314644" y="2904726"/>
                    </a:lnTo>
                    <a:lnTo>
                      <a:pt x="4313030" y="2903856"/>
                    </a:lnTo>
                    <a:lnTo>
                      <a:pt x="4302350" y="2904037"/>
                    </a:lnTo>
                    <a:lnTo>
                      <a:pt x="4291892" y="2902648"/>
                    </a:lnTo>
                    <a:lnTo>
                      <a:pt x="4293595" y="2905859"/>
                    </a:lnTo>
                    <a:lnTo>
                      <a:pt x="4296420" y="2907376"/>
                    </a:lnTo>
                    <a:lnTo>
                      <a:pt x="4302556" y="2909412"/>
                    </a:lnTo>
                    <a:lnTo>
                      <a:pt x="4298788" y="2912418"/>
                    </a:lnTo>
                    <a:lnTo>
                      <a:pt x="4295855" y="2915916"/>
                    </a:lnTo>
                    <a:lnTo>
                      <a:pt x="4292636" y="2918913"/>
                    </a:lnTo>
                    <a:lnTo>
                      <a:pt x="4287953" y="2920392"/>
                    </a:lnTo>
                    <a:lnTo>
                      <a:pt x="4288819" y="2916727"/>
                    </a:lnTo>
                    <a:lnTo>
                      <a:pt x="4287857" y="2913780"/>
                    </a:lnTo>
                    <a:lnTo>
                      <a:pt x="4285707" y="2912425"/>
                    </a:lnTo>
                    <a:lnTo>
                      <a:pt x="4283009" y="2913492"/>
                    </a:lnTo>
                    <a:lnTo>
                      <a:pt x="4284497" y="2915663"/>
                    </a:lnTo>
                    <a:lnTo>
                      <a:pt x="4284933" y="2917810"/>
                    </a:lnTo>
                    <a:lnTo>
                      <a:pt x="4284397" y="2919837"/>
                    </a:lnTo>
                    <a:lnTo>
                      <a:pt x="4283016" y="2921622"/>
                    </a:lnTo>
                    <a:lnTo>
                      <a:pt x="4287597" y="2923138"/>
                    </a:lnTo>
                    <a:lnTo>
                      <a:pt x="4288947" y="2924413"/>
                    </a:lnTo>
                    <a:lnTo>
                      <a:pt x="4287962" y="2927159"/>
                    </a:lnTo>
                    <a:lnTo>
                      <a:pt x="4288144" y="2930494"/>
                    </a:lnTo>
                    <a:lnTo>
                      <a:pt x="4278771" y="2933735"/>
                    </a:lnTo>
                    <a:lnTo>
                      <a:pt x="4281170" y="2936650"/>
                    </a:lnTo>
                    <a:lnTo>
                      <a:pt x="4283858" y="2937046"/>
                    </a:lnTo>
                    <a:lnTo>
                      <a:pt x="4286776" y="2936697"/>
                    </a:lnTo>
                    <a:lnTo>
                      <a:pt x="4289330" y="2936995"/>
                    </a:lnTo>
                    <a:lnTo>
                      <a:pt x="4290898" y="2939361"/>
                    </a:lnTo>
                    <a:lnTo>
                      <a:pt x="4290903" y="2942753"/>
                    </a:lnTo>
                    <a:lnTo>
                      <a:pt x="4289416" y="2944572"/>
                    </a:lnTo>
                    <a:lnTo>
                      <a:pt x="4285071" y="2946254"/>
                    </a:lnTo>
                    <a:lnTo>
                      <a:pt x="4285072" y="2947482"/>
                    </a:lnTo>
                    <a:lnTo>
                      <a:pt x="4285855" y="2947748"/>
                    </a:lnTo>
                    <a:lnTo>
                      <a:pt x="4287213" y="2948531"/>
                    </a:lnTo>
                    <a:lnTo>
                      <a:pt x="4287991" y="2948838"/>
                    </a:lnTo>
                    <a:lnTo>
                      <a:pt x="4285807" y="2951004"/>
                    </a:lnTo>
                    <a:lnTo>
                      <a:pt x="4281662" y="2951869"/>
                    </a:lnTo>
                    <a:lnTo>
                      <a:pt x="4277260" y="2951604"/>
                    </a:lnTo>
                    <a:lnTo>
                      <a:pt x="4274285" y="2950319"/>
                    </a:lnTo>
                    <a:lnTo>
                      <a:pt x="4275333" y="2949204"/>
                    </a:lnTo>
                    <a:lnTo>
                      <a:pt x="4276546" y="2948355"/>
                    </a:lnTo>
                    <a:lnTo>
                      <a:pt x="4277855" y="2947774"/>
                    </a:lnTo>
                    <a:lnTo>
                      <a:pt x="4279242" y="2947483"/>
                    </a:lnTo>
                    <a:lnTo>
                      <a:pt x="4279241" y="2946256"/>
                    </a:lnTo>
                    <a:lnTo>
                      <a:pt x="4277797" y="2944220"/>
                    </a:lnTo>
                    <a:lnTo>
                      <a:pt x="4276880" y="2942459"/>
                    </a:lnTo>
                    <a:lnTo>
                      <a:pt x="4275316" y="2941182"/>
                    </a:lnTo>
                    <a:lnTo>
                      <a:pt x="4271905" y="2940721"/>
                    </a:lnTo>
                    <a:lnTo>
                      <a:pt x="4271248" y="2941343"/>
                    </a:lnTo>
                    <a:lnTo>
                      <a:pt x="4270026" y="2944154"/>
                    </a:lnTo>
                    <a:lnTo>
                      <a:pt x="4268982" y="2944785"/>
                    </a:lnTo>
                    <a:lnTo>
                      <a:pt x="4266936" y="2944428"/>
                    </a:lnTo>
                    <a:lnTo>
                      <a:pt x="4265837" y="2943459"/>
                    </a:lnTo>
                    <a:lnTo>
                      <a:pt x="4264033" y="2940041"/>
                    </a:lnTo>
                    <a:lnTo>
                      <a:pt x="4260666" y="2940177"/>
                    </a:lnTo>
                    <a:lnTo>
                      <a:pt x="4256553" y="2945950"/>
                    </a:lnTo>
                    <a:lnTo>
                      <a:pt x="4250817" y="2958454"/>
                    </a:lnTo>
                    <a:lnTo>
                      <a:pt x="4249929" y="2958453"/>
                    </a:lnTo>
                    <a:lnTo>
                      <a:pt x="4248821" y="2956311"/>
                    </a:lnTo>
                    <a:lnTo>
                      <a:pt x="4246765" y="2955396"/>
                    </a:lnTo>
                    <a:lnTo>
                      <a:pt x="4244328" y="2955338"/>
                    </a:lnTo>
                    <a:lnTo>
                      <a:pt x="4239699" y="2956270"/>
                    </a:lnTo>
                    <a:lnTo>
                      <a:pt x="4238583" y="2956794"/>
                    </a:lnTo>
                    <a:lnTo>
                      <a:pt x="4237635" y="2957689"/>
                    </a:lnTo>
                    <a:lnTo>
                      <a:pt x="4237198" y="2959216"/>
                    </a:lnTo>
                    <a:lnTo>
                      <a:pt x="4237711" y="2960477"/>
                    </a:lnTo>
                    <a:lnTo>
                      <a:pt x="4238544" y="2961229"/>
                    </a:lnTo>
                    <a:lnTo>
                      <a:pt x="4239123" y="2961158"/>
                    </a:lnTo>
                    <a:lnTo>
                      <a:pt x="4239014" y="2962248"/>
                    </a:lnTo>
                    <a:lnTo>
                      <a:pt x="4239111" y="2963139"/>
                    </a:lnTo>
                    <a:lnTo>
                      <a:pt x="4238586" y="2963751"/>
                    </a:lnTo>
                    <a:lnTo>
                      <a:pt x="4236634" y="2963992"/>
                    </a:lnTo>
                    <a:lnTo>
                      <a:pt x="4235507" y="2963716"/>
                    </a:lnTo>
                    <a:lnTo>
                      <a:pt x="4234809" y="2963036"/>
                    </a:lnTo>
                    <a:lnTo>
                      <a:pt x="4234186" y="2962114"/>
                    </a:lnTo>
                    <a:lnTo>
                      <a:pt x="4230393" y="2958480"/>
                    </a:lnTo>
                    <a:lnTo>
                      <a:pt x="4228639" y="2957403"/>
                    </a:lnTo>
                    <a:lnTo>
                      <a:pt x="4226431" y="2956946"/>
                    </a:lnTo>
                    <a:lnTo>
                      <a:pt x="4224387" y="2957363"/>
                    </a:lnTo>
                    <a:lnTo>
                      <a:pt x="4219902" y="2959214"/>
                    </a:lnTo>
                    <a:lnTo>
                      <a:pt x="4217658" y="2959646"/>
                    </a:lnTo>
                    <a:lnTo>
                      <a:pt x="4215982" y="2960306"/>
                    </a:lnTo>
                    <a:lnTo>
                      <a:pt x="4213885" y="2963276"/>
                    </a:lnTo>
                    <a:lnTo>
                      <a:pt x="4211790" y="2963950"/>
                    </a:lnTo>
                    <a:lnTo>
                      <a:pt x="4202499" y="2964657"/>
                    </a:lnTo>
                    <a:lnTo>
                      <a:pt x="4198549" y="2966611"/>
                    </a:lnTo>
                    <a:lnTo>
                      <a:pt x="4195030" y="2970555"/>
                    </a:lnTo>
                    <a:lnTo>
                      <a:pt x="4193039" y="2966985"/>
                    </a:lnTo>
                    <a:lnTo>
                      <a:pt x="4189749" y="2966564"/>
                    </a:lnTo>
                    <a:lnTo>
                      <a:pt x="4186175" y="2968154"/>
                    </a:lnTo>
                    <a:lnTo>
                      <a:pt x="4183328" y="2970523"/>
                    </a:lnTo>
                    <a:lnTo>
                      <a:pt x="4181799" y="2973881"/>
                    </a:lnTo>
                    <a:lnTo>
                      <a:pt x="4180969" y="2981899"/>
                    </a:lnTo>
                    <a:lnTo>
                      <a:pt x="4180178" y="2984217"/>
                    </a:lnTo>
                    <a:lnTo>
                      <a:pt x="4177692" y="2984460"/>
                    </a:lnTo>
                    <a:lnTo>
                      <a:pt x="4175360" y="2982042"/>
                    </a:lnTo>
                    <a:lnTo>
                      <a:pt x="4173516" y="2978658"/>
                    </a:lnTo>
                    <a:lnTo>
                      <a:pt x="4172545" y="2976042"/>
                    </a:lnTo>
                    <a:lnTo>
                      <a:pt x="4172128" y="2973155"/>
                    </a:lnTo>
                    <a:lnTo>
                      <a:pt x="4172166" y="2969663"/>
                    </a:lnTo>
                    <a:lnTo>
                      <a:pt x="4172656" y="2965947"/>
                    </a:lnTo>
                    <a:lnTo>
                      <a:pt x="4173570" y="2962369"/>
                    </a:lnTo>
                    <a:lnTo>
                      <a:pt x="4170730" y="2962401"/>
                    </a:lnTo>
                    <a:lnTo>
                      <a:pt x="4166624" y="2963113"/>
                    </a:lnTo>
                    <a:lnTo>
                      <a:pt x="4162780" y="2964458"/>
                    </a:lnTo>
                    <a:lnTo>
                      <a:pt x="4160770" y="2966390"/>
                    </a:lnTo>
                    <a:lnTo>
                      <a:pt x="4161254" y="2969212"/>
                    </a:lnTo>
                    <a:lnTo>
                      <a:pt x="4165475" y="2975008"/>
                    </a:lnTo>
                    <a:lnTo>
                      <a:pt x="4166487" y="2977937"/>
                    </a:lnTo>
                    <a:lnTo>
                      <a:pt x="4166625" y="2980048"/>
                    </a:lnTo>
                    <a:lnTo>
                      <a:pt x="4167313" y="2983585"/>
                    </a:lnTo>
                    <a:lnTo>
                      <a:pt x="4167464" y="2985655"/>
                    </a:lnTo>
                    <a:lnTo>
                      <a:pt x="4167614" y="2986601"/>
                    </a:lnTo>
                    <a:lnTo>
                      <a:pt x="4168262" y="2988011"/>
                    </a:lnTo>
                    <a:lnTo>
                      <a:pt x="4168405" y="2988860"/>
                    </a:lnTo>
                    <a:lnTo>
                      <a:pt x="4168077" y="2990056"/>
                    </a:lnTo>
                    <a:lnTo>
                      <a:pt x="4167359" y="2990628"/>
                    </a:lnTo>
                    <a:lnTo>
                      <a:pt x="4166651" y="2991014"/>
                    </a:lnTo>
                    <a:lnTo>
                      <a:pt x="4166330" y="2991619"/>
                    </a:lnTo>
                    <a:lnTo>
                      <a:pt x="4164556" y="2994233"/>
                    </a:lnTo>
                    <a:lnTo>
                      <a:pt x="4161292" y="2997886"/>
                    </a:lnTo>
                    <a:lnTo>
                      <a:pt x="4159554" y="3001277"/>
                    </a:lnTo>
                    <a:lnTo>
                      <a:pt x="4162370" y="3003156"/>
                    </a:lnTo>
                    <a:lnTo>
                      <a:pt x="4161937" y="3005355"/>
                    </a:lnTo>
                    <a:lnTo>
                      <a:pt x="4161843" y="3007328"/>
                    </a:lnTo>
                    <a:lnTo>
                      <a:pt x="4161612" y="3009099"/>
                    </a:lnTo>
                    <a:lnTo>
                      <a:pt x="4160770" y="3010674"/>
                    </a:lnTo>
                    <a:lnTo>
                      <a:pt x="4160272" y="3011320"/>
                    </a:lnTo>
                    <a:lnTo>
                      <a:pt x="4159753" y="3012248"/>
                    </a:lnTo>
                    <a:lnTo>
                      <a:pt x="4159313" y="3012756"/>
                    </a:lnTo>
                    <a:lnTo>
                      <a:pt x="4158731" y="3013118"/>
                    </a:lnTo>
                    <a:lnTo>
                      <a:pt x="4157144" y="3013622"/>
                    </a:lnTo>
                    <a:lnTo>
                      <a:pt x="4156368" y="3014104"/>
                    </a:lnTo>
                    <a:lnTo>
                      <a:pt x="4153955" y="3016499"/>
                    </a:lnTo>
                    <a:lnTo>
                      <a:pt x="4151372" y="3019766"/>
                    </a:lnTo>
                    <a:lnTo>
                      <a:pt x="4149771" y="3023256"/>
                    </a:lnTo>
                    <a:lnTo>
                      <a:pt x="4150327" y="3026301"/>
                    </a:lnTo>
                    <a:lnTo>
                      <a:pt x="4136717" y="3028469"/>
                    </a:lnTo>
                    <a:lnTo>
                      <a:pt x="4133543" y="3027477"/>
                    </a:lnTo>
                    <a:lnTo>
                      <a:pt x="4135439" y="3025898"/>
                    </a:lnTo>
                    <a:lnTo>
                      <a:pt x="4138541" y="3022383"/>
                    </a:lnTo>
                    <a:lnTo>
                      <a:pt x="4140508" y="3020838"/>
                    </a:lnTo>
                    <a:lnTo>
                      <a:pt x="4135951" y="3021126"/>
                    </a:lnTo>
                    <a:lnTo>
                      <a:pt x="4131659" y="3022158"/>
                    </a:lnTo>
                    <a:lnTo>
                      <a:pt x="4133889" y="3019271"/>
                    </a:lnTo>
                    <a:lnTo>
                      <a:pt x="4138269" y="3018084"/>
                    </a:lnTo>
                    <a:lnTo>
                      <a:pt x="4142783" y="3018630"/>
                    </a:lnTo>
                    <a:lnTo>
                      <a:pt x="4145403" y="3020858"/>
                    </a:lnTo>
                    <a:lnTo>
                      <a:pt x="4148367" y="3019389"/>
                    </a:lnTo>
                    <a:lnTo>
                      <a:pt x="4148176" y="3017932"/>
                    </a:lnTo>
                    <a:lnTo>
                      <a:pt x="4148609" y="3016671"/>
                    </a:lnTo>
                    <a:lnTo>
                      <a:pt x="4149549" y="3015777"/>
                    </a:lnTo>
                    <a:lnTo>
                      <a:pt x="4150920" y="3015443"/>
                    </a:lnTo>
                    <a:lnTo>
                      <a:pt x="4151841" y="3014985"/>
                    </a:lnTo>
                    <a:lnTo>
                      <a:pt x="4150747" y="3013969"/>
                    </a:lnTo>
                    <a:lnTo>
                      <a:pt x="4146072" y="3011563"/>
                    </a:lnTo>
                    <a:lnTo>
                      <a:pt x="4140965" y="3009940"/>
                    </a:lnTo>
                    <a:lnTo>
                      <a:pt x="4138636" y="3008481"/>
                    </a:lnTo>
                    <a:lnTo>
                      <a:pt x="4141311" y="3006227"/>
                    </a:lnTo>
                    <a:lnTo>
                      <a:pt x="4149668" y="3001869"/>
                    </a:lnTo>
                    <a:lnTo>
                      <a:pt x="4147299" y="2999870"/>
                    </a:lnTo>
                    <a:lnTo>
                      <a:pt x="4146181" y="2998433"/>
                    </a:lnTo>
                    <a:lnTo>
                      <a:pt x="4145296" y="2995105"/>
                    </a:lnTo>
                    <a:lnTo>
                      <a:pt x="4144303" y="2994858"/>
                    </a:lnTo>
                    <a:lnTo>
                      <a:pt x="4143290" y="2994805"/>
                    </a:lnTo>
                    <a:lnTo>
                      <a:pt x="4142853" y="2993566"/>
                    </a:lnTo>
                    <a:lnTo>
                      <a:pt x="4143420" y="2991724"/>
                    </a:lnTo>
                    <a:lnTo>
                      <a:pt x="4147410" y="2984827"/>
                    </a:lnTo>
                    <a:lnTo>
                      <a:pt x="4150966" y="2981324"/>
                    </a:lnTo>
                    <a:lnTo>
                      <a:pt x="4151127" y="2979699"/>
                    </a:lnTo>
                    <a:lnTo>
                      <a:pt x="4148932" y="2977192"/>
                    </a:lnTo>
                    <a:lnTo>
                      <a:pt x="4146630" y="2975776"/>
                    </a:lnTo>
                    <a:lnTo>
                      <a:pt x="4140261" y="2973469"/>
                    </a:lnTo>
                    <a:lnTo>
                      <a:pt x="4121927" y="2971612"/>
                    </a:lnTo>
                    <a:lnTo>
                      <a:pt x="4119725" y="2971900"/>
                    </a:lnTo>
                    <a:lnTo>
                      <a:pt x="4118421" y="2973802"/>
                    </a:lnTo>
                    <a:lnTo>
                      <a:pt x="4117506" y="2978406"/>
                    </a:lnTo>
                    <a:lnTo>
                      <a:pt x="4118483" y="2981298"/>
                    </a:lnTo>
                    <a:lnTo>
                      <a:pt x="4118736" y="2983118"/>
                    </a:lnTo>
                    <a:lnTo>
                      <a:pt x="4117950" y="2983963"/>
                    </a:lnTo>
                    <a:lnTo>
                      <a:pt x="4111085" y="2985407"/>
                    </a:lnTo>
                    <a:lnTo>
                      <a:pt x="4108467" y="2984107"/>
                    </a:lnTo>
                    <a:lnTo>
                      <a:pt x="4103956" y="2978884"/>
                    </a:lnTo>
                    <a:lnTo>
                      <a:pt x="4100913" y="2978317"/>
                    </a:lnTo>
                    <a:lnTo>
                      <a:pt x="4100886" y="2979796"/>
                    </a:lnTo>
                    <a:lnTo>
                      <a:pt x="4101970" y="2980636"/>
                    </a:lnTo>
                    <a:lnTo>
                      <a:pt x="4102213" y="2981647"/>
                    </a:lnTo>
                    <a:lnTo>
                      <a:pt x="4101862" y="2984605"/>
                    </a:lnTo>
                    <a:lnTo>
                      <a:pt x="4101265" y="2986454"/>
                    </a:lnTo>
                    <a:lnTo>
                      <a:pt x="4099923" y="2986510"/>
                    </a:lnTo>
                    <a:lnTo>
                      <a:pt x="4096079" y="2984758"/>
                    </a:lnTo>
                    <a:lnTo>
                      <a:pt x="4094932" y="2983570"/>
                    </a:lnTo>
                    <a:lnTo>
                      <a:pt x="4093673" y="2982544"/>
                    </a:lnTo>
                    <a:lnTo>
                      <a:pt x="4092051" y="2982455"/>
                    </a:lnTo>
                    <a:lnTo>
                      <a:pt x="4091235" y="2983355"/>
                    </a:lnTo>
                    <a:lnTo>
                      <a:pt x="4089962" y="2986630"/>
                    </a:lnTo>
                    <a:lnTo>
                      <a:pt x="4089016" y="2987870"/>
                    </a:lnTo>
                    <a:lnTo>
                      <a:pt x="4092844" y="2994744"/>
                    </a:lnTo>
                    <a:lnTo>
                      <a:pt x="4092424" y="2996594"/>
                    </a:lnTo>
                    <a:lnTo>
                      <a:pt x="4087852" y="2997238"/>
                    </a:lnTo>
                    <a:lnTo>
                      <a:pt x="4084636" y="2996110"/>
                    </a:lnTo>
                    <a:lnTo>
                      <a:pt x="4083393" y="2996183"/>
                    </a:lnTo>
                    <a:lnTo>
                      <a:pt x="4082855" y="2997943"/>
                    </a:lnTo>
                    <a:lnTo>
                      <a:pt x="4083482" y="2998934"/>
                    </a:lnTo>
                    <a:lnTo>
                      <a:pt x="4087767" y="3001557"/>
                    </a:lnTo>
                    <a:lnTo>
                      <a:pt x="4083248" y="3001602"/>
                    </a:lnTo>
                    <a:lnTo>
                      <a:pt x="4081271" y="3000983"/>
                    </a:lnTo>
                    <a:lnTo>
                      <a:pt x="4079451" y="2999346"/>
                    </a:lnTo>
                    <a:lnTo>
                      <a:pt x="4078520" y="2997665"/>
                    </a:lnTo>
                    <a:lnTo>
                      <a:pt x="4077869" y="2996149"/>
                    </a:lnTo>
                    <a:lnTo>
                      <a:pt x="4076901" y="2994994"/>
                    </a:lnTo>
                    <a:lnTo>
                      <a:pt x="4075021" y="2994439"/>
                    </a:lnTo>
                    <a:lnTo>
                      <a:pt x="4075742" y="2997526"/>
                    </a:lnTo>
                    <a:lnTo>
                      <a:pt x="4076574" y="3003939"/>
                    </a:lnTo>
                    <a:lnTo>
                      <a:pt x="4077875" y="3006796"/>
                    </a:lnTo>
                    <a:lnTo>
                      <a:pt x="4073444" y="3010214"/>
                    </a:lnTo>
                    <a:lnTo>
                      <a:pt x="4062769" y="3008630"/>
                    </a:lnTo>
                    <a:lnTo>
                      <a:pt x="4060073" y="3010747"/>
                    </a:lnTo>
                    <a:lnTo>
                      <a:pt x="4060039" y="3012228"/>
                    </a:lnTo>
                    <a:lnTo>
                      <a:pt x="4046732" y="3012133"/>
                    </a:lnTo>
                    <a:lnTo>
                      <a:pt x="4040128" y="3010797"/>
                    </a:lnTo>
                    <a:lnTo>
                      <a:pt x="4036805" y="3010602"/>
                    </a:lnTo>
                    <a:lnTo>
                      <a:pt x="4033512" y="3012033"/>
                    </a:lnTo>
                    <a:lnTo>
                      <a:pt x="4035838" y="3014406"/>
                    </a:lnTo>
                    <a:lnTo>
                      <a:pt x="4044210" y="3018791"/>
                    </a:lnTo>
                    <a:lnTo>
                      <a:pt x="4044174" y="3020273"/>
                    </a:lnTo>
                    <a:lnTo>
                      <a:pt x="4040635" y="3021461"/>
                    </a:lnTo>
                    <a:lnTo>
                      <a:pt x="4034159" y="3025903"/>
                    </a:lnTo>
                    <a:lnTo>
                      <a:pt x="4031115" y="3025597"/>
                    </a:lnTo>
                    <a:lnTo>
                      <a:pt x="4031179" y="3028576"/>
                    </a:lnTo>
                    <a:lnTo>
                      <a:pt x="4031382" y="3029760"/>
                    </a:lnTo>
                    <a:lnTo>
                      <a:pt x="4032043" y="3031174"/>
                    </a:lnTo>
                    <a:lnTo>
                      <a:pt x="4030777" y="3032622"/>
                    </a:lnTo>
                    <a:lnTo>
                      <a:pt x="4029742" y="3035334"/>
                    </a:lnTo>
                    <a:lnTo>
                      <a:pt x="4029042" y="3038155"/>
                    </a:lnTo>
                    <a:lnTo>
                      <a:pt x="4028786" y="3039910"/>
                    </a:lnTo>
                    <a:lnTo>
                      <a:pt x="4027651" y="3042217"/>
                    </a:lnTo>
                    <a:lnTo>
                      <a:pt x="4025064" y="3043881"/>
                    </a:lnTo>
                    <a:lnTo>
                      <a:pt x="4019787" y="3045896"/>
                    </a:lnTo>
                    <a:lnTo>
                      <a:pt x="4017403" y="3043236"/>
                    </a:lnTo>
                    <a:lnTo>
                      <a:pt x="4012727" y="3032920"/>
                    </a:lnTo>
                    <a:lnTo>
                      <a:pt x="4011369" y="3028254"/>
                    </a:lnTo>
                    <a:lnTo>
                      <a:pt x="4011209" y="3023282"/>
                    </a:lnTo>
                    <a:lnTo>
                      <a:pt x="4010794" y="3019894"/>
                    </a:lnTo>
                    <a:lnTo>
                      <a:pt x="4008706" y="3019989"/>
                    </a:lnTo>
                    <a:lnTo>
                      <a:pt x="4006551" y="3022902"/>
                    </a:lnTo>
                    <a:lnTo>
                      <a:pt x="4004564" y="3026972"/>
                    </a:lnTo>
                    <a:lnTo>
                      <a:pt x="4002092" y="3030586"/>
                    </a:lnTo>
                    <a:lnTo>
                      <a:pt x="3998415" y="3032117"/>
                    </a:lnTo>
                    <a:lnTo>
                      <a:pt x="3989950" y="3031142"/>
                    </a:lnTo>
                    <a:lnTo>
                      <a:pt x="3986141" y="3031755"/>
                    </a:lnTo>
                    <a:lnTo>
                      <a:pt x="3986608" y="3034731"/>
                    </a:lnTo>
                    <a:lnTo>
                      <a:pt x="3989927" y="3035871"/>
                    </a:lnTo>
                    <a:lnTo>
                      <a:pt x="3994865" y="3035867"/>
                    </a:lnTo>
                    <a:lnTo>
                      <a:pt x="3999336" y="3036546"/>
                    </a:lnTo>
                    <a:lnTo>
                      <a:pt x="4001195" y="3039680"/>
                    </a:lnTo>
                    <a:lnTo>
                      <a:pt x="4000207" y="3045325"/>
                    </a:lnTo>
                    <a:lnTo>
                      <a:pt x="3997852" y="3047928"/>
                    </a:lnTo>
                    <a:lnTo>
                      <a:pt x="3983470" y="3051297"/>
                    </a:lnTo>
                    <a:lnTo>
                      <a:pt x="3981106" y="3051114"/>
                    </a:lnTo>
                    <a:lnTo>
                      <a:pt x="3979636" y="3050314"/>
                    </a:lnTo>
                    <a:lnTo>
                      <a:pt x="3976464" y="3047586"/>
                    </a:lnTo>
                    <a:lnTo>
                      <a:pt x="3974888" y="3046972"/>
                    </a:lnTo>
                    <a:lnTo>
                      <a:pt x="3974126" y="3046041"/>
                    </a:lnTo>
                    <a:lnTo>
                      <a:pt x="3974573" y="3043972"/>
                    </a:lnTo>
                    <a:lnTo>
                      <a:pt x="3976012" y="3040811"/>
                    </a:lnTo>
                    <a:lnTo>
                      <a:pt x="3976786" y="3038388"/>
                    </a:lnTo>
                    <a:lnTo>
                      <a:pt x="3975570" y="3037000"/>
                    </a:lnTo>
                    <a:lnTo>
                      <a:pt x="3971753" y="3035951"/>
                    </a:lnTo>
                    <a:lnTo>
                      <a:pt x="3963492" y="3036769"/>
                    </a:lnTo>
                    <a:lnTo>
                      <a:pt x="3958304" y="3041884"/>
                    </a:lnTo>
                    <a:lnTo>
                      <a:pt x="3954015" y="3048773"/>
                    </a:lnTo>
                    <a:lnTo>
                      <a:pt x="3948427" y="3054865"/>
                    </a:lnTo>
                    <a:lnTo>
                      <a:pt x="3941507" y="3058593"/>
                    </a:lnTo>
                    <a:lnTo>
                      <a:pt x="3911263" y="3068907"/>
                    </a:lnTo>
                    <a:lnTo>
                      <a:pt x="3906515" y="3069111"/>
                    </a:lnTo>
                    <a:lnTo>
                      <a:pt x="3904473" y="3067360"/>
                    </a:lnTo>
                    <a:lnTo>
                      <a:pt x="3902781" y="3063158"/>
                    </a:lnTo>
                    <a:lnTo>
                      <a:pt x="3898579" y="3062670"/>
                    </a:lnTo>
                    <a:lnTo>
                      <a:pt x="3882466" y="3067336"/>
                    </a:lnTo>
                    <a:lnTo>
                      <a:pt x="3878514" y="3066727"/>
                    </a:lnTo>
                    <a:lnTo>
                      <a:pt x="3876981" y="3062817"/>
                    </a:lnTo>
                    <a:lnTo>
                      <a:pt x="3877436" y="3061705"/>
                    </a:lnTo>
                    <a:lnTo>
                      <a:pt x="3881730" y="3054027"/>
                    </a:lnTo>
                    <a:lnTo>
                      <a:pt x="3882164" y="3051918"/>
                    </a:lnTo>
                    <a:lnTo>
                      <a:pt x="3883033" y="3043576"/>
                    </a:lnTo>
                    <a:lnTo>
                      <a:pt x="3883457" y="3042673"/>
                    </a:lnTo>
                    <a:lnTo>
                      <a:pt x="3887281" y="3036775"/>
                    </a:lnTo>
                    <a:lnTo>
                      <a:pt x="3889000" y="3034642"/>
                    </a:lnTo>
                    <a:lnTo>
                      <a:pt x="3892564" y="3032142"/>
                    </a:lnTo>
                    <a:lnTo>
                      <a:pt x="3897163" y="3025476"/>
                    </a:lnTo>
                    <a:lnTo>
                      <a:pt x="3900257" y="3024299"/>
                    </a:lnTo>
                    <a:lnTo>
                      <a:pt x="3902845" y="3025852"/>
                    </a:lnTo>
                    <a:lnTo>
                      <a:pt x="3907298" y="3031364"/>
                    </a:lnTo>
                    <a:lnTo>
                      <a:pt x="3910766" y="3032578"/>
                    </a:lnTo>
                    <a:lnTo>
                      <a:pt x="3926418" y="3035478"/>
                    </a:lnTo>
                    <a:lnTo>
                      <a:pt x="3930855" y="3035131"/>
                    </a:lnTo>
                    <a:lnTo>
                      <a:pt x="3931922" y="3033279"/>
                    </a:lnTo>
                    <a:lnTo>
                      <a:pt x="3929931" y="3031185"/>
                    </a:lnTo>
                    <a:lnTo>
                      <a:pt x="3917301" y="3028580"/>
                    </a:lnTo>
                    <a:lnTo>
                      <a:pt x="3915401" y="3027773"/>
                    </a:lnTo>
                    <a:lnTo>
                      <a:pt x="3914004" y="3025862"/>
                    </a:lnTo>
                    <a:lnTo>
                      <a:pt x="3912753" y="3023588"/>
                    </a:lnTo>
                    <a:lnTo>
                      <a:pt x="3911229" y="3021709"/>
                    </a:lnTo>
                    <a:lnTo>
                      <a:pt x="3907807" y="3019984"/>
                    </a:lnTo>
                    <a:lnTo>
                      <a:pt x="3900878" y="3017991"/>
                    </a:lnTo>
                    <a:lnTo>
                      <a:pt x="3894879" y="3012761"/>
                    </a:lnTo>
                    <a:lnTo>
                      <a:pt x="3890511" y="3012149"/>
                    </a:lnTo>
                    <a:lnTo>
                      <a:pt x="3864188" y="3016937"/>
                    </a:lnTo>
                    <a:lnTo>
                      <a:pt x="3865144" y="3019573"/>
                    </a:lnTo>
                    <a:lnTo>
                      <a:pt x="3864531" y="3020772"/>
                    </a:lnTo>
                    <a:lnTo>
                      <a:pt x="3863205" y="3021435"/>
                    </a:lnTo>
                    <a:lnTo>
                      <a:pt x="3861986" y="3022455"/>
                    </a:lnTo>
                    <a:lnTo>
                      <a:pt x="3859237" y="3027180"/>
                    </a:lnTo>
                    <a:lnTo>
                      <a:pt x="3850866" y="3033856"/>
                    </a:lnTo>
                    <a:lnTo>
                      <a:pt x="3849584" y="3036625"/>
                    </a:lnTo>
                    <a:lnTo>
                      <a:pt x="3849929" y="3038833"/>
                    </a:lnTo>
                    <a:lnTo>
                      <a:pt x="3850870" y="3039794"/>
                    </a:lnTo>
                    <a:lnTo>
                      <a:pt x="3851836" y="3040196"/>
                    </a:lnTo>
                    <a:lnTo>
                      <a:pt x="3852264" y="3040745"/>
                    </a:lnTo>
                    <a:lnTo>
                      <a:pt x="3852075" y="3042726"/>
                    </a:lnTo>
                    <a:lnTo>
                      <a:pt x="3849893" y="3052299"/>
                    </a:lnTo>
                    <a:lnTo>
                      <a:pt x="3849694" y="3054307"/>
                    </a:lnTo>
                    <a:lnTo>
                      <a:pt x="3849653" y="3057727"/>
                    </a:lnTo>
                    <a:lnTo>
                      <a:pt x="3849377" y="3058792"/>
                    </a:lnTo>
                    <a:lnTo>
                      <a:pt x="3848523" y="3060475"/>
                    </a:lnTo>
                    <a:lnTo>
                      <a:pt x="3833314" y="3075490"/>
                    </a:lnTo>
                    <a:lnTo>
                      <a:pt x="3830788" y="3080077"/>
                    </a:lnTo>
                    <a:lnTo>
                      <a:pt x="3829482" y="3080861"/>
                    </a:lnTo>
                    <a:lnTo>
                      <a:pt x="3821441" y="3090156"/>
                    </a:lnTo>
                    <a:lnTo>
                      <a:pt x="3820881" y="3091932"/>
                    </a:lnTo>
                    <a:lnTo>
                      <a:pt x="3820608" y="3093705"/>
                    </a:lnTo>
                    <a:lnTo>
                      <a:pt x="3820069" y="3095035"/>
                    </a:lnTo>
                    <a:lnTo>
                      <a:pt x="3818666" y="3095551"/>
                    </a:lnTo>
                    <a:lnTo>
                      <a:pt x="3815347" y="3095770"/>
                    </a:lnTo>
                    <a:lnTo>
                      <a:pt x="3813916" y="3095401"/>
                    </a:lnTo>
                    <a:lnTo>
                      <a:pt x="3812268" y="3094112"/>
                    </a:lnTo>
                    <a:lnTo>
                      <a:pt x="3813461" y="3094283"/>
                    </a:lnTo>
                    <a:lnTo>
                      <a:pt x="3817207" y="3094184"/>
                    </a:lnTo>
                    <a:lnTo>
                      <a:pt x="3817277" y="3092692"/>
                    </a:lnTo>
                    <a:lnTo>
                      <a:pt x="3813204" y="3091075"/>
                    </a:lnTo>
                    <a:lnTo>
                      <a:pt x="3808385" y="3090363"/>
                    </a:lnTo>
                    <a:lnTo>
                      <a:pt x="3803561" y="3090413"/>
                    </a:lnTo>
                    <a:lnTo>
                      <a:pt x="3799474" y="3091196"/>
                    </a:lnTo>
                    <a:lnTo>
                      <a:pt x="3799413" y="3092428"/>
                    </a:lnTo>
                    <a:lnTo>
                      <a:pt x="3802824" y="3098190"/>
                    </a:lnTo>
                    <a:lnTo>
                      <a:pt x="3803360" y="3101436"/>
                    </a:lnTo>
                    <a:lnTo>
                      <a:pt x="3800852" y="3103468"/>
                    </a:lnTo>
                    <a:lnTo>
                      <a:pt x="3807603" y="3106960"/>
                    </a:lnTo>
                    <a:lnTo>
                      <a:pt x="3807947" y="3108905"/>
                    </a:lnTo>
                    <a:lnTo>
                      <a:pt x="3808907" y="3110745"/>
                    </a:lnTo>
                    <a:lnTo>
                      <a:pt x="3810174" y="3112290"/>
                    </a:lnTo>
                    <a:lnTo>
                      <a:pt x="3811353" y="3113281"/>
                    </a:lnTo>
                    <a:lnTo>
                      <a:pt x="3808838" y="3116896"/>
                    </a:lnTo>
                    <a:lnTo>
                      <a:pt x="3804565" y="3119666"/>
                    </a:lnTo>
                    <a:lnTo>
                      <a:pt x="3799879" y="3121570"/>
                    </a:lnTo>
                    <a:lnTo>
                      <a:pt x="3796049" y="3122454"/>
                    </a:lnTo>
                    <a:lnTo>
                      <a:pt x="3792899" y="3122000"/>
                    </a:lnTo>
                    <a:lnTo>
                      <a:pt x="3789375" y="3120193"/>
                    </a:lnTo>
                    <a:lnTo>
                      <a:pt x="3786289" y="3117442"/>
                    </a:lnTo>
                    <a:lnTo>
                      <a:pt x="3784486" y="3114111"/>
                    </a:lnTo>
                    <a:lnTo>
                      <a:pt x="3787358" y="3113068"/>
                    </a:lnTo>
                    <a:lnTo>
                      <a:pt x="3788511" y="3112940"/>
                    </a:lnTo>
                    <a:lnTo>
                      <a:pt x="3787507" y="3111431"/>
                    </a:lnTo>
                    <a:lnTo>
                      <a:pt x="3788880" y="3109811"/>
                    </a:lnTo>
                    <a:lnTo>
                      <a:pt x="3789881" y="3108293"/>
                    </a:lnTo>
                    <a:lnTo>
                      <a:pt x="3790531" y="3106607"/>
                    </a:lnTo>
                    <a:lnTo>
                      <a:pt x="3790810" y="3104557"/>
                    </a:lnTo>
                    <a:lnTo>
                      <a:pt x="3777309" y="3109406"/>
                    </a:lnTo>
                    <a:lnTo>
                      <a:pt x="3771467" y="3115263"/>
                    </a:lnTo>
                    <a:lnTo>
                      <a:pt x="3774173" y="3119795"/>
                    </a:lnTo>
                    <a:lnTo>
                      <a:pt x="3775704" y="3125275"/>
                    </a:lnTo>
                    <a:lnTo>
                      <a:pt x="3774902" y="3129859"/>
                    </a:lnTo>
                    <a:lnTo>
                      <a:pt x="3770616" y="3131715"/>
                    </a:lnTo>
                    <a:lnTo>
                      <a:pt x="3768386" y="3132314"/>
                    </a:lnTo>
                    <a:lnTo>
                      <a:pt x="3766225" y="3133351"/>
                    </a:lnTo>
                    <a:lnTo>
                      <a:pt x="3764143" y="3133732"/>
                    </a:lnTo>
                    <a:lnTo>
                      <a:pt x="3762109" y="3132262"/>
                    </a:lnTo>
                    <a:lnTo>
                      <a:pt x="3760928" y="3130432"/>
                    </a:lnTo>
                    <a:lnTo>
                      <a:pt x="3758967" y="3125950"/>
                    </a:lnTo>
                    <a:lnTo>
                      <a:pt x="3758165" y="3123355"/>
                    </a:lnTo>
                    <a:lnTo>
                      <a:pt x="3756717" y="3124338"/>
                    </a:lnTo>
                    <a:lnTo>
                      <a:pt x="3755441" y="3125990"/>
                    </a:lnTo>
                    <a:lnTo>
                      <a:pt x="3753283" y="3129463"/>
                    </a:lnTo>
                    <a:lnTo>
                      <a:pt x="3751580" y="3130142"/>
                    </a:lnTo>
                    <a:lnTo>
                      <a:pt x="3742842" y="3130038"/>
                    </a:lnTo>
                    <a:lnTo>
                      <a:pt x="3739022" y="3129194"/>
                    </a:lnTo>
                    <a:lnTo>
                      <a:pt x="3735792" y="3127402"/>
                    </a:lnTo>
                    <a:lnTo>
                      <a:pt x="3732977" y="3124788"/>
                    </a:lnTo>
                    <a:lnTo>
                      <a:pt x="3730419" y="3121399"/>
                    </a:lnTo>
                    <a:lnTo>
                      <a:pt x="3728519" y="3116648"/>
                    </a:lnTo>
                    <a:lnTo>
                      <a:pt x="3729972" y="3114189"/>
                    </a:lnTo>
                    <a:lnTo>
                      <a:pt x="3733453" y="3113688"/>
                    </a:lnTo>
                    <a:lnTo>
                      <a:pt x="3737641" y="3114709"/>
                    </a:lnTo>
                    <a:lnTo>
                      <a:pt x="3744414" y="3117787"/>
                    </a:lnTo>
                    <a:lnTo>
                      <a:pt x="3748152" y="3118109"/>
                    </a:lnTo>
                    <a:lnTo>
                      <a:pt x="3752581" y="3116444"/>
                    </a:lnTo>
                    <a:lnTo>
                      <a:pt x="3744629" y="3111571"/>
                    </a:lnTo>
                    <a:lnTo>
                      <a:pt x="3741991" y="3109327"/>
                    </a:lnTo>
                    <a:lnTo>
                      <a:pt x="3736071" y="3102157"/>
                    </a:lnTo>
                    <a:lnTo>
                      <a:pt x="3734611" y="3099560"/>
                    </a:lnTo>
                    <a:lnTo>
                      <a:pt x="3729514" y="3087437"/>
                    </a:lnTo>
                    <a:lnTo>
                      <a:pt x="3725906" y="3083732"/>
                    </a:lnTo>
                    <a:lnTo>
                      <a:pt x="3719654" y="3082949"/>
                    </a:lnTo>
                    <a:lnTo>
                      <a:pt x="3723999" y="3080948"/>
                    </a:lnTo>
                    <a:lnTo>
                      <a:pt x="3724733" y="3078690"/>
                    </a:lnTo>
                    <a:lnTo>
                      <a:pt x="3722543" y="3076882"/>
                    </a:lnTo>
                    <a:lnTo>
                      <a:pt x="3718064" y="3076244"/>
                    </a:lnTo>
                    <a:lnTo>
                      <a:pt x="3713579" y="3076935"/>
                    </a:lnTo>
                    <a:lnTo>
                      <a:pt x="3710166" y="3078594"/>
                    </a:lnTo>
                    <a:lnTo>
                      <a:pt x="3707254" y="3081235"/>
                    </a:lnTo>
                    <a:lnTo>
                      <a:pt x="3704239" y="3084849"/>
                    </a:lnTo>
                    <a:lnTo>
                      <a:pt x="3702265" y="3088886"/>
                    </a:lnTo>
                    <a:lnTo>
                      <a:pt x="3702073" y="3093104"/>
                    </a:lnTo>
                    <a:lnTo>
                      <a:pt x="3703763" y="3096437"/>
                    </a:lnTo>
                    <a:lnTo>
                      <a:pt x="3710366" y="3098755"/>
                    </a:lnTo>
                    <a:lnTo>
                      <a:pt x="3713987" y="3100946"/>
                    </a:lnTo>
                    <a:lnTo>
                      <a:pt x="3716550" y="3103654"/>
                    </a:lnTo>
                    <a:lnTo>
                      <a:pt x="3716339" y="3106166"/>
                    </a:lnTo>
                    <a:lnTo>
                      <a:pt x="3717862" y="3108223"/>
                    </a:lnTo>
                    <a:lnTo>
                      <a:pt x="3718266" y="3109513"/>
                    </a:lnTo>
                    <a:lnTo>
                      <a:pt x="3717627" y="3110540"/>
                    </a:lnTo>
                    <a:lnTo>
                      <a:pt x="3716018" y="3111746"/>
                    </a:lnTo>
                    <a:lnTo>
                      <a:pt x="3716022" y="3111064"/>
                    </a:lnTo>
                    <a:lnTo>
                      <a:pt x="3715372" y="3110046"/>
                    </a:lnTo>
                    <a:lnTo>
                      <a:pt x="3714422" y="3109339"/>
                    </a:lnTo>
                    <a:lnTo>
                      <a:pt x="3713593" y="3109520"/>
                    </a:lnTo>
                    <a:lnTo>
                      <a:pt x="3713073" y="3110631"/>
                    </a:lnTo>
                    <a:lnTo>
                      <a:pt x="3712988" y="3111806"/>
                    </a:lnTo>
                    <a:lnTo>
                      <a:pt x="3713019" y="3113025"/>
                    </a:lnTo>
                    <a:lnTo>
                      <a:pt x="3712809" y="3114279"/>
                    </a:lnTo>
                    <a:lnTo>
                      <a:pt x="3711687" y="3118604"/>
                    </a:lnTo>
                    <a:lnTo>
                      <a:pt x="3711303" y="3122560"/>
                    </a:lnTo>
                    <a:lnTo>
                      <a:pt x="3712345" y="3124073"/>
                    </a:lnTo>
                    <a:lnTo>
                      <a:pt x="3715478" y="3121139"/>
                    </a:lnTo>
                    <a:lnTo>
                      <a:pt x="3715645" y="3124415"/>
                    </a:lnTo>
                    <a:lnTo>
                      <a:pt x="3722081" y="3144680"/>
                    </a:lnTo>
                    <a:lnTo>
                      <a:pt x="3718513" y="3143709"/>
                    </a:lnTo>
                    <a:lnTo>
                      <a:pt x="3714079" y="3140820"/>
                    </a:lnTo>
                    <a:lnTo>
                      <a:pt x="3710071" y="3137045"/>
                    </a:lnTo>
                    <a:lnTo>
                      <a:pt x="3707745" y="3133388"/>
                    </a:lnTo>
                    <a:lnTo>
                      <a:pt x="3712800" y="3134330"/>
                    </a:lnTo>
                    <a:lnTo>
                      <a:pt x="3714120" y="3133672"/>
                    </a:lnTo>
                    <a:lnTo>
                      <a:pt x="3713932" y="3130769"/>
                    </a:lnTo>
                    <a:lnTo>
                      <a:pt x="3712421" y="3127680"/>
                    </a:lnTo>
                    <a:lnTo>
                      <a:pt x="3710120" y="3126161"/>
                    </a:lnTo>
                    <a:lnTo>
                      <a:pt x="3707524" y="3126586"/>
                    </a:lnTo>
                    <a:lnTo>
                      <a:pt x="3705990" y="3129402"/>
                    </a:lnTo>
                    <a:lnTo>
                      <a:pt x="3704479" y="3133193"/>
                    </a:lnTo>
                    <a:lnTo>
                      <a:pt x="3702716" y="3135955"/>
                    </a:lnTo>
                    <a:lnTo>
                      <a:pt x="3698423" y="3141410"/>
                    </a:lnTo>
                    <a:lnTo>
                      <a:pt x="3699130" y="3142910"/>
                    </a:lnTo>
                    <a:lnTo>
                      <a:pt x="3699327" y="3143857"/>
                    </a:lnTo>
                    <a:lnTo>
                      <a:pt x="3698712" y="3144267"/>
                    </a:lnTo>
                    <a:lnTo>
                      <a:pt x="3698065" y="3144484"/>
                    </a:lnTo>
                    <a:lnTo>
                      <a:pt x="3693857" y="3147446"/>
                    </a:lnTo>
                    <a:lnTo>
                      <a:pt x="3691660" y="3148463"/>
                    </a:lnTo>
                    <a:lnTo>
                      <a:pt x="3689362" y="3149152"/>
                    </a:lnTo>
                    <a:lnTo>
                      <a:pt x="3679539" y="3149150"/>
                    </a:lnTo>
                    <a:lnTo>
                      <a:pt x="3675629" y="3148297"/>
                    </a:lnTo>
                    <a:lnTo>
                      <a:pt x="3669573" y="3144493"/>
                    </a:lnTo>
                    <a:lnTo>
                      <a:pt x="3668701" y="3143306"/>
                    </a:lnTo>
                    <a:lnTo>
                      <a:pt x="3668439" y="3141587"/>
                    </a:lnTo>
                    <a:lnTo>
                      <a:pt x="3667753" y="3140549"/>
                    </a:lnTo>
                    <a:lnTo>
                      <a:pt x="3663245" y="3137400"/>
                    </a:lnTo>
                    <a:lnTo>
                      <a:pt x="3662448" y="3133956"/>
                    </a:lnTo>
                    <a:lnTo>
                      <a:pt x="3665642" y="3133107"/>
                    </a:lnTo>
                    <a:lnTo>
                      <a:pt x="3669463" y="3133083"/>
                    </a:lnTo>
                    <a:lnTo>
                      <a:pt x="3670522" y="3132031"/>
                    </a:lnTo>
                    <a:lnTo>
                      <a:pt x="3668121" y="3130116"/>
                    </a:lnTo>
                    <a:lnTo>
                      <a:pt x="3661998" y="3128131"/>
                    </a:lnTo>
                    <a:lnTo>
                      <a:pt x="3659511" y="3125678"/>
                    </a:lnTo>
                    <a:lnTo>
                      <a:pt x="3656178" y="3118758"/>
                    </a:lnTo>
                    <a:lnTo>
                      <a:pt x="3653896" y="3115855"/>
                    </a:lnTo>
                    <a:lnTo>
                      <a:pt x="3650757" y="3114607"/>
                    </a:lnTo>
                    <a:lnTo>
                      <a:pt x="3649076" y="3114307"/>
                    </a:lnTo>
                    <a:lnTo>
                      <a:pt x="3646031" y="3113134"/>
                    </a:lnTo>
                    <a:lnTo>
                      <a:pt x="3644380" y="3112995"/>
                    </a:lnTo>
                    <a:lnTo>
                      <a:pt x="3642304" y="3113531"/>
                    </a:lnTo>
                    <a:lnTo>
                      <a:pt x="3638387" y="3115215"/>
                    </a:lnTo>
                    <a:lnTo>
                      <a:pt x="3636204" y="3115560"/>
                    </a:lnTo>
                    <a:lnTo>
                      <a:pt x="3638245" y="3114132"/>
                    </a:lnTo>
                    <a:lnTo>
                      <a:pt x="3642515" y="3111927"/>
                    </a:lnTo>
                    <a:lnTo>
                      <a:pt x="3644548" y="3110408"/>
                    </a:lnTo>
                    <a:lnTo>
                      <a:pt x="3641590" y="3108806"/>
                    </a:lnTo>
                    <a:lnTo>
                      <a:pt x="3637605" y="3107694"/>
                    </a:lnTo>
                    <a:lnTo>
                      <a:pt x="3633852" y="3107514"/>
                    </a:lnTo>
                    <a:lnTo>
                      <a:pt x="3631613" y="3108654"/>
                    </a:lnTo>
                    <a:lnTo>
                      <a:pt x="3631139" y="3110999"/>
                    </a:lnTo>
                    <a:lnTo>
                      <a:pt x="3631463" y="3113588"/>
                    </a:lnTo>
                    <a:lnTo>
                      <a:pt x="3631992" y="3115768"/>
                    </a:lnTo>
                    <a:lnTo>
                      <a:pt x="3632151" y="3116843"/>
                    </a:lnTo>
                    <a:lnTo>
                      <a:pt x="3630302" y="3118017"/>
                    </a:lnTo>
                    <a:lnTo>
                      <a:pt x="3628566" y="3117283"/>
                    </a:lnTo>
                    <a:lnTo>
                      <a:pt x="3625395" y="3114099"/>
                    </a:lnTo>
                    <a:lnTo>
                      <a:pt x="3625213" y="3117085"/>
                    </a:lnTo>
                    <a:lnTo>
                      <a:pt x="3626094" y="3118963"/>
                    </a:lnTo>
                    <a:lnTo>
                      <a:pt x="3627777" y="3119769"/>
                    </a:lnTo>
                    <a:lnTo>
                      <a:pt x="3629990" y="3119522"/>
                    </a:lnTo>
                    <a:lnTo>
                      <a:pt x="3627604" y="3126110"/>
                    </a:lnTo>
                    <a:lnTo>
                      <a:pt x="3629013" y="3131404"/>
                    </a:lnTo>
                    <a:lnTo>
                      <a:pt x="3633251" y="3134943"/>
                    </a:lnTo>
                    <a:lnTo>
                      <a:pt x="3641953" y="3136986"/>
                    </a:lnTo>
                    <a:lnTo>
                      <a:pt x="3645342" y="3138661"/>
                    </a:lnTo>
                    <a:lnTo>
                      <a:pt x="3648499" y="3140918"/>
                    </a:lnTo>
                    <a:lnTo>
                      <a:pt x="3650368" y="3143360"/>
                    </a:lnTo>
                    <a:lnTo>
                      <a:pt x="3650622" y="3147241"/>
                    </a:lnTo>
                    <a:lnTo>
                      <a:pt x="3648610" y="3149811"/>
                    </a:lnTo>
                    <a:lnTo>
                      <a:pt x="3637724" y="3154604"/>
                    </a:lnTo>
                    <a:lnTo>
                      <a:pt x="3632200" y="3158851"/>
                    </a:lnTo>
                    <a:lnTo>
                      <a:pt x="3627836" y="3160552"/>
                    </a:lnTo>
                    <a:lnTo>
                      <a:pt x="3622946" y="3166080"/>
                    </a:lnTo>
                    <a:lnTo>
                      <a:pt x="3619949" y="3167312"/>
                    </a:lnTo>
                    <a:lnTo>
                      <a:pt x="3616095" y="3168160"/>
                    </a:lnTo>
                    <a:lnTo>
                      <a:pt x="3609515" y="3171986"/>
                    </a:lnTo>
                    <a:lnTo>
                      <a:pt x="3606475" y="3172475"/>
                    </a:lnTo>
                    <a:lnTo>
                      <a:pt x="3604229" y="3171128"/>
                    </a:lnTo>
                    <a:lnTo>
                      <a:pt x="3602923" y="3168595"/>
                    </a:lnTo>
                    <a:lnTo>
                      <a:pt x="3601796" y="3165612"/>
                    </a:lnTo>
                    <a:lnTo>
                      <a:pt x="3600080" y="3162794"/>
                    </a:lnTo>
                    <a:lnTo>
                      <a:pt x="3607294" y="3159367"/>
                    </a:lnTo>
                    <a:lnTo>
                      <a:pt x="3609571" y="3157535"/>
                    </a:lnTo>
                    <a:lnTo>
                      <a:pt x="3610005" y="3156569"/>
                    </a:lnTo>
                    <a:lnTo>
                      <a:pt x="3610122" y="3154320"/>
                    </a:lnTo>
                    <a:lnTo>
                      <a:pt x="3610762" y="3153341"/>
                    </a:lnTo>
                    <a:lnTo>
                      <a:pt x="3612182" y="3152517"/>
                    </a:lnTo>
                    <a:lnTo>
                      <a:pt x="3613671" y="3152117"/>
                    </a:lnTo>
                    <a:lnTo>
                      <a:pt x="3615217" y="3152067"/>
                    </a:lnTo>
                    <a:lnTo>
                      <a:pt x="3616807" y="3152222"/>
                    </a:lnTo>
                    <a:lnTo>
                      <a:pt x="3614533" y="3149354"/>
                    </a:lnTo>
                    <a:lnTo>
                      <a:pt x="3607375" y="3150848"/>
                    </a:lnTo>
                    <a:lnTo>
                      <a:pt x="3607329" y="3146570"/>
                    </a:lnTo>
                    <a:lnTo>
                      <a:pt x="3610361" y="3141431"/>
                    </a:lnTo>
                    <a:lnTo>
                      <a:pt x="3613536" y="3143057"/>
                    </a:lnTo>
                    <a:lnTo>
                      <a:pt x="3617011" y="3146007"/>
                    </a:lnTo>
                    <a:lnTo>
                      <a:pt x="3620914" y="3144754"/>
                    </a:lnTo>
                    <a:lnTo>
                      <a:pt x="3622492" y="3141064"/>
                    </a:lnTo>
                    <a:lnTo>
                      <a:pt x="3617518" y="3136931"/>
                    </a:lnTo>
                    <a:lnTo>
                      <a:pt x="3616245" y="3132313"/>
                    </a:lnTo>
                    <a:lnTo>
                      <a:pt x="3615994" y="3122703"/>
                    </a:lnTo>
                    <a:lnTo>
                      <a:pt x="3615170" y="3120144"/>
                    </a:lnTo>
                    <a:lnTo>
                      <a:pt x="3613489" y="3117825"/>
                    </a:lnTo>
                    <a:lnTo>
                      <a:pt x="3612690" y="3115761"/>
                    </a:lnTo>
                    <a:lnTo>
                      <a:pt x="3614515" y="3113874"/>
                    </a:lnTo>
                    <a:lnTo>
                      <a:pt x="3614615" y="3112390"/>
                    </a:lnTo>
                    <a:lnTo>
                      <a:pt x="3613587" y="3112474"/>
                    </a:lnTo>
                    <a:lnTo>
                      <a:pt x="3612936" y="3112087"/>
                    </a:lnTo>
                    <a:lnTo>
                      <a:pt x="3612377" y="3111515"/>
                    </a:lnTo>
                    <a:lnTo>
                      <a:pt x="3611653" y="3110972"/>
                    </a:lnTo>
                    <a:lnTo>
                      <a:pt x="3639329" y="3099276"/>
                    </a:lnTo>
                    <a:lnTo>
                      <a:pt x="3658127" y="3086758"/>
                    </a:lnTo>
                    <a:lnTo>
                      <a:pt x="3662920" y="3087484"/>
                    </a:lnTo>
                    <a:lnTo>
                      <a:pt x="3660294" y="3088439"/>
                    </a:lnTo>
                    <a:lnTo>
                      <a:pt x="3657007" y="3090404"/>
                    </a:lnTo>
                    <a:lnTo>
                      <a:pt x="3653830" y="3092907"/>
                    </a:lnTo>
                    <a:lnTo>
                      <a:pt x="3651543" y="3095427"/>
                    </a:lnTo>
                    <a:lnTo>
                      <a:pt x="3649810" y="3099550"/>
                    </a:lnTo>
                    <a:lnTo>
                      <a:pt x="3651712" y="3100562"/>
                    </a:lnTo>
                    <a:lnTo>
                      <a:pt x="3661962" y="3099552"/>
                    </a:lnTo>
                    <a:lnTo>
                      <a:pt x="3663130" y="3099745"/>
                    </a:lnTo>
                    <a:lnTo>
                      <a:pt x="3663213" y="3100104"/>
                    </a:lnTo>
                    <a:lnTo>
                      <a:pt x="3663589" y="3100947"/>
                    </a:lnTo>
                    <a:lnTo>
                      <a:pt x="3664200" y="3101844"/>
                    </a:lnTo>
                    <a:lnTo>
                      <a:pt x="3664944" y="3102386"/>
                    </a:lnTo>
                    <a:lnTo>
                      <a:pt x="3666230" y="3102191"/>
                    </a:lnTo>
                    <a:lnTo>
                      <a:pt x="3676063" y="3098263"/>
                    </a:lnTo>
                    <a:lnTo>
                      <a:pt x="3679214" y="3096179"/>
                    </a:lnTo>
                    <a:lnTo>
                      <a:pt x="3685534" y="3090510"/>
                    </a:lnTo>
                    <a:lnTo>
                      <a:pt x="3683382" y="3087272"/>
                    </a:lnTo>
                    <a:lnTo>
                      <a:pt x="3677803" y="3086900"/>
                    </a:lnTo>
                    <a:lnTo>
                      <a:pt x="3676937" y="3082915"/>
                    </a:lnTo>
                    <a:lnTo>
                      <a:pt x="3691119" y="3078475"/>
                    </a:lnTo>
                    <a:lnTo>
                      <a:pt x="3692006" y="3076657"/>
                    </a:lnTo>
                    <a:lnTo>
                      <a:pt x="3700476" y="3074525"/>
                    </a:lnTo>
                    <a:lnTo>
                      <a:pt x="3703940" y="3072528"/>
                    </a:lnTo>
                    <a:lnTo>
                      <a:pt x="3713144" y="3064671"/>
                    </a:lnTo>
                    <a:lnTo>
                      <a:pt x="3715016" y="3060966"/>
                    </a:lnTo>
                    <a:lnTo>
                      <a:pt x="3715797" y="3064499"/>
                    </a:lnTo>
                    <a:lnTo>
                      <a:pt x="3718665" y="3066764"/>
                    </a:lnTo>
                    <a:lnTo>
                      <a:pt x="3722317" y="3067908"/>
                    </a:lnTo>
                    <a:lnTo>
                      <a:pt x="3725439" y="3068092"/>
                    </a:lnTo>
                    <a:lnTo>
                      <a:pt x="3727749" y="3067516"/>
                    </a:lnTo>
                    <a:lnTo>
                      <a:pt x="3729320" y="3066464"/>
                    </a:lnTo>
                    <a:lnTo>
                      <a:pt x="3732647" y="3062767"/>
                    </a:lnTo>
                    <a:lnTo>
                      <a:pt x="3733691" y="3062364"/>
                    </a:lnTo>
                    <a:lnTo>
                      <a:pt x="3734755" y="3062625"/>
                    </a:lnTo>
                    <a:lnTo>
                      <a:pt x="3735797" y="3062586"/>
                    </a:lnTo>
                    <a:lnTo>
                      <a:pt x="3736747" y="3061345"/>
                    </a:lnTo>
                    <a:lnTo>
                      <a:pt x="3736957" y="3060344"/>
                    </a:lnTo>
                    <a:lnTo>
                      <a:pt x="3736996" y="3059014"/>
                    </a:lnTo>
                    <a:lnTo>
                      <a:pt x="3736836" y="3057877"/>
                    </a:lnTo>
                    <a:lnTo>
                      <a:pt x="3736475" y="3057392"/>
                    </a:lnTo>
                    <a:lnTo>
                      <a:pt x="3734673" y="3055877"/>
                    </a:lnTo>
                    <a:lnTo>
                      <a:pt x="3735367" y="3052606"/>
                    </a:lnTo>
                    <a:lnTo>
                      <a:pt x="3735516" y="3049341"/>
                    </a:lnTo>
                    <a:lnTo>
                      <a:pt x="3732055" y="3047790"/>
                    </a:lnTo>
                    <a:lnTo>
                      <a:pt x="3727999" y="3047913"/>
                    </a:lnTo>
                    <a:lnTo>
                      <a:pt x="3724235" y="3049761"/>
                    </a:lnTo>
                    <a:lnTo>
                      <a:pt x="3721395" y="3052419"/>
                    </a:lnTo>
                    <a:lnTo>
                      <a:pt x="3718266" y="3055712"/>
                    </a:lnTo>
                    <a:lnTo>
                      <a:pt x="3720934" y="3051186"/>
                    </a:lnTo>
                    <a:lnTo>
                      <a:pt x="3722988" y="3049738"/>
                    </a:lnTo>
                    <a:lnTo>
                      <a:pt x="3725231" y="3048052"/>
                    </a:lnTo>
                    <a:lnTo>
                      <a:pt x="3729139" y="3045583"/>
                    </a:lnTo>
                    <a:lnTo>
                      <a:pt x="3778105" y="2998783"/>
                    </a:lnTo>
                    <a:lnTo>
                      <a:pt x="3789525" y="2994001"/>
                    </a:lnTo>
                    <a:lnTo>
                      <a:pt x="3792349" y="2991762"/>
                    </a:lnTo>
                    <a:lnTo>
                      <a:pt x="3798014" y="2985934"/>
                    </a:lnTo>
                    <a:lnTo>
                      <a:pt x="3800304" y="2984787"/>
                    </a:lnTo>
                    <a:lnTo>
                      <a:pt x="3804128" y="2984101"/>
                    </a:lnTo>
                    <a:lnTo>
                      <a:pt x="3824341" y="2973042"/>
                    </a:lnTo>
                    <a:lnTo>
                      <a:pt x="3826543" y="2970866"/>
                    </a:lnTo>
                    <a:lnTo>
                      <a:pt x="3837172" y="2963489"/>
                    </a:lnTo>
                    <a:lnTo>
                      <a:pt x="3841011" y="2961586"/>
                    </a:lnTo>
                    <a:lnTo>
                      <a:pt x="3844790" y="2960394"/>
                    </a:lnTo>
                    <a:lnTo>
                      <a:pt x="3856961" y="2959057"/>
                    </a:lnTo>
                    <a:lnTo>
                      <a:pt x="3863956" y="2956345"/>
                    </a:lnTo>
                    <a:lnTo>
                      <a:pt x="3880546" y="2953142"/>
                    </a:lnTo>
                    <a:lnTo>
                      <a:pt x="3890362" y="2949484"/>
                    </a:lnTo>
                    <a:lnTo>
                      <a:pt x="3900228" y="2948054"/>
                    </a:lnTo>
                    <a:lnTo>
                      <a:pt x="3901879" y="2947322"/>
                    </a:lnTo>
                    <a:lnTo>
                      <a:pt x="3904937" y="2945225"/>
                    </a:lnTo>
                    <a:lnTo>
                      <a:pt x="3933899" y="2937463"/>
                    </a:lnTo>
                    <a:lnTo>
                      <a:pt x="3923750" y="2941527"/>
                    </a:lnTo>
                    <a:lnTo>
                      <a:pt x="3919091" y="2943453"/>
                    </a:lnTo>
                    <a:lnTo>
                      <a:pt x="3916826" y="2944930"/>
                    </a:lnTo>
                    <a:lnTo>
                      <a:pt x="3903222" y="2949302"/>
                    </a:lnTo>
                    <a:lnTo>
                      <a:pt x="3926114" y="2949571"/>
                    </a:lnTo>
                    <a:lnTo>
                      <a:pt x="3931202" y="2950777"/>
                    </a:lnTo>
                    <a:lnTo>
                      <a:pt x="3933494" y="2950794"/>
                    </a:lnTo>
                    <a:lnTo>
                      <a:pt x="3935958" y="2949076"/>
                    </a:lnTo>
                    <a:lnTo>
                      <a:pt x="3937929" y="2948588"/>
                    </a:lnTo>
                    <a:lnTo>
                      <a:pt x="3945123" y="2952619"/>
                    </a:lnTo>
                    <a:lnTo>
                      <a:pt x="3947892" y="2952697"/>
                    </a:lnTo>
                    <a:lnTo>
                      <a:pt x="3949905" y="2951756"/>
                    </a:lnTo>
                    <a:lnTo>
                      <a:pt x="3954019" y="2948639"/>
                    </a:lnTo>
                    <a:lnTo>
                      <a:pt x="3961432" y="2945855"/>
                    </a:lnTo>
                    <a:lnTo>
                      <a:pt x="3963426" y="2943936"/>
                    </a:lnTo>
                    <a:lnTo>
                      <a:pt x="3965453" y="2943108"/>
                    </a:lnTo>
                    <a:lnTo>
                      <a:pt x="3973762" y="2942625"/>
                    </a:lnTo>
                    <a:lnTo>
                      <a:pt x="3973948" y="2948865"/>
                    </a:lnTo>
                    <a:lnTo>
                      <a:pt x="3974438" y="2952022"/>
                    </a:lnTo>
                    <a:lnTo>
                      <a:pt x="3975336" y="2954286"/>
                    </a:lnTo>
                    <a:lnTo>
                      <a:pt x="3969698" y="2954223"/>
                    </a:lnTo>
                    <a:lnTo>
                      <a:pt x="3963974" y="2953212"/>
                    </a:lnTo>
                    <a:lnTo>
                      <a:pt x="3958411" y="2953535"/>
                    </a:lnTo>
                    <a:lnTo>
                      <a:pt x="3953278" y="2957403"/>
                    </a:lnTo>
                    <a:lnTo>
                      <a:pt x="3951785" y="2960329"/>
                    </a:lnTo>
                    <a:lnTo>
                      <a:pt x="3951811" y="2962738"/>
                    </a:lnTo>
                    <a:lnTo>
                      <a:pt x="3952860" y="2964657"/>
                    </a:lnTo>
                    <a:lnTo>
                      <a:pt x="3954395" y="2966153"/>
                    </a:lnTo>
                    <a:lnTo>
                      <a:pt x="3957324" y="2967517"/>
                    </a:lnTo>
                    <a:lnTo>
                      <a:pt x="3959871" y="2967075"/>
                    </a:lnTo>
                    <a:lnTo>
                      <a:pt x="3962399" y="2965896"/>
                    </a:lnTo>
                    <a:lnTo>
                      <a:pt x="3965237" y="2965044"/>
                    </a:lnTo>
                    <a:lnTo>
                      <a:pt x="3962901" y="2970858"/>
                    </a:lnTo>
                    <a:lnTo>
                      <a:pt x="3961891" y="2974325"/>
                    </a:lnTo>
                    <a:lnTo>
                      <a:pt x="3962363" y="2975866"/>
                    </a:lnTo>
                    <a:lnTo>
                      <a:pt x="3964595" y="2976568"/>
                    </a:lnTo>
                    <a:lnTo>
                      <a:pt x="3966753" y="2978214"/>
                    </a:lnTo>
                    <a:lnTo>
                      <a:pt x="3979833" y="2993153"/>
                    </a:lnTo>
                    <a:lnTo>
                      <a:pt x="3982744" y="2997905"/>
                    </a:lnTo>
                    <a:lnTo>
                      <a:pt x="3985427" y="2990843"/>
                    </a:lnTo>
                    <a:lnTo>
                      <a:pt x="3987429" y="2989375"/>
                    </a:lnTo>
                    <a:lnTo>
                      <a:pt x="3990354" y="2991860"/>
                    </a:lnTo>
                    <a:lnTo>
                      <a:pt x="3994519" y="2996533"/>
                    </a:lnTo>
                    <a:lnTo>
                      <a:pt x="3996969" y="3000463"/>
                    </a:lnTo>
                    <a:lnTo>
                      <a:pt x="3998320" y="3001528"/>
                    </a:lnTo>
                    <a:lnTo>
                      <a:pt x="4000350" y="3000906"/>
                    </a:lnTo>
                    <a:lnTo>
                      <a:pt x="4000346" y="3000008"/>
                    </a:lnTo>
                    <a:lnTo>
                      <a:pt x="4002054" y="2995217"/>
                    </a:lnTo>
                    <a:lnTo>
                      <a:pt x="4002490" y="2994623"/>
                    </a:lnTo>
                    <a:lnTo>
                      <a:pt x="4001947" y="2992385"/>
                    </a:lnTo>
                    <a:lnTo>
                      <a:pt x="4000511" y="2991757"/>
                    </a:lnTo>
                    <a:lnTo>
                      <a:pt x="3998752" y="2991548"/>
                    </a:lnTo>
                    <a:lnTo>
                      <a:pt x="3997230" y="2990563"/>
                    </a:lnTo>
                    <a:lnTo>
                      <a:pt x="3996170" y="2989195"/>
                    </a:lnTo>
                    <a:lnTo>
                      <a:pt x="3993631" y="2986875"/>
                    </a:lnTo>
                    <a:lnTo>
                      <a:pt x="3989232" y="2983907"/>
                    </a:lnTo>
                    <a:lnTo>
                      <a:pt x="3988263" y="2980193"/>
                    </a:lnTo>
                    <a:lnTo>
                      <a:pt x="3986950" y="2971883"/>
                    </a:lnTo>
                    <a:lnTo>
                      <a:pt x="3986034" y="2968067"/>
                    </a:lnTo>
                    <a:lnTo>
                      <a:pt x="3984254" y="2966449"/>
                    </a:lnTo>
                    <a:lnTo>
                      <a:pt x="3983694" y="2966105"/>
                    </a:lnTo>
                    <a:lnTo>
                      <a:pt x="3983806" y="2965305"/>
                    </a:lnTo>
                    <a:lnTo>
                      <a:pt x="3984299" y="2964453"/>
                    </a:lnTo>
                    <a:lnTo>
                      <a:pt x="3984861" y="2963876"/>
                    </a:lnTo>
                    <a:lnTo>
                      <a:pt x="3985873" y="2963692"/>
                    </a:lnTo>
                    <a:lnTo>
                      <a:pt x="3986857" y="2964121"/>
                    </a:lnTo>
                    <a:lnTo>
                      <a:pt x="3988717" y="2965271"/>
                    </a:lnTo>
                    <a:lnTo>
                      <a:pt x="3995366" y="2968032"/>
                    </a:lnTo>
                    <a:lnTo>
                      <a:pt x="3999399" y="2968861"/>
                    </a:lnTo>
                    <a:lnTo>
                      <a:pt x="4024642" y="2967556"/>
                    </a:lnTo>
                    <a:lnTo>
                      <a:pt x="4025811" y="2969651"/>
                    </a:lnTo>
                    <a:lnTo>
                      <a:pt x="4029193" y="2971497"/>
                    </a:lnTo>
                    <a:lnTo>
                      <a:pt x="4029397" y="2973852"/>
                    </a:lnTo>
                    <a:lnTo>
                      <a:pt x="4028727" y="2976823"/>
                    </a:lnTo>
                    <a:lnTo>
                      <a:pt x="4029432" y="2980548"/>
                    </a:lnTo>
                    <a:lnTo>
                      <a:pt x="4031684" y="2982378"/>
                    </a:lnTo>
                    <a:lnTo>
                      <a:pt x="4034275" y="2981427"/>
                    </a:lnTo>
                    <a:lnTo>
                      <a:pt x="4037133" y="2979735"/>
                    </a:lnTo>
                    <a:lnTo>
                      <a:pt x="4040196" y="2979394"/>
                    </a:lnTo>
                    <a:lnTo>
                      <a:pt x="4041085" y="2980129"/>
                    </a:lnTo>
                    <a:lnTo>
                      <a:pt x="4042190" y="2982539"/>
                    </a:lnTo>
                    <a:lnTo>
                      <a:pt x="4043027" y="2983491"/>
                    </a:lnTo>
                    <a:lnTo>
                      <a:pt x="4044663" y="2984240"/>
                    </a:lnTo>
                    <a:lnTo>
                      <a:pt x="4053117" y="2985773"/>
                    </a:lnTo>
                    <a:lnTo>
                      <a:pt x="4056080" y="2986765"/>
                    </a:lnTo>
                    <a:lnTo>
                      <a:pt x="4059104" y="2987223"/>
                    </a:lnTo>
                    <a:lnTo>
                      <a:pt x="4062583" y="2986341"/>
                    </a:lnTo>
                    <a:lnTo>
                      <a:pt x="4057576" y="2984026"/>
                    </a:lnTo>
                    <a:lnTo>
                      <a:pt x="4056310" y="2982902"/>
                    </a:lnTo>
                    <a:lnTo>
                      <a:pt x="4053404" y="2977842"/>
                    </a:lnTo>
                    <a:lnTo>
                      <a:pt x="4051984" y="2976644"/>
                    </a:lnTo>
                    <a:lnTo>
                      <a:pt x="4063748" y="2974130"/>
                    </a:lnTo>
                    <a:lnTo>
                      <a:pt x="4061858" y="2971304"/>
                    </a:lnTo>
                    <a:lnTo>
                      <a:pt x="4058789" y="2969965"/>
                    </a:lnTo>
                    <a:lnTo>
                      <a:pt x="4052177" y="2968495"/>
                    </a:lnTo>
                    <a:lnTo>
                      <a:pt x="4023770" y="2954583"/>
                    </a:lnTo>
                    <a:lnTo>
                      <a:pt x="4020917" y="2954527"/>
                    </a:lnTo>
                    <a:lnTo>
                      <a:pt x="4017241" y="2955903"/>
                    </a:lnTo>
                    <a:lnTo>
                      <a:pt x="4016392" y="2954659"/>
                    </a:lnTo>
                    <a:lnTo>
                      <a:pt x="4019290" y="2951783"/>
                    </a:lnTo>
                    <a:lnTo>
                      <a:pt x="4020646" y="2949935"/>
                    </a:lnTo>
                    <a:lnTo>
                      <a:pt x="4021447" y="2947791"/>
                    </a:lnTo>
                    <a:lnTo>
                      <a:pt x="4021412" y="2944761"/>
                    </a:lnTo>
                    <a:lnTo>
                      <a:pt x="4020256" y="2942998"/>
                    </a:lnTo>
                    <a:lnTo>
                      <a:pt x="4018237" y="2942601"/>
                    </a:lnTo>
                    <a:lnTo>
                      <a:pt x="4015634" y="2943687"/>
                    </a:lnTo>
                    <a:lnTo>
                      <a:pt x="4017414" y="2940163"/>
                    </a:lnTo>
                    <a:lnTo>
                      <a:pt x="4022698" y="2933719"/>
                    </a:lnTo>
                    <a:lnTo>
                      <a:pt x="4025107" y="2928069"/>
                    </a:lnTo>
                    <a:lnTo>
                      <a:pt x="4030931" y="2922584"/>
                    </a:lnTo>
                    <a:lnTo>
                      <a:pt x="4032973" y="2919434"/>
                    </a:lnTo>
                    <a:lnTo>
                      <a:pt x="4033377" y="2911758"/>
                    </a:lnTo>
                    <a:lnTo>
                      <a:pt x="4034283" y="2907591"/>
                    </a:lnTo>
                    <a:lnTo>
                      <a:pt x="4036719" y="2905786"/>
                    </a:lnTo>
                    <a:lnTo>
                      <a:pt x="4038163" y="2903472"/>
                    </a:lnTo>
                    <a:lnTo>
                      <a:pt x="4041961" y="2894292"/>
                    </a:lnTo>
                    <a:lnTo>
                      <a:pt x="4043313" y="2893649"/>
                    </a:lnTo>
                    <a:lnTo>
                      <a:pt x="4047110" y="2886963"/>
                    </a:lnTo>
                    <a:lnTo>
                      <a:pt x="4065994" y="2874740"/>
                    </a:lnTo>
                    <a:lnTo>
                      <a:pt x="4073069" y="2865327"/>
                    </a:lnTo>
                    <a:lnTo>
                      <a:pt x="4097534" y="2853894"/>
                    </a:lnTo>
                    <a:lnTo>
                      <a:pt x="4110240" y="2845333"/>
                    </a:lnTo>
                    <a:lnTo>
                      <a:pt x="4121729" y="2835184"/>
                    </a:lnTo>
                    <a:lnTo>
                      <a:pt x="4136206" y="2827567"/>
                    </a:lnTo>
                    <a:lnTo>
                      <a:pt x="4173282" y="2814312"/>
                    </a:lnTo>
                    <a:lnTo>
                      <a:pt x="4162575" y="2819558"/>
                    </a:lnTo>
                    <a:lnTo>
                      <a:pt x="4164149" y="2820981"/>
                    </a:lnTo>
                    <a:lnTo>
                      <a:pt x="4167059" y="2820404"/>
                    </a:lnTo>
                    <a:lnTo>
                      <a:pt x="4170518" y="2819087"/>
                    </a:lnTo>
                    <a:lnTo>
                      <a:pt x="4177002" y="2817828"/>
                    </a:lnTo>
                    <a:lnTo>
                      <a:pt x="4195596" y="2809041"/>
                    </a:lnTo>
                    <a:lnTo>
                      <a:pt x="4197927" y="2806897"/>
                    </a:lnTo>
                    <a:lnTo>
                      <a:pt x="4200649" y="2805478"/>
                    </a:lnTo>
                    <a:lnTo>
                      <a:pt x="4208745" y="2805522"/>
                    </a:lnTo>
                    <a:lnTo>
                      <a:pt x="4211866" y="2804836"/>
                    </a:lnTo>
                    <a:lnTo>
                      <a:pt x="4210132" y="2803761"/>
                    </a:lnTo>
                    <a:lnTo>
                      <a:pt x="4208247" y="2803371"/>
                    </a:lnTo>
                    <a:lnTo>
                      <a:pt x="4204223" y="2803458"/>
                    </a:lnTo>
                    <a:lnTo>
                      <a:pt x="4204232" y="2802226"/>
                    </a:lnTo>
                    <a:lnTo>
                      <a:pt x="4213231" y="2793713"/>
                    </a:lnTo>
                    <a:lnTo>
                      <a:pt x="4216663" y="2791337"/>
                    </a:lnTo>
                    <a:lnTo>
                      <a:pt x="4229137" y="2786997"/>
                    </a:lnTo>
                    <a:lnTo>
                      <a:pt x="4235521" y="2781203"/>
                    </a:lnTo>
                    <a:lnTo>
                      <a:pt x="4242522" y="2775780"/>
                    </a:lnTo>
                    <a:lnTo>
                      <a:pt x="4249130" y="2770397"/>
                    </a:lnTo>
                    <a:lnTo>
                      <a:pt x="4256781" y="2766501"/>
                    </a:lnTo>
                    <a:lnTo>
                      <a:pt x="4260001" y="2765609"/>
                    </a:lnTo>
                    <a:lnTo>
                      <a:pt x="4256139" y="2769492"/>
                    </a:lnTo>
                    <a:lnTo>
                      <a:pt x="4246953" y="2773637"/>
                    </a:lnTo>
                    <a:lnTo>
                      <a:pt x="4241624" y="2778507"/>
                    </a:lnTo>
                    <a:lnTo>
                      <a:pt x="4237738" y="2780893"/>
                    </a:lnTo>
                    <a:lnTo>
                      <a:pt x="4236950" y="2782461"/>
                    </a:lnTo>
                    <a:lnTo>
                      <a:pt x="4237756" y="2784876"/>
                    </a:lnTo>
                    <a:lnTo>
                      <a:pt x="4239736" y="2786416"/>
                    </a:lnTo>
                    <a:lnTo>
                      <a:pt x="4242228" y="2787143"/>
                    </a:lnTo>
                    <a:lnTo>
                      <a:pt x="4244582" y="2787202"/>
                    </a:lnTo>
                    <a:lnTo>
                      <a:pt x="4244156" y="2783073"/>
                    </a:lnTo>
                    <a:lnTo>
                      <a:pt x="4245311" y="2778761"/>
                    </a:lnTo>
                    <a:lnTo>
                      <a:pt x="4247186" y="2775810"/>
                    </a:lnTo>
                    <a:lnTo>
                      <a:pt x="4248961" y="2775723"/>
                    </a:lnTo>
                    <a:lnTo>
                      <a:pt x="4253707" y="2780716"/>
                    </a:lnTo>
                    <a:lnTo>
                      <a:pt x="4258926" y="2784646"/>
                    </a:lnTo>
                    <a:lnTo>
                      <a:pt x="4262379" y="2786321"/>
                    </a:lnTo>
                    <a:lnTo>
                      <a:pt x="4267175" y="2787893"/>
                    </a:lnTo>
                    <a:lnTo>
                      <a:pt x="4271927" y="2788666"/>
                    </a:lnTo>
                    <a:lnTo>
                      <a:pt x="4275260" y="2787950"/>
                    </a:lnTo>
                    <a:lnTo>
                      <a:pt x="4277110" y="2786928"/>
                    </a:lnTo>
                    <a:lnTo>
                      <a:pt x="4279212" y="2786324"/>
                    </a:lnTo>
                    <a:lnTo>
                      <a:pt x="4283428" y="2785985"/>
                    </a:lnTo>
                    <a:lnTo>
                      <a:pt x="4285826" y="2786871"/>
                    </a:lnTo>
                    <a:lnTo>
                      <a:pt x="4289433" y="2790619"/>
                    </a:lnTo>
                    <a:lnTo>
                      <a:pt x="4291691" y="2791390"/>
                    </a:lnTo>
                    <a:lnTo>
                      <a:pt x="4289678" y="2783158"/>
                    </a:lnTo>
                    <a:lnTo>
                      <a:pt x="4289691" y="2780816"/>
                    </a:lnTo>
                    <a:lnTo>
                      <a:pt x="4290017" y="2778982"/>
                    </a:lnTo>
                    <a:lnTo>
                      <a:pt x="4289822" y="2777050"/>
                    </a:lnTo>
                    <a:lnTo>
                      <a:pt x="4285670" y="2770510"/>
                    </a:lnTo>
                    <a:lnTo>
                      <a:pt x="4284741" y="2767511"/>
                    </a:lnTo>
                    <a:lnTo>
                      <a:pt x="4284747" y="2756620"/>
                    </a:lnTo>
                    <a:lnTo>
                      <a:pt x="4283911" y="2750774"/>
                    </a:lnTo>
                    <a:lnTo>
                      <a:pt x="4283977" y="2748674"/>
                    </a:lnTo>
                    <a:lnTo>
                      <a:pt x="4284857" y="2743295"/>
                    </a:lnTo>
                    <a:lnTo>
                      <a:pt x="4285682" y="2740328"/>
                    </a:lnTo>
                    <a:lnTo>
                      <a:pt x="4289852" y="2732875"/>
                    </a:lnTo>
                    <a:lnTo>
                      <a:pt x="4295983" y="2724729"/>
                    </a:lnTo>
                    <a:lnTo>
                      <a:pt x="4336764" y="2682446"/>
                    </a:lnTo>
                    <a:lnTo>
                      <a:pt x="4338375" y="2681576"/>
                    </a:lnTo>
                    <a:lnTo>
                      <a:pt x="4340637" y="2680848"/>
                    </a:lnTo>
                    <a:lnTo>
                      <a:pt x="4354635" y="2673107"/>
                    </a:lnTo>
                    <a:lnTo>
                      <a:pt x="4371847" y="2672052"/>
                    </a:lnTo>
                    <a:lnTo>
                      <a:pt x="4371053" y="2670064"/>
                    </a:lnTo>
                    <a:lnTo>
                      <a:pt x="4369690" y="2669209"/>
                    </a:lnTo>
                    <a:lnTo>
                      <a:pt x="4367973" y="2669111"/>
                    </a:lnTo>
                    <a:lnTo>
                      <a:pt x="4366154" y="2669373"/>
                    </a:lnTo>
                    <a:lnTo>
                      <a:pt x="4368803" y="2666234"/>
                    </a:lnTo>
                    <a:lnTo>
                      <a:pt x="4377374" y="2659914"/>
                    </a:lnTo>
                    <a:lnTo>
                      <a:pt x="4380196" y="2656414"/>
                    </a:lnTo>
                    <a:lnTo>
                      <a:pt x="4384935" y="2648911"/>
                    </a:lnTo>
                    <a:lnTo>
                      <a:pt x="4387732" y="2646285"/>
                    </a:lnTo>
                    <a:lnTo>
                      <a:pt x="4397053" y="2643062"/>
                    </a:lnTo>
                    <a:lnTo>
                      <a:pt x="4408795" y="2634637"/>
                    </a:lnTo>
                    <a:lnTo>
                      <a:pt x="4412738" y="2633007"/>
                    </a:lnTo>
                    <a:lnTo>
                      <a:pt x="4415757" y="2634067"/>
                    </a:lnTo>
                    <a:lnTo>
                      <a:pt x="4417523" y="2632887"/>
                    </a:lnTo>
                    <a:lnTo>
                      <a:pt x="4419341" y="2632108"/>
                    </a:lnTo>
                    <a:lnTo>
                      <a:pt x="4423321" y="2631334"/>
                    </a:lnTo>
                    <a:lnTo>
                      <a:pt x="4421858" y="2634212"/>
                    </a:lnTo>
                    <a:lnTo>
                      <a:pt x="4423076" y="2637719"/>
                    </a:lnTo>
                    <a:lnTo>
                      <a:pt x="4427390" y="2644891"/>
                    </a:lnTo>
                    <a:lnTo>
                      <a:pt x="4425535" y="2647740"/>
                    </a:lnTo>
                    <a:lnTo>
                      <a:pt x="4426917" y="2648841"/>
                    </a:lnTo>
                    <a:lnTo>
                      <a:pt x="4447253" y="2650170"/>
                    </a:lnTo>
                    <a:lnTo>
                      <a:pt x="4446702" y="2652099"/>
                    </a:lnTo>
                    <a:lnTo>
                      <a:pt x="4446363" y="2652864"/>
                    </a:lnTo>
                    <a:lnTo>
                      <a:pt x="4451420" y="2648797"/>
                    </a:lnTo>
                    <a:lnTo>
                      <a:pt x="4456029" y="2648729"/>
                    </a:lnTo>
                    <a:lnTo>
                      <a:pt x="4458339" y="2648330"/>
                    </a:lnTo>
                    <a:lnTo>
                      <a:pt x="4460372" y="2647394"/>
                    </a:lnTo>
                    <a:lnTo>
                      <a:pt x="4462830" y="2644915"/>
                    </a:lnTo>
                    <a:lnTo>
                      <a:pt x="4462849" y="2642877"/>
                    </a:lnTo>
                    <a:lnTo>
                      <a:pt x="4461116" y="2641059"/>
                    </a:lnTo>
                    <a:lnTo>
                      <a:pt x="4458320" y="2639200"/>
                    </a:lnTo>
                    <a:lnTo>
                      <a:pt x="4459526" y="2637637"/>
                    </a:lnTo>
                    <a:lnTo>
                      <a:pt x="4460977" y="2636329"/>
                    </a:lnTo>
                    <a:lnTo>
                      <a:pt x="4462270" y="2634724"/>
                    </a:lnTo>
                    <a:lnTo>
                      <a:pt x="4463041" y="2632321"/>
                    </a:lnTo>
                    <a:lnTo>
                      <a:pt x="4460997" y="2633328"/>
                    </a:lnTo>
                    <a:lnTo>
                      <a:pt x="4456566" y="2634279"/>
                    </a:lnTo>
                    <a:lnTo>
                      <a:pt x="4454472" y="2635182"/>
                    </a:lnTo>
                    <a:lnTo>
                      <a:pt x="4456057" y="2638084"/>
                    </a:lnTo>
                    <a:lnTo>
                      <a:pt x="4459457" y="2642923"/>
                    </a:lnTo>
                    <a:lnTo>
                      <a:pt x="4460340" y="2645910"/>
                    </a:lnTo>
                    <a:lnTo>
                      <a:pt x="4446501" y="2643573"/>
                    </a:lnTo>
                    <a:lnTo>
                      <a:pt x="4443803" y="2644070"/>
                    </a:lnTo>
                    <a:lnTo>
                      <a:pt x="4442471" y="2645458"/>
                    </a:lnTo>
                    <a:lnTo>
                      <a:pt x="4440743" y="2646550"/>
                    </a:lnTo>
                    <a:lnTo>
                      <a:pt x="4438902" y="2647275"/>
                    </a:lnTo>
                    <a:lnTo>
                      <a:pt x="4437228" y="2647533"/>
                    </a:lnTo>
                    <a:lnTo>
                      <a:pt x="4435332" y="2646894"/>
                    </a:lnTo>
                    <a:lnTo>
                      <a:pt x="4435014" y="2645372"/>
                    </a:lnTo>
                    <a:lnTo>
                      <a:pt x="4435811" y="2642030"/>
                    </a:lnTo>
                    <a:lnTo>
                      <a:pt x="4436200" y="2633101"/>
                    </a:lnTo>
                    <a:lnTo>
                      <a:pt x="4435658" y="2628959"/>
                    </a:lnTo>
                    <a:lnTo>
                      <a:pt x="4434006" y="2625168"/>
                    </a:lnTo>
                    <a:lnTo>
                      <a:pt x="4433803" y="2624174"/>
                    </a:lnTo>
                    <a:lnTo>
                      <a:pt x="4434161" y="2623298"/>
                    </a:lnTo>
                    <a:lnTo>
                      <a:pt x="4434441" y="2622343"/>
                    </a:lnTo>
                    <a:lnTo>
                      <a:pt x="4433932" y="2621127"/>
                    </a:lnTo>
                    <a:lnTo>
                      <a:pt x="4433180" y="2620345"/>
                    </a:lnTo>
                    <a:lnTo>
                      <a:pt x="4431682" y="2619151"/>
                    </a:lnTo>
                    <a:lnTo>
                      <a:pt x="4431066" y="2618457"/>
                    </a:lnTo>
                    <a:lnTo>
                      <a:pt x="4430036" y="2617788"/>
                    </a:lnTo>
                    <a:lnTo>
                      <a:pt x="4428814" y="2617915"/>
                    </a:lnTo>
                    <a:lnTo>
                      <a:pt x="4428035" y="2618665"/>
                    </a:lnTo>
                    <a:lnTo>
                      <a:pt x="4428278" y="2619867"/>
                    </a:lnTo>
                    <a:lnTo>
                      <a:pt x="4430682" y="2623221"/>
                    </a:lnTo>
                    <a:lnTo>
                      <a:pt x="4427377" y="2623199"/>
                    </a:lnTo>
                    <a:lnTo>
                      <a:pt x="4424363" y="2622340"/>
                    </a:lnTo>
                    <a:lnTo>
                      <a:pt x="4421799" y="2620742"/>
                    </a:lnTo>
                    <a:lnTo>
                      <a:pt x="4419816" y="2618516"/>
                    </a:lnTo>
                    <a:lnTo>
                      <a:pt x="4419033" y="2615585"/>
                    </a:lnTo>
                    <a:lnTo>
                      <a:pt x="4418946" y="2611354"/>
                    </a:lnTo>
                    <a:lnTo>
                      <a:pt x="4419358" y="2607144"/>
                    </a:lnTo>
                    <a:lnTo>
                      <a:pt x="4420048" y="2604328"/>
                    </a:lnTo>
                    <a:lnTo>
                      <a:pt x="4418931" y="2600343"/>
                    </a:lnTo>
                    <a:lnTo>
                      <a:pt x="4420268" y="2594519"/>
                    </a:lnTo>
                    <a:lnTo>
                      <a:pt x="4424349" y="2582795"/>
                    </a:lnTo>
                    <a:lnTo>
                      <a:pt x="4427215" y="2571103"/>
                    </a:lnTo>
                    <a:lnTo>
                      <a:pt x="4428189" y="2564973"/>
                    </a:lnTo>
                    <a:lnTo>
                      <a:pt x="4428840" y="2551377"/>
                    </a:lnTo>
                    <a:lnTo>
                      <a:pt x="4430649" y="2539036"/>
                    </a:lnTo>
                    <a:lnTo>
                      <a:pt x="4431157" y="2528969"/>
                    </a:lnTo>
                    <a:lnTo>
                      <a:pt x="4431729" y="2526439"/>
                    </a:lnTo>
                    <a:lnTo>
                      <a:pt x="4433584" y="2522069"/>
                    </a:lnTo>
                    <a:lnTo>
                      <a:pt x="4435144" y="2519509"/>
                    </a:lnTo>
                    <a:lnTo>
                      <a:pt x="4438612" y="2515227"/>
                    </a:lnTo>
                    <a:lnTo>
                      <a:pt x="4439885" y="2512509"/>
                    </a:lnTo>
                    <a:lnTo>
                      <a:pt x="4443143" y="2514153"/>
                    </a:lnTo>
                    <a:lnTo>
                      <a:pt x="4447759" y="2514500"/>
                    </a:lnTo>
                    <a:lnTo>
                      <a:pt x="4452380" y="2513823"/>
                    </a:lnTo>
                    <a:lnTo>
                      <a:pt x="4455633" y="2512411"/>
                    </a:lnTo>
                    <a:lnTo>
                      <a:pt x="4457993" y="2509886"/>
                    </a:lnTo>
                    <a:lnTo>
                      <a:pt x="4459423" y="2507733"/>
                    </a:lnTo>
                    <a:lnTo>
                      <a:pt x="4461360" y="2506233"/>
                    </a:lnTo>
                    <a:lnTo>
                      <a:pt x="4465249" y="2505648"/>
                    </a:lnTo>
                    <a:lnTo>
                      <a:pt x="4487168" y="2508640"/>
                    </a:lnTo>
                    <a:lnTo>
                      <a:pt x="4489077" y="2509505"/>
                    </a:lnTo>
                    <a:lnTo>
                      <a:pt x="4490436" y="2510822"/>
                    </a:lnTo>
                    <a:lnTo>
                      <a:pt x="4491368" y="2512301"/>
                    </a:lnTo>
                    <a:lnTo>
                      <a:pt x="4492572" y="2513396"/>
                    </a:lnTo>
                    <a:lnTo>
                      <a:pt x="4494734" y="2513595"/>
                    </a:lnTo>
                    <a:lnTo>
                      <a:pt x="4491384" y="2509072"/>
                    </a:lnTo>
                    <a:lnTo>
                      <a:pt x="4488095" y="2506474"/>
                    </a:lnTo>
                    <a:lnTo>
                      <a:pt x="4466194" y="2499893"/>
                    </a:lnTo>
                    <a:lnTo>
                      <a:pt x="4461854" y="2500306"/>
                    </a:lnTo>
                    <a:lnTo>
                      <a:pt x="4454613" y="2503368"/>
                    </a:lnTo>
                    <a:lnTo>
                      <a:pt x="4451375" y="2503588"/>
                    </a:lnTo>
                    <a:lnTo>
                      <a:pt x="4447925" y="2501739"/>
                    </a:lnTo>
                    <a:lnTo>
                      <a:pt x="4441540" y="2496750"/>
                    </a:lnTo>
                    <a:lnTo>
                      <a:pt x="4439258" y="2493311"/>
                    </a:lnTo>
                    <a:lnTo>
                      <a:pt x="4440282" y="2489709"/>
                    </a:lnTo>
                    <a:lnTo>
                      <a:pt x="4435958" y="2484068"/>
                    </a:lnTo>
                    <a:lnTo>
                      <a:pt x="4436658" y="2475636"/>
                    </a:lnTo>
                    <a:lnTo>
                      <a:pt x="4444286" y="2455959"/>
                    </a:lnTo>
                    <a:lnTo>
                      <a:pt x="4450140" y="2447252"/>
                    </a:lnTo>
                    <a:lnTo>
                      <a:pt x="4453007" y="2444535"/>
                    </a:lnTo>
                    <a:lnTo>
                      <a:pt x="4460158" y="2441599"/>
                    </a:lnTo>
                    <a:lnTo>
                      <a:pt x="4463332" y="2439614"/>
                    </a:lnTo>
                    <a:lnTo>
                      <a:pt x="4475261" y="2425037"/>
                    </a:lnTo>
                    <a:lnTo>
                      <a:pt x="4492762" y="2411851"/>
                    </a:lnTo>
                    <a:lnTo>
                      <a:pt x="4495260" y="2409319"/>
                    </a:lnTo>
                    <a:lnTo>
                      <a:pt x="4498346" y="2407308"/>
                    </a:lnTo>
                    <a:lnTo>
                      <a:pt x="4511087" y="2404449"/>
                    </a:lnTo>
                    <a:lnTo>
                      <a:pt x="4514639" y="2402768"/>
                    </a:lnTo>
                    <a:lnTo>
                      <a:pt x="4518400" y="2401698"/>
                    </a:lnTo>
                    <a:lnTo>
                      <a:pt x="4518360" y="2400358"/>
                    </a:lnTo>
                    <a:lnTo>
                      <a:pt x="4513375" y="2401455"/>
                    </a:lnTo>
                    <a:lnTo>
                      <a:pt x="4507378" y="2403955"/>
                    </a:lnTo>
                    <a:lnTo>
                      <a:pt x="4502263" y="2404054"/>
                    </a:lnTo>
                    <a:lnTo>
                      <a:pt x="4499939" y="2397965"/>
                    </a:lnTo>
                    <a:lnTo>
                      <a:pt x="4501054" y="2393825"/>
                    </a:lnTo>
                    <a:lnTo>
                      <a:pt x="4509606" y="2381699"/>
                    </a:lnTo>
                    <a:lnTo>
                      <a:pt x="4506375" y="2377127"/>
                    </a:lnTo>
                    <a:lnTo>
                      <a:pt x="4506715" y="2375905"/>
                    </a:lnTo>
                    <a:lnTo>
                      <a:pt x="4508380" y="2373572"/>
                    </a:lnTo>
                    <a:lnTo>
                      <a:pt x="4511119" y="2370871"/>
                    </a:lnTo>
                    <a:lnTo>
                      <a:pt x="4511509" y="2369289"/>
                    </a:lnTo>
                    <a:lnTo>
                      <a:pt x="4511438" y="2367944"/>
                    </a:lnTo>
                    <a:lnTo>
                      <a:pt x="4511172" y="2367054"/>
                    </a:lnTo>
                    <a:lnTo>
                      <a:pt x="4511004" y="2366856"/>
                    </a:lnTo>
                    <a:lnTo>
                      <a:pt x="4511672" y="2361440"/>
                    </a:lnTo>
                    <a:lnTo>
                      <a:pt x="4512427" y="2359442"/>
                    </a:lnTo>
                    <a:lnTo>
                      <a:pt x="4514370" y="2357481"/>
                    </a:lnTo>
                    <a:lnTo>
                      <a:pt x="4519511" y="2354933"/>
                    </a:lnTo>
                    <a:lnTo>
                      <a:pt x="4524733" y="2353372"/>
                    </a:lnTo>
                    <a:lnTo>
                      <a:pt x="4527625" y="2351402"/>
                    </a:lnTo>
                    <a:lnTo>
                      <a:pt x="4528633" y="2346629"/>
                    </a:lnTo>
                    <a:lnTo>
                      <a:pt x="4528301" y="2335110"/>
                    </a:lnTo>
                    <a:lnTo>
                      <a:pt x="4529275" y="2329989"/>
                    </a:lnTo>
                    <a:lnTo>
                      <a:pt x="4531811" y="2326168"/>
                    </a:lnTo>
                    <a:lnTo>
                      <a:pt x="4534737" y="2322988"/>
                    </a:lnTo>
                    <a:lnTo>
                      <a:pt x="4536866" y="2319743"/>
                    </a:lnTo>
                    <a:lnTo>
                      <a:pt x="4527748" y="2326732"/>
                    </a:lnTo>
                    <a:lnTo>
                      <a:pt x="4526279" y="2328449"/>
                    </a:lnTo>
                    <a:lnTo>
                      <a:pt x="4526043" y="2330115"/>
                    </a:lnTo>
                    <a:lnTo>
                      <a:pt x="4524761" y="2334896"/>
                    </a:lnTo>
                    <a:lnTo>
                      <a:pt x="4523656" y="2336944"/>
                    </a:lnTo>
                    <a:lnTo>
                      <a:pt x="4524023" y="2339394"/>
                    </a:lnTo>
                    <a:lnTo>
                      <a:pt x="4524662" y="2342079"/>
                    </a:lnTo>
                    <a:lnTo>
                      <a:pt x="4524941" y="2343893"/>
                    </a:lnTo>
                    <a:lnTo>
                      <a:pt x="4523604" y="2347791"/>
                    </a:lnTo>
                    <a:lnTo>
                      <a:pt x="4520983" y="2350802"/>
                    </a:lnTo>
                    <a:lnTo>
                      <a:pt x="4517675" y="2352743"/>
                    </a:lnTo>
                    <a:lnTo>
                      <a:pt x="4510203" y="2353932"/>
                    </a:lnTo>
                    <a:lnTo>
                      <a:pt x="4507050" y="2355465"/>
                    </a:lnTo>
                    <a:lnTo>
                      <a:pt x="4504592" y="2358354"/>
                    </a:lnTo>
                    <a:lnTo>
                      <a:pt x="4502610" y="2362919"/>
                    </a:lnTo>
                    <a:lnTo>
                      <a:pt x="4500298" y="2370078"/>
                    </a:lnTo>
                    <a:lnTo>
                      <a:pt x="4498382" y="2372652"/>
                    </a:lnTo>
                    <a:lnTo>
                      <a:pt x="4491612" y="2374532"/>
                    </a:lnTo>
                    <a:lnTo>
                      <a:pt x="4475926" y="2381873"/>
                    </a:lnTo>
                    <a:lnTo>
                      <a:pt x="4460150" y="2385061"/>
                    </a:lnTo>
                    <a:lnTo>
                      <a:pt x="4458337" y="2385839"/>
                    </a:lnTo>
                    <a:lnTo>
                      <a:pt x="4456570" y="2386903"/>
                    </a:lnTo>
                    <a:lnTo>
                      <a:pt x="4455287" y="2388083"/>
                    </a:lnTo>
                    <a:lnTo>
                      <a:pt x="4453442" y="2389363"/>
                    </a:lnTo>
                    <a:lnTo>
                      <a:pt x="4446616" y="2390076"/>
                    </a:lnTo>
                    <a:lnTo>
                      <a:pt x="4434383" y="2400287"/>
                    </a:lnTo>
                    <a:lnTo>
                      <a:pt x="4422475" y="2402649"/>
                    </a:lnTo>
                    <a:lnTo>
                      <a:pt x="4401638" y="2412254"/>
                    </a:lnTo>
                    <a:lnTo>
                      <a:pt x="4379764" y="2420223"/>
                    </a:lnTo>
                    <a:lnTo>
                      <a:pt x="4356272" y="2426876"/>
                    </a:lnTo>
                    <a:lnTo>
                      <a:pt x="4349602" y="2427093"/>
                    </a:lnTo>
                    <a:lnTo>
                      <a:pt x="4341574" y="2425049"/>
                    </a:lnTo>
                    <a:lnTo>
                      <a:pt x="4334445" y="2420549"/>
                    </a:lnTo>
                    <a:lnTo>
                      <a:pt x="4330430" y="2413427"/>
                    </a:lnTo>
                    <a:lnTo>
                      <a:pt x="4331698" y="2409788"/>
                    </a:lnTo>
                    <a:lnTo>
                      <a:pt x="4330396" y="2405365"/>
                    </a:lnTo>
                    <a:lnTo>
                      <a:pt x="4327918" y="2401344"/>
                    </a:lnTo>
                    <a:lnTo>
                      <a:pt x="4325680" y="2398844"/>
                    </a:lnTo>
                    <a:lnTo>
                      <a:pt x="4321905" y="2396364"/>
                    </a:lnTo>
                    <a:lnTo>
                      <a:pt x="4303447" y="2390673"/>
                    </a:lnTo>
                    <a:lnTo>
                      <a:pt x="4301892" y="2389264"/>
                    </a:lnTo>
                    <a:lnTo>
                      <a:pt x="4300758" y="2386715"/>
                    </a:lnTo>
                    <a:lnTo>
                      <a:pt x="4300817" y="2384531"/>
                    </a:lnTo>
                    <a:lnTo>
                      <a:pt x="4301614" y="2382697"/>
                    </a:lnTo>
                    <a:lnTo>
                      <a:pt x="4302697" y="2381247"/>
                    </a:lnTo>
                    <a:lnTo>
                      <a:pt x="4304489" y="2379507"/>
                    </a:lnTo>
                    <a:lnTo>
                      <a:pt x="4305768" y="2378597"/>
                    </a:lnTo>
                    <a:lnTo>
                      <a:pt x="4306892" y="2377337"/>
                    </a:lnTo>
                    <a:lnTo>
                      <a:pt x="4308217" y="2374555"/>
                    </a:lnTo>
                    <a:lnTo>
                      <a:pt x="4310126" y="2368649"/>
                    </a:lnTo>
                    <a:lnTo>
                      <a:pt x="4311000" y="2366529"/>
                    </a:lnTo>
                    <a:lnTo>
                      <a:pt x="4309591" y="2361385"/>
                    </a:lnTo>
                    <a:lnTo>
                      <a:pt x="4312477" y="2358561"/>
                    </a:lnTo>
                    <a:lnTo>
                      <a:pt x="4319968" y="2355827"/>
                    </a:lnTo>
                    <a:lnTo>
                      <a:pt x="4318584" y="2355375"/>
                    </a:lnTo>
                    <a:lnTo>
                      <a:pt x="4317528" y="2354572"/>
                    </a:lnTo>
                    <a:lnTo>
                      <a:pt x="4317014" y="2353370"/>
                    </a:lnTo>
                    <a:lnTo>
                      <a:pt x="4317217" y="2351698"/>
                    </a:lnTo>
                    <a:lnTo>
                      <a:pt x="4315902" y="2351851"/>
                    </a:lnTo>
                    <a:lnTo>
                      <a:pt x="4314706" y="2352379"/>
                    </a:lnTo>
                    <a:lnTo>
                      <a:pt x="4313634" y="2353272"/>
                    </a:lnTo>
                    <a:lnTo>
                      <a:pt x="4312685" y="2354500"/>
                    </a:lnTo>
                    <a:lnTo>
                      <a:pt x="4309785" y="2352544"/>
                    </a:lnTo>
                    <a:lnTo>
                      <a:pt x="4310603" y="2351062"/>
                    </a:lnTo>
                    <a:lnTo>
                      <a:pt x="4314927" y="2348477"/>
                    </a:lnTo>
                    <a:lnTo>
                      <a:pt x="4316933" y="2346395"/>
                    </a:lnTo>
                    <a:lnTo>
                      <a:pt x="4319486" y="2344935"/>
                    </a:lnTo>
                    <a:lnTo>
                      <a:pt x="4322256" y="2344070"/>
                    </a:lnTo>
                    <a:lnTo>
                      <a:pt x="4324932" y="2343795"/>
                    </a:lnTo>
                    <a:lnTo>
                      <a:pt x="4352958" y="2348728"/>
                    </a:lnTo>
                    <a:lnTo>
                      <a:pt x="4357726" y="2351365"/>
                    </a:lnTo>
                    <a:lnTo>
                      <a:pt x="4362100" y="2355183"/>
                    </a:lnTo>
                    <a:lnTo>
                      <a:pt x="4365615" y="2359711"/>
                    </a:lnTo>
                    <a:lnTo>
                      <a:pt x="4366847" y="2362327"/>
                    </a:lnTo>
                    <a:lnTo>
                      <a:pt x="4366740" y="2365744"/>
                    </a:lnTo>
                    <a:lnTo>
                      <a:pt x="4367624" y="2369183"/>
                    </a:lnTo>
                    <a:lnTo>
                      <a:pt x="4368638" y="2370972"/>
                    </a:lnTo>
                    <a:lnTo>
                      <a:pt x="4370307" y="2373069"/>
                    </a:lnTo>
                    <a:lnTo>
                      <a:pt x="4372246" y="2374887"/>
                    </a:lnTo>
                    <a:lnTo>
                      <a:pt x="4374000" y="2375853"/>
                    </a:lnTo>
                    <a:lnTo>
                      <a:pt x="4373938" y="2373391"/>
                    </a:lnTo>
                    <a:lnTo>
                      <a:pt x="4374377" y="2371621"/>
                    </a:lnTo>
                    <a:lnTo>
                      <a:pt x="4375325" y="2370614"/>
                    </a:lnTo>
                    <a:lnTo>
                      <a:pt x="4376832" y="2370369"/>
                    </a:lnTo>
                    <a:lnTo>
                      <a:pt x="4376817" y="2369150"/>
                    </a:lnTo>
                    <a:lnTo>
                      <a:pt x="4372456" y="2369310"/>
                    </a:lnTo>
                    <a:lnTo>
                      <a:pt x="4370677" y="2368551"/>
                    </a:lnTo>
                    <a:lnTo>
                      <a:pt x="4369415" y="2366389"/>
                    </a:lnTo>
                    <a:lnTo>
                      <a:pt x="4371561" y="2362406"/>
                    </a:lnTo>
                    <a:lnTo>
                      <a:pt x="4369077" y="2356832"/>
                    </a:lnTo>
                    <a:lnTo>
                      <a:pt x="4362355" y="2348365"/>
                    </a:lnTo>
                    <a:lnTo>
                      <a:pt x="4357243" y="2344177"/>
                    </a:lnTo>
                    <a:lnTo>
                      <a:pt x="4344796" y="2343623"/>
                    </a:lnTo>
                    <a:lnTo>
                      <a:pt x="4333758" y="2339103"/>
                    </a:lnTo>
                    <a:lnTo>
                      <a:pt x="4322312" y="2336929"/>
                    </a:lnTo>
                    <a:lnTo>
                      <a:pt x="4317127" y="2334334"/>
                    </a:lnTo>
                    <a:lnTo>
                      <a:pt x="4312917" y="2330855"/>
                    </a:lnTo>
                    <a:lnTo>
                      <a:pt x="4310767" y="2328311"/>
                    </a:lnTo>
                    <a:lnTo>
                      <a:pt x="4309833" y="2325655"/>
                    </a:lnTo>
                    <a:lnTo>
                      <a:pt x="4309478" y="2323220"/>
                    </a:lnTo>
                    <a:lnTo>
                      <a:pt x="4308590" y="2322808"/>
                    </a:lnTo>
                    <a:lnTo>
                      <a:pt x="4307422" y="2323000"/>
                    </a:lnTo>
                    <a:lnTo>
                      <a:pt x="4306206" y="2322334"/>
                    </a:lnTo>
                    <a:lnTo>
                      <a:pt x="4305520" y="2320822"/>
                    </a:lnTo>
                    <a:lnTo>
                      <a:pt x="4305227" y="2319327"/>
                    </a:lnTo>
                    <a:lnTo>
                      <a:pt x="4304737" y="2317998"/>
                    </a:lnTo>
                    <a:lnTo>
                      <a:pt x="4303468" y="2316989"/>
                    </a:lnTo>
                    <a:lnTo>
                      <a:pt x="4302817" y="2320530"/>
                    </a:lnTo>
                    <a:lnTo>
                      <a:pt x="4303036" y="2323036"/>
                    </a:lnTo>
                    <a:lnTo>
                      <a:pt x="4304401" y="2324531"/>
                    </a:lnTo>
                    <a:lnTo>
                      <a:pt x="4307203" y="2325006"/>
                    </a:lnTo>
                    <a:lnTo>
                      <a:pt x="4307140" y="2329549"/>
                    </a:lnTo>
                    <a:lnTo>
                      <a:pt x="4315063" y="2336511"/>
                    </a:lnTo>
                    <a:lnTo>
                      <a:pt x="4314436" y="2341025"/>
                    </a:lnTo>
                    <a:lnTo>
                      <a:pt x="4311966" y="2342733"/>
                    </a:lnTo>
                    <a:lnTo>
                      <a:pt x="4306601" y="2344061"/>
                    </a:lnTo>
                    <a:lnTo>
                      <a:pt x="4304479" y="2346364"/>
                    </a:lnTo>
                    <a:lnTo>
                      <a:pt x="4304045" y="2347344"/>
                    </a:lnTo>
                    <a:lnTo>
                      <a:pt x="4303772" y="2348316"/>
                    </a:lnTo>
                    <a:lnTo>
                      <a:pt x="4303630" y="2349471"/>
                    </a:lnTo>
                    <a:lnTo>
                      <a:pt x="4303587" y="2351047"/>
                    </a:lnTo>
                    <a:lnTo>
                      <a:pt x="4303158" y="2352648"/>
                    </a:lnTo>
                    <a:lnTo>
                      <a:pt x="4302231" y="2353541"/>
                    </a:lnTo>
                    <a:lnTo>
                      <a:pt x="4301295" y="2354211"/>
                    </a:lnTo>
                    <a:lnTo>
                      <a:pt x="4299112" y="2359365"/>
                    </a:lnTo>
                    <a:lnTo>
                      <a:pt x="4294979" y="2364458"/>
                    </a:lnTo>
                    <a:lnTo>
                      <a:pt x="4290269" y="2368747"/>
                    </a:lnTo>
                    <a:lnTo>
                      <a:pt x="4284397" y="2371824"/>
                    </a:lnTo>
                    <a:lnTo>
                      <a:pt x="4281647" y="2374311"/>
                    </a:lnTo>
                    <a:lnTo>
                      <a:pt x="4278928" y="2376128"/>
                    </a:lnTo>
                    <a:lnTo>
                      <a:pt x="4276667" y="2375300"/>
                    </a:lnTo>
                    <a:lnTo>
                      <a:pt x="4275739" y="2372830"/>
                    </a:lnTo>
                    <a:lnTo>
                      <a:pt x="4276451" y="2370917"/>
                    </a:lnTo>
                    <a:lnTo>
                      <a:pt x="4277854" y="2368718"/>
                    </a:lnTo>
                    <a:lnTo>
                      <a:pt x="4278988" y="2365341"/>
                    </a:lnTo>
                    <a:lnTo>
                      <a:pt x="4274502" y="2362411"/>
                    </a:lnTo>
                    <a:lnTo>
                      <a:pt x="4272482" y="2360658"/>
                    </a:lnTo>
                    <a:lnTo>
                      <a:pt x="4270796" y="2358539"/>
                    </a:lnTo>
                    <a:lnTo>
                      <a:pt x="4275636" y="2356836"/>
                    </a:lnTo>
                    <a:lnTo>
                      <a:pt x="4277554" y="2355322"/>
                    </a:lnTo>
                    <a:lnTo>
                      <a:pt x="4276664" y="2352399"/>
                    </a:lnTo>
                    <a:lnTo>
                      <a:pt x="4266166" y="2355862"/>
                    </a:lnTo>
                    <a:lnTo>
                      <a:pt x="4268130" y="2358045"/>
                    </a:lnTo>
                    <a:lnTo>
                      <a:pt x="4273249" y="2366950"/>
                    </a:lnTo>
                    <a:lnTo>
                      <a:pt x="4273525" y="2368791"/>
                    </a:lnTo>
                    <a:lnTo>
                      <a:pt x="4270323" y="2387340"/>
                    </a:lnTo>
                    <a:lnTo>
                      <a:pt x="4271704" y="2390640"/>
                    </a:lnTo>
                    <a:lnTo>
                      <a:pt x="4271850" y="2393701"/>
                    </a:lnTo>
                    <a:lnTo>
                      <a:pt x="4271114" y="2396467"/>
                    </a:lnTo>
                    <a:lnTo>
                      <a:pt x="4269859" y="2398890"/>
                    </a:lnTo>
                    <a:lnTo>
                      <a:pt x="4267908" y="2401425"/>
                    </a:lnTo>
                    <a:lnTo>
                      <a:pt x="4265753" y="2403026"/>
                    </a:lnTo>
                    <a:lnTo>
                      <a:pt x="4263215" y="2403863"/>
                    </a:lnTo>
                    <a:lnTo>
                      <a:pt x="4260129" y="2404117"/>
                    </a:lnTo>
                    <a:lnTo>
                      <a:pt x="4259063" y="2403789"/>
                    </a:lnTo>
                    <a:lnTo>
                      <a:pt x="4258035" y="2402920"/>
                    </a:lnTo>
                    <a:lnTo>
                      <a:pt x="4257274" y="2401635"/>
                    </a:lnTo>
                    <a:lnTo>
                      <a:pt x="4256983" y="2400104"/>
                    </a:lnTo>
                    <a:lnTo>
                      <a:pt x="4257446" y="2397665"/>
                    </a:lnTo>
                    <a:lnTo>
                      <a:pt x="4258591" y="2396718"/>
                    </a:lnTo>
                    <a:lnTo>
                      <a:pt x="4261561" y="2396089"/>
                    </a:lnTo>
                    <a:lnTo>
                      <a:pt x="4266858" y="2393692"/>
                    </a:lnTo>
                    <a:lnTo>
                      <a:pt x="4268929" y="2391588"/>
                    </a:lnTo>
                    <a:lnTo>
                      <a:pt x="4268458" y="2388678"/>
                    </a:lnTo>
                    <a:lnTo>
                      <a:pt x="4265883" y="2386741"/>
                    </a:lnTo>
                    <a:lnTo>
                      <a:pt x="4262690" y="2386580"/>
                    </a:lnTo>
                    <a:lnTo>
                      <a:pt x="4259718" y="2387958"/>
                    </a:lnTo>
                    <a:lnTo>
                      <a:pt x="4257832" y="2390611"/>
                    </a:lnTo>
                    <a:lnTo>
                      <a:pt x="4261292" y="2390645"/>
                    </a:lnTo>
                    <a:lnTo>
                      <a:pt x="4259591" y="2392549"/>
                    </a:lnTo>
                    <a:lnTo>
                      <a:pt x="4256081" y="2394659"/>
                    </a:lnTo>
                    <a:lnTo>
                      <a:pt x="4254169" y="2395359"/>
                    </a:lnTo>
                    <a:lnTo>
                      <a:pt x="4254384" y="2398835"/>
                    </a:lnTo>
                    <a:lnTo>
                      <a:pt x="4254981" y="2402057"/>
                    </a:lnTo>
                    <a:lnTo>
                      <a:pt x="4257515" y="2408898"/>
                    </a:lnTo>
                    <a:lnTo>
                      <a:pt x="4262571" y="2414624"/>
                    </a:lnTo>
                    <a:lnTo>
                      <a:pt x="4266775" y="2426988"/>
                    </a:lnTo>
                    <a:lnTo>
                      <a:pt x="4270294" y="2435756"/>
                    </a:lnTo>
                    <a:lnTo>
                      <a:pt x="4270538" y="2435541"/>
                    </a:lnTo>
                    <a:lnTo>
                      <a:pt x="4272291" y="2437016"/>
                    </a:lnTo>
                    <a:lnTo>
                      <a:pt x="4273149" y="2437822"/>
                    </a:lnTo>
                    <a:lnTo>
                      <a:pt x="4273505" y="2439714"/>
                    </a:lnTo>
                    <a:lnTo>
                      <a:pt x="4273311" y="2444519"/>
                    </a:lnTo>
                    <a:lnTo>
                      <a:pt x="4273504" y="2445732"/>
                    </a:lnTo>
                    <a:lnTo>
                      <a:pt x="4275053" y="2447926"/>
                    </a:lnTo>
                    <a:lnTo>
                      <a:pt x="4276745" y="2448350"/>
                    </a:lnTo>
                    <a:lnTo>
                      <a:pt x="4278401" y="2448126"/>
                    </a:lnTo>
                    <a:lnTo>
                      <a:pt x="4279851" y="2448405"/>
                    </a:lnTo>
                    <a:lnTo>
                      <a:pt x="4281759" y="2450871"/>
                    </a:lnTo>
                    <a:lnTo>
                      <a:pt x="4280228" y="2452572"/>
                    </a:lnTo>
                    <a:lnTo>
                      <a:pt x="4277585" y="2454416"/>
                    </a:lnTo>
                    <a:lnTo>
                      <a:pt x="4274883" y="2459734"/>
                    </a:lnTo>
                    <a:lnTo>
                      <a:pt x="4271875" y="2461682"/>
                    </a:lnTo>
                    <a:lnTo>
                      <a:pt x="4268495" y="2462942"/>
                    </a:lnTo>
                    <a:lnTo>
                      <a:pt x="4266046" y="2463277"/>
                    </a:lnTo>
                    <a:lnTo>
                      <a:pt x="4266045" y="2464619"/>
                    </a:lnTo>
                    <a:lnTo>
                      <a:pt x="4269815" y="2464619"/>
                    </a:lnTo>
                    <a:lnTo>
                      <a:pt x="4265448" y="2468037"/>
                    </a:lnTo>
                    <a:lnTo>
                      <a:pt x="4258420" y="2469045"/>
                    </a:lnTo>
                    <a:lnTo>
                      <a:pt x="4250587" y="2469343"/>
                    </a:lnTo>
                    <a:lnTo>
                      <a:pt x="4240464" y="2466098"/>
                    </a:lnTo>
                    <a:lnTo>
                      <a:pt x="4235563" y="2464097"/>
                    </a:lnTo>
                    <a:lnTo>
                      <a:pt x="4232831" y="2460564"/>
                    </a:lnTo>
                    <a:lnTo>
                      <a:pt x="4234609" y="2461413"/>
                    </a:lnTo>
                    <a:lnTo>
                      <a:pt x="4236238" y="2461431"/>
                    </a:lnTo>
                    <a:lnTo>
                      <a:pt x="4237556" y="2460355"/>
                    </a:lnTo>
                    <a:lnTo>
                      <a:pt x="4238361" y="2457888"/>
                    </a:lnTo>
                    <a:lnTo>
                      <a:pt x="4234988" y="2457980"/>
                    </a:lnTo>
                    <a:lnTo>
                      <a:pt x="4232436" y="2457418"/>
                    </a:lnTo>
                    <a:lnTo>
                      <a:pt x="4231233" y="2455387"/>
                    </a:lnTo>
                    <a:lnTo>
                      <a:pt x="4231959" y="2451061"/>
                    </a:lnTo>
                    <a:lnTo>
                      <a:pt x="4227091" y="2451261"/>
                    </a:lnTo>
                    <a:lnTo>
                      <a:pt x="4222228" y="2445617"/>
                    </a:lnTo>
                    <a:lnTo>
                      <a:pt x="4214539" y="2432273"/>
                    </a:lnTo>
                    <a:lnTo>
                      <a:pt x="4202581" y="2415460"/>
                    </a:lnTo>
                    <a:lnTo>
                      <a:pt x="4191215" y="2399068"/>
                    </a:lnTo>
                    <a:lnTo>
                      <a:pt x="4178267" y="2387223"/>
                    </a:lnTo>
                    <a:lnTo>
                      <a:pt x="4175051" y="2386016"/>
                    </a:lnTo>
                    <a:lnTo>
                      <a:pt x="4173589" y="2385198"/>
                    </a:lnTo>
                    <a:lnTo>
                      <a:pt x="4170014" y="2381661"/>
                    </a:lnTo>
                    <a:lnTo>
                      <a:pt x="4169162" y="2381052"/>
                    </a:lnTo>
                    <a:lnTo>
                      <a:pt x="4165443" y="2381277"/>
                    </a:lnTo>
                    <a:lnTo>
                      <a:pt x="4163431" y="2384102"/>
                    </a:lnTo>
                    <a:lnTo>
                      <a:pt x="4158136" y="2383494"/>
                    </a:lnTo>
                    <a:lnTo>
                      <a:pt x="4154524" y="2382549"/>
                    </a:lnTo>
                    <a:lnTo>
                      <a:pt x="4158657" y="2379968"/>
                    </a:lnTo>
                    <a:lnTo>
                      <a:pt x="4162655" y="2373573"/>
                    </a:lnTo>
                    <a:lnTo>
                      <a:pt x="4164584" y="2369272"/>
                    </a:lnTo>
                    <a:lnTo>
                      <a:pt x="4160577" y="2364584"/>
                    </a:lnTo>
                    <a:lnTo>
                      <a:pt x="4157834" y="2363833"/>
                    </a:lnTo>
                    <a:lnTo>
                      <a:pt x="4156079" y="2363736"/>
                    </a:lnTo>
                    <a:lnTo>
                      <a:pt x="4152225" y="2364464"/>
                    </a:lnTo>
                    <a:lnTo>
                      <a:pt x="4148287" y="2365051"/>
                    </a:lnTo>
                    <a:lnTo>
                      <a:pt x="4144491" y="2365113"/>
                    </a:lnTo>
                    <a:lnTo>
                      <a:pt x="4145710" y="2366982"/>
                    </a:lnTo>
                    <a:lnTo>
                      <a:pt x="4146162" y="2368608"/>
                    </a:lnTo>
                    <a:lnTo>
                      <a:pt x="4144847" y="2372076"/>
                    </a:lnTo>
                    <a:lnTo>
                      <a:pt x="4141994" y="2374260"/>
                    </a:lnTo>
                    <a:lnTo>
                      <a:pt x="4140275" y="2377372"/>
                    </a:lnTo>
                    <a:lnTo>
                      <a:pt x="4143564" y="2379554"/>
                    </a:lnTo>
                    <a:lnTo>
                      <a:pt x="4142239" y="2382221"/>
                    </a:lnTo>
                    <a:lnTo>
                      <a:pt x="4140467" y="2384065"/>
                    </a:lnTo>
                    <a:lnTo>
                      <a:pt x="4139060" y="2380648"/>
                    </a:lnTo>
                    <a:lnTo>
                      <a:pt x="4136182" y="2380426"/>
                    </a:lnTo>
                    <a:lnTo>
                      <a:pt x="4135026" y="2381433"/>
                    </a:lnTo>
                    <a:lnTo>
                      <a:pt x="4135143" y="2382843"/>
                    </a:lnTo>
                    <a:lnTo>
                      <a:pt x="4135991" y="2384024"/>
                    </a:lnTo>
                    <a:lnTo>
                      <a:pt x="4136440" y="2385652"/>
                    </a:lnTo>
                    <a:lnTo>
                      <a:pt x="4137721" y="2386857"/>
                    </a:lnTo>
                    <a:lnTo>
                      <a:pt x="4136507" y="2390135"/>
                    </a:lnTo>
                    <a:lnTo>
                      <a:pt x="4133564" y="2391382"/>
                    </a:lnTo>
                    <a:lnTo>
                      <a:pt x="4130451" y="2391594"/>
                    </a:lnTo>
                    <a:lnTo>
                      <a:pt x="4126871" y="2394229"/>
                    </a:lnTo>
                    <a:lnTo>
                      <a:pt x="4121503" y="2396886"/>
                    </a:lnTo>
                    <a:lnTo>
                      <a:pt x="4120824" y="2394846"/>
                    </a:lnTo>
                    <a:lnTo>
                      <a:pt x="4118463" y="2392048"/>
                    </a:lnTo>
                    <a:lnTo>
                      <a:pt x="4114109" y="2386137"/>
                    </a:lnTo>
                    <a:lnTo>
                      <a:pt x="4111196" y="2383163"/>
                    </a:lnTo>
                    <a:lnTo>
                      <a:pt x="4110546" y="2382210"/>
                    </a:lnTo>
                    <a:lnTo>
                      <a:pt x="4111500" y="2380407"/>
                    </a:lnTo>
                    <a:lnTo>
                      <a:pt x="4111551" y="2378140"/>
                    </a:lnTo>
                    <a:lnTo>
                      <a:pt x="4110780" y="2377096"/>
                    </a:lnTo>
                    <a:lnTo>
                      <a:pt x="4109756" y="2375527"/>
                    </a:lnTo>
                    <a:lnTo>
                      <a:pt x="4106948" y="2374278"/>
                    </a:lnTo>
                    <a:lnTo>
                      <a:pt x="4103296" y="2373822"/>
                    </a:lnTo>
                    <a:lnTo>
                      <a:pt x="4099982" y="2374388"/>
                    </a:lnTo>
                    <a:lnTo>
                      <a:pt x="4098057" y="2375157"/>
                    </a:lnTo>
                    <a:lnTo>
                      <a:pt x="4097487" y="2376465"/>
                    </a:lnTo>
                    <a:lnTo>
                      <a:pt x="4097023" y="2377576"/>
                    </a:lnTo>
                    <a:lnTo>
                      <a:pt x="4096378" y="2378745"/>
                    </a:lnTo>
                    <a:lnTo>
                      <a:pt x="4094252" y="2377971"/>
                    </a:lnTo>
                    <a:lnTo>
                      <a:pt x="4091687" y="2376917"/>
                    </a:lnTo>
                    <a:lnTo>
                      <a:pt x="4088890" y="2377900"/>
                    </a:lnTo>
                    <a:lnTo>
                      <a:pt x="4087281" y="2377282"/>
                    </a:lnTo>
                    <a:lnTo>
                      <a:pt x="4089356" y="2374054"/>
                    </a:lnTo>
                    <a:lnTo>
                      <a:pt x="4088397" y="2370448"/>
                    </a:lnTo>
                    <a:lnTo>
                      <a:pt x="4089253" y="2367167"/>
                    </a:lnTo>
                    <a:lnTo>
                      <a:pt x="4082599" y="2368626"/>
                    </a:lnTo>
                    <a:lnTo>
                      <a:pt x="4079840" y="2369822"/>
                    </a:lnTo>
                    <a:lnTo>
                      <a:pt x="4078915" y="2372046"/>
                    </a:lnTo>
                    <a:lnTo>
                      <a:pt x="4076552" y="2372796"/>
                    </a:lnTo>
                    <a:lnTo>
                      <a:pt x="4075725" y="2370484"/>
                    </a:lnTo>
                    <a:lnTo>
                      <a:pt x="4075239" y="2367884"/>
                    </a:lnTo>
                    <a:lnTo>
                      <a:pt x="4075765" y="2363179"/>
                    </a:lnTo>
                    <a:lnTo>
                      <a:pt x="4075473" y="2361169"/>
                    </a:lnTo>
                    <a:lnTo>
                      <a:pt x="4074026" y="2360346"/>
                    </a:lnTo>
                    <a:lnTo>
                      <a:pt x="4071279" y="2363846"/>
                    </a:lnTo>
                    <a:lnTo>
                      <a:pt x="4069500" y="2361352"/>
                    </a:lnTo>
                    <a:lnTo>
                      <a:pt x="4065823" y="2362037"/>
                    </a:lnTo>
                    <a:lnTo>
                      <a:pt x="4065582" y="2360020"/>
                    </a:lnTo>
                    <a:lnTo>
                      <a:pt x="4067197" y="2359060"/>
                    </a:lnTo>
                    <a:lnTo>
                      <a:pt x="4067487" y="2357405"/>
                    </a:lnTo>
                    <a:lnTo>
                      <a:pt x="4069664" y="2356147"/>
                    </a:lnTo>
                    <a:lnTo>
                      <a:pt x="4070383" y="2355113"/>
                    </a:lnTo>
                    <a:lnTo>
                      <a:pt x="4074178" y="2355040"/>
                    </a:lnTo>
                    <a:lnTo>
                      <a:pt x="4075586" y="2353786"/>
                    </a:lnTo>
                    <a:lnTo>
                      <a:pt x="4075892" y="2352546"/>
                    </a:lnTo>
                    <a:lnTo>
                      <a:pt x="4075527" y="2351539"/>
                    </a:lnTo>
                    <a:lnTo>
                      <a:pt x="4074684" y="2350314"/>
                    </a:lnTo>
                    <a:lnTo>
                      <a:pt x="4074096" y="2348344"/>
                    </a:lnTo>
                    <a:lnTo>
                      <a:pt x="4072668" y="2347003"/>
                    </a:lnTo>
                    <a:lnTo>
                      <a:pt x="4071025" y="2345979"/>
                    </a:lnTo>
                    <a:lnTo>
                      <a:pt x="4069818" y="2344935"/>
                    </a:lnTo>
                    <a:lnTo>
                      <a:pt x="4069215" y="2344253"/>
                    </a:lnTo>
                    <a:lnTo>
                      <a:pt x="4067862" y="2343199"/>
                    </a:lnTo>
                    <a:lnTo>
                      <a:pt x="4067208" y="2342302"/>
                    </a:lnTo>
                    <a:lnTo>
                      <a:pt x="4065622" y="2340034"/>
                    </a:lnTo>
                    <a:lnTo>
                      <a:pt x="4067498" y="2338578"/>
                    </a:lnTo>
                    <a:lnTo>
                      <a:pt x="4066920" y="2337555"/>
                    </a:lnTo>
                    <a:lnTo>
                      <a:pt x="4063389" y="2336724"/>
                    </a:lnTo>
                    <a:lnTo>
                      <a:pt x="4056719" y="2340939"/>
                    </a:lnTo>
                    <a:lnTo>
                      <a:pt x="4039446" y="2349980"/>
                    </a:lnTo>
                    <a:lnTo>
                      <a:pt x="4020806" y="2360433"/>
                    </a:lnTo>
                    <a:lnTo>
                      <a:pt x="4017091" y="2364196"/>
                    </a:lnTo>
                    <a:lnTo>
                      <a:pt x="4006980" y="2370329"/>
                    </a:lnTo>
                    <a:lnTo>
                      <a:pt x="3997725" y="2386668"/>
                    </a:lnTo>
                    <a:lnTo>
                      <a:pt x="3998722" y="2381835"/>
                    </a:lnTo>
                    <a:lnTo>
                      <a:pt x="3998574" y="2378820"/>
                    </a:lnTo>
                    <a:lnTo>
                      <a:pt x="3996930" y="2375804"/>
                    </a:lnTo>
                    <a:lnTo>
                      <a:pt x="3993610" y="2373642"/>
                    </a:lnTo>
                    <a:lnTo>
                      <a:pt x="3990888" y="2372579"/>
                    </a:lnTo>
                    <a:lnTo>
                      <a:pt x="3988274" y="2374061"/>
                    </a:lnTo>
                    <a:lnTo>
                      <a:pt x="3981093" y="2374601"/>
                    </a:lnTo>
                    <a:lnTo>
                      <a:pt x="3978628" y="2376359"/>
                    </a:lnTo>
                    <a:lnTo>
                      <a:pt x="3976644" y="2379755"/>
                    </a:lnTo>
                    <a:lnTo>
                      <a:pt x="3971287" y="2380520"/>
                    </a:lnTo>
                    <a:lnTo>
                      <a:pt x="3965370" y="2385333"/>
                    </a:lnTo>
                    <a:lnTo>
                      <a:pt x="3960861" y="2386469"/>
                    </a:lnTo>
                    <a:lnTo>
                      <a:pt x="3957026" y="2388843"/>
                    </a:lnTo>
                    <a:lnTo>
                      <a:pt x="3952252" y="2389100"/>
                    </a:lnTo>
                    <a:lnTo>
                      <a:pt x="3951271" y="2391997"/>
                    </a:lnTo>
                    <a:lnTo>
                      <a:pt x="3942664" y="2391889"/>
                    </a:lnTo>
                    <a:lnTo>
                      <a:pt x="3938970" y="2390992"/>
                    </a:lnTo>
                    <a:lnTo>
                      <a:pt x="3936439" y="2389879"/>
                    </a:lnTo>
                    <a:lnTo>
                      <a:pt x="3938266" y="2386445"/>
                    </a:lnTo>
                    <a:lnTo>
                      <a:pt x="3939259" y="2385987"/>
                    </a:lnTo>
                    <a:lnTo>
                      <a:pt x="3939319" y="2384537"/>
                    </a:lnTo>
                    <a:lnTo>
                      <a:pt x="3935395" y="2385548"/>
                    </a:lnTo>
                    <a:lnTo>
                      <a:pt x="3934612" y="2385929"/>
                    </a:lnTo>
                    <a:lnTo>
                      <a:pt x="3933999" y="2387325"/>
                    </a:lnTo>
                    <a:lnTo>
                      <a:pt x="3933619" y="2389091"/>
                    </a:lnTo>
                    <a:lnTo>
                      <a:pt x="3933812" y="2390624"/>
                    </a:lnTo>
                    <a:lnTo>
                      <a:pt x="3934883" y="2391284"/>
                    </a:lnTo>
                    <a:lnTo>
                      <a:pt x="3936516" y="2392754"/>
                    </a:lnTo>
                    <a:lnTo>
                      <a:pt x="3940093" y="2393044"/>
                    </a:lnTo>
                    <a:lnTo>
                      <a:pt x="3936411" y="2394221"/>
                    </a:lnTo>
                    <a:lnTo>
                      <a:pt x="3933500" y="2398572"/>
                    </a:lnTo>
                    <a:lnTo>
                      <a:pt x="3927037" y="2402769"/>
                    </a:lnTo>
                    <a:lnTo>
                      <a:pt x="3925621" y="2405649"/>
                    </a:lnTo>
                    <a:lnTo>
                      <a:pt x="3924524" y="2407940"/>
                    </a:lnTo>
                    <a:lnTo>
                      <a:pt x="3924197" y="2410467"/>
                    </a:lnTo>
                    <a:lnTo>
                      <a:pt x="3924308" y="2413303"/>
                    </a:lnTo>
                    <a:lnTo>
                      <a:pt x="3925963" y="2414088"/>
                    </a:lnTo>
                    <a:lnTo>
                      <a:pt x="3930709" y="2412221"/>
                    </a:lnTo>
                    <a:lnTo>
                      <a:pt x="3934197" y="2411571"/>
                    </a:lnTo>
                    <a:lnTo>
                      <a:pt x="3925623" y="2415810"/>
                    </a:lnTo>
                    <a:lnTo>
                      <a:pt x="3908773" y="2419366"/>
                    </a:lnTo>
                    <a:lnTo>
                      <a:pt x="3902228" y="2422632"/>
                    </a:lnTo>
                    <a:lnTo>
                      <a:pt x="3900163" y="2425887"/>
                    </a:lnTo>
                    <a:lnTo>
                      <a:pt x="3898498" y="2426753"/>
                    </a:lnTo>
                    <a:lnTo>
                      <a:pt x="3895506" y="2425616"/>
                    </a:lnTo>
                    <a:lnTo>
                      <a:pt x="3893909" y="2425682"/>
                    </a:lnTo>
                    <a:lnTo>
                      <a:pt x="3891775" y="2426091"/>
                    </a:lnTo>
                    <a:lnTo>
                      <a:pt x="3888048" y="2427954"/>
                    </a:lnTo>
                    <a:lnTo>
                      <a:pt x="3884533" y="2428759"/>
                    </a:lnTo>
                    <a:lnTo>
                      <a:pt x="3883044" y="2429799"/>
                    </a:lnTo>
                    <a:lnTo>
                      <a:pt x="3881777" y="2431266"/>
                    </a:lnTo>
                    <a:lnTo>
                      <a:pt x="3880644" y="2432919"/>
                    </a:lnTo>
                    <a:lnTo>
                      <a:pt x="3878633" y="2434487"/>
                    </a:lnTo>
                    <a:lnTo>
                      <a:pt x="3876032" y="2434976"/>
                    </a:lnTo>
                    <a:lnTo>
                      <a:pt x="3870911" y="2434725"/>
                    </a:lnTo>
                    <a:lnTo>
                      <a:pt x="3872781" y="2431279"/>
                    </a:lnTo>
                    <a:lnTo>
                      <a:pt x="3877241" y="2426994"/>
                    </a:lnTo>
                    <a:lnTo>
                      <a:pt x="3878768" y="2424126"/>
                    </a:lnTo>
                    <a:lnTo>
                      <a:pt x="3877092" y="2421834"/>
                    </a:lnTo>
                    <a:lnTo>
                      <a:pt x="3875211" y="2420051"/>
                    </a:lnTo>
                    <a:lnTo>
                      <a:pt x="3872842" y="2418323"/>
                    </a:lnTo>
                    <a:lnTo>
                      <a:pt x="3871698" y="2417923"/>
                    </a:lnTo>
                    <a:lnTo>
                      <a:pt x="3872084" y="2419342"/>
                    </a:lnTo>
                    <a:lnTo>
                      <a:pt x="3872049" y="2421066"/>
                    </a:lnTo>
                    <a:lnTo>
                      <a:pt x="3871170" y="2423280"/>
                    </a:lnTo>
                    <a:lnTo>
                      <a:pt x="3871477" y="2428535"/>
                    </a:lnTo>
                    <a:lnTo>
                      <a:pt x="3869450" y="2424260"/>
                    </a:lnTo>
                    <a:lnTo>
                      <a:pt x="3867116" y="2422141"/>
                    </a:lnTo>
                    <a:lnTo>
                      <a:pt x="3862235" y="2421432"/>
                    </a:lnTo>
                    <a:lnTo>
                      <a:pt x="3851753" y="2420217"/>
                    </a:lnTo>
                    <a:lnTo>
                      <a:pt x="3848555" y="2420593"/>
                    </a:lnTo>
                    <a:lnTo>
                      <a:pt x="3845383" y="2421800"/>
                    </a:lnTo>
                    <a:lnTo>
                      <a:pt x="3842692" y="2420759"/>
                    </a:lnTo>
                    <a:lnTo>
                      <a:pt x="3838325" y="2422192"/>
                    </a:lnTo>
                    <a:lnTo>
                      <a:pt x="3835195" y="2421134"/>
                    </a:lnTo>
                    <a:lnTo>
                      <a:pt x="3829596" y="2422017"/>
                    </a:lnTo>
                    <a:lnTo>
                      <a:pt x="3821607" y="2419341"/>
                    </a:lnTo>
                    <a:lnTo>
                      <a:pt x="3816593" y="2417087"/>
                    </a:lnTo>
                    <a:lnTo>
                      <a:pt x="3824073" y="2413496"/>
                    </a:lnTo>
                    <a:lnTo>
                      <a:pt x="3831431" y="2413069"/>
                    </a:lnTo>
                    <a:lnTo>
                      <a:pt x="3834428" y="2409924"/>
                    </a:lnTo>
                    <a:lnTo>
                      <a:pt x="3836485" y="2411330"/>
                    </a:lnTo>
                    <a:lnTo>
                      <a:pt x="3841849" y="2410793"/>
                    </a:lnTo>
                    <a:lnTo>
                      <a:pt x="3845071" y="2411698"/>
                    </a:lnTo>
                    <a:lnTo>
                      <a:pt x="3846626" y="2411388"/>
                    </a:lnTo>
                    <a:lnTo>
                      <a:pt x="3847242" y="2411589"/>
                    </a:lnTo>
                    <a:lnTo>
                      <a:pt x="3847295" y="2412069"/>
                    </a:lnTo>
                    <a:lnTo>
                      <a:pt x="3847046" y="2413789"/>
                    </a:lnTo>
                    <a:lnTo>
                      <a:pt x="3847103" y="2414269"/>
                    </a:lnTo>
                    <a:lnTo>
                      <a:pt x="3847887" y="2415247"/>
                    </a:lnTo>
                    <a:lnTo>
                      <a:pt x="3848332" y="2416068"/>
                    </a:lnTo>
                    <a:lnTo>
                      <a:pt x="3849037" y="2416686"/>
                    </a:lnTo>
                    <a:lnTo>
                      <a:pt x="3850626" y="2417005"/>
                    </a:lnTo>
                    <a:lnTo>
                      <a:pt x="3854888" y="2415978"/>
                    </a:lnTo>
                    <a:lnTo>
                      <a:pt x="3859384" y="2412966"/>
                    </a:lnTo>
                    <a:lnTo>
                      <a:pt x="3861729" y="2408644"/>
                    </a:lnTo>
                    <a:lnTo>
                      <a:pt x="3858552" y="2406161"/>
                    </a:lnTo>
                    <a:lnTo>
                      <a:pt x="3858951" y="2403772"/>
                    </a:lnTo>
                    <a:lnTo>
                      <a:pt x="3864947" y="2400473"/>
                    </a:lnTo>
                    <a:lnTo>
                      <a:pt x="3866637" y="2399047"/>
                    </a:lnTo>
                    <a:lnTo>
                      <a:pt x="3868628" y="2396539"/>
                    </a:lnTo>
                    <a:lnTo>
                      <a:pt x="3869961" y="2395610"/>
                    </a:lnTo>
                    <a:lnTo>
                      <a:pt x="3873641" y="2395927"/>
                    </a:lnTo>
                    <a:lnTo>
                      <a:pt x="3879133" y="2396507"/>
                    </a:lnTo>
                    <a:lnTo>
                      <a:pt x="3884655" y="2392925"/>
                    </a:lnTo>
                    <a:lnTo>
                      <a:pt x="3887875" y="2386514"/>
                    </a:lnTo>
                    <a:lnTo>
                      <a:pt x="3884081" y="2384085"/>
                    </a:lnTo>
                    <a:lnTo>
                      <a:pt x="3880380" y="2385132"/>
                    </a:lnTo>
                    <a:lnTo>
                      <a:pt x="3877476" y="2386082"/>
                    </a:lnTo>
                    <a:lnTo>
                      <a:pt x="3874689" y="2389576"/>
                    </a:lnTo>
                    <a:lnTo>
                      <a:pt x="3873319" y="2392928"/>
                    </a:lnTo>
                    <a:lnTo>
                      <a:pt x="3871613" y="2393326"/>
                    </a:lnTo>
                    <a:lnTo>
                      <a:pt x="3873560" y="2386594"/>
                    </a:lnTo>
                    <a:lnTo>
                      <a:pt x="3874113" y="2384544"/>
                    </a:lnTo>
                    <a:lnTo>
                      <a:pt x="3874302" y="2382426"/>
                    </a:lnTo>
                    <a:lnTo>
                      <a:pt x="3873834" y="2380593"/>
                    </a:lnTo>
                    <a:lnTo>
                      <a:pt x="3873047" y="2378016"/>
                    </a:lnTo>
                    <a:lnTo>
                      <a:pt x="3872071" y="2376240"/>
                    </a:lnTo>
                    <a:lnTo>
                      <a:pt x="3871207" y="2372327"/>
                    </a:lnTo>
                    <a:lnTo>
                      <a:pt x="3870738" y="2367961"/>
                    </a:lnTo>
                    <a:lnTo>
                      <a:pt x="3871085" y="2355248"/>
                    </a:lnTo>
                    <a:lnTo>
                      <a:pt x="3870899" y="2353341"/>
                    </a:lnTo>
                    <a:lnTo>
                      <a:pt x="3870374" y="2351484"/>
                    </a:lnTo>
                    <a:lnTo>
                      <a:pt x="3869341" y="2350368"/>
                    </a:lnTo>
                    <a:lnTo>
                      <a:pt x="3865885" y="2347711"/>
                    </a:lnTo>
                    <a:lnTo>
                      <a:pt x="3865162" y="2346655"/>
                    </a:lnTo>
                    <a:lnTo>
                      <a:pt x="3863835" y="2343704"/>
                    </a:lnTo>
                    <a:lnTo>
                      <a:pt x="3863384" y="2341625"/>
                    </a:lnTo>
                    <a:lnTo>
                      <a:pt x="3864145" y="2340697"/>
                    </a:lnTo>
                    <a:lnTo>
                      <a:pt x="3864806" y="2340475"/>
                    </a:lnTo>
                    <a:lnTo>
                      <a:pt x="3866138" y="2339491"/>
                    </a:lnTo>
                    <a:lnTo>
                      <a:pt x="3866976" y="2339273"/>
                    </a:lnTo>
                    <a:lnTo>
                      <a:pt x="3867969" y="2339615"/>
                    </a:lnTo>
                    <a:lnTo>
                      <a:pt x="3868043" y="2340389"/>
                    </a:lnTo>
                    <a:lnTo>
                      <a:pt x="3867865" y="2341279"/>
                    </a:lnTo>
                    <a:lnTo>
                      <a:pt x="3868122" y="2341968"/>
                    </a:lnTo>
                    <a:lnTo>
                      <a:pt x="3868380" y="2342418"/>
                    </a:lnTo>
                    <a:lnTo>
                      <a:pt x="3868615" y="2343155"/>
                    </a:lnTo>
                    <a:lnTo>
                      <a:pt x="3869010" y="2344005"/>
                    </a:lnTo>
                    <a:lnTo>
                      <a:pt x="3869799" y="2344782"/>
                    </a:lnTo>
                    <a:lnTo>
                      <a:pt x="3870831" y="2344925"/>
                    </a:lnTo>
                    <a:lnTo>
                      <a:pt x="3874483" y="2343393"/>
                    </a:lnTo>
                    <a:lnTo>
                      <a:pt x="3878416" y="2342544"/>
                    </a:lnTo>
                    <a:lnTo>
                      <a:pt x="3880754" y="2341622"/>
                    </a:lnTo>
                    <a:lnTo>
                      <a:pt x="3885076" y="2337807"/>
                    </a:lnTo>
                    <a:lnTo>
                      <a:pt x="3895943" y="2332904"/>
                    </a:lnTo>
                    <a:lnTo>
                      <a:pt x="3896651" y="2331982"/>
                    </a:lnTo>
                    <a:lnTo>
                      <a:pt x="3897301" y="2329865"/>
                    </a:lnTo>
                    <a:lnTo>
                      <a:pt x="3897945" y="2328918"/>
                    </a:lnTo>
                    <a:lnTo>
                      <a:pt x="3898729" y="2328786"/>
                    </a:lnTo>
                    <a:lnTo>
                      <a:pt x="3900928" y="2329223"/>
                    </a:lnTo>
                    <a:lnTo>
                      <a:pt x="3901560" y="2328969"/>
                    </a:lnTo>
                    <a:lnTo>
                      <a:pt x="3902202" y="2326278"/>
                    </a:lnTo>
                    <a:lnTo>
                      <a:pt x="3901099" y="2325196"/>
                    </a:lnTo>
                    <a:lnTo>
                      <a:pt x="3896798" y="2325128"/>
                    </a:lnTo>
                    <a:lnTo>
                      <a:pt x="3896437" y="2324454"/>
                    </a:lnTo>
                    <a:lnTo>
                      <a:pt x="3896088" y="2322992"/>
                    </a:lnTo>
                    <a:lnTo>
                      <a:pt x="3895247" y="2321530"/>
                    </a:lnTo>
                    <a:lnTo>
                      <a:pt x="3893341" y="2320835"/>
                    </a:lnTo>
                    <a:lnTo>
                      <a:pt x="3892146" y="2321383"/>
                    </a:lnTo>
                    <a:lnTo>
                      <a:pt x="3888795" y="2324081"/>
                    </a:lnTo>
                    <a:lnTo>
                      <a:pt x="3887168" y="2324990"/>
                    </a:lnTo>
                    <a:lnTo>
                      <a:pt x="3881794" y="2325843"/>
                    </a:lnTo>
                    <a:lnTo>
                      <a:pt x="3866275" y="2324679"/>
                    </a:lnTo>
                    <a:lnTo>
                      <a:pt x="3861811" y="2326474"/>
                    </a:lnTo>
                    <a:lnTo>
                      <a:pt x="3859668" y="2329698"/>
                    </a:lnTo>
                    <a:lnTo>
                      <a:pt x="3860497" y="2332737"/>
                    </a:lnTo>
                    <a:lnTo>
                      <a:pt x="3864896" y="2333905"/>
                    </a:lnTo>
                    <a:lnTo>
                      <a:pt x="3864829" y="2335226"/>
                    </a:lnTo>
                    <a:lnTo>
                      <a:pt x="3858404" y="2333398"/>
                    </a:lnTo>
                    <a:lnTo>
                      <a:pt x="3852939" y="2328772"/>
                    </a:lnTo>
                    <a:lnTo>
                      <a:pt x="3848680" y="2322277"/>
                    </a:lnTo>
                    <a:lnTo>
                      <a:pt x="3842375" y="2302861"/>
                    </a:lnTo>
                    <a:lnTo>
                      <a:pt x="3840797" y="2299269"/>
                    </a:lnTo>
                    <a:lnTo>
                      <a:pt x="3839896" y="2294988"/>
                    </a:lnTo>
                    <a:lnTo>
                      <a:pt x="3841792" y="2291263"/>
                    </a:lnTo>
                    <a:lnTo>
                      <a:pt x="3844388" y="2288886"/>
                    </a:lnTo>
                    <a:lnTo>
                      <a:pt x="3847377" y="2286746"/>
                    </a:lnTo>
                    <a:lnTo>
                      <a:pt x="3842039" y="2292731"/>
                    </a:lnTo>
                    <a:lnTo>
                      <a:pt x="3840885" y="2295864"/>
                    </a:lnTo>
                    <a:lnTo>
                      <a:pt x="3841872" y="2298793"/>
                    </a:lnTo>
                    <a:lnTo>
                      <a:pt x="3845164" y="2301457"/>
                    </a:lnTo>
                    <a:lnTo>
                      <a:pt x="3848758" y="2298347"/>
                    </a:lnTo>
                    <a:lnTo>
                      <a:pt x="3851002" y="2293083"/>
                    </a:lnTo>
                    <a:lnTo>
                      <a:pt x="3850920" y="2288020"/>
                    </a:lnTo>
                    <a:lnTo>
                      <a:pt x="3851875" y="2286349"/>
                    </a:lnTo>
                    <a:lnTo>
                      <a:pt x="3852252" y="2283865"/>
                    </a:lnTo>
                    <a:lnTo>
                      <a:pt x="3852102" y="2281149"/>
                    </a:lnTo>
                    <a:lnTo>
                      <a:pt x="3851410" y="2278800"/>
                    </a:lnTo>
                    <a:lnTo>
                      <a:pt x="3853137" y="2274690"/>
                    </a:lnTo>
                    <a:lnTo>
                      <a:pt x="3854960" y="2272237"/>
                    </a:lnTo>
                    <a:lnTo>
                      <a:pt x="3857286" y="2271082"/>
                    </a:lnTo>
                    <a:lnTo>
                      <a:pt x="3860505" y="2270822"/>
                    </a:lnTo>
                    <a:lnTo>
                      <a:pt x="3863665" y="2265631"/>
                    </a:lnTo>
                    <a:lnTo>
                      <a:pt x="3865831" y="2263550"/>
                    </a:lnTo>
                    <a:lnTo>
                      <a:pt x="3867556" y="2265707"/>
                    </a:lnTo>
                    <a:lnTo>
                      <a:pt x="3868371" y="2265720"/>
                    </a:lnTo>
                    <a:lnTo>
                      <a:pt x="3869837" y="2262276"/>
                    </a:lnTo>
                    <a:lnTo>
                      <a:pt x="3872221" y="2257733"/>
                    </a:lnTo>
                    <a:lnTo>
                      <a:pt x="3874957" y="2254681"/>
                    </a:lnTo>
                    <a:lnTo>
                      <a:pt x="3878894" y="2256546"/>
                    </a:lnTo>
                    <a:lnTo>
                      <a:pt x="3880925" y="2256052"/>
                    </a:lnTo>
                    <a:lnTo>
                      <a:pt x="3882945" y="2254897"/>
                    </a:lnTo>
                    <a:lnTo>
                      <a:pt x="3884336" y="2253725"/>
                    </a:lnTo>
                    <a:lnTo>
                      <a:pt x="3886206" y="2251600"/>
                    </a:lnTo>
                    <a:lnTo>
                      <a:pt x="3886692" y="2250526"/>
                    </a:lnTo>
                    <a:lnTo>
                      <a:pt x="3868884" y="2225504"/>
                    </a:lnTo>
                    <a:lnTo>
                      <a:pt x="3868109" y="2220147"/>
                    </a:lnTo>
                    <a:lnTo>
                      <a:pt x="3867063" y="2217747"/>
                    </a:lnTo>
                    <a:lnTo>
                      <a:pt x="3866788" y="2215423"/>
                    </a:lnTo>
                    <a:lnTo>
                      <a:pt x="3866813" y="2213422"/>
                    </a:lnTo>
                    <a:lnTo>
                      <a:pt x="3866664" y="2211991"/>
                    </a:lnTo>
                    <a:lnTo>
                      <a:pt x="3865699" y="2210205"/>
                    </a:lnTo>
                    <a:lnTo>
                      <a:pt x="3863296" y="2207713"/>
                    </a:lnTo>
                    <a:lnTo>
                      <a:pt x="3853150" y="2189546"/>
                    </a:lnTo>
                    <a:lnTo>
                      <a:pt x="3842452" y="2176346"/>
                    </a:lnTo>
                    <a:lnTo>
                      <a:pt x="3840964" y="2173172"/>
                    </a:lnTo>
                    <a:lnTo>
                      <a:pt x="3840326" y="2168956"/>
                    </a:lnTo>
                    <a:lnTo>
                      <a:pt x="3840869" y="2162039"/>
                    </a:lnTo>
                    <a:lnTo>
                      <a:pt x="3839897" y="2159287"/>
                    </a:lnTo>
                    <a:lnTo>
                      <a:pt x="3833621" y="2156967"/>
                    </a:lnTo>
                    <a:lnTo>
                      <a:pt x="3831088" y="2154212"/>
                    </a:lnTo>
                    <a:lnTo>
                      <a:pt x="3829024" y="2150703"/>
                    </a:lnTo>
                    <a:lnTo>
                      <a:pt x="3827457" y="2147321"/>
                    </a:lnTo>
                    <a:lnTo>
                      <a:pt x="3825147" y="2139693"/>
                    </a:lnTo>
                    <a:lnTo>
                      <a:pt x="3824271" y="2134731"/>
                    </a:lnTo>
                    <a:lnTo>
                      <a:pt x="3825140" y="2132518"/>
                    </a:lnTo>
                    <a:lnTo>
                      <a:pt x="3826518" y="2131718"/>
                    </a:lnTo>
                    <a:lnTo>
                      <a:pt x="3827912" y="2129762"/>
                    </a:lnTo>
                    <a:lnTo>
                      <a:pt x="3829027" y="2127371"/>
                    </a:lnTo>
                    <a:lnTo>
                      <a:pt x="3829543" y="2125288"/>
                    </a:lnTo>
                    <a:lnTo>
                      <a:pt x="3829694" y="2123579"/>
                    </a:lnTo>
                    <a:lnTo>
                      <a:pt x="3829711" y="2122455"/>
                    </a:lnTo>
                    <a:lnTo>
                      <a:pt x="3829290" y="2121219"/>
                    </a:lnTo>
                    <a:lnTo>
                      <a:pt x="3824761" y="2114292"/>
                    </a:lnTo>
                    <a:lnTo>
                      <a:pt x="3824084" y="2112987"/>
                    </a:lnTo>
                    <a:lnTo>
                      <a:pt x="3827977" y="2112972"/>
                    </a:lnTo>
                    <a:lnTo>
                      <a:pt x="3832584" y="2111491"/>
                    </a:lnTo>
                    <a:lnTo>
                      <a:pt x="3835843" y="2110283"/>
                    </a:lnTo>
                    <a:lnTo>
                      <a:pt x="3836075" y="2107150"/>
                    </a:lnTo>
                    <a:lnTo>
                      <a:pt x="3836796" y="2104848"/>
                    </a:lnTo>
                    <a:lnTo>
                      <a:pt x="3837780" y="2104705"/>
                    </a:lnTo>
                    <a:lnTo>
                      <a:pt x="3836210" y="2103609"/>
                    </a:lnTo>
                    <a:lnTo>
                      <a:pt x="3834463" y="2103587"/>
                    </a:lnTo>
                    <a:lnTo>
                      <a:pt x="3830747" y="2104584"/>
                    </a:lnTo>
                    <a:lnTo>
                      <a:pt x="3831103" y="2105302"/>
                    </a:lnTo>
                    <a:lnTo>
                      <a:pt x="3831345" y="2105941"/>
                    </a:lnTo>
                    <a:lnTo>
                      <a:pt x="3833453" y="2107099"/>
                    </a:lnTo>
                    <a:lnTo>
                      <a:pt x="3833406" y="2108925"/>
                    </a:lnTo>
                    <a:lnTo>
                      <a:pt x="3829558" y="2109862"/>
                    </a:lnTo>
                    <a:lnTo>
                      <a:pt x="3824561" y="2110400"/>
                    </a:lnTo>
                    <a:lnTo>
                      <a:pt x="3820836" y="2108638"/>
                    </a:lnTo>
                    <a:lnTo>
                      <a:pt x="3821858" y="2104427"/>
                    </a:lnTo>
                    <a:lnTo>
                      <a:pt x="3819549" y="2104908"/>
                    </a:lnTo>
                    <a:lnTo>
                      <a:pt x="3818462" y="2106172"/>
                    </a:lnTo>
                    <a:lnTo>
                      <a:pt x="3818094" y="2107899"/>
                    </a:lnTo>
                    <a:lnTo>
                      <a:pt x="3818012" y="2109800"/>
                    </a:lnTo>
                    <a:lnTo>
                      <a:pt x="3818276" y="2110400"/>
                    </a:lnTo>
                    <a:lnTo>
                      <a:pt x="3818879" y="2110854"/>
                    </a:lnTo>
                    <a:lnTo>
                      <a:pt x="3819496" y="2111086"/>
                    </a:lnTo>
                    <a:lnTo>
                      <a:pt x="3819783" y="2111027"/>
                    </a:lnTo>
                    <a:lnTo>
                      <a:pt x="3819757" y="2113776"/>
                    </a:lnTo>
                    <a:lnTo>
                      <a:pt x="3819617" y="2113813"/>
                    </a:lnTo>
                    <a:lnTo>
                      <a:pt x="3818902" y="2113832"/>
                    </a:lnTo>
                    <a:lnTo>
                      <a:pt x="3817887" y="2115257"/>
                    </a:lnTo>
                    <a:lnTo>
                      <a:pt x="3817553" y="2116946"/>
                    </a:lnTo>
                    <a:lnTo>
                      <a:pt x="3818904" y="2117779"/>
                    </a:lnTo>
                    <a:lnTo>
                      <a:pt x="3822957" y="2118336"/>
                    </a:lnTo>
                    <a:lnTo>
                      <a:pt x="3825563" y="2120541"/>
                    </a:lnTo>
                    <a:lnTo>
                      <a:pt x="3826373" y="2123900"/>
                    </a:lnTo>
                    <a:lnTo>
                      <a:pt x="3825007" y="2125816"/>
                    </a:lnTo>
                    <a:lnTo>
                      <a:pt x="3821612" y="2127378"/>
                    </a:lnTo>
                    <a:lnTo>
                      <a:pt x="3818390" y="2128432"/>
                    </a:lnTo>
                    <a:lnTo>
                      <a:pt x="3817113" y="2129415"/>
                    </a:lnTo>
                    <a:lnTo>
                      <a:pt x="3814556" y="2130024"/>
                    </a:lnTo>
                    <a:lnTo>
                      <a:pt x="3812113" y="2126749"/>
                    </a:lnTo>
                    <a:lnTo>
                      <a:pt x="3811519" y="2124841"/>
                    </a:lnTo>
                    <a:lnTo>
                      <a:pt x="3808721" y="2120280"/>
                    </a:lnTo>
                    <a:lnTo>
                      <a:pt x="3808053" y="2118746"/>
                    </a:lnTo>
                    <a:lnTo>
                      <a:pt x="3807844" y="2117577"/>
                    </a:lnTo>
                    <a:lnTo>
                      <a:pt x="3809545" y="2116719"/>
                    </a:lnTo>
                    <a:lnTo>
                      <a:pt x="3810735" y="2115444"/>
                    </a:lnTo>
                    <a:lnTo>
                      <a:pt x="3811539" y="2114864"/>
                    </a:lnTo>
                    <a:lnTo>
                      <a:pt x="3812669" y="2111565"/>
                    </a:lnTo>
                    <a:lnTo>
                      <a:pt x="3812644" y="2109363"/>
                    </a:lnTo>
                    <a:lnTo>
                      <a:pt x="3811680" y="2107403"/>
                    </a:lnTo>
                    <a:lnTo>
                      <a:pt x="3809986" y="2104877"/>
                    </a:lnTo>
                    <a:lnTo>
                      <a:pt x="3804145" y="2098782"/>
                    </a:lnTo>
                    <a:lnTo>
                      <a:pt x="3801910" y="2098218"/>
                    </a:lnTo>
                    <a:lnTo>
                      <a:pt x="3799826" y="2096864"/>
                    </a:lnTo>
                    <a:lnTo>
                      <a:pt x="3798492" y="2094285"/>
                    </a:lnTo>
                    <a:lnTo>
                      <a:pt x="3800750" y="2091505"/>
                    </a:lnTo>
                    <a:lnTo>
                      <a:pt x="3807669" y="2087766"/>
                    </a:lnTo>
                    <a:lnTo>
                      <a:pt x="3815863" y="2074152"/>
                    </a:lnTo>
                    <a:lnTo>
                      <a:pt x="3817928" y="2069837"/>
                    </a:lnTo>
                    <a:lnTo>
                      <a:pt x="3818941" y="2065066"/>
                    </a:lnTo>
                    <a:lnTo>
                      <a:pt x="3820560" y="2060499"/>
                    </a:lnTo>
                    <a:lnTo>
                      <a:pt x="3823880" y="2057678"/>
                    </a:lnTo>
                    <a:lnTo>
                      <a:pt x="3827662" y="2055611"/>
                    </a:lnTo>
                    <a:lnTo>
                      <a:pt x="3830679" y="2053267"/>
                    </a:lnTo>
                    <a:lnTo>
                      <a:pt x="3831204" y="2051259"/>
                    </a:lnTo>
                    <a:lnTo>
                      <a:pt x="3830958" y="2048811"/>
                    </a:lnTo>
                    <a:lnTo>
                      <a:pt x="3830906" y="2046770"/>
                    </a:lnTo>
                    <a:lnTo>
                      <a:pt x="3831987" y="2045935"/>
                    </a:lnTo>
                    <a:lnTo>
                      <a:pt x="3832142" y="2044901"/>
                    </a:lnTo>
                    <a:lnTo>
                      <a:pt x="3832157" y="2039888"/>
                    </a:lnTo>
                    <a:lnTo>
                      <a:pt x="3832020" y="2037964"/>
                    </a:lnTo>
                    <a:lnTo>
                      <a:pt x="3834127" y="2037787"/>
                    </a:lnTo>
                    <a:lnTo>
                      <a:pt x="3836238" y="2036860"/>
                    </a:lnTo>
                    <a:lnTo>
                      <a:pt x="3847117" y="2029760"/>
                    </a:lnTo>
                    <a:lnTo>
                      <a:pt x="3848720" y="2028246"/>
                    </a:lnTo>
                    <a:lnTo>
                      <a:pt x="3853505" y="2026059"/>
                    </a:lnTo>
                    <a:lnTo>
                      <a:pt x="3865470" y="2027302"/>
                    </a:lnTo>
                    <a:lnTo>
                      <a:pt x="3868804" y="2022677"/>
                    </a:lnTo>
                    <a:lnTo>
                      <a:pt x="3866968" y="2021573"/>
                    </a:lnTo>
                    <a:lnTo>
                      <a:pt x="3866266" y="2021308"/>
                    </a:lnTo>
                    <a:lnTo>
                      <a:pt x="3868716" y="2019712"/>
                    </a:lnTo>
                    <a:lnTo>
                      <a:pt x="3876991" y="2016172"/>
                    </a:lnTo>
                    <a:lnTo>
                      <a:pt x="3873392" y="2014217"/>
                    </a:lnTo>
                    <a:lnTo>
                      <a:pt x="3869811" y="2015329"/>
                    </a:lnTo>
                    <a:lnTo>
                      <a:pt x="3866274" y="2017468"/>
                    </a:lnTo>
                    <a:lnTo>
                      <a:pt x="3852272" y="2023280"/>
                    </a:lnTo>
                    <a:lnTo>
                      <a:pt x="3849492" y="2022355"/>
                    </a:lnTo>
                    <a:lnTo>
                      <a:pt x="3850472" y="2019036"/>
                    </a:lnTo>
                    <a:lnTo>
                      <a:pt x="3847338" y="2013958"/>
                    </a:lnTo>
                    <a:lnTo>
                      <a:pt x="3842635" y="2010052"/>
                    </a:lnTo>
                    <a:lnTo>
                      <a:pt x="3838875" y="2010248"/>
                    </a:lnTo>
                    <a:lnTo>
                      <a:pt x="3845317" y="2016135"/>
                    </a:lnTo>
                    <a:lnTo>
                      <a:pt x="3846288" y="2017590"/>
                    </a:lnTo>
                    <a:lnTo>
                      <a:pt x="3846130" y="2021231"/>
                    </a:lnTo>
                    <a:lnTo>
                      <a:pt x="3845683" y="2024393"/>
                    </a:lnTo>
                    <a:lnTo>
                      <a:pt x="3844305" y="2026604"/>
                    </a:lnTo>
                    <a:lnTo>
                      <a:pt x="3837758" y="2028002"/>
                    </a:lnTo>
                    <a:lnTo>
                      <a:pt x="3830730" y="2030771"/>
                    </a:lnTo>
                    <a:lnTo>
                      <a:pt x="3827609" y="2031379"/>
                    </a:lnTo>
                    <a:lnTo>
                      <a:pt x="3825642" y="2032973"/>
                    </a:lnTo>
                    <a:lnTo>
                      <a:pt x="3824419" y="2036699"/>
                    </a:lnTo>
                    <a:lnTo>
                      <a:pt x="3823495" y="2040903"/>
                    </a:lnTo>
                    <a:lnTo>
                      <a:pt x="3822409" y="2043889"/>
                    </a:lnTo>
                    <a:lnTo>
                      <a:pt x="3821922" y="2044909"/>
                    </a:lnTo>
                    <a:lnTo>
                      <a:pt x="3820903" y="2048387"/>
                    </a:lnTo>
                    <a:lnTo>
                      <a:pt x="3812576" y="2059229"/>
                    </a:lnTo>
                    <a:lnTo>
                      <a:pt x="3811279" y="2061485"/>
                    </a:lnTo>
                    <a:lnTo>
                      <a:pt x="3810902" y="2062783"/>
                    </a:lnTo>
                    <a:lnTo>
                      <a:pt x="3810460" y="2065822"/>
                    </a:lnTo>
                    <a:lnTo>
                      <a:pt x="3809987" y="2066897"/>
                    </a:lnTo>
                    <a:lnTo>
                      <a:pt x="3808438" y="2067620"/>
                    </a:lnTo>
                    <a:lnTo>
                      <a:pt x="3804022" y="2066786"/>
                    </a:lnTo>
                    <a:lnTo>
                      <a:pt x="3802281" y="2069390"/>
                    </a:lnTo>
                    <a:lnTo>
                      <a:pt x="3802818" y="2071512"/>
                    </a:lnTo>
                    <a:lnTo>
                      <a:pt x="3804208" y="2073937"/>
                    </a:lnTo>
                    <a:lnTo>
                      <a:pt x="3805028" y="2077420"/>
                    </a:lnTo>
                    <a:lnTo>
                      <a:pt x="3800257" y="2079594"/>
                    </a:lnTo>
                    <a:lnTo>
                      <a:pt x="3798635" y="2079247"/>
                    </a:lnTo>
                    <a:lnTo>
                      <a:pt x="3799847" y="2076119"/>
                    </a:lnTo>
                    <a:lnTo>
                      <a:pt x="3798982" y="2074662"/>
                    </a:lnTo>
                    <a:lnTo>
                      <a:pt x="3794300" y="2077297"/>
                    </a:lnTo>
                    <a:lnTo>
                      <a:pt x="3792933" y="2079043"/>
                    </a:lnTo>
                    <a:lnTo>
                      <a:pt x="3794248" y="2081325"/>
                    </a:lnTo>
                    <a:lnTo>
                      <a:pt x="3792288" y="2082523"/>
                    </a:lnTo>
                    <a:lnTo>
                      <a:pt x="3788992" y="2083220"/>
                    </a:lnTo>
                    <a:lnTo>
                      <a:pt x="3787341" y="2084463"/>
                    </a:lnTo>
                    <a:lnTo>
                      <a:pt x="3786030" y="2085799"/>
                    </a:lnTo>
                    <a:lnTo>
                      <a:pt x="3784921" y="2086419"/>
                    </a:lnTo>
                    <a:lnTo>
                      <a:pt x="3784045" y="2085872"/>
                    </a:lnTo>
                    <a:lnTo>
                      <a:pt x="3783470" y="2083778"/>
                    </a:lnTo>
                    <a:lnTo>
                      <a:pt x="3782692" y="2085355"/>
                    </a:lnTo>
                    <a:lnTo>
                      <a:pt x="3781997" y="2086134"/>
                    </a:lnTo>
                    <a:lnTo>
                      <a:pt x="3781102" y="2086368"/>
                    </a:lnTo>
                    <a:lnTo>
                      <a:pt x="3779708" y="2086365"/>
                    </a:lnTo>
                    <a:lnTo>
                      <a:pt x="3779621" y="2087694"/>
                    </a:lnTo>
                    <a:lnTo>
                      <a:pt x="3783576" y="2089481"/>
                    </a:lnTo>
                    <a:lnTo>
                      <a:pt x="3784799" y="2090449"/>
                    </a:lnTo>
                    <a:lnTo>
                      <a:pt x="3781577" y="2091638"/>
                    </a:lnTo>
                    <a:lnTo>
                      <a:pt x="3780320" y="2091691"/>
                    </a:lnTo>
                    <a:lnTo>
                      <a:pt x="3785138" y="2094271"/>
                    </a:lnTo>
                    <a:lnTo>
                      <a:pt x="3786139" y="2095780"/>
                    </a:lnTo>
                    <a:lnTo>
                      <a:pt x="3786470" y="2097799"/>
                    </a:lnTo>
                    <a:lnTo>
                      <a:pt x="3786094" y="2099487"/>
                    </a:lnTo>
                    <a:lnTo>
                      <a:pt x="3785012" y="2100639"/>
                    </a:lnTo>
                    <a:lnTo>
                      <a:pt x="3783238" y="2101047"/>
                    </a:lnTo>
                    <a:lnTo>
                      <a:pt x="3766611" y="2099388"/>
                    </a:lnTo>
                    <a:lnTo>
                      <a:pt x="3772355" y="2102230"/>
                    </a:lnTo>
                    <a:lnTo>
                      <a:pt x="3784921" y="2105238"/>
                    </a:lnTo>
                    <a:lnTo>
                      <a:pt x="3796026" y="2111797"/>
                    </a:lnTo>
                    <a:lnTo>
                      <a:pt x="3798299" y="2114533"/>
                    </a:lnTo>
                    <a:lnTo>
                      <a:pt x="3797625" y="2118007"/>
                    </a:lnTo>
                    <a:lnTo>
                      <a:pt x="3793736" y="2122332"/>
                    </a:lnTo>
                    <a:lnTo>
                      <a:pt x="3792088" y="2124989"/>
                    </a:lnTo>
                    <a:lnTo>
                      <a:pt x="3791261" y="2128587"/>
                    </a:lnTo>
                    <a:lnTo>
                      <a:pt x="3791660" y="2132305"/>
                    </a:lnTo>
                    <a:lnTo>
                      <a:pt x="3792785" y="2134776"/>
                    </a:lnTo>
                    <a:lnTo>
                      <a:pt x="3793604" y="2137359"/>
                    </a:lnTo>
                    <a:lnTo>
                      <a:pt x="3793115" y="2141370"/>
                    </a:lnTo>
                    <a:lnTo>
                      <a:pt x="3791887" y="2144741"/>
                    </a:lnTo>
                    <a:lnTo>
                      <a:pt x="3790240" y="2147764"/>
                    </a:lnTo>
                    <a:lnTo>
                      <a:pt x="3788293" y="2150258"/>
                    </a:lnTo>
                    <a:lnTo>
                      <a:pt x="3786158" y="2152016"/>
                    </a:lnTo>
                    <a:lnTo>
                      <a:pt x="3779133" y="2154539"/>
                    </a:lnTo>
                    <a:lnTo>
                      <a:pt x="3771180" y="2154869"/>
                    </a:lnTo>
                    <a:lnTo>
                      <a:pt x="3763410" y="2153263"/>
                    </a:lnTo>
                    <a:lnTo>
                      <a:pt x="3756967" y="2149993"/>
                    </a:lnTo>
                    <a:lnTo>
                      <a:pt x="3756345" y="2157137"/>
                    </a:lnTo>
                    <a:lnTo>
                      <a:pt x="3748846" y="2161991"/>
                    </a:lnTo>
                    <a:lnTo>
                      <a:pt x="3711358" y="2177480"/>
                    </a:lnTo>
                    <a:lnTo>
                      <a:pt x="3681161" y="2182435"/>
                    </a:lnTo>
                    <a:lnTo>
                      <a:pt x="3641851" y="2187247"/>
                    </a:lnTo>
                    <a:lnTo>
                      <a:pt x="3607685" y="2186644"/>
                    </a:lnTo>
                    <a:lnTo>
                      <a:pt x="3579481" y="2179233"/>
                    </a:lnTo>
                    <a:lnTo>
                      <a:pt x="3575713" y="2177375"/>
                    </a:lnTo>
                    <a:lnTo>
                      <a:pt x="3572023" y="2173000"/>
                    </a:lnTo>
                    <a:lnTo>
                      <a:pt x="3568974" y="2167657"/>
                    </a:lnTo>
                    <a:lnTo>
                      <a:pt x="3567092" y="2162902"/>
                    </a:lnTo>
                    <a:lnTo>
                      <a:pt x="3566823" y="2155206"/>
                    </a:lnTo>
                    <a:lnTo>
                      <a:pt x="3570758" y="2152644"/>
                    </a:lnTo>
                    <a:lnTo>
                      <a:pt x="3582435" y="2151199"/>
                    </a:lnTo>
                    <a:lnTo>
                      <a:pt x="3582554" y="2149867"/>
                    </a:lnTo>
                    <a:lnTo>
                      <a:pt x="3581082" y="2149970"/>
                    </a:lnTo>
                    <a:lnTo>
                      <a:pt x="3579706" y="2149806"/>
                    </a:lnTo>
                    <a:lnTo>
                      <a:pt x="3578446" y="2149312"/>
                    </a:lnTo>
                    <a:lnTo>
                      <a:pt x="3577292" y="2148391"/>
                    </a:lnTo>
                    <a:lnTo>
                      <a:pt x="3578147" y="2147882"/>
                    </a:lnTo>
                    <a:lnTo>
                      <a:pt x="3580346" y="2145822"/>
                    </a:lnTo>
                    <a:lnTo>
                      <a:pt x="3576300" y="2144640"/>
                    </a:lnTo>
                    <a:lnTo>
                      <a:pt x="3569755" y="2139801"/>
                    </a:lnTo>
                    <a:lnTo>
                      <a:pt x="3551246" y="2133011"/>
                    </a:lnTo>
                    <a:lnTo>
                      <a:pt x="3546788" y="2129287"/>
                    </a:lnTo>
                    <a:lnTo>
                      <a:pt x="3544975" y="2128721"/>
                    </a:lnTo>
                    <a:lnTo>
                      <a:pt x="3543370" y="2127848"/>
                    </a:lnTo>
                    <a:lnTo>
                      <a:pt x="3540893" y="2124110"/>
                    </a:lnTo>
                    <a:lnTo>
                      <a:pt x="3540109" y="2123261"/>
                    </a:lnTo>
                    <a:lnTo>
                      <a:pt x="3539790" y="2122419"/>
                    </a:lnTo>
                    <a:lnTo>
                      <a:pt x="3535736" y="2117801"/>
                    </a:lnTo>
                    <a:lnTo>
                      <a:pt x="3534709" y="2116128"/>
                    </a:lnTo>
                    <a:lnTo>
                      <a:pt x="3533990" y="2114297"/>
                    </a:lnTo>
                    <a:lnTo>
                      <a:pt x="3534112" y="2112548"/>
                    </a:lnTo>
                    <a:lnTo>
                      <a:pt x="3535575" y="2111129"/>
                    </a:lnTo>
                    <a:lnTo>
                      <a:pt x="3535714" y="2109690"/>
                    </a:lnTo>
                    <a:lnTo>
                      <a:pt x="3532320" y="2108249"/>
                    </a:lnTo>
                    <a:lnTo>
                      <a:pt x="3526177" y="2102633"/>
                    </a:lnTo>
                    <a:lnTo>
                      <a:pt x="3519963" y="2099838"/>
                    </a:lnTo>
                    <a:lnTo>
                      <a:pt x="3516537" y="2096540"/>
                    </a:lnTo>
                    <a:lnTo>
                      <a:pt x="3514659" y="2092944"/>
                    </a:lnTo>
                    <a:lnTo>
                      <a:pt x="3516435" y="2090601"/>
                    </a:lnTo>
                    <a:lnTo>
                      <a:pt x="3515679" y="2088755"/>
                    </a:lnTo>
                    <a:lnTo>
                      <a:pt x="3513605" y="2087311"/>
                    </a:lnTo>
                    <a:lnTo>
                      <a:pt x="3513322" y="2085733"/>
                    </a:lnTo>
                    <a:lnTo>
                      <a:pt x="3513983" y="2083999"/>
                    </a:lnTo>
                    <a:lnTo>
                      <a:pt x="3517505" y="2079869"/>
                    </a:lnTo>
                    <a:lnTo>
                      <a:pt x="3508406" y="2086092"/>
                    </a:lnTo>
                    <a:lnTo>
                      <a:pt x="3503188" y="2088568"/>
                    </a:lnTo>
                    <a:lnTo>
                      <a:pt x="3499465" y="2086645"/>
                    </a:lnTo>
                    <a:lnTo>
                      <a:pt x="3496495" y="2084267"/>
                    </a:lnTo>
                    <a:lnTo>
                      <a:pt x="3474041" y="2077076"/>
                    </a:lnTo>
                    <a:lnTo>
                      <a:pt x="3471971" y="2075964"/>
                    </a:lnTo>
                    <a:lnTo>
                      <a:pt x="3468247" y="2071275"/>
                    </a:lnTo>
                    <a:lnTo>
                      <a:pt x="3464353" y="2068294"/>
                    </a:lnTo>
                    <a:lnTo>
                      <a:pt x="3460977" y="2063927"/>
                    </a:lnTo>
                    <a:lnTo>
                      <a:pt x="3457954" y="2058951"/>
                    </a:lnTo>
                    <a:lnTo>
                      <a:pt x="3456544" y="2055218"/>
                    </a:lnTo>
                    <a:lnTo>
                      <a:pt x="3459317" y="2055332"/>
                    </a:lnTo>
                    <a:lnTo>
                      <a:pt x="3468284" y="2052814"/>
                    </a:lnTo>
                    <a:lnTo>
                      <a:pt x="3470864" y="2052564"/>
                    </a:lnTo>
                    <a:lnTo>
                      <a:pt x="3472181" y="2052147"/>
                    </a:lnTo>
                    <a:lnTo>
                      <a:pt x="3472843" y="2051081"/>
                    </a:lnTo>
                    <a:lnTo>
                      <a:pt x="3473192" y="2049570"/>
                    </a:lnTo>
                    <a:lnTo>
                      <a:pt x="3473903" y="2047556"/>
                    </a:lnTo>
                    <a:lnTo>
                      <a:pt x="3474782" y="2045809"/>
                    </a:lnTo>
                    <a:lnTo>
                      <a:pt x="3475673" y="2045076"/>
                    </a:lnTo>
                    <a:lnTo>
                      <a:pt x="3478221" y="2044333"/>
                    </a:lnTo>
                    <a:lnTo>
                      <a:pt x="3479669" y="2042365"/>
                    </a:lnTo>
                    <a:lnTo>
                      <a:pt x="3479878" y="2039796"/>
                    </a:lnTo>
                    <a:lnTo>
                      <a:pt x="3478696" y="2037190"/>
                    </a:lnTo>
                    <a:lnTo>
                      <a:pt x="3475680" y="2035596"/>
                    </a:lnTo>
                    <a:lnTo>
                      <a:pt x="3455880" y="2041296"/>
                    </a:lnTo>
                    <a:lnTo>
                      <a:pt x="3453951" y="2042487"/>
                    </a:lnTo>
                    <a:lnTo>
                      <a:pt x="3450941" y="2044971"/>
                    </a:lnTo>
                    <a:lnTo>
                      <a:pt x="3447534" y="2045494"/>
                    </a:lnTo>
                    <a:lnTo>
                      <a:pt x="3428916" y="2042318"/>
                    </a:lnTo>
                    <a:lnTo>
                      <a:pt x="3427154" y="2041323"/>
                    </a:lnTo>
                    <a:lnTo>
                      <a:pt x="3421966" y="2034105"/>
                    </a:lnTo>
                    <a:lnTo>
                      <a:pt x="3424776" y="2031379"/>
                    </a:lnTo>
                    <a:lnTo>
                      <a:pt x="3428617" y="2028879"/>
                    </a:lnTo>
                    <a:lnTo>
                      <a:pt x="3432575" y="2027569"/>
                    </a:lnTo>
                    <a:lnTo>
                      <a:pt x="3437487" y="2029209"/>
                    </a:lnTo>
                    <a:lnTo>
                      <a:pt x="3439647" y="2028853"/>
                    </a:lnTo>
                    <a:lnTo>
                      <a:pt x="3441788" y="2027753"/>
                    </a:lnTo>
                    <a:lnTo>
                      <a:pt x="3443479" y="2026128"/>
                    </a:lnTo>
                    <a:lnTo>
                      <a:pt x="3445147" y="2024044"/>
                    </a:lnTo>
                    <a:lnTo>
                      <a:pt x="3446553" y="2022934"/>
                    </a:lnTo>
                    <a:lnTo>
                      <a:pt x="3452500" y="2021039"/>
                    </a:lnTo>
                    <a:lnTo>
                      <a:pt x="3457057" y="2017751"/>
                    </a:lnTo>
                    <a:lnTo>
                      <a:pt x="3464052" y="2014945"/>
                    </a:lnTo>
                    <a:lnTo>
                      <a:pt x="3469385" y="2010628"/>
                    </a:lnTo>
                    <a:lnTo>
                      <a:pt x="3476977" y="2007959"/>
                    </a:lnTo>
                    <a:lnTo>
                      <a:pt x="3480354" y="2005209"/>
                    </a:lnTo>
                    <a:lnTo>
                      <a:pt x="3481938" y="2001697"/>
                    </a:lnTo>
                    <a:lnTo>
                      <a:pt x="3481379" y="1998662"/>
                    </a:lnTo>
                    <a:lnTo>
                      <a:pt x="3477758" y="1992513"/>
                    </a:lnTo>
                    <a:lnTo>
                      <a:pt x="3477844" y="1990410"/>
                    </a:lnTo>
                    <a:lnTo>
                      <a:pt x="3479964" y="1989615"/>
                    </a:lnTo>
                    <a:lnTo>
                      <a:pt x="3482601" y="1989360"/>
                    </a:lnTo>
                    <a:lnTo>
                      <a:pt x="3484276" y="1988804"/>
                    </a:lnTo>
                    <a:lnTo>
                      <a:pt x="3485765" y="1987545"/>
                    </a:lnTo>
                    <a:lnTo>
                      <a:pt x="3492129" y="1984346"/>
                    </a:lnTo>
                    <a:lnTo>
                      <a:pt x="3498937" y="1979069"/>
                    </a:lnTo>
                    <a:lnTo>
                      <a:pt x="3496466" y="1974995"/>
                    </a:lnTo>
                    <a:lnTo>
                      <a:pt x="3491255" y="1970882"/>
                    </a:lnTo>
                    <a:lnTo>
                      <a:pt x="3489793" y="1965552"/>
                    </a:lnTo>
                    <a:lnTo>
                      <a:pt x="3492825" y="1961828"/>
                    </a:lnTo>
                    <a:lnTo>
                      <a:pt x="3495335" y="1964242"/>
                    </a:lnTo>
                    <a:lnTo>
                      <a:pt x="3497404" y="1968735"/>
                    </a:lnTo>
                    <a:lnTo>
                      <a:pt x="3499159" y="1971165"/>
                    </a:lnTo>
                    <a:lnTo>
                      <a:pt x="3500161" y="1971836"/>
                    </a:lnTo>
                    <a:lnTo>
                      <a:pt x="3502782" y="1974743"/>
                    </a:lnTo>
                    <a:lnTo>
                      <a:pt x="3504419" y="1975436"/>
                    </a:lnTo>
                    <a:lnTo>
                      <a:pt x="3506439" y="1974904"/>
                    </a:lnTo>
                    <a:lnTo>
                      <a:pt x="3511808" y="1970349"/>
                    </a:lnTo>
                    <a:lnTo>
                      <a:pt x="3515496" y="1968424"/>
                    </a:lnTo>
                    <a:lnTo>
                      <a:pt x="3521052" y="1966460"/>
                    </a:lnTo>
                    <a:lnTo>
                      <a:pt x="3526533" y="1965733"/>
                    </a:lnTo>
                    <a:lnTo>
                      <a:pt x="3530021" y="1967484"/>
                    </a:lnTo>
                    <a:lnTo>
                      <a:pt x="3529434" y="1970076"/>
                    </a:lnTo>
                    <a:lnTo>
                      <a:pt x="3523285" y="1976160"/>
                    </a:lnTo>
                    <a:lnTo>
                      <a:pt x="3521519" y="1978622"/>
                    </a:lnTo>
                    <a:lnTo>
                      <a:pt x="3524553" y="1984338"/>
                    </a:lnTo>
                    <a:lnTo>
                      <a:pt x="3533642" y="1985943"/>
                    </a:lnTo>
                    <a:lnTo>
                      <a:pt x="3550353" y="1986123"/>
                    </a:lnTo>
                    <a:lnTo>
                      <a:pt x="3554578" y="1989481"/>
                    </a:lnTo>
                    <a:lnTo>
                      <a:pt x="3556113" y="1990262"/>
                    </a:lnTo>
                    <a:lnTo>
                      <a:pt x="3561305" y="1990412"/>
                    </a:lnTo>
                    <a:lnTo>
                      <a:pt x="3563462" y="1991723"/>
                    </a:lnTo>
                    <a:lnTo>
                      <a:pt x="3564198" y="1991943"/>
                    </a:lnTo>
                    <a:lnTo>
                      <a:pt x="3572826" y="1992189"/>
                    </a:lnTo>
                    <a:lnTo>
                      <a:pt x="3574354" y="1993158"/>
                    </a:lnTo>
                    <a:lnTo>
                      <a:pt x="3574549" y="1995331"/>
                    </a:lnTo>
                    <a:lnTo>
                      <a:pt x="3574243" y="1997925"/>
                    </a:lnTo>
                    <a:lnTo>
                      <a:pt x="3574289" y="2000070"/>
                    </a:lnTo>
                    <a:lnTo>
                      <a:pt x="3574940" y="2002074"/>
                    </a:lnTo>
                    <a:lnTo>
                      <a:pt x="3575755" y="2003498"/>
                    </a:lnTo>
                    <a:lnTo>
                      <a:pt x="3577055" y="2004270"/>
                    </a:lnTo>
                    <a:lnTo>
                      <a:pt x="3579193" y="2004330"/>
                    </a:lnTo>
                    <a:lnTo>
                      <a:pt x="3577668" y="2005831"/>
                    </a:lnTo>
                    <a:lnTo>
                      <a:pt x="3577464" y="2007882"/>
                    </a:lnTo>
                    <a:lnTo>
                      <a:pt x="3578136" y="2010140"/>
                    </a:lnTo>
                    <a:lnTo>
                      <a:pt x="3579242" y="2012301"/>
                    </a:lnTo>
                    <a:lnTo>
                      <a:pt x="3565794" y="2017341"/>
                    </a:lnTo>
                    <a:lnTo>
                      <a:pt x="3564645" y="2018401"/>
                    </a:lnTo>
                    <a:lnTo>
                      <a:pt x="3564162" y="2019219"/>
                    </a:lnTo>
                    <a:lnTo>
                      <a:pt x="3563118" y="2021549"/>
                    </a:lnTo>
                    <a:lnTo>
                      <a:pt x="3562593" y="2022435"/>
                    </a:lnTo>
                    <a:lnTo>
                      <a:pt x="3562462" y="2022994"/>
                    </a:lnTo>
                    <a:lnTo>
                      <a:pt x="3562473" y="2024680"/>
                    </a:lnTo>
                    <a:lnTo>
                      <a:pt x="3562328" y="2025214"/>
                    </a:lnTo>
                    <a:lnTo>
                      <a:pt x="3561753" y="2025404"/>
                    </a:lnTo>
                    <a:lnTo>
                      <a:pt x="3560322" y="2025023"/>
                    </a:lnTo>
                    <a:lnTo>
                      <a:pt x="3559718" y="2025141"/>
                    </a:lnTo>
                    <a:lnTo>
                      <a:pt x="3558580" y="2025780"/>
                    </a:lnTo>
                    <a:lnTo>
                      <a:pt x="3556383" y="2026564"/>
                    </a:lnTo>
                    <a:lnTo>
                      <a:pt x="3555119" y="2027541"/>
                    </a:lnTo>
                    <a:lnTo>
                      <a:pt x="3554584" y="2028515"/>
                    </a:lnTo>
                    <a:lnTo>
                      <a:pt x="3553426" y="2031666"/>
                    </a:lnTo>
                    <a:lnTo>
                      <a:pt x="3552776" y="2032905"/>
                    </a:lnTo>
                    <a:lnTo>
                      <a:pt x="3551913" y="2033593"/>
                    </a:lnTo>
                    <a:lnTo>
                      <a:pt x="3548181" y="2035315"/>
                    </a:lnTo>
                    <a:lnTo>
                      <a:pt x="3550994" y="2037940"/>
                    </a:lnTo>
                    <a:lnTo>
                      <a:pt x="3554069" y="2036840"/>
                    </a:lnTo>
                    <a:lnTo>
                      <a:pt x="3560081" y="2030456"/>
                    </a:lnTo>
                    <a:lnTo>
                      <a:pt x="3567785" y="2024261"/>
                    </a:lnTo>
                    <a:lnTo>
                      <a:pt x="3570018" y="2021927"/>
                    </a:lnTo>
                    <a:lnTo>
                      <a:pt x="3573355" y="2019313"/>
                    </a:lnTo>
                    <a:lnTo>
                      <a:pt x="3577328" y="2018499"/>
                    </a:lnTo>
                    <a:lnTo>
                      <a:pt x="3585668" y="2018992"/>
                    </a:lnTo>
                    <a:lnTo>
                      <a:pt x="3589369" y="2017725"/>
                    </a:lnTo>
                    <a:lnTo>
                      <a:pt x="3591638" y="2014512"/>
                    </a:lnTo>
                    <a:lnTo>
                      <a:pt x="3594577" y="2007280"/>
                    </a:lnTo>
                    <a:lnTo>
                      <a:pt x="3597087" y="2004161"/>
                    </a:lnTo>
                    <a:lnTo>
                      <a:pt x="3600080" y="2001640"/>
                    </a:lnTo>
                    <a:lnTo>
                      <a:pt x="3605850" y="1998181"/>
                    </a:lnTo>
                    <a:lnTo>
                      <a:pt x="3610268" y="1996403"/>
                    </a:lnTo>
                    <a:lnTo>
                      <a:pt x="3614223" y="1995821"/>
                    </a:lnTo>
                    <a:lnTo>
                      <a:pt x="3622709" y="1996093"/>
                    </a:lnTo>
                    <a:lnTo>
                      <a:pt x="3625600" y="1996667"/>
                    </a:lnTo>
                    <a:lnTo>
                      <a:pt x="3628890" y="1998312"/>
                    </a:lnTo>
                    <a:lnTo>
                      <a:pt x="3631510" y="2001084"/>
                    </a:lnTo>
                    <a:lnTo>
                      <a:pt x="3632363" y="2005029"/>
                    </a:lnTo>
                    <a:lnTo>
                      <a:pt x="3630967" y="2008931"/>
                    </a:lnTo>
                    <a:lnTo>
                      <a:pt x="3628924" y="2012083"/>
                    </a:lnTo>
                    <a:lnTo>
                      <a:pt x="3628336" y="2014867"/>
                    </a:lnTo>
                    <a:lnTo>
                      <a:pt x="3631272" y="2017673"/>
                    </a:lnTo>
                    <a:lnTo>
                      <a:pt x="3629749" y="2019603"/>
                    </a:lnTo>
                    <a:lnTo>
                      <a:pt x="3628157" y="2021248"/>
                    </a:lnTo>
                    <a:lnTo>
                      <a:pt x="3627033" y="2023435"/>
                    </a:lnTo>
                    <a:lnTo>
                      <a:pt x="3626897" y="2026976"/>
                    </a:lnTo>
                    <a:lnTo>
                      <a:pt x="3627781" y="2029754"/>
                    </a:lnTo>
                    <a:lnTo>
                      <a:pt x="3629463" y="2032369"/>
                    </a:lnTo>
                    <a:lnTo>
                      <a:pt x="3631435" y="2034320"/>
                    </a:lnTo>
                    <a:lnTo>
                      <a:pt x="3633222" y="2035101"/>
                    </a:lnTo>
                    <a:lnTo>
                      <a:pt x="3639447" y="2034810"/>
                    </a:lnTo>
                    <a:lnTo>
                      <a:pt x="3645300" y="2033589"/>
                    </a:lnTo>
                    <a:lnTo>
                      <a:pt x="3650971" y="2031436"/>
                    </a:lnTo>
                    <a:lnTo>
                      <a:pt x="3675012" y="2017436"/>
                    </a:lnTo>
                    <a:lnTo>
                      <a:pt x="3678970" y="2013474"/>
                    </a:lnTo>
                    <a:lnTo>
                      <a:pt x="3680115" y="2009705"/>
                    </a:lnTo>
                    <a:lnTo>
                      <a:pt x="3678780" y="2006115"/>
                    </a:lnTo>
                    <a:lnTo>
                      <a:pt x="3675259" y="2002718"/>
                    </a:lnTo>
                    <a:lnTo>
                      <a:pt x="3676853" y="2002415"/>
                    </a:lnTo>
                    <a:lnTo>
                      <a:pt x="3683223" y="2002908"/>
                    </a:lnTo>
                    <a:lnTo>
                      <a:pt x="3681471" y="2000463"/>
                    </a:lnTo>
                    <a:lnTo>
                      <a:pt x="3667024" y="1991315"/>
                    </a:lnTo>
                    <a:lnTo>
                      <a:pt x="3627443" y="1981629"/>
                    </a:lnTo>
                    <a:lnTo>
                      <a:pt x="3620854" y="1982445"/>
                    </a:lnTo>
                    <a:lnTo>
                      <a:pt x="3618714" y="1981399"/>
                    </a:lnTo>
                    <a:lnTo>
                      <a:pt x="3629025" y="1976122"/>
                    </a:lnTo>
                    <a:lnTo>
                      <a:pt x="3634743" y="1974469"/>
                    </a:lnTo>
                    <a:lnTo>
                      <a:pt x="3640137" y="1975202"/>
                    </a:lnTo>
                    <a:lnTo>
                      <a:pt x="3645877" y="1978874"/>
                    </a:lnTo>
                    <a:lnTo>
                      <a:pt x="3648443" y="1979516"/>
                    </a:lnTo>
                    <a:lnTo>
                      <a:pt x="3663796" y="1976842"/>
                    </a:lnTo>
                    <a:lnTo>
                      <a:pt x="3665883" y="1975726"/>
                    </a:lnTo>
                    <a:lnTo>
                      <a:pt x="3666890" y="1973839"/>
                    </a:lnTo>
                    <a:lnTo>
                      <a:pt x="3666145" y="1971228"/>
                    </a:lnTo>
                    <a:lnTo>
                      <a:pt x="3664242" y="1969909"/>
                    </a:lnTo>
                    <a:lnTo>
                      <a:pt x="3646020" y="1967025"/>
                    </a:lnTo>
                    <a:lnTo>
                      <a:pt x="3642270" y="1964423"/>
                    </a:lnTo>
                    <a:lnTo>
                      <a:pt x="3643980" y="1960723"/>
                    </a:lnTo>
                    <a:lnTo>
                      <a:pt x="3646595" y="1962330"/>
                    </a:lnTo>
                    <a:lnTo>
                      <a:pt x="3649469" y="1960911"/>
                    </a:lnTo>
                    <a:lnTo>
                      <a:pt x="3652100" y="1958134"/>
                    </a:lnTo>
                    <a:lnTo>
                      <a:pt x="3654005" y="1955671"/>
                    </a:lnTo>
                    <a:lnTo>
                      <a:pt x="3649785" y="1954055"/>
                    </a:lnTo>
                    <a:lnTo>
                      <a:pt x="3641295" y="1957566"/>
                    </a:lnTo>
                    <a:lnTo>
                      <a:pt x="3637310" y="1957896"/>
                    </a:lnTo>
                    <a:lnTo>
                      <a:pt x="3637478" y="1961883"/>
                    </a:lnTo>
                    <a:lnTo>
                      <a:pt x="3635310" y="1962940"/>
                    </a:lnTo>
                    <a:lnTo>
                      <a:pt x="3632144" y="1963236"/>
                    </a:lnTo>
                    <a:lnTo>
                      <a:pt x="3629340" y="1964917"/>
                    </a:lnTo>
                    <a:lnTo>
                      <a:pt x="3628078" y="1966211"/>
                    </a:lnTo>
                    <a:lnTo>
                      <a:pt x="3625506" y="1967346"/>
                    </a:lnTo>
                    <a:lnTo>
                      <a:pt x="3624290" y="1968276"/>
                    </a:lnTo>
                    <a:lnTo>
                      <a:pt x="3623339" y="1969761"/>
                    </a:lnTo>
                    <a:lnTo>
                      <a:pt x="3622334" y="1972722"/>
                    </a:lnTo>
                    <a:lnTo>
                      <a:pt x="3621529" y="1974115"/>
                    </a:lnTo>
                    <a:lnTo>
                      <a:pt x="3615512" y="1978698"/>
                    </a:lnTo>
                    <a:lnTo>
                      <a:pt x="3609130" y="1979680"/>
                    </a:lnTo>
                    <a:lnTo>
                      <a:pt x="3592964" y="1978281"/>
                    </a:lnTo>
                    <a:lnTo>
                      <a:pt x="3564128" y="1976511"/>
                    </a:lnTo>
                    <a:lnTo>
                      <a:pt x="3538383" y="1979130"/>
                    </a:lnTo>
                    <a:lnTo>
                      <a:pt x="3537326" y="1978530"/>
                    </a:lnTo>
                    <a:lnTo>
                      <a:pt x="3535091" y="1975766"/>
                    </a:lnTo>
                    <a:lnTo>
                      <a:pt x="3533957" y="1974893"/>
                    </a:lnTo>
                    <a:lnTo>
                      <a:pt x="3536715" y="1970256"/>
                    </a:lnTo>
                    <a:lnTo>
                      <a:pt x="3536739" y="1968319"/>
                    </a:lnTo>
                    <a:lnTo>
                      <a:pt x="3534875" y="1965748"/>
                    </a:lnTo>
                    <a:lnTo>
                      <a:pt x="3531843" y="1963846"/>
                    </a:lnTo>
                    <a:lnTo>
                      <a:pt x="3520956" y="1962559"/>
                    </a:lnTo>
                    <a:lnTo>
                      <a:pt x="3519419" y="1962946"/>
                    </a:lnTo>
                    <a:lnTo>
                      <a:pt x="3516922" y="1964765"/>
                    </a:lnTo>
                    <a:lnTo>
                      <a:pt x="3513913" y="1965725"/>
                    </a:lnTo>
                    <a:lnTo>
                      <a:pt x="3511056" y="1968381"/>
                    </a:lnTo>
                    <a:lnTo>
                      <a:pt x="3509819" y="1968959"/>
                    </a:lnTo>
                    <a:lnTo>
                      <a:pt x="3507739" y="1967811"/>
                    </a:lnTo>
                    <a:lnTo>
                      <a:pt x="3505369" y="1962035"/>
                    </a:lnTo>
                    <a:lnTo>
                      <a:pt x="3503432" y="1959364"/>
                    </a:lnTo>
                    <a:lnTo>
                      <a:pt x="3500578" y="1958001"/>
                    </a:lnTo>
                    <a:lnTo>
                      <a:pt x="3497117" y="1957638"/>
                    </a:lnTo>
                    <a:lnTo>
                      <a:pt x="3493580" y="1958031"/>
                    </a:lnTo>
                    <a:lnTo>
                      <a:pt x="3490496" y="1958954"/>
                    </a:lnTo>
                    <a:lnTo>
                      <a:pt x="3482675" y="1964500"/>
                    </a:lnTo>
                    <a:lnTo>
                      <a:pt x="3479860" y="1965232"/>
                    </a:lnTo>
                    <a:lnTo>
                      <a:pt x="3474225" y="1964939"/>
                    </a:lnTo>
                    <a:lnTo>
                      <a:pt x="3468353" y="1963560"/>
                    </a:lnTo>
                    <a:lnTo>
                      <a:pt x="3463460" y="1959877"/>
                    </a:lnTo>
                    <a:lnTo>
                      <a:pt x="3460746" y="1952668"/>
                    </a:lnTo>
                    <a:lnTo>
                      <a:pt x="3471623" y="1946218"/>
                    </a:lnTo>
                    <a:lnTo>
                      <a:pt x="3475487" y="1945065"/>
                    </a:lnTo>
                    <a:lnTo>
                      <a:pt x="3490023" y="1944468"/>
                    </a:lnTo>
                    <a:lnTo>
                      <a:pt x="3492860" y="1945627"/>
                    </a:lnTo>
                    <a:lnTo>
                      <a:pt x="3493371" y="1938419"/>
                    </a:lnTo>
                    <a:lnTo>
                      <a:pt x="3493846" y="1936385"/>
                    </a:lnTo>
                    <a:lnTo>
                      <a:pt x="3495533" y="1933286"/>
                    </a:lnTo>
                    <a:lnTo>
                      <a:pt x="3497216" y="1932724"/>
                    </a:lnTo>
                    <a:lnTo>
                      <a:pt x="3504962" y="1934369"/>
                    </a:lnTo>
                    <a:lnTo>
                      <a:pt x="3505955" y="1933902"/>
                    </a:lnTo>
                    <a:lnTo>
                      <a:pt x="3507610" y="1932231"/>
                    </a:lnTo>
                    <a:lnTo>
                      <a:pt x="3509972" y="1930686"/>
                    </a:lnTo>
                    <a:lnTo>
                      <a:pt x="3515367" y="1929929"/>
                    </a:lnTo>
                    <a:lnTo>
                      <a:pt x="3517879" y="1929178"/>
                    </a:lnTo>
                    <a:lnTo>
                      <a:pt x="3515979" y="1926899"/>
                    </a:lnTo>
                    <a:lnTo>
                      <a:pt x="3512034" y="1927028"/>
                    </a:lnTo>
                    <a:lnTo>
                      <a:pt x="3504060" y="1928745"/>
                    </a:lnTo>
                    <a:lnTo>
                      <a:pt x="3497312" y="1927338"/>
                    </a:lnTo>
                    <a:lnTo>
                      <a:pt x="3488731" y="1927062"/>
                    </a:lnTo>
                    <a:lnTo>
                      <a:pt x="3486877" y="1928645"/>
                    </a:lnTo>
                    <a:lnTo>
                      <a:pt x="3487364" y="1932313"/>
                    </a:lnTo>
                    <a:lnTo>
                      <a:pt x="3487168" y="1935958"/>
                    </a:lnTo>
                    <a:lnTo>
                      <a:pt x="3483254" y="1937491"/>
                    </a:lnTo>
                    <a:lnTo>
                      <a:pt x="3480161" y="1936854"/>
                    </a:lnTo>
                    <a:lnTo>
                      <a:pt x="3477028" y="1935320"/>
                    </a:lnTo>
                    <a:lnTo>
                      <a:pt x="3474167" y="1933139"/>
                    </a:lnTo>
                    <a:lnTo>
                      <a:pt x="3471903" y="1930480"/>
                    </a:lnTo>
                    <a:lnTo>
                      <a:pt x="3472147" y="1928094"/>
                    </a:lnTo>
                    <a:lnTo>
                      <a:pt x="3466749" y="1924975"/>
                    </a:lnTo>
                    <a:lnTo>
                      <a:pt x="3465082" y="1922066"/>
                    </a:lnTo>
                    <a:lnTo>
                      <a:pt x="3468087" y="1920372"/>
                    </a:lnTo>
                    <a:lnTo>
                      <a:pt x="3470952" y="1919684"/>
                    </a:lnTo>
                    <a:lnTo>
                      <a:pt x="3473242" y="1918417"/>
                    </a:lnTo>
                    <a:lnTo>
                      <a:pt x="3475711" y="1911909"/>
                    </a:lnTo>
                    <a:lnTo>
                      <a:pt x="3478121" y="1909564"/>
                    </a:lnTo>
                    <a:lnTo>
                      <a:pt x="3483192" y="1906745"/>
                    </a:lnTo>
                    <a:lnTo>
                      <a:pt x="3473710" y="1898479"/>
                    </a:lnTo>
                    <a:lnTo>
                      <a:pt x="3474783" y="1901925"/>
                    </a:lnTo>
                    <a:lnTo>
                      <a:pt x="3476099" y="1904197"/>
                    </a:lnTo>
                    <a:lnTo>
                      <a:pt x="3477907" y="1905663"/>
                    </a:lnTo>
                    <a:lnTo>
                      <a:pt x="3480467" y="1906654"/>
                    </a:lnTo>
                    <a:lnTo>
                      <a:pt x="3477699" y="1908507"/>
                    </a:lnTo>
                    <a:lnTo>
                      <a:pt x="3475426" y="1908914"/>
                    </a:lnTo>
                    <a:lnTo>
                      <a:pt x="3473360" y="1909810"/>
                    </a:lnTo>
                    <a:lnTo>
                      <a:pt x="3471244" y="1913105"/>
                    </a:lnTo>
                    <a:lnTo>
                      <a:pt x="3471323" y="1914372"/>
                    </a:lnTo>
                    <a:lnTo>
                      <a:pt x="3471658" y="1916217"/>
                    </a:lnTo>
                    <a:lnTo>
                      <a:pt x="3471430" y="1917828"/>
                    </a:lnTo>
                    <a:lnTo>
                      <a:pt x="3469789" y="1918477"/>
                    </a:lnTo>
                    <a:lnTo>
                      <a:pt x="3462791" y="1919445"/>
                    </a:lnTo>
                    <a:lnTo>
                      <a:pt x="3446836" y="1909676"/>
                    </a:lnTo>
                    <a:lnTo>
                      <a:pt x="3444050" y="1908870"/>
                    </a:lnTo>
                    <a:lnTo>
                      <a:pt x="3445193" y="1906571"/>
                    </a:lnTo>
                    <a:lnTo>
                      <a:pt x="3450118" y="1903080"/>
                    </a:lnTo>
                    <a:lnTo>
                      <a:pt x="3454817" y="1898737"/>
                    </a:lnTo>
                    <a:lnTo>
                      <a:pt x="3457600" y="1897908"/>
                    </a:lnTo>
                    <a:lnTo>
                      <a:pt x="3463417" y="1898135"/>
                    </a:lnTo>
                    <a:lnTo>
                      <a:pt x="3465136" y="1897071"/>
                    </a:lnTo>
                    <a:lnTo>
                      <a:pt x="3466200" y="1894382"/>
                    </a:lnTo>
                    <a:lnTo>
                      <a:pt x="3466796" y="1891132"/>
                    </a:lnTo>
                    <a:lnTo>
                      <a:pt x="3467125" y="1888325"/>
                    </a:lnTo>
                    <a:lnTo>
                      <a:pt x="3467014" y="1885178"/>
                    </a:lnTo>
                    <a:lnTo>
                      <a:pt x="3465777" y="1884189"/>
                    </a:lnTo>
                    <a:lnTo>
                      <a:pt x="3460607" y="1884671"/>
                    </a:lnTo>
                    <a:lnTo>
                      <a:pt x="3460741" y="1883483"/>
                    </a:lnTo>
                    <a:lnTo>
                      <a:pt x="3465298" y="1880984"/>
                    </a:lnTo>
                    <a:lnTo>
                      <a:pt x="3470780" y="1880425"/>
                    </a:lnTo>
                    <a:lnTo>
                      <a:pt x="3472274" y="1879892"/>
                    </a:lnTo>
                    <a:lnTo>
                      <a:pt x="3474173" y="1877854"/>
                    </a:lnTo>
                    <a:lnTo>
                      <a:pt x="3473836" y="1876313"/>
                    </a:lnTo>
                    <a:lnTo>
                      <a:pt x="3472745" y="1874571"/>
                    </a:lnTo>
                    <a:lnTo>
                      <a:pt x="3472379" y="1871947"/>
                    </a:lnTo>
                    <a:lnTo>
                      <a:pt x="3475187" y="1867636"/>
                    </a:lnTo>
                    <a:lnTo>
                      <a:pt x="3485494" y="1867835"/>
                    </a:lnTo>
                    <a:lnTo>
                      <a:pt x="3489428" y="1864556"/>
                    </a:lnTo>
                    <a:lnTo>
                      <a:pt x="3487932" y="1862566"/>
                    </a:lnTo>
                    <a:lnTo>
                      <a:pt x="3488477" y="1861662"/>
                    </a:lnTo>
                    <a:lnTo>
                      <a:pt x="3495202" y="1859341"/>
                    </a:lnTo>
                    <a:lnTo>
                      <a:pt x="3495351" y="1858951"/>
                    </a:lnTo>
                    <a:lnTo>
                      <a:pt x="3495559" y="1858130"/>
                    </a:lnTo>
                    <a:lnTo>
                      <a:pt x="3495873" y="1857241"/>
                    </a:lnTo>
                    <a:lnTo>
                      <a:pt x="3496354" y="1856601"/>
                    </a:lnTo>
                    <a:lnTo>
                      <a:pt x="3500494" y="1854717"/>
                    </a:lnTo>
                    <a:lnTo>
                      <a:pt x="3512994" y="1853297"/>
                    </a:lnTo>
                    <a:lnTo>
                      <a:pt x="3515659" y="1853642"/>
                    </a:lnTo>
                    <a:lnTo>
                      <a:pt x="3516397" y="1853404"/>
                    </a:lnTo>
                    <a:lnTo>
                      <a:pt x="3516581" y="1852678"/>
                    </a:lnTo>
                    <a:lnTo>
                      <a:pt x="3516622" y="1850172"/>
                    </a:lnTo>
                    <a:lnTo>
                      <a:pt x="3516817" y="1849443"/>
                    </a:lnTo>
                    <a:lnTo>
                      <a:pt x="3518379" y="1848358"/>
                    </a:lnTo>
                    <a:lnTo>
                      <a:pt x="3519920" y="1847768"/>
                    </a:lnTo>
                    <a:lnTo>
                      <a:pt x="3523899" y="1846901"/>
                    </a:lnTo>
                    <a:lnTo>
                      <a:pt x="3526990" y="1845460"/>
                    </a:lnTo>
                    <a:lnTo>
                      <a:pt x="3529206" y="1843015"/>
                    </a:lnTo>
                    <a:lnTo>
                      <a:pt x="3530101" y="1839875"/>
                    </a:lnTo>
                    <a:lnTo>
                      <a:pt x="3529260" y="1836379"/>
                    </a:lnTo>
                    <a:lnTo>
                      <a:pt x="3537215" y="1834215"/>
                    </a:lnTo>
                    <a:lnTo>
                      <a:pt x="3535369" y="1831055"/>
                    </a:lnTo>
                    <a:lnTo>
                      <a:pt x="3533564" y="1829423"/>
                    </a:lnTo>
                    <a:lnTo>
                      <a:pt x="3531364" y="1828810"/>
                    </a:lnTo>
                    <a:lnTo>
                      <a:pt x="3528369" y="1828645"/>
                    </a:lnTo>
                    <a:lnTo>
                      <a:pt x="3529048" y="1829163"/>
                    </a:lnTo>
                    <a:lnTo>
                      <a:pt x="3529978" y="1830146"/>
                    </a:lnTo>
                    <a:lnTo>
                      <a:pt x="3530637" y="1831363"/>
                    </a:lnTo>
                    <a:lnTo>
                      <a:pt x="3530511" y="1832565"/>
                    </a:lnTo>
                    <a:lnTo>
                      <a:pt x="3529229" y="1833778"/>
                    </a:lnTo>
                    <a:lnTo>
                      <a:pt x="3527963" y="1833818"/>
                    </a:lnTo>
                    <a:lnTo>
                      <a:pt x="3526668" y="1833555"/>
                    </a:lnTo>
                    <a:lnTo>
                      <a:pt x="3525273" y="1833842"/>
                    </a:lnTo>
                    <a:lnTo>
                      <a:pt x="3523180" y="1835668"/>
                    </a:lnTo>
                    <a:lnTo>
                      <a:pt x="3520345" y="1840183"/>
                    </a:lnTo>
                    <a:lnTo>
                      <a:pt x="3512461" y="1848035"/>
                    </a:lnTo>
                    <a:lnTo>
                      <a:pt x="3510017" y="1849227"/>
                    </a:lnTo>
                    <a:lnTo>
                      <a:pt x="3501180" y="1849503"/>
                    </a:lnTo>
                    <a:lnTo>
                      <a:pt x="3498064" y="1850411"/>
                    </a:lnTo>
                    <a:lnTo>
                      <a:pt x="3495695" y="1851864"/>
                    </a:lnTo>
                    <a:lnTo>
                      <a:pt x="3494604" y="1853177"/>
                    </a:lnTo>
                    <a:lnTo>
                      <a:pt x="3493820" y="1854800"/>
                    </a:lnTo>
                    <a:lnTo>
                      <a:pt x="3492417" y="1857136"/>
                    </a:lnTo>
                    <a:lnTo>
                      <a:pt x="3491118" y="1858033"/>
                    </a:lnTo>
                    <a:lnTo>
                      <a:pt x="3489813" y="1857651"/>
                    </a:lnTo>
                    <a:lnTo>
                      <a:pt x="3488537" y="1856804"/>
                    </a:lnTo>
                    <a:lnTo>
                      <a:pt x="3487352" y="1856308"/>
                    </a:lnTo>
                    <a:lnTo>
                      <a:pt x="3485516" y="1856807"/>
                    </a:lnTo>
                    <a:lnTo>
                      <a:pt x="3485225" y="1858170"/>
                    </a:lnTo>
                    <a:lnTo>
                      <a:pt x="3485493" y="1859930"/>
                    </a:lnTo>
                    <a:lnTo>
                      <a:pt x="3485292" y="1862858"/>
                    </a:lnTo>
                    <a:lnTo>
                      <a:pt x="3485600" y="1863634"/>
                    </a:lnTo>
                    <a:lnTo>
                      <a:pt x="3485504" y="1864403"/>
                    </a:lnTo>
                    <a:lnTo>
                      <a:pt x="3484193" y="1865592"/>
                    </a:lnTo>
                    <a:lnTo>
                      <a:pt x="3482738" y="1865946"/>
                    </a:lnTo>
                    <a:lnTo>
                      <a:pt x="3481294" y="1865424"/>
                    </a:lnTo>
                    <a:lnTo>
                      <a:pt x="3479949" y="1864646"/>
                    </a:lnTo>
                    <a:lnTo>
                      <a:pt x="3478791" y="1864205"/>
                    </a:lnTo>
                    <a:lnTo>
                      <a:pt x="3476006" y="1864799"/>
                    </a:lnTo>
                    <a:lnTo>
                      <a:pt x="3471725" y="1867987"/>
                    </a:lnTo>
                    <a:lnTo>
                      <a:pt x="3469280" y="1869073"/>
                    </a:lnTo>
                    <a:lnTo>
                      <a:pt x="3469992" y="1873090"/>
                    </a:lnTo>
                    <a:lnTo>
                      <a:pt x="3470393" y="1874397"/>
                    </a:lnTo>
                    <a:lnTo>
                      <a:pt x="3468422" y="1875611"/>
                    </a:lnTo>
                    <a:lnTo>
                      <a:pt x="3464169" y="1877140"/>
                    </a:lnTo>
                    <a:lnTo>
                      <a:pt x="3462180" y="1878226"/>
                    </a:lnTo>
                    <a:lnTo>
                      <a:pt x="3460764" y="1879654"/>
                    </a:lnTo>
                    <a:lnTo>
                      <a:pt x="3459521" y="1881270"/>
                    </a:lnTo>
                    <a:lnTo>
                      <a:pt x="3458176" y="1882638"/>
                    </a:lnTo>
                    <a:lnTo>
                      <a:pt x="3456470" y="1883339"/>
                    </a:lnTo>
                    <a:lnTo>
                      <a:pt x="3457821" y="1886448"/>
                    </a:lnTo>
                    <a:lnTo>
                      <a:pt x="3460176" y="1886765"/>
                    </a:lnTo>
                    <a:lnTo>
                      <a:pt x="3462626" y="1886232"/>
                    </a:lnTo>
                    <a:lnTo>
                      <a:pt x="3464247" y="1886901"/>
                    </a:lnTo>
                    <a:lnTo>
                      <a:pt x="3464280" y="1888562"/>
                    </a:lnTo>
                    <a:lnTo>
                      <a:pt x="3463523" y="1890383"/>
                    </a:lnTo>
                    <a:lnTo>
                      <a:pt x="3462992" y="1892623"/>
                    </a:lnTo>
                    <a:lnTo>
                      <a:pt x="3463671" y="1895491"/>
                    </a:lnTo>
                    <a:lnTo>
                      <a:pt x="3458328" y="1895910"/>
                    </a:lnTo>
                    <a:lnTo>
                      <a:pt x="3452493" y="1897482"/>
                    </a:lnTo>
                    <a:lnTo>
                      <a:pt x="3446835" y="1900227"/>
                    </a:lnTo>
                    <a:lnTo>
                      <a:pt x="3442007" y="1904171"/>
                    </a:lnTo>
                    <a:lnTo>
                      <a:pt x="3440190" y="1909733"/>
                    </a:lnTo>
                    <a:lnTo>
                      <a:pt x="3443533" y="1913664"/>
                    </a:lnTo>
                    <a:lnTo>
                      <a:pt x="3446008" y="1917488"/>
                    </a:lnTo>
                    <a:lnTo>
                      <a:pt x="3441607" y="1922704"/>
                    </a:lnTo>
                    <a:lnTo>
                      <a:pt x="3442480" y="1924259"/>
                    </a:lnTo>
                    <a:lnTo>
                      <a:pt x="3442697" y="1926819"/>
                    </a:lnTo>
                    <a:lnTo>
                      <a:pt x="3442177" y="1932739"/>
                    </a:lnTo>
                    <a:lnTo>
                      <a:pt x="3440694" y="1933844"/>
                    </a:lnTo>
                    <a:lnTo>
                      <a:pt x="3437705" y="1933378"/>
                    </a:lnTo>
                    <a:lnTo>
                      <a:pt x="3432890" y="1931702"/>
                    </a:lnTo>
                    <a:lnTo>
                      <a:pt x="3423541" y="1930261"/>
                    </a:lnTo>
                    <a:lnTo>
                      <a:pt x="3419372" y="1928771"/>
                    </a:lnTo>
                    <a:lnTo>
                      <a:pt x="3415317" y="1925774"/>
                    </a:lnTo>
                    <a:lnTo>
                      <a:pt x="3412792" y="1922593"/>
                    </a:lnTo>
                    <a:lnTo>
                      <a:pt x="3411142" y="1918841"/>
                    </a:lnTo>
                    <a:lnTo>
                      <a:pt x="3410334" y="1914505"/>
                    </a:lnTo>
                    <a:lnTo>
                      <a:pt x="3410352" y="1909564"/>
                    </a:lnTo>
                    <a:lnTo>
                      <a:pt x="3410608" y="1909739"/>
                    </a:lnTo>
                    <a:lnTo>
                      <a:pt x="3411218" y="1909556"/>
                    </a:lnTo>
                    <a:lnTo>
                      <a:pt x="3411876" y="1908931"/>
                    </a:lnTo>
                    <a:lnTo>
                      <a:pt x="3412288" y="1907760"/>
                    </a:lnTo>
                    <a:lnTo>
                      <a:pt x="3411968" y="1906990"/>
                    </a:lnTo>
                    <a:lnTo>
                      <a:pt x="3411194" y="1906141"/>
                    </a:lnTo>
                    <a:lnTo>
                      <a:pt x="3410439" y="1905086"/>
                    </a:lnTo>
                    <a:lnTo>
                      <a:pt x="3410199" y="1903654"/>
                    </a:lnTo>
                    <a:lnTo>
                      <a:pt x="3410530" y="1900364"/>
                    </a:lnTo>
                    <a:lnTo>
                      <a:pt x="3410999" y="1898356"/>
                    </a:lnTo>
                    <a:lnTo>
                      <a:pt x="3412310" y="1897535"/>
                    </a:lnTo>
                    <a:lnTo>
                      <a:pt x="3415115" y="1897793"/>
                    </a:lnTo>
                    <a:lnTo>
                      <a:pt x="3413669" y="1895884"/>
                    </a:lnTo>
                    <a:lnTo>
                      <a:pt x="3413299" y="1893998"/>
                    </a:lnTo>
                    <a:lnTo>
                      <a:pt x="3414033" y="1892341"/>
                    </a:lnTo>
                    <a:lnTo>
                      <a:pt x="3415912" y="1891082"/>
                    </a:lnTo>
                    <a:lnTo>
                      <a:pt x="3412062" y="1890730"/>
                    </a:lnTo>
                    <a:lnTo>
                      <a:pt x="3405094" y="1887565"/>
                    </a:lnTo>
                    <a:lnTo>
                      <a:pt x="3389160" y="1885128"/>
                    </a:lnTo>
                    <a:lnTo>
                      <a:pt x="3385965" y="1883477"/>
                    </a:lnTo>
                    <a:lnTo>
                      <a:pt x="3383716" y="1880345"/>
                    </a:lnTo>
                    <a:lnTo>
                      <a:pt x="3379673" y="1868004"/>
                    </a:lnTo>
                    <a:lnTo>
                      <a:pt x="3380408" y="1865046"/>
                    </a:lnTo>
                    <a:lnTo>
                      <a:pt x="3384137" y="1862462"/>
                    </a:lnTo>
                    <a:lnTo>
                      <a:pt x="3391456" y="1859716"/>
                    </a:lnTo>
                    <a:lnTo>
                      <a:pt x="3395576" y="1858904"/>
                    </a:lnTo>
                    <a:lnTo>
                      <a:pt x="3397268" y="1858272"/>
                    </a:lnTo>
                    <a:lnTo>
                      <a:pt x="3398654" y="1857328"/>
                    </a:lnTo>
                    <a:lnTo>
                      <a:pt x="3399961" y="1855719"/>
                    </a:lnTo>
                    <a:lnTo>
                      <a:pt x="3400663" y="1853999"/>
                    </a:lnTo>
                    <a:lnTo>
                      <a:pt x="3401009" y="1852163"/>
                    </a:lnTo>
                    <a:lnTo>
                      <a:pt x="3401235" y="1850191"/>
                    </a:lnTo>
                    <a:lnTo>
                      <a:pt x="3400411" y="1846175"/>
                    </a:lnTo>
                    <a:lnTo>
                      <a:pt x="3397581" y="1843680"/>
                    </a:lnTo>
                    <a:lnTo>
                      <a:pt x="3391190" y="1841148"/>
                    </a:lnTo>
                    <a:lnTo>
                      <a:pt x="3389767" y="1840188"/>
                    </a:lnTo>
                    <a:lnTo>
                      <a:pt x="3387242" y="1837741"/>
                    </a:lnTo>
                    <a:lnTo>
                      <a:pt x="3385689" y="1836863"/>
                    </a:lnTo>
                    <a:lnTo>
                      <a:pt x="3383265" y="1836551"/>
                    </a:lnTo>
                    <a:lnTo>
                      <a:pt x="3367104" y="1839578"/>
                    </a:lnTo>
                    <a:lnTo>
                      <a:pt x="3362448" y="1841571"/>
                    </a:lnTo>
                    <a:lnTo>
                      <a:pt x="3360849" y="1843981"/>
                    </a:lnTo>
                    <a:lnTo>
                      <a:pt x="3361646" y="1844984"/>
                    </a:lnTo>
                    <a:lnTo>
                      <a:pt x="3364403" y="1845870"/>
                    </a:lnTo>
                    <a:lnTo>
                      <a:pt x="3365685" y="1846819"/>
                    </a:lnTo>
                    <a:lnTo>
                      <a:pt x="3359068" y="1847980"/>
                    </a:lnTo>
                    <a:lnTo>
                      <a:pt x="3355517" y="1844432"/>
                    </a:lnTo>
                    <a:lnTo>
                      <a:pt x="3350171" y="1830741"/>
                    </a:lnTo>
                    <a:lnTo>
                      <a:pt x="3349821" y="1828991"/>
                    </a:lnTo>
                    <a:lnTo>
                      <a:pt x="3350485" y="1827501"/>
                    </a:lnTo>
                    <a:lnTo>
                      <a:pt x="3351492" y="1826191"/>
                    </a:lnTo>
                    <a:lnTo>
                      <a:pt x="3352154" y="1824986"/>
                    </a:lnTo>
                    <a:lnTo>
                      <a:pt x="3353181" y="1817071"/>
                    </a:lnTo>
                    <a:lnTo>
                      <a:pt x="3354163" y="1813842"/>
                    </a:lnTo>
                    <a:lnTo>
                      <a:pt x="3355703" y="1809808"/>
                    </a:lnTo>
                    <a:lnTo>
                      <a:pt x="3357691" y="1806145"/>
                    </a:lnTo>
                    <a:lnTo>
                      <a:pt x="3359971" y="1803986"/>
                    </a:lnTo>
                    <a:lnTo>
                      <a:pt x="3357062" y="1815446"/>
                    </a:lnTo>
                    <a:lnTo>
                      <a:pt x="3357060" y="1817221"/>
                    </a:lnTo>
                    <a:lnTo>
                      <a:pt x="3357819" y="1817819"/>
                    </a:lnTo>
                    <a:lnTo>
                      <a:pt x="3359849" y="1820477"/>
                    </a:lnTo>
                    <a:lnTo>
                      <a:pt x="3361204" y="1821366"/>
                    </a:lnTo>
                    <a:lnTo>
                      <a:pt x="3368816" y="1820443"/>
                    </a:lnTo>
                    <a:lnTo>
                      <a:pt x="3370400" y="1819778"/>
                    </a:lnTo>
                    <a:lnTo>
                      <a:pt x="3373711" y="1817774"/>
                    </a:lnTo>
                    <a:lnTo>
                      <a:pt x="3403715" y="1813675"/>
                    </a:lnTo>
                    <a:lnTo>
                      <a:pt x="3405854" y="1812445"/>
                    </a:lnTo>
                    <a:lnTo>
                      <a:pt x="3404365" y="1811318"/>
                    </a:lnTo>
                    <a:lnTo>
                      <a:pt x="3398179" y="1812161"/>
                    </a:lnTo>
                    <a:lnTo>
                      <a:pt x="3396616" y="1811669"/>
                    </a:lnTo>
                    <a:lnTo>
                      <a:pt x="3394517" y="1809888"/>
                    </a:lnTo>
                    <a:lnTo>
                      <a:pt x="3393375" y="1809223"/>
                    </a:lnTo>
                    <a:lnTo>
                      <a:pt x="3391734" y="1808980"/>
                    </a:lnTo>
                    <a:lnTo>
                      <a:pt x="3388267" y="1809205"/>
                    </a:lnTo>
                    <a:lnTo>
                      <a:pt x="3386625" y="1808971"/>
                    </a:lnTo>
                    <a:lnTo>
                      <a:pt x="3385256" y="1808066"/>
                    </a:lnTo>
                    <a:lnTo>
                      <a:pt x="3382938" y="1805408"/>
                    </a:lnTo>
                    <a:lnTo>
                      <a:pt x="3382055" y="1804831"/>
                    </a:lnTo>
                    <a:lnTo>
                      <a:pt x="3377625" y="1802842"/>
                    </a:lnTo>
                    <a:lnTo>
                      <a:pt x="3373150" y="1798106"/>
                    </a:lnTo>
                    <a:lnTo>
                      <a:pt x="3369491" y="1791957"/>
                    </a:lnTo>
                    <a:lnTo>
                      <a:pt x="3367488" y="1785754"/>
                    </a:lnTo>
                    <a:lnTo>
                      <a:pt x="3383470" y="1783599"/>
                    </a:lnTo>
                    <a:lnTo>
                      <a:pt x="3391287" y="1785336"/>
                    </a:lnTo>
                    <a:lnTo>
                      <a:pt x="3399083" y="1784052"/>
                    </a:lnTo>
                    <a:lnTo>
                      <a:pt x="3401635" y="1784281"/>
                    </a:lnTo>
                    <a:lnTo>
                      <a:pt x="3405793" y="1786090"/>
                    </a:lnTo>
                    <a:lnTo>
                      <a:pt x="3407418" y="1785937"/>
                    </a:lnTo>
                    <a:lnTo>
                      <a:pt x="3412406" y="1782701"/>
                    </a:lnTo>
                    <a:lnTo>
                      <a:pt x="3414563" y="1782228"/>
                    </a:lnTo>
                    <a:lnTo>
                      <a:pt x="3429039" y="1782204"/>
                    </a:lnTo>
                    <a:lnTo>
                      <a:pt x="3431857" y="1780208"/>
                    </a:lnTo>
                    <a:lnTo>
                      <a:pt x="3429209" y="1779665"/>
                    </a:lnTo>
                    <a:lnTo>
                      <a:pt x="3425749" y="1773577"/>
                    </a:lnTo>
                    <a:lnTo>
                      <a:pt x="3420542" y="1770474"/>
                    </a:lnTo>
                    <a:lnTo>
                      <a:pt x="3418427" y="1767081"/>
                    </a:lnTo>
                    <a:lnTo>
                      <a:pt x="3415718" y="1759698"/>
                    </a:lnTo>
                    <a:lnTo>
                      <a:pt x="3414795" y="1755915"/>
                    </a:lnTo>
                    <a:lnTo>
                      <a:pt x="3414290" y="1751867"/>
                    </a:lnTo>
                    <a:lnTo>
                      <a:pt x="3414650" y="1747943"/>
                    </a:lnTo>
                    <a:lnTo>
                      <a:pt x="3419357" y="1738279"/>
                    </a:lnTo>
                    <a:lnTo>
                      <a:pt x="3421672" y="1736663"/>
                    </a:lnTo>
                    <a:lnTo>
                      <a:pt x="3422322" y="1734799"/>
                    </a:lnTo>
                    <a:lnTo>
                      <a:pt x="3422779" y="1732574"/>
                    </a:lnTo>
                    <a:lnTo>
                      <a:pt x="3423414" y="1730669"/>
                    </a:lnTo>
                    <a:lnTo>
                      <a:pt x="3425393" y="1728138"/>
                    </a:lnTo>
                    <a:lnTo>
                      <a:pt x="3428697" y="1724774"/>
                    </a:lnTo>
                    <a:lnTo>
                      <a:pt x="3432301" y="1721870"/>
                    </a:lnTo>
                    <a:lnTo>
                      <a:pt x="3438419" y="1719291"/>
                    </a:lnTo>
                    <a:lnTo>
                      <a:pt x="3459196" y="1695965"/>
                    </a:lnTo>
                    <a:lnTo>
                      <a:pt x="3473166" y="1684264"/>
                    </a:lnTo>
                    <a:lnTo>
                      <a:pt x="3474570" y="1682445"/>
                    </a:lnTo>
                    <a:lnTo>
                      <a:pt x="3477668" y="1677102"/>
                    </a:lnTo>
                    <a:lnTo>
                      <a:pt x="3480216" y="1673839"/>
                    </a:lnTo>
                    <a:lnTo>
                      <a:pt x="3483388" y="1670839"/>
                    </a:lnTo>
                    <a:lnTo>
                      <a:pt x="3495048" y="1663525"/>
                    </a:lnTo>
                    <a:lnTo>
                      <a:pt x="3502134" y="1656388"/>
                    </a:lnTo>
                    <a:lnTo>
                      <a:pt x="3506959" y="1653837"/>
                    </a:lnTo>
                    <a:lnTo>
                      <a:pt x="3511975" y="1652366"/>
                    </a:lnTo>
                    <a:lnTo>
                      <a:pt x="3516316" y="1651970"/>
                    </a:lnTo>
                    <a:lnTo>
                      <a:pt x="3526964" y="1653750"/>
                    </a:lnTo>
                    <a:lnTo>
                      <a:pt x="3532350" y="1652874"/>
                    </a:lnTo>
                    <a:lnTo>
                      <a:pt x="3534689" y="1653163"/>
                    </a:lnTo>
                    <a:lnTo>
                      <a:pt x="3536754" y="1655261"/>
                    </a:lnTo>
                    <a:lnTo>
                      <a:pt x="3535227" y="1656655"/>
                    </a:lnTo>
                    <a:lnTo>
                      <a:pt x="3534172" y="1658417"/>
                    </a:lnTo>
                    <a:lnTo>
                      <a:pt x="3534012" y="1660287"/>
                    </a:lnTo>
                    <a:lnTo>
                      <a:pt x="3535200" y="1661911"/>
                    </a:lnTo>
                    <a:lnTo>
                      <a:pt x="3535822" y="1664785"/>
                    </a:lnTo>
                    <a:lnTo>
                      <a:pt x="3540157" y="1666565"/>
                    </a:lnTo>
                    <a:lnTo>
                      <a:pt x="3549175" y="1667748"/>
                    </a:lnTo>
                    <a:lnTo>
                      <a:pt x="3550599" y="1668493"/>
                    </a:lnTo>
                    <a:lnTo>
                      <a:pt x="3552860" y="1671922"/>
                    </a:lnTo>
                    <a:lnTo>
                      <a:pt x="3554068" y="1673175"/>
                    </a:lnTo>
                    <a:lnTo>
                      <a:pt x="3556305" y="1673803"/>
                    </a:lnTo>
                    <a:lnTo>
                      <a:pt x="3564005" y="1673487"/>
                    </a:lnTo>
                    <a:lnTo>
                      <a:pt x="3558711" y="1675651"/>
                    </a:lnTo>
                    <a:lnTo>
                      <a:pt x="3556741" y="1676861"/>
                    </a:lnTo>
                    <a:lnTo>
                      <a:pt x="3552713" y="1681035"/>
                    </a:lnTo>
                    <a:lnTo>
                      <a:pt x="3550265" y="1682942"/>
                    </a:lnTo>
                    <a:lnTo>
                      <a:pt x="3547666" y="1684297"/>
                    </a:lnTo>
                    <a:lnTo>
                      <a:pt x="3551039" y="1684238"/>
                    </a:lnTo>
                    <a:lnTo>
                      <a:pt x="3553654" y="1682979"/>
                    </a:lnTo>
                    <a:lnTo>
                      <a:pt x="3558543" y="1677647"/>
                    </a:lnTo>
                    <a:lnTo>
                      <a:pt x="3559755" y="1676719"/>
                    </a:lnTo>
                    <a:lnTo>
                      <a:pt x="3561169" y="1676027"/>
                    </a:lnTo>
                    <a:lnTo>
                      <a:pt x="3565087" y="1676226"/>
                    </a:lnTo>
                    <a:lnTo>
                      <a:pt x="3567050" y="1675754"/>
                    </a:lnTo>
                    <a:lnTo>
                      <a:pt x="3568148" y="1673614"/>
                    </a:lnTo>
                    <a:lnTo>
                      <a:pt x="3567059" y="1670231"/>
                    </a:lnTo>
                    <a:lnTo>
                      <a:pt x="3563628" y="1669096"/>
                    </a:lnTo>
                    <a:lnTo>
                      <a:pt x="3557049" y="1668539"/>
                    </a:lnTo>
                    <a:lnTo>
                      <a:pt x="3556471" y="1666135"/>
                    </a:lnTo>
                    <a:lnTo>
                      <a:pt x="3558580" y="1663197"/>
                    </a:lnTo>
                    <a:lnTo>
                      <a:pt x="3562967" y="1658856"/>
                    </a:lnTo>
                    <a:lnTo>
                      <a:pt x="3560866" y="1658916"/>
                    </a:lnTo>
                    <a:lnTo>
                      <a:pt x="3559523" y="1659314"/>
                    </a:lnTo>
                    <a:lnTo>
                      <a:pt x="3556987" y="1661289"/>
                    </a:lnTo>
                    <a:lnTo>
                      <a:pt x="3554692" y="1664016"/>
                    </a:lnTo>
                    <a:lnTo>
                      <a:pt x="3553180" y="1665122"/>
                    </a:lnTo>
                    <a:lnTo>
                      <a:pt x="3552044" y="1664497"/>
                    </a:lnTo>
                    <a:lnTo>
                      <a:pt x="3548954" y="1661646"/>
                    </a:lnTo>
                    <a:lnTo>
                      <a:pt x="3540525" y="1663330"/>
                    </a:lnTo>
                    <a:lnTo>
                      <a:pt x="3536930" y="1661966"/>
                    </a:lnTo>
                    <a:lnTo>
                      <a:pt x="3542555" y="1656202"/>
                    </a:lnTo>
                    <a:lnTo>
                      <a:pt x="3543484" y="1654287"/>
                    </a:lnTo>
                    <a:lnTo>
                      <a:pt x="3543014" y="1651667"/>
                    </a:lnTo>
                    <a:lnTo>
                      <a:pt x="3541299" y="1649996"/>
                    </a:lnTo>
                    <a:lnTo>
                      <a:pt x="3539070" y="1649109"/>
                    </a:lnTo>
                    <a:lnTo>
                      <a:pt x="3537029" y="1648815"/>
                    </a:lnTo>
                    <a:lnTo>
                      <a:pt x="3536421" y="1648286"/>
                    </a:lnTo>
                    <a:lnTo>
                      <a:pt x="3536907" y="1647188"/>
                    </a:lnTo>
                    <a:lnTo>
                      <a:pt x="3538262" y="1645515"/>
                    </a:lnTo>
                    <a:lnTo>
                      <a:pt x="3539668" y="1644393"/>
                    </a:lnTo>
                    <a:lnTo>
                      <a:pt x="3541311" y="1644013"/>
                    </a:lnTo>
                    <a:lnTo>
                      <a:pt x="3544616" y="1643790"/>
                    </a:lnTo>
                    <a:lnTo>
                      <a:pt x="3555947" y="1639495"/>
                    </a:lnTo>
                    <a:lnTo>
                      <a:pt x="3585810" y="1614732"/>
                    </a:lnTo>
                    <a:lnTo>
                      <a:pt x="3582869" y="1613797"/>
                    </a:lnTo>
                    <a:lnTo>
                      <a:pt x="3578368" y="1615867"/>
                    </a:lnTo>
                    <a:lnTo>
                      <a:pt x="3573760" y="1619366"/>
                    </a:lnTo>
                    <a:lnTo>
                      <a:pt x="3568682" y="1624387"/>
                    </a:lnTo>
                    <a:lnTo>
                      <a:pt x="3562263" y="1627022"/>
                    </a:lnTo>
                    <a:lnTo>
                      <a:pt x="3552096" y="1635140"/>
                    </a:lnTo>
                    <a:lnTo>
                      <a:pt x="3547096" y="1637967"/>
                    </a:lnTo>
                    <a:lnTo>
                      <a:pt x="3543008" y="1637600"/>
                    </a:lnTo>
                    <a:lnTo>
                      <a:pt x="3541937" y="1631027"/>
                    </a:lnTo>
                    <a:lnTo>
                      <a:pt x="3542038" y="1625623"/>
                    </a:lnTo>
                    <a:lnTo>
                      <a:pt x="3541162" y="1621174"/>
                    </a:lnTo>
                    <a:lnTo>
                      <a:pt x="3539453" y="1617522"/>
                    </a:lnTo>
                    <a:lnTo>
                      <a:pt x="3537073" y="1614506"/>
                    </a:lnTo>
                    <a:lnTo>
                      <a:pt x="3538392" y="1613626"/>
                    </a:lnTo>
                    <a:lnTo>
                      <a:pt x="3539269" y="1612620"/>
                    </a:lnTo>
                    <a:lnTo>
                      <a:pt x="3539358" y="1611573"/>
                    </a:lnTo>
                    <a:lnTo>
                      <a:pt x="3538327" y="1610599"/>
                    </a:lnTo>
                    <a:lnTo>
                      <a:pt x="3538792" y="1609753"/>
                    </a:lnTo>
                    <a:lnTo>
                      <a:pt x="3539069" y="1609071"/>
                    </a:lnTo>
                    <a:lnTo>
                      <a:pt x="3539465" y="1608451"/>
                    </a:lnTo>
                    <a:lnTo>
                      <a:pt x="3540271" y="1607912"/>
                    </a:lnTo>
                    <a:lnTo>
                      <a:pt x="3539421" y="1607343"/>
                    </a:lnTo>
                    <a:lnTo>
                      <a:pt x="3537262" y="1605299"/>
                    </a:lnTo>
                    <a:lnTo>
                      <a:pt x="3539395" y="1604360"/>
                    </a:lnTo>
                    <a:lnTo>
                      <a:pt x="3541141" y="1603899"/>
                    </a:lnTo>
                    <a:lnTo>
                      <a:pt x="3542854" y="1603837"/>
                    </a:lnTo>
                    <a:lnTo>
                      <a:pt x="3544868" y="1604114"/>
                    </a:lnTo>
                    <a:lnTo>
                      <a:pt x="3549019" y="1605682"/>
                    </a:lnTo>
                    <a:lnTo>
                      <a:pt x="3550973" y="1605439"/>
                    </a:lnTo>
                    <a:lnTo>
                      <a:pt x="3552394" y="1603042"/>
                    </a:lnTo>
                    <a:lnTo>
                      <a:pt x="3544616" y="1601309"/>
                    </a:lnTo>
                    <a:lnTo>
                      <a:pt x="3541338" y="1599159"/>
                    </a:lnTo>
                    <a:lnTo>
                      <a:pt x="3539236" y="1594853"/>
                    </a:lnTo>
                    <a:lnTo>
                      <a:pt x="3542358" y="1592544"/>
                    </a:lnTo>
                    <a:lnTo>
                      <a:pt x="3543213" y="1592242"/>
                    </a:lnTo>
                    <a:lnTo>
                      <a:pt x="3543692" y="1591459"/>
                    </a:lnTo>
                    <a:lnTo>
                      <a:pt x="3544239" y="1587672"/>
                    </a:lnTo>
                    <a:lnTo>
                      <a:pt x="3544730" y="1586310"/>
                    </a:lnTo>
                    <a:lnTo>
                      <a:pt x="3546358" y="1583999"/>
                    </a:lnTo>
                    <a:lnTo>
                      <a:pt x="3549067" y="1578694"/>
                    </a:lnTo>
                    <a:lnTo>
                      <a:pt x="3557890" y="1566717"/>
                    </a:lnTo>
                    <a:lnTo>
                      <a:pt x="3561915" y="1562622"/>
                    </a:lnTo>
                    <a:lnTo>
                      <a:pt x="3566114" y="1560034"/>
                    </a:lnTo>
                    <a:lnTo>
                      <a:pt x="3569575" y="1559189"/>
                    </a:lnTo>
                    <a:lnTo>
                      <a:pt x="3585659" y="1559177"/>
                    </a:lnTo>
                    <a:lnTo>
                      <a:pt x="3586942" y="1560085"/>
                    </a:lnTo>
                    <a:lnTo>
                      <a:pt x="3587731" y="1561072"/>
                    </a:lnTo>
                    <a:lnTo>
                      <a:pt x="3590151" y="1562952"/>
                    </a:lnTo>
                    <a:lnTo>
                      <a:pt x="3591181" y="1563313"/>
                    </a:lnTo>
                    <a:lnTo>
                      <a:pt x="3591932" y="1562797"/>
                    </a:lnTo>
                    <a:lnTo>
                      <a:pt x="3592524" y="1561594"/>
                    </a:lnTo>
                    <a:lnTo>
                      <a:pt x="3593353" y="1560353"/>
                    </a:lnTo>
                    <a:lnTo>
                      <a:pt x="3594820" y="1559725"/>
                    </a:lnTo>
                    <a:lnTo>
                      <a:pt x="3595930" y="1560040"/>
                    </a:lnTo>
                    <a:lnTo>
                      <a:pt x="3599445" y="1562385"/>
                    </a:lnTo>
                    <a:lnTo>
                      <a:pt x="3600588" y="1562356"/>
                    </a:lnTo>
                    <a:lnTo>
                      <a:pt x="3602630" y="1561526"/>
                    </a:lnTo>
                    <a:lnTo>
                      <a:pt x="3603587" y="1561854"/>
                    </a:lnTo>
                    <a:lnTo>
                      <a:pt x="3605922" y="1563761"/>
                    </a:lnTo>
                    <a:lnTo>
                      <a:pt x="3608363" y="1564812"/>
                    </a:lnTo>
                    <a:lnTo>
                      <a:pt x="3609483" y="1564828"/>
                    </a:lnTo>
                    <a:lnTo>
                      <a:pt x="3610818" y="1563907"/>
                    </a:lnTo>
                    <a:lnTo>
                      <a:pt x="3609334" y="1558617"/>
                    </a:lnTo>
                    <a:lnTo>
                      <a:pt x="3607288" y="1555052"/>
                    </a:lnTo>
                    <a:lnTo>
                      <a:pt x="3604429" y="1552879"/>
                    </a:lnTo>
                    <a:lnTo>
                      <a:pt x="3587370" y="1548932"/>
                    </a:lnTo>
                    <a:lnTo>
                      <a:pt x="3585614" y="1546205"/>
                    </a:lnTo>
                    <a:lnTo>
                      <a:pt x="3584793" y="1543497"/>
                    </a:lnTo>
                    <a:lnTo>
                      <a:pt x="3583338" y="1542233"/>
                    </a:lnTo>
                    <a:lnTo>
                      <a:pt x="3579600" y="1540662"/>
                    </a:lnTo>
                    <a:lnTo>
                      <a:pt x="3581724" y="1538720"/>
                    </a:lnTo>
                    <a:lnTo>
                      <a:pt x="3588946" y="1534997"/>
                    </a:lnTo>
                    <a:lnTo>
                      <a:pt x="3591328" y="1534337"/>
                    </a:lnTo>
                    <a:lnTo>
                      <a:pt x="3593181" y="1533285"/>
                    </a:lnTo>
                    <a:lnTo>
                      <a:pt x="3601565" y="1526197"/>
                    </a:lnTo>
                    <a:lnTo>
                      <a:pt x="3608809" y="1522535"/>
                    </a:lnTo>
                    <a:lnTo>
                      <a:pt x="3635579" y="1517001"/>
                    </a:lnTo>
                    <a:lnTo>
                      <a:pt x="3653345" y="1518643"/>
                    </a:lnTo>
                    <a:lnTo>
                      <a:pt x="3672525" y="1526217"/>
                    </a:lnTo>
                    <a:lnTo>
                      <a:pt x="3679745" y="1525414"/>
                    </a:lnTo>
                    <a:lnTo>
                      <a:pt x="3681494" y="1525869"/>
                    </a:lnTo>
                    <a:lnTo>
                      <a:pt x="3684128" y="1527063"/>
                    </a:lnTo>
                    <a:lnTo>
                      <a:pt x="3684619" y="1527779"/>
                    </a:lnTo>
                    <a:lnTo>
                      <a:pt x="3683563" y="1529140"/>
                    </a:lnTo>
                    <a:lnTo>
                      <a:pt x="3684566" y="1530307"/>
                    </a:lnTo>
                    <a:lnTo>
                      <a:pt x="3686902" y="1531641"/>
                    </a:lnTo>
                    <a:lnTo>
                      <a:pt x="3687797" y="1532649"/>
                    </a:lnTo>
                    <a:lnTo>
                      <a:pt x="3688822" y="1535496"/>
                    </a:lnTo>
                    <a:lnTo>
                      <a:pt x="3689517" y="1536677"/>
                    </a:lnTo>
                    <a:lnTo>
                      <a:pt x="3692961" y="1538402"/>
                    </a:lnTo>
                    <a:lnTo>
                      <a:pt x="3693717" y="1541005"/>
                    </a:lnTo>
                    <a:lnTo>
                      <a:pt x="3692870" y="1543702"/>
                    </a:lnTo>
                    <a:lnTo>
                      <a:pt x="3690338" y="1545157"/>
                    </a:lnTo>
                    <a:lnTo>
                      <a:pt x="3690222" y="1546466"/>
                    </a:lnTo>
                    <a:lnTo>
                      <a:pt x="3693725" y="1545856"/>
                    </a:lnTo>
                    <a:lnTo>
                      <a:pt x="3699469" y="1543147"/>
                    </a:lnTo>
                    <a:lnTo>
                      <a:pt x="3702017" y="1542854"/>
                    </a:lnTo>
                    <a:lnTo>
                      <a:pt x="3704919" y="1544491"/>
                    </a:lnTo>
                    <a:lnTo>
                      <a:pt x="3702037" y="1546478"/>
                    </a:lnTo>
                    <a:lnTo>
                      <a:pt x="3697303" y="1548746"/>
                    </a:lnTo>
                    <a:lnTo>
                      <a:pt x="3694693" y="1551240"/>
                    </a:lnTo>
                    <a:lnTo>
                      <a:pt x="3690169" y="1557247"/>
                    </a:lnTo>
                    <a:lnTo>
                      <a:pt x="3673280" y="1564180"/>
                    </a:lnTo>
                    <a:lnTo>
                      <a:pt x="3670873" y="1570987"/>
                    </a:lnTo>
                    <a:lnTo>
                      <a:pt x="3676687" y="1565563"/>
                    </a:lnTo>
                    <a:lnTo>
                      <a:pt x="3690274" y="1560187"/>
                    </a:lnTo>
                    <a:lnTo>
                      <a:pt x="3696876" y="1555944"/>
                    </a:lnTo>
                    <a:lnTo>
                      <a:pt x="3702716" y="1549058"/>
                    </a:lnTo>
                    <a:lnTo>
                      <a:pt x="3706298" y="1546855"/>
                    </a:lnTo>
                    <a:lnTo>
                      <a:pt x="3710488" y="1549820"/>
                    </a:lnTo>
                    <a:lnTo>
                      <a:pt x="3716430" y="1551077"/>
                    </a:lnTo>
                    <a:lnTo>
                      <a:pt x="3721306" y="1556566"/>
                    </a:lnTo>
                    <a:lnTo>
                      <a:pt x="3724386" y="1562362"/>
                    </a:lnTo>
                    <a:lnTo>
                      <a:pt x="3726133" y="1563835"/>
                    </a:lnTo>
                    <a:lnTo>
                      <a:pt x="3733627" y="1560565"/>
                    </a:lnTo>
                    <a:lnTo>
                      <a:pt x="3757170" y="1559486"/>
                    </a:lnTo>
                    <a:lnTo>
                      <a:pt x="3759632" y="1558793"/>
                    </a:lnTo>
                    <a:lnTo>
                      <a:pt x="3764648" y="1555488"/>
                    </a:lnTo>
                    <a:lnTo>
                      <a:pt x="3767231" y="1554476"/>
                    </a:lnTo>
                    <a:lnTo>
                      <a:pt x="3770350" y="1551689"/>
                    </a:lnTo>
                    <a:lnTo>
                      <a:pt x="3771317" y="1550486"/>
                    </a:lnTo>
                    <a:lnTo>
                      <a:pt x="3772891" y="1548897"/>
                    </a:lnTo>
                    <a:lnTo>
                      <a:pt x="3778522" y="1547306"/>
                    </a:lnTo>
                    <a:lnTo>
                      <a:pt x="3783805" y="1544052"/>
                    </a:lnTo>
                    <a:lnTo>
                      <a:pt x="3786289" y="1541929"/>
                    </a:lnTo>
                    <a:lnTo>
                      <a:pt x="3788067" y="1539541"/>
                    </a:lnTo>
                    <a:lnTo>
                      <a:pt x="3788658" y="1537697"/>
                    </a:lnTo>
                    <a:lnTo>
                      <a:pt x="3788643" y="1534949"/>
                    </a:lnTo>
                    <a:lnTo>
                      <a:pt x="3789344" y="1533146"/>
                    </a:lnTo>
                    <a:lnTo>
                      <a:pt x="3790303" y="1531927"/>
                    </a:lnTo>
                    <a:lnTo>
                      <a:pt x="3793776" y="1529194"/>
                    </a:lnTo>
                    <a:lnTo>
                      <a:pt x="3806942" y="1527629"/>
                    </a:lnTo>
                    <a:lnTo>
                      <a:pt x="3819469" y="1518788"/>
                    </a:lnTo>
                    <a:lnTo>
                      <a:pt x="3840974" y="1494855"/>
                    </a:lnTo>
                    <a:lnTo>
                      <a:pt x="3843632" y="1490724"/>
                    </a:lnTo>
                    <a:lnTo>
                      <a:pt x="3844553" y="1489690"/>
                    </a:lnTo>
                    <a:lnTo>
                      <a:pt x="3849450" y="1486607"/>
                    </a:lnTo>
                    <a:lnTo>
                      <a:pt x="3850828" y="1485123"/>
                    </a:lnTo>
                    <a:lnTo>
                      <a:pt x="3853376" y="1483037"/>
                    </a:lnTo>
                    <a:lnTo>
                      <a:pt x="3856739" y="1481210"/>
                    </a:lnTo>
                    <a:lnTo>
                      <a:pt x="3859623" y="1478905"/>
                    </a:lnTo>
                    <a:lnTo>
                      <a:pt x="3860727" y="1475397"/>
                    </a:lnTo>
                    <a:lnTo>
                      <a:pt x="3856230" y="1470196"/>
                    </a:lnTo>
                    <a:lnTo>
                      <a:pt x="3856868" y="1467849"/>
                    </a:lnTo>
                    <a:lnTo>
                      <a:pt x="3858826" y="1467163"/>
                    </a:lnTo>
                    <a:lnTo>
                      <a:pt x="3863716" y="1467605"/>
                    </a:lnTo>
                    <a:lnTo>
                      <a:pt x="3865359" y="1468066"/>
                    </a:lnTo>
                    <a:lnTo>
                      <a:pt x="3868801" y="1469998"/>
                    </a:lnTo>
                    <a:lnTo>
                      <a:pt x="3872379" y="1470827"/>
                    </a:lnTo>
                    <a:lnTo>
                      <a:pt x="3877128" y="1473088"/>
                    </a:lnTo>
                    <a:lnTo>
                      <a:pt x="3881248" y="1473582"/>
                    </a:lnTo>
                    <a:lnTo>
                      <a:pt x="3883006" y="1474431"/>
                    </a:lnTo>
                    <a:lnTo>
                      <a:pt x="3885686" y="1478054"/>
                    </a:lnTo>
                    <a:lnTo>
                      <a:pt x="3887216" y="1479195"/>
                    </a:lnTo>
                    <a:lnTo>
                      <a:pt x="3888902" y="1479909"/>
                    </a:lnTo>
                    <a:lnTo>
                      <a:pt x="3890473" y="1480093"/>
                    </a:lnTo>
                    <a:lnTo>
                      <a:pt x="3888152" y="1480348"/>
                    </a:lnTo>
                    <a:lnTo>
                      <a:pt x="3886022" y="1482219"/>
                    </a:lnTo>
                    <a:lnTo>
                      <a:pt x="3883990" y="1484589"/>
                    </a:lnTo>
                    <a:lnTo>
                      <a:pt x="3881954" y="1486352"/>
                    </a:lnTo>
                    <a:lnTo>
                      <a:pt x="3879549" y="1487172"/>
                    </a:lnTo>
                    <a:lnTo>
                      <a:pt x="3874536" y="1487798"/>
                    </a:lnTo>
                    <a:lnTo>
                      <a:pt x="3872123" y="1488789"/>
                    </a:lnTo>
                    <a:lnTo>
                      <a:pt x="3872034" y="1490214"/>
                    </a:lnTo>
                    <a:lnTo>
                      <a:pt x="3902280" y="1487073"/>
                    </a:lnTo>
                    <a:lnTo>
                      <a:pt x="3932494" y="1483893"/>
                    </a:lnTo>
                    <a:lnTo>
                      <a:pt x="3937131" y="1484556"/>
                    </a:lnTo>
                    <a:lnTo>
                      <a:pt x="3940731" y="1486232"/>
                    </a:lnTo>
                    <a:lnTo>
                      <a:pt x="3942611" y="1486774"/>
                    </a:lnTo>
                    <a:lnTo>
                      <a:pt x="3944518" y="1486428"/>
                    </a:lnTo>
                    <a:lnTo>
                      <a:pt x="3950082" y="1483553"/>
                    </a:lnTo>
                    <a:lnTo>
                      <a:pt x="3951885" y="1483300"/>
                    </a:lnTo>
                    <a:lnTo>
                      <a:pt x="3953404" y="1483478"/>
                    </a:lnTo>
                    <a:lnTo>
                      <a:pt x="3954854" y="1484185"/>
                    </a:lnTo>
                    <a:lnTo>
                      <a:pt x="3956470" y="1485556"/>
                    </a:lnTo>
                    <a:lnTo>
                      <a:pt x="3958347" y="1486089"/>
                    </a:lnTo>
                    <a:lnTo>
                      <a:pt x="3960488" y="1485061"/>
                    </a:lnTo>
                    <a:lnTo>
                      <a:pt x="3962686" y="1483520"/>
                    </a:lnTo>
                    <a:lnTo>
                      <a:pt x="3964721" y="1482474"/>
                    </a:lnTo>
                    <a:lnTo>
                      <a:pt x="3988750" y="1477828"/>
                    </a:lnTo>
                    <a:lnTo>
                      <a:pt x="4004603" y="1464865"/>
                    </a:lnTo>
                    <a:lnTo>
                      <a:pt x="4005991" y="1462712"/>
                    </a:lnTo>
                    <a:lnTo>
                      <a:pt x="4007548" y="1458087"/>
                    </a:lnTo>
                    <a:lnTo>
                      <a:pt x="4010855" y="1455888"/>
                    </a:lnTo>
                    <a:lnTo>
                      <a:pt x="4014634" y="1454696"/>
                    </a:lnTo>
                    <a:lnTo>
                      <a:pt x="4017624" y="1453121"/>
                    </a:lnTo>
                    <a:lnTo>
                      <a:pt x="4024724" y="1443990"/>
                    </a:lnTo>
                    <a:lnTo>
                      <a:pt x="4029820" y="1441484"/>
                    </a:lnTo>
                    <a:lnTo>
                      <a:pt x="4032606" y="1438608"/>
                    </a:lnTo>
                    <a:lnTo>
                      <a:pt x="4037005" y="1432353"/>
                    </a:lnTo>
                    <a:lnTo>
                      <a:pt x="4040436" y="1417573"/>
                    </a:lnTo>
                    <a:lnTo>
                      <a:pt x="4036566" y="1402189"/>
                    </a:lnTo>
                    <a:lnTo>
                      <a:pt x="4023247" y="1374626"/>
                    </a:lnTo>
                    <a:lnTo>
                      <a:pt x="4021705" y="1365484"/>
                    </a:lnTo>
                    <a:lnTo>
                      <a:pt x="4021821" y="1344469"/>
                    </a:lnTo>
                    <a:lnTo>
                      <a:pt x="4019649" y="1336024"/>
                    </a:lnTo>
                    <a:lnTo>
                      <a:pt x="4017247" y="1333096"/>
                    </a:lnTo>
                    <a:lnTo>
                      <a:pt x="4009648" y="1327259"/>
                    </a:lnTo>
                    <a:lnTo>
                      <a:pt x="4006655" y="1326158"/>
                    </a:lnTo>
                    <a:lnTo>
                      <a:pt x="4003723" y="1324485"/>
                    </a:lnTo>
                    <a:lnTo>
                      <a:pt x="3997216" y="1316613"/>
                    </a:lnTo>
                    <a:lnTo>
                      <a:pt x="3994159" y="1314062"/>
                    </a:lnTo>
                    <a:lnTo>
                      <a:pt x="3994213" y="1312877"/>
                    </a:lnTo>
                    <a:lnTo>
                      <a:pt x="3995272" y="1312729"/>
                    </a:lnTo>
                    <a:lnTo>
                      <a:pt x="3995968" y="1312242"/>
                    </a:lnTo>
                    <a:lnTo>
                      <a:pt x="3997471" y="1310318"/>
                    </a:lnTo>
                    <a:lnTo>
                      <a:pt x="3995369" y="1308748"/>
                    </a:lnTo>
                    <a:lnTo>
                      <a:pt x="3990448" y="1307535"/>
                    </a:lnTo>
                    <a:lnTo>
                      <a:pt x="3988244" y="1306173"/>
                    </a:lnTo>
                    <a:lnTo>
                      <a:pt x="3989840" y="1305243"/>
                    </a:lnTo>
                    <a:lnTo>
                      <a:pt x="3991861" y="1304944"/>
                    </a:lnTo>
                    <a:lnTo>
                      <a:pt x="3996208" y="1305103"/>
                    </a:lnTo>
                    <a:lnTo>
                      <a:pt x="3996267" y="1303803"/>
                    </a:lnTo>
                    <a:lnTo>
                      <a:pt x="3979868" y="1303685"/>
                    </a:lnTo>
                    <a:lnTo>
                      <a:pt x="3968818" y="1300529"/>
                    </a:lnTo>
                    <a:lnTo>
                      <a:pt x="3965529" y="1300783"/>
                    </a:lnTo>
                    <a:lnTo>
                      <a:pt x="3962524" y="1302039"/>
                    </a:lnTo>
                    <a:lnTo>
                      <a:pt x="3960730" y="1303980"/>
                    </a:lnTo>
                    <a:lnTo>
                      <a:pt x="3959394" y="1306315"/>
                    </a:lnTo>
                    <a:lnTo>
                      <a:pt x="3957955" y="1308128"/>
                    </a:lnTo>
                    <a:lnTo>
                      <a:pt x="3955851" y="1308429"/>
                    </a:lnTo>
                    <a:lnTo>
                      <a:pt x="3955919" y="1307121"/>
                    </a:lnTo>
                    <a:lnTo>
                      <a:pt x="3957709" y="1301161"/>
                    </a:lnTo>
                    <a:lnTo>
                      <a:pt x="3958669" y="1299377"/>
                    </a:lnTo>
                    <a:lnTo>
                      <a:pt x="3960434" y="1297522"/>
                    </a:lnTo>
                    <a:lnTo>
                      <a:pt x="3961628" y="1296891"/>
                    </a:lnTo>
                    <a:lnTo>
                      <a:pt x="3962599" y="1295907"/>
                    </a:lnTo>
                    <a:lnTo>
                      <a:pt x="3963701" y="1292949"/>
                    </a:lnTo>
                    <a:lnTo>
                      <a:pt x="3964311" y="1290016"/>
                    </a:lnTo>
                    <a:lnTo>
                      <a:pt x="3964590" y="1287821"/>
                    </a:lnTo>
                    <a:lnTo>
                      <a:pt x="3965125" y="1285886"/>
                    </a:lnTo>
                    <a:lnTo>
                      <a:pt x="3966503" y="1283778"/>
                    </a:lnTo>
                    <a:lnTo>
                      <a:pt x="3968473" y="1282290"/>
                    </a:lnTo>
                    <a:lnTo>
                      <a:pt x="3971580" y="1280732"/>
                    </a:lnTo>
                    <a:lnTo>
                      <a:pt x="3974639" y="1279918"/>
                    </a:lnTo>
                    <a:lnTo>
                      <a:pt x="3976523" y="1280689"/>
                    </a:lnTo>
                    <a:lnTo>
                      <a:pt x="3979855" y="1283431"/>
                    </a:lnTo>
                    <a:lnTo>
                      <a:pt x="4007920" y="1287881"/>
                    </a:lnTo>
                    <a:lnTo>
                      <a:pt x="4014634" y="1286984"/>
                    </a:lnTo>
                    <a:lnTo>
                      <a:pt x="4018289" y="1283183"/>
                    </a:lnTo>
                    <a:lnTo>
                      <a:pt x="4011097" y="1279928"/>
                    </a:lnTo>
                    <a:lnTo>
                      <a:pt x="4009183" y="1278393"/>
                    </a:lnTo>
                    <a:lnTo>
                      <a:pt x="4022054" y="1277928"/>
                    </a:lnTo>
                    <a:lnTo>
                      <a:pt x="4023844" y="1277386"/>
                    </a:lnTo>
                    <a:lnTo>
                      <a:pt x="4025117" y="1276022"/>
                    </a:lnTo>
                    <a:lnTo>
                      <a:pt x="4026199" y="1274365"/>
                    </a:lnTo>
                    <a:lnTo>
                      <a:pt x="4027363" y="1272909"/>
                    </a:lnTo>
                    <a:lnTo>
                      <a:pt x="4038441" y="1266432"/>
                    </a:lnTo>
                    <a:lnTo>
                      <a:pt x="4042141" y="1261525"/>
                    </a:lnTo>
                    <a:lnTo>
                      <a:pt x="4044078" y="1249321"/>
                    </a:lnTo>
                    <a:lnTo>
                      <a:pt x="4044354" y="1248373"/>
                    </a:lnTo>
                    <a:lnTo>
                      <a:pt x="4044443" y="1247400"/>
                    </a:lnTo>
                    <a:lnTo>
                      <a:pt x="4044061" y="1245865"/>
                    </a:lnTo>
                    <a:lnTo>
                      <a:pt x="4043011" y="1243858"/>
                    </a:lnTo>
                    <a:lnTo>
                      <a:pt x="4040387" y="1241447"/>
                    </a:lnTo>
                    <a:lnTo>
                      <a:pt x="4039180" y="1239779"/>
                    </a:lnTo>
                    <a:lnTo>
                      <a:pt x="4034121" y="1229751"/>
                    </a:lnTo>
                    <a:lnTo>
                      <a:pt x="4032323" y="1227335"/>
                    </a:lnTo>
                    <a:lnTo>
                      <a:pt x="4030720" y="1226188"/>
                    </a:lnTo>
                    <a:lnTo>
                      <a:pt x="4025400" y="1224763"/>
                    </a:lnTo>
                    <a:lnTo>
                      <a:pt x="4021037" y="1221094"/>
                    </a:lnTo>
                    <a:lnTo>
                      <a:pt x="4016459" y="1219585"/>
                    </a:lnTo>
                    <a:lnTo>
                      <a:pt x="4005390" y="1208874"/>
                    </a:lnTo>
                    <a:lnTo>
                      <a:pt x="4004447" y="1207532"/>
                    </a:lnTo>
                    <a:lnTo>
                      <a:pt x="4006928" y="1207789"/>
                    </a:lnTo>
                    <a:lnTo>
                      <a:pt x="4012200" y="1209951"/>
                    </a:lnTo>
                    <a:lnTo>
                      <a:pt x="4014424" y="1209555"/>
                    </a:lnTo>
                    <a:lnTo>
                      <a:pt x="4018692" y="1206528"/>
                    </a:lnTo>
                    <a:lnTo>
                      <a:pt x="4020943" y="1205461"/>
                    </a:lnTo>
                    <a:lnTo>
                      <a:pt x="4023133" y="1205070"/>
                    </a:lnTo>
                    <a:lnTo>
                      <a:pt x="4021704" y="1204080"/>
                    </a:lnTo>
                    <a:lnTo>
                      <a:pt x="4019891" y="1203555"/>
                    </a:lnTo>
                    <a:lnTo>
                      <a:pt x="4017979" y="1203461"/>
                    </a:lnTo>
                    <a:lnTo>
                      <a:pt x="4016256" y="1203810"/>
                    </a:lnTo>
                    <a:lnTo>
                      <a:pt x="4015723" y="1204336"/>
                    </a:lnTo>
                    <a:lnTo>
                      <a:pt x="4015283" y="1205912"/>
                    </a:lnTo>
                    <a:lnTo>
                      <a:pt x="4014950" y="1206265"/>
                    </a:lnTo>
                    <a:lnTo>
                      <a:pt x="4001499" y="1204774"/>
                    </a:lnTo>
                    <a:lnTo>
                      <a:pt x="3998281" y="1206044"/>
                    </a:lnTo>
                    <a:lnTo>
                      <a:pt x="3998469" y="1210387"/>
                    </a:lnTo>
                    <a:lnTo>
                      <a:pt x="3995825" y="1212962"/>
                    </a:lnTo>
                    <a:lnTo>
                      <a:pt x="3986775" y="1217385"/>
                    </a:lnTo>
                    <a:lnTo>
                      <a:pt x="3985776" y="1218623"/>
                    </a:lnTo>
                    <a:lnTo>
                      <a:pt x="3984876" y="1222389"/>
                    </a:lnTo>
                    <a:lnTo>
                      <a:pt x="3983920" y="1223858"/>
                    </a:lnTo>
                    <a:lnTo>
                      <a:pt x="3982720" y="1224938"/>
                    </a:lnTo>
                    <a:lnTo>
                      <a:pt x="3980222" y="1225961"/>
                    </a:lnTo>
                    <a:lnTo>
                      <a:pt x="3979570" y="1227397"/>
                    </a:lnTo>
                    <a:lnTo>
                      <a:pt x="3979171" y="1229106"/>
                    </a:lnTo>
                    <a:lnTo>
                      <a:pt x="3978642" y="1230506"/>
                    </a:lnTo>
                    <a:lnTo>
                      <a:pt x="3976061" y="1233420"/>
                    </a:lnTo>
                    <a:lnTo>
                      <a:pt x="3974456" y="1234781"/>
                    </a:lnTo>
                    <a:lnTo>
                      <a:pt x="3972888" y="1235733"/>
                    </a:lnTo>
                    <a:lnTo>
                      <a:pt x="3970371" y="1236384"/>
                    </a:lnTo>
                    <a:lnTo>
                      <a:pt x="3965219" y="1236399"/>
                    </a:lnTo>
                    <a:lnTo>
                      <a:pt x="3962683" y="1236878"/>
                    </a:lnTo>
                    <a:lnTo>
                      <a:pt x="3961221" y="1237883"/>
                    </a:lnTo>
                    <a:lnTo>
                      <a:pt x="3959943" y="1239202"/>
                    </a:lnTo>
                    <a:lnTo>
                      <a:pt x="3958640" y="1239977"/>
                    </a:lnTo>
                    <a:lnTo>
                      <a:pt x="3957122" y="1239389"/>
                    </a:lnTo>
                    <a:lnTo>
                      <a:pt x="3956720" y="1236236"/>
                    </a:lnTo>
                    <a:lnTo>
                      <a:pt x="3947735" y="1233560"/>
                    </a:lnTo>
                    <a:lnTo>
                      <a:pt x="3944701" y="1231996"/>
                    </a:lnTo>
                    <a:lnTo>
                      <a:pt x="3941636" y="1228143"/>
                    </a:lnTo>
                    <a:lnTo>
                      <a:pt x="3938069" y="1226376"/>
                    </a:lnTo>
                    <a:lnTo>
                      <a:pt x="3929850" y="1225859"/>
                    </a:lnTo>
                    <a:lnTo>
                      <a:pt x="3932442" y="1227024"/>
                    </a:lnTo>
                    <a:lnTo>
                      <a:pt x="3936996" y="1230678"/>
                    </a:lnTo>
                    <a:lnTo>
                      <a:pt x="3939740" y="1231319"/>
                    </a:lnTo>
                    <a:lnTo>
                      <a:pt x="3918896" y="1238738"/>
                    </a:lnTo>
                    <a:lnTo>
                      <a:pt x="3912509" y="1243961"/>
                    </a:lnTo>
                    <a:lnTo>
                      <a:pt x="3914475" y="1245373"/>
                    </a:lnTo>
                    <a:lnTo>
                      <a:pt x="3916514" y="1244752"/>
                    </a:lnTo>
                    <a:lnTo>
                      <a:pt x="3920418" y="1241378"/>
                    </a:lnTo>
                    <a:lnTo>
                      <a:pt x="3922790" y="1239948"/>
                    </a:lnTo>
                    <a:lnTo>
                      <a:pt x="3929955" y="1237535"/>
                    </a:lnTo>
                    <a:lnTo>
                      <a:pt x="3928441" y="1239086"/>
                    </a:lnTo>
                    <a:lnTo>
                      <a:pt x="3923978" y="1242166"/>
                    </a:lnTo>
                    <a:lnTo>
                      <a:pt x="3922320" y="1242711"/>
                    </a:lnTo>
                    <a:lnTo>
                      <a:pt x="3922102" y="1243170"/>
                    </a:lnTo>
                    <a:lnTo>
                      <a:pt x="3919763" y="1245914"/>
                    </a:lnTo>
                    <a:lnTo>
                      <a:pt x="3918519" y="1246759"/>
                    </a:lnTo>
                    <a:lnTo>
                      <a:pt x="3915288" y="1246633"/>
                    </a:lnTo>
                    <a:lnTo>
                      <a:pt x="3908528" y="1248230"/>
                    </a:lnTo>
                    <a:lnTo>
                      <a:pt x="3897566" y="1244604"/>
                    </a:lnTo>
                    <a:lnTo>
                      <a:pt x="3892834" y="1246080"/>
                    </a:lnTo>
                    <a:lnTo>
                      <a:pt x="3894373" y="1246765"/>
                    </a:lnTo>
                    <a:lnTo>
                      <a:pt x="3897585" y="1247575"/>
                    </a:lnTo>
                    <a:lnTo>
                      <a:pt x="3898944" y="1248777"/>
                    </a:lnTo>
                    <a:lnTo>
                      <a:pt x="3890233" y="1249195"/>
                    </a:lnTo>
                    <a:lnTo>
                      <a:pt x="3886209" y="1250652"/>
                    </a:lnTo>
                    <a:lnTo>
                      <a:pt x="3882318" y="1253665"/>
                    </a:lnTo>
                    <a:lnTo>
                      <a:pt x="3881135" y="1255020"/>
                    </a:lnTo>
                    <a:lnTo>
                      <a:pt x="3877605" y="1260679"/>
                    </a:lnTo>
                    <a:lnTo>
                      <a:pt x="3876302" y="1262340"/>
                    </a:lnTo>
                    <a:lnTo>
                      <a:pt x="3874790" y="1263534"/>
                    </a:lnTo>
                    <a:lnTo>
                      <a:pt x="3869259" y="1264626"/>
                    </a:lnTo>
                    <a:lnTo>
                      <a:pt x="3846528" y="1274503"/>
                    </a:lnTo>
                    <a:lnTo>
                      <a:pt x="3840964" y="1279421"/>
                    </a:lnTo>
                    <a:lnTo>
                      <a:pt x="3837807" y="1281546"/>
                    </a:lnTo>
                    <a:lnTo>
                      <a:pt x="3834869" y="1284134"/>
                    </a:lnTo>
                    <a:lnTo>
                      <a:pt x="3832968" y="1287858"/>
                    </a:lnTo>
                    <a:lnTo>
                      <a:pt x="3832793" y="1290033"/>
                    </a:lnTo>
                    <a:lnTo>
                      <a:pt x="3833369" y="1293732"/>
                    </a:lnTo>
                    <a:lnTo>
                      <a:pt x="3833187" y="1295673"/>
                    </a:lnTo>
                    <a:lnTo>
                      <a:pt x="3832128" y="1297301"/>
                    </a:lnTo>
                    <a:lnTo>
                      <a:pt x="3830580" y="1298803"/>
                    </a:lnTo>
                    <a:lnTo>
                      <a:pt x="3829528" y="1300517"/>
                    </a:lnTo>
                    <a:lnTo>
                      <a:pt x="3829898" y="1302811"/>
                    </a:lnTo>
                    <a:lnTo>
                      <a:pt x="3829261" y="1305410"/>
                    </a:lnTo>
                    <a:lnTo>
                      <a:pt x="3818331" y="1310369"/>
                    </a:lnTo>
                    <a:lnTo>
                      <a:pt x="3815627" y="1313178"/>
                    </a:lnTo>
                    <a:lnTo>
                      <a:pt x="3812633" y="1314716"/>
                    </a:lnTo>
                    <a:lnTo>
                      <a:pt x="3810043" y="1313875"/>
                    </a:lnTo>
                    <a:lnTo>
                      <a:pt x="3808572" y="1309555"/>
                    </a:lnTo>
                    <a:lnTo>
                      <a:pt x="3808714" y="1306580"/>
                    </a:lnTo>
                    <a:lnTo>
                      <a:pt x="3809335" y="1304307"/>
                    </a:lnTo>
                    <a:lnTo>
                      <a:pt x="3809647" y="1302222"/>
                    </a:lnTo>
                    <a:lnTo>
                      <a:pt x="3808888" y="1299801"/>
                    </a:lnTo>
                    <a:lnTo>
                      <a:pt x="3806842" y="1295461"/>
                    </a:lnTo>
                    <a:lnTo>
                      <a:pt x="3805702" y="1293886"/>
                    </a:lnTo>
                    <a:lnTo>
                      <a:pt x="3803614" y="1292419"/>
                    </a:lnTo>
                    <a:lnTo>
                      <a:pt x="3805529" y="1287348"/>
                    </a:lnTo>
                    <a:lnTo>
                      <a:pt x="3806888" y="1286070"/>
                    </a:lnTo>
                    <a:lnTo>
                      <a:pt x="3809494" y="1286175"/>
                    </a:lnTo>
                    <a:lnTo>
                      <a:pt x="3809603" y="1284751"/>
                    </a:lnTo>
                    <a:lnTo>
                      <a:pt x="3804986" y="1282230"/>
                    </a:lnTo>
                    <a:lnTo>
                      <a:pt x="3802004" y="1281271"/>
                    </a:lnTo>
                    <a:lnTo>
                      <a:pt x="3799289" y="1278605"/>
                    </a:lnTo>
                    <a:lnTo>
                      <a:pt x="3797983" y="1277994"/>
                    </a:lnTo>
                    <a:lnTo>
                      <a:pt x="3797232" y="1277420"/>
                    </a:lnTo>
                    <a:lnTo>
                      <a:pt x="3795150" y="1274784"/>
                    </a:lnTo>
                    <a:lnTo>
                      <a:pt x="3794049" y="1273883"/>
                    </a:lnTo>
                    <a:lnTo>
                      <a:pt x="3791844" y="1273359"/>
                    </a:lnTo>
                    <a:lnTo>
                      <a:pt x="3784635" y="1273662"/>
                    </a:lnTo>
                    <a:lnTo>
                      <a:pt x="3784730" y="1272478"/>
                    </a:lnTo>
                    <a:lnTo>
                      <a:pt x="3785674" y="1272361"/>
                    </a:lnTo>
                    <a:lnTo>
                      <a:pt x="3788021" y="1271139"/>
                    </a:lnTo>
                    <a:lnTo>
                      <a:pt x="3784818" y="1266763"/>
                    </a:lnTo>
                    <a:lnTo>
                      <a:pt x="3779309" y="1263564"/>
                    </a:lnTo>
                    <a:lnTo>
                      <a:pt x="3774990" y="1259859"/>
                    </a:lnTo>
                    <a:lnTo>
                      <a:pt x="3775324" y="1253943"/>
                    </a:lnTo>
                    <a:lnTo>
                      <a:pt x="3767784" y="1254472"/>
                    </a:lnTo>
                    <a:lnTo>
                      <a:pt x="3764534" y="1255560"/>
                    </a:lnTo>
                    <a:lnTo>
                      <a:pt x="3750599" y="1263707"/>
                    </a:lnTo>
                    <a:lnTo>
                      <a:pt x="3746937" y="1264922"/>
                    </a:lnTo>
                    <a:lnTo>
                      <a:pt x="3746825" y="1266221"/>
                    </a:lnTo>
                    <a:lnTo>
                      <a:pt x="3749250" y="1266708"/>
                    </a:lnTo>
                    <a:lnTo>
                      <a:pt x="3755063" y="1271753"/>
                    </a:lnTo>
                    <a:lnTo>
                      <a:pt x="3757509" y="1272682"/>
                    </a:lnTo>
                    <a:lnTo>
                      <a:pt x="3766647" y="1273227"/>
                    </a:lnTo>
                    <a:lnTo>
                      <a:pt x="3768447" y="1274875"/>
                    </a:lnTo>
                    <a:lnTo>
                      <a:pt x="3771673" y="1279789"/>
                    </a:lnTo>
                    <a:lnTo>
                      <a:pt x="3773793" y="1281189"/>
                    </a:lnTo>
                    <a:lnTo>
                      <a:pt x="3776595" y="1281396"/>
                    </a:lnTo>
                    <a:lnTo>
                      <a:pt x="3785655" y="1280295"/>
                    </a:lnTo>
                    <a:lnTo>
                      <a:pt x="3784558" y="1281215"/>
                    </a:lnTo>
                    <a:lnTo>
                      <a:pt x="3783975" y="1282386"/>
                    </a:lnTo>
                    <a:lnTo>
                      <a:pt x="3783927" y="1283850"/>
                    </a:lnTo>
                    <a:lnTo>
                      <a:pt x="3784458" y="1285598"/>
                    </a:lnTo>
                    <a:lnTo>
                      <a:pt x="3778445" y="1288756"/>
                    </a:lnTo>
                    <a:lnTo>
                      <a:pt x="3776174" y="1291522"/>
                    </a:lnTo>
                    <a:lnTo>
                      <a:pt x="3774966" y="1296424"/>
                    </a:lnTo>
                    <a:lnTo>
                      <a:pt x="3773087" y="1300681"/>
                    </a:lnTo>
                    <a:lnTo>
                      <a:pt x="3769518" y="1300968"/>
                    </a:lnTo>
                    <a:lnTo>
                      <a:pt x="3765708" y="1299084"/>
                    </a:lnTo>
                    <a:lnTo>
                      <a:pt x="3763115" y="1296787"/>
                    </a:lnTo>
                    <a:lnTo>
                      <a:pt x="3757733" y="1286358"/>
                    </a:lnTo>
                    <a:lnTo>
                      <a:pt x="3755508" y="1284893"/>
                    </a:lnTo>
                    <a:lnTo>
                      <a:pt x="3752038" y="1284154"/>
                    </a:lnTo>
                    <a:lnTo>
                      <a:pt x="3749121" y="1282437"/>
                    </a:lnTo>
                    <a:lnTo>
                      <a:pt x="3743603" y="1277956"/>
                    </a:lnTo>
                    <a:lnTo>
                      <a:pt x="3729664" y="1270633"/>
                    </a:lnTo>
                    <a:lnTo>
                      <a:pt x="3713862" y="1266055"/>
                    </a:lnTo>
                    <a:lnTo>
                      <a:pt x="3698144" y="1264916"/>
                    </a:lnTo>
                    <a:lnTo>
                      <a:pt x="3680194" y="1268313"/>
                    </a:lnTo>
                    <a:lnTo>
                      <a:pt x="3632605" y="1266886"/>
                    </a:lnTo>
                    <a:lnTo>
                      <a:pt x="3646726" y="1266135"/>
                    </a:lnTo>
                    <a:lnTo>
                      <a:pt x="3638394" y="1263157"/>
                    </a:lnTo>
                    <a:lnTo>
                      <a:pt x="3601439" y="1278716"/>
                    </a:lnTo>
                    <a:lnTo>
                      <a:pt x="3590338" y="1280091"/>
                    </a:lnTo>
                    <a:lnTo>
                      <a:pt x="3592879" y="1278374"/>
                    </a:lnTo>
                    <a:lnTo>
                      <a:pt x="3601125" y="1275106"/>
                    </a:lnTo>
                    <a:lnTo>
                      <a:pt x="3597334" y="1273041"/>
                    </a:lnTo>
                    <a:lnTo>
                      <a:pt x="3583923" y="1274537"/>
                    </a:lnTo>
                    <a:lnTo>
                      <a:pt x="3580500" y="1275632"/>
                    </a:lnTo>
                    <a:lnTo>
                      <a:pt x="3574355" y="1279865"/>
                    </a:lnTo>
                    <a:lnTo>
                      <a:pt x="3571632" y="1279462"/>
                    </a:lnTo>
                    <a:lnTo>
                      <a:pt x="3572835" y="1276180"/>
                    </a:lnTo>
                    <a:lnTo>
                      <a:pt x="3572502" y="1273608"/>
                    </a:lnTo>
                    <a:lnTo>
                      <a:pt x="3571170" y="1271957"/>
                    </a:lnTo>
                    <a:lnTo>
                      <a:pt x="3569356" y="1271452"/>
                    </a:lnTo>
                    <a:lnTo>
                      <a:pt x="3569208" y="1272736"/>
                    </a:lnTo>
                    <a:lnTo>
                      <a:pt x="3569938" y="1273304"/>
                    </a:lnTo>
                    <a:lnTo>
                      <a:pt x="3570616" y="1274087"/>
                    </a:lnTo>
                    <a:lnTo>
                      <a:pt x="3569496" y="1275647"/>
                    </a:lnTo>
                    <a:lnTo>
                      <a:pt x="3568281" y="1276601"/>
                    </a:lnTo>
                    <a:lnTo>
                      <a:pt x="3566993" y="1276890"/>
                    </a:lnTo>
                    <a:lnTo>
                      <a:pt x="3565648" y="1276524"/>
                    </a:lnTo>
                    <a:lnTo>
                      <a:pt x="3566626" y="1279058"/>
                    </a:lnTo>
                    <a:lnTo>
                      <a:pt x="3568598" y="1280631"/>
                    </a:lnTo>
                    <a:lnTo>
                      <a:pt x="3570875" y="1281873"/>
                    </a:lnTo>
                    <a:lnTo>
                      <a:pt x="3572746" y="1283397"/>
                    </a:lnTo>
                    <a:lnTo>
                      <a:pt x="3569268" y="1285771"/>
                    </a:lnTo>
                    <a:lnTo>
                      <a:pt x="3578631" y="1285754"/>
                    </a:lnTo>
                    <a:lnTo>
                      <a:pt x="3583492" y="1284760"/>
                    </a:lnTo>
                    <a:lnTo>
                      <a:pt x="3587720" y="1282478"/>
                    </a:lnTo>
                    <a:lnTo>
                      <a:pt x="3583936" y="1285544"/>
                    </a:lnTo>
                    <a:lnTo>
                      <a:pt x="3579115" y="1286949"/>
                    </a:lnTo>
                    <a:lnTo>
                      <a:pt x="3556294" y="1287491"/>
                    </a:lnTo>
                    <a:lnTo>
                      <a:pt x="3510885" y="1273734"/>
                    </a:lnTo>
                    <a:lnTo>
                      <a:pt x="3462660" y="1264947"/>
                    </a:lnTo>
                    <a:lnTo>
                      <a:pt x="3449049" y="1259976"/>
                    </a:lnTo>
                    <a:lnTo>
                      <a:pt x="3428121" y="1256500"/>
                    </a:lnTo>
                    <a:lnTo>
                      <a:pt x="3409024" y="1245647"/>
                    </a:lnTo>
                    <a:lnTo>
                      <a:pt x="3401912" y="1235106"/>
                    </a:lnTo>
                    <a:lnTo>
                      <a:pt x="3398726" y="1227684"/>
                    </a:lnTo>
                    <a:lnTo>
                      <a:pt x="3400237" y="1224219"/>
                    </a:lnTo>
                    <a:lnTo>
                      <a:pt x="3400854" y="1219890"/>
                    </a:lnTo>
                    <a:lnTo>
                      <a:pt x="3400998" y="1216335"/>
                    </a:lnTo>
                    <a:lnTo>
                      <a:pt x="3401074" y="1213974"/>
                    </a:lnTo>
                    <a:lnTo>
                      <a:pt x="3402385" y="1213010"/>
                    </a:lnTo>
                    <a:lnTo>
                      <a:pt x="3405944" y="1212617"/>
                    </a:lnTo>
                    <a:lnTo>
                      <a:pt x="3411395" y="1210462"/>
                    </a:lnTo>
                    <a:lnTo>
                      <a:pt x="3412405" y="1209627"/>
                    </a:lnTo>
                    <a:lnTo>
                      <a:pt x="3412697" y="1207987"/>
                    </a:lnTo>
                    <a:lnTo>
                      <a:pt x="3412152" y="1206939"/>
                    </a:lnTo>
                    <a:lnTo>
                      <a:pt x="3410629" y="1207930"/>
                    </a:lnTo>
                    <a:lnTo>
                      <a:pt x="3410434" y="1204358"/>
                    </a:lnTo>
                    <a:lnTo>
                      <a:pt x="3410994" y="1201517"/>
                    </a:lnTo>
                    <a:lnTo>
                      <a:pt x="3413882" y="1196119"/>
                    </a:lnTo>
                    <a:lnTo>
                      <a:pt x="3412051" y="1194907"/>
                    </a:lnTo>
                    <a:lnTo>
                      <a:pt x="3409712" y="1191533"/>
                    </a:lnTo>
                    <a:lnTo>
                      <a:pt x="3405674" y="1189692"/>
                    </a:lnTo>
                    <a:lnTo>
                      <a:pt x="3402451" y="1185596"/>
                    </a:lnTo>
                    <a:lnTo>
                      <a:pt x="3399982" y="1185109"/>
                    </a:lnTo>
                    <a:lnTo>
                      <a:pt x="3400913" y="1188065"/>
                    </a:lnTo>
                    <a:lnTo>
                      <a:pt x="3407741" y="1195856"/>
                    </a:lnTo>
                    <a:lnTo>
                      <a:pt x="3405437" y="1194058"/>
                    </a:lnTo>
                    <a:lnTo>
                      <a:pt x="3399700" y="1188270"/>
                    </a:lnTo>
                    <a:lnTo>
                      <a:pt x="3394096" y="1184879"/>
                    </a:lnTo>
                    <a:lnTo>
                      <a:pt x="3383163" y="1178829"/>
                    </a:lnTo>
                    <a:lnTo>
                      <a:pt x="3381756" y="1176512"/>
                    </a:lnTo>
                    <a:lnTo>
                      <a:pt x="3382676" y="1173947"/>
                    </a:lnTo>
                    <a:lnTo>
                      <a:pt x="3384000" y="1171117"/>
                    </a:lnTo>
                    <a:lnTo>
                      <a:pt x="3381907" y="1167041"/>
                    </a:lnTo>
                    <a:lnTo>
                      <a:pt x="3378167" y="1163388"/>
                    </a:lnTo>
                    <a:lnTo>
                      <a:pt x="3369875" y="1159046"/>
                    </a:lnTo>
                    <a:lnTo>
                      <a:pt x="3364918" y="1155029"/>
                    </a:lnTo>
                    <a:lnTo>
                      <a:pt x="3357183" y="1144836"/>
                    </a:lnTo>
                    <a:lnTo>
                      <a:pt x="3358347" y="1140360"/>
                    </a:lnTo>
                    <a:lnTo>
                      <a:pt x="3361587" y="1132386"/>
                    </a:lnTo>
                    <a:lnTo>
                      <a:pt x="3363641" y="1128266"/>
                    </a:lnTo>
                    <a:lnTo>
                      <a:pt x="3366142" y="1124259"/>
                    </a:lnTo>
                    <a:lnTo>
                      <a:pt x="3368252" y="1122103"/>
                    </a:lnTo>
                    <a:lnTo>
                      <a:pt x="3369983" y="1121100"/>
                    </a:lnTo>
                    <a:lnTo>
                      <a:pt x="3372911" y="1122025"/>
                    </a:lnTo>
                    <a:lnTo>
                      <a:pt x="3371607" y="1123948"/>
                    </a:lnTo>
                    <a:lnTo>
                      <a:pt x="3367692" y="1129296"/>
                    </a:lnTo>
                    <a:lnTo>
                      <a:pt x="3365327" y="1132597"/>
                    </a:lnTo>
                    <a:lnTo>
                      <a:pt x="3363414" y="1136011"/>
                    </a:lnTo>
                    <a:lnTo>
                      <a:pt x="3360892" y="1142244"/>
                    </a:lnTo>
                    <a:lnTo>
                      <a:pt x="3362074" y="1145054"/>
                    </a:lnTo>
                    <a:lnTo>
                      <a:pt x="3363471" y="1145781"/>
                    </a:lnTo>
                    <a:lnTo>
                      <a:pt x="3365030" y="1145690"/>
                    </a:lnTo>
                    <a:lnTo>
                      <a:pt x="3366545" y="1146263"/>
                    </a:lnTo>
                    <a:lnTo>
                      <a:pt x="3369735" y="1148851"/>
                    </a:lnTo>
                    <a:lnTo>
                      <a:pt x="3379177" y="1153215"/>
                    </a:lnTo>
                    <a:lnTo>
                      <a:pt x="3383748" y="1153931"/>
                    </a:lnTo>
                    <a:lnTo>
                      <a:pt x="3390335" y="1151914"/>
                    </a:lnTo>
                    <a:lnTo>
                      <a:pt x="3395476" y="1152668"/>
                    </a:lnTo>
                    <a:lnTo>
                      <a:pt x="3399088" y="1151369"/>
                    </a:lnTo>
                    <a:lnTo>
                      <a:pt x="3401367" y="1151331"/>
                    </a:lnTo>
                    <a:lnTo>
                      <a:pt x="3402894" y="1150211"/>
                    </a:lnTo>
                    <a:lnTo>
                      <a:pt x="3403370" y="1150239"/>
                    </a:lnTo>
                    <a:lnTo>
                      <a:pt x="3403830" y="1150368"/>
                    </a:lnTo>
                    <a:lnTo>
                      <a:pt x="3404363" y="1150174"/>
                    </a:lnTo>
                    <a:lnTo>
                      <a:pt x="3404494" y="1149685"/>
                    </a:lnTo>
                    <a:lnTo>
                      <a:pt x="3404623" y="1147954"/>
                    </a:lnTo>
                    <a:lnTo>
                      <a:pt x="3404764" y="1147464"/>
                    </a:lnTo>
                    <a:lnTo>
                      <a:pt x="3410763" y="1143573"/>
                    </a:lnTo>
                    <a:lnTo>
                      <a:pt x="3413050" y="1140681"/>
                    </a:lnTo>
                    <a:lnTo>
                      <a:pt x="3412827" y="1136705"/>
                    </a:lnTo>
                    <a:lnTo>
                      <a:pt x="3412131" y="1132073"/>
                    </a:lnTo>
                    <a:lnTo>
                      <a:pt x="3414586" y="1130221"/>
                    </a:lnTo>
                    <a:lnTo>
                      <a:pt x="3422117" y="1128727"/>
                    </a:lnTo>
                    <a:lnTo>
                      <a:pt x="3423629" y="1127630"/>
                    </a:lnTo>
                    <a:lnTo>
                      <a:pt x="3424911" y="1126399"/>
                    </a:lnTo>
                    <a:lnTo>
                      <a:pt x="3426247" y="1125403"/>
                    </a:lnTo>
                    <a:lnTo>
                      <a:pt x="3427945" y="1124964"/>
                    </a:lnTo>
                    <a:lnTo>
                      <a:pt x="3429366" y="1126643"/>
                    </a:lnTo>
                    <a:lnTo>
                      <a:pt x="3431084" y="1128859"/>
                    </a:lnTo>
                    <a:lnTo>
                      <a:pt x="3439159" y="1128705"/>
                    </a:lnTo>
                    <a:lnTo>
                      <a:pt x="3452654" y="1133793"/>
                    </a:lnTo>
                    <a:lnTo>
                      <a:pt x="3456346" y="1134561"/>
                    </a:lnTo>
                    <a:lnTo>
                      <a:pt x="3460202" y="1134350"/>
                    </a:lnTo>
                    <a:lnTo>
                      <a:pt x="3463281" y="1132551"/>
                    </a:lnTo>
                    <a:lnTo>
                      <a:pt x="3458763" y="1128470"/>
                    </a:lnTo>
                    <a:lnTo>
                      <a:pt x="3452260" y="1123995"/>
                    </a:lnTo>
                    <a:lnTo>
                      <a:pt x="3442970" y="1120578"/>
                    </a:lnTo>
                    <a:lnTo>
                      <a:pt x="3434124" y="1118195"/>
                    </a:lnTo>
                    <a:lnTo>
                      <a:pt x="3429790" y="1118562"/>
                    </a:lnTo>
                    <a:lnTo>
                      <a:pt x="3426873" y="1119190"/>
                    </a:lnTo>
                    <a:lnTo>
                      <a:pt x="3420552" y="1116369"/>
                    </a:lnTo>
                    <a:lnTo>
                      <a:pt x="3413415" y="1112724"/>
                    </a:lnTo>
                    <a:lnTo>
                      <a:pt x="3397849" y="1109171"/>
                    </a:lnTo>
                    <a:lnTo>
                      <a:pt x="3366579" y="1101332"/>
                    </a:lnTo>
                    <a:lnTo>
                      <a:pt x="3368068" y="1102685"/>
                    </a:lnTo>
                    <a:lnTo>
                      <a:pt x="3368957" y="1104161"/>
                    </a:lnTo>
                    <a:lnTo>
                      <a:pt x="3373413" y="1106271"/>
                    </a:lnTo>
                    <a:lnTo>
                      <a:pt x="3379593" y="1107924"/>
                    </a:lnTo>
                    <a:lnTo>
                      <a:pt x="3388849" y="1110530"/>
                    </a:lnTo>
                    <a:lnTo>
                      <a:pt x="3396832" y="1113789"/>
                    </a:lnTo>
                    <a:lnTo>
                      <a:pt x="3384117" y="1111517"/>
                    </a:lnTo>
                    <a:lnTo>
                      <a:pt x="3373858" y="1108091"/>
                    </a:lnTo>
                    <a:lnTo>
                      <a:pt x="3359497" y="1102331"/>
                    </a:lnTo>
                    <a:lnTo>
                      <a:pt x="3339615" y="1098516"/>
                    </a:lnTo>
                    <a:lnTo>
                      <a:pt x="3316171" y="1095893"/>
                    </a:lnTo>
                    <a:lnTo>
                      <a:pt x="3295109" y="1084886"/>
                    </a:lnTo>
                    <a:lnTo>
                      <a:pt x="3291551" y="1080431"/>
                    </a:lnTo>
                    <a:lnTo>
                      <a:pt x="3283780" y="1074559"/>
                    </a:lnTo>
                    <a:lnTo>
                      <a:pt x="3273311" y="1070374"/>
                    </a:lnTo>
                    <a:lnTo>
                      <a:pt x="3267052" y="1065522"/>
                    </a:lnTo>
                    <a:lnTo>
                      <a:pt x="3251967" y="1059820"/>
                    </a:lnTo>
                    <a:lnTo>
                      <a:pt x="3249964" y="1058460"/>
                    </a:lnTo>
                    <a:lnTo>
                      <a:pt x="3249258" y="1057492"/>
                    </a:lnTo>
                    <a:lnTo>
                      <a:pt x="3247217" y="1056128"/>
                    </a:lnTo>
                    <a:lnTo>
                      <a:pt x="3246377" y="1055086"/>
                    </a:lnTo>
                    <a:lnTo>
                      <a:pt x="3246027" y="1053780"/>
                    </a:lnTo>
                    <a:lnTo>
                      <a:pt x="3245937" y="1050972"/>
                    </a:lnTo>
                    <a:lnTo>
                      <a:pt x="3245815" y="1049849"/>
                    </a:lnTo>
                    <a:lnTo>
                      <a:pt x="3243807" y="1046303"/>
                    </a:lnTo>
                    <a:lnTo>
                      <a:pt x="3243641" y="1045131"/>
                    </a:lnTo>
                    <a:lnTo>
                      <a:pt x="3243691" y="1044251"/>
                    </a:lnTo>
                    <a:lnTo>
                      <a:pt x="3243530" y="1041935"/>
                    </a:lnTo>
                    <a:lnTo>
                      <a:pt x="3243974" y="1041043"/>
                    </a:lnTo>
                    <a:lnTo>
                      <a:pt x="3245013" y="1040533"/>
                    </a:lnTo>
                    <a:lnTo>
                      <a:pt x="3245330" y="1039954"/>
                    </a:lnTo>
                    <a:lnTo>
                      <a:pt x="3246650" y="1038112"/>
                    </a:lnTo>
                    <a:lnTo>
                      <a:pt x="3252158" y="1034384"/>
                    </a:lnTo>
                    <a:lnTo>
                      <a:pt x="3262916" y="1030004"/>
                    </a:lnTo>
                    <a:lnTo>
                      <a:pt x="3269673" y="1027408"/>
                    </a:lnTo>
                    <a:lnTo>
                      <a:pt x="3274479" y="1026359"/>
                    </a:lnTo>
                    <a:lnTo>
                      <a:pt x="3275932" y="1027658"/>
                    </a:lnTo>
                    <a:lnTo>
                      <a:pt x="3274375" y="1029574"/>
                    </a:lnTo>
                    <a:lnTo>
                      <a:pt x="3272754" y="1030356"/>
                    </a:lnTo>
                    <a:lnTo>
                      <a:pt x="3270675" y="1030852"/>
                    </a:lnTo>
                    <a:lnTo>
                      <a:pt x="3266768" y="1033326"/>
                    </a:lnTo>
                    <a:lnTo>
                      <a:pt x="3261042" y="1034466"/>
                    </a:lnTo>
                    <a:lnTo>
                      <a:pt x="3256572" y="1036585"/>
                    </a:lnTo>
                    <a:lnTo>
                      <a:pt x="3252776" y="1040102"/>
                    </a:lnTo>
                    <a:lnTo>
                      <a:pt x="3251220" y="1044945"/>
                    </a:lnTo>
                    <a:lnTo>
                      <a:pt x="3253227" y="1047986"/>
                    </a:lnTo>
                    <a:lnTo>
                      <a:pt x="3257769" y="1046963"/>
                    </a:lnTo>
                    <a:lnTo>
                      <a:pt x="3266728" y="1043158"/>
                    </a:lnTo>
                    <a:lnTo>
                      <a:pt x="3270251" y="1042348"/>
                    </a:lnTo>
                    <a:lnTo>
                      <a:pt x="3274940" y="1040060"/>
                    </a:lnTo>
                    <a:lnTo>
                      <a:pt x="3278790" y="1036867"/>
                    </a:lnTo>
                    <a:lnTo>
                      <a:pt x="3279797" y="1033322"/>
                    </a:lnTo>
                    <a:lnTo>
                      <a:pt x="3306243" y="1034588"/>
                    </a:lnTo>
                    <a:lnTo>
                      <a:pt x="3311849" y="1033831"/>
                    </a:lnTo>
                    <a:lnTo>
                      <a:pt x="3315664" y="1031236"/>
                    </a:lnTo>
                    <a:lnTo>
                      <a:pt x="3316888" y="1026610"/>
                    </a:lnTo>
                    <a:lnTo>
                      <a:pt x="3314117" y="1024878"/>
                    </a:lnTo>
                    <a:lnTo>
                      <a:pt x="3310477" y="1023769"/>
                    </a:lnTo>
                    <a:lnTo>
                      <a:pt x="3309046" y="1021068"/>
                    </a:lnTo>
                    <a:lnTo>
                      <a:pt x="3311244" y="1018070"/>
                    </a:lnTo>
                    <a:lnTo>
                      <a:pt x="3315297" y="1017438"/>
                    </a:lnTo>
                    <a:lnTo>
                      <a:pt x="3323064" y="1018503"/>
                    </a:lnTo>
                    <a:lnTo>
                      <a:pt x="3321584" y="1017170"/>
                    </a:lnTo>
                    <a:lnTo>
                      <a:pt x="3319894" y="1016198"/>
                    </a:lnTo>
                    <a:lnTo>
                      <a:pt x="3318037" y="1015671"/>
                    </a:lnTo>
                    <a:lnTo>
                      <a:pt x="3316036" y="1015688"/>
                    </a:lnTo>
                    <a:lnTo>
                      <a:pt x="3316274" y="1014285"/>
                    </a:lnTo>
                    <a:lnTo>
                      <a:pt x="3337502" y="1002334"/>
                    </a:lnTo>
                    <a:lnTo>
                      <a:pt x="3343973" y="1001391"/>
                    </a:lnTo>
                    <a:lnTo>
                      <a:pt x="3344283" y="1003423"/>
                    </a:lnTo>
                    <a:lnTo>
                      <a:pt x="3346228" y="1005726"/>
                    </a:lnTo>
                    <a:lnTo>
                      <a:pt x="3350873" y="1009489"/>
                    </a:lnTo>
                    <a:lnTo>
                      <a:pt x="3353994" y="1010799"/>
                    </a:lnTo>
                    <a:lnTo>
                      <a:pt x="3357499" y="1010665"/>
                    </a:lnTo>
                    <a:lnTo>
                      <a:pt x="3367972" y="1007779"/>
                    </a:lnTo>
                    <a:lnTo>
                      <a:pt x="3376902" y="1002314"/>
                    </a:lnTo>
                    <a:lnTo>
                      <a:pt x="3387630" y="998877"/>
                    </a:lnTo>
                    <a:lnTo>
                      <a:pt x="3389951" y="995672"/>
                    </a:lnTo>
                    <a:lnTo>
                      <a:pt x="3380324" y="990037"/>
                    </a:lnTo>
                    <a:lnTo>
                      <a:pt x="3385716" y="987024"/>
                    </a:lnTo>
                    <a:lnTo>
                      <a:pt x="3389186" y="986305"/>
                    </a:lnTo>
                    <a:lnTo>
                      <a:pt x="3394442" y="984257"/>
                    </a:lnTo>
                    <a:lnTo>
                      <a:pt x="3396420" y="983030"/>
                    </a:lnTo>
                    <a:lnTo>
                      <a:pt x="3394962" y="984080"/>
                    </a:lnTo>
                    <a:lnTo>
                      <a:pt x="3393533" y="984863"/>
                    </a:lnTo>
                    <a:lnTo>
                      <a:pt x="3392231" y="985961"/>
                    </a:lnTo>
                    <a:lnTo>
                      <a:pt x="3391165" y="987964"/>
                    </a:lnTo>
                    <a:lnTo>
                      <a:pt x="3393474" y="988125"/>
                    </a:lnTo>
                    <a:lnTo>
                      <a:pt x="3397601" y="989388"/>
                    </a:lnTo>
                    <a:lnTo>
                      <a:pt x="3400054" y="988374"/>
                    </a:lnTo>
                    <a:lnTo>
                      <a:pt x="3399589" y="987503"/>
                    </a:lnTo>
                    <a:lnTo>
                      <a:pt x="3398863" y="985410"/>
                    </a:lnTo>
                    <a:lnTo>
                      <a:pt x="3398413" y="984533"/>
                    </a:lnTo>
                    <a:lnTo>
                      <a:pt x="3400162" y="983641"/>
                    </a:lnTo>
                    <a:lnTo>
                      <a:pt x="3405357" y="978255"/>
                    </a:lnTo>
                    <a:lnTo>
                      <a:pt x="3409781" y="974870"/>
                    </a:lnTo>
                    <a:lnTo>
                      <a:pt x="3431928" y="964856"/>
                    </a:lnTo>
                    <a:lnTo>
                      <a:pt x="3440273" y="963485"/>
                    </a:lnTo>
                    <a:lnTo>
                      <a:pt x="3446500" y="960104"/>
                    </a:lnTo>
                    <a:lnTo>
                      <a:pt x="3452209" y="958719"/>
                    </a:lnTo>
                    <a:lnTo>
                      <a:pt x="3457759" y="955400"/>
                    </a:lnTo>
                    <a:lnTo>
                      <a:pt x="3460405" y="954706"/>
                    </a:lnTo>
                    <a:lnTo>
                      <a:pt x="3471339" y="956052"/>
                    </a:lnTo>
                    <a:lnTo>
                      <a:pt x="3476123" y="957818"/>
                    </a:lnTo>
                    <a:lnTo>
                      <a:pt x="3481058" y="960760"/>
                    </a:lnTo>
                    <a:lnTo>
                      <a:pt x="3478948" y="960679"/>
                    </a:lnTo>
                    <a:lnTo>
                      <a:pt x="3475133" y="959702"/>
                    </a:lnTo>
                    <a:lnTo>
                      <a:pt x="3472951" y="960418"/>
                    </a:lnTo>
                    <a:lnTo>
                      <a:pt x="3479844" y="965816"/>
                    </a:lnTo>
                    <a:lnTo>
                      <a:pt x="3515947" y="971082"/>
                    </a:lnTo>
                    <a:lnTo>
                      <a:pt x="3544691" y="963317"/>
                    </a:lnTo>
                    <a:lnTo>
                      <a:pt x="3543264" y="960862"/>
                    </a:lnTo>
                    <a:lnTo>
                      <a:pt x="3540838" y="959158"/>
                    </a:lnTo>
                    <a:lnTo>
                      <a:pt x="3533395" y="957084"/>
                    </a:lnTo>
                    <a:lnTo>
                      <a:pt x="3523455" y="951074"/>
                    </a:lnTo>
                    <a:lnTo>
                      <a:pt x="3517710" y="949420"/>
                    </a:lnTo>
                    <a:lnTo>
                      <a:pt x="3508766" y="949067"/>
                    </a:lnTo>
                    <a:lnTo>
                      <a:pt x="3506212" y="947932"/>
                    </a:lnTo>
                    <a:lnTo>
                      <a:pt x="3504894" y="944953"/>
                    </a:lnTo>
                    <a:lnTo>
                      <a:pt x="3507319" y="940820"/>
                    </a:lnTo>
                    <a:lnTo>
                      <a:pt x="3511662" y="936164"/>
                    </a:lnTo>
                    <a:lnTo>
                      <a:pt x="3520325" y="929960"/>
                    </a:lnTo>
                    <a:lnTo>
                      <a:pt x="3552217" y="916353"/>
                    </a:lnTo>
                    <a:lnTo>
                      <a:pt x="3565924" y="913737"/>
                    </a:lnTo>
                    <a:lnTo>
                      <a:pt x="3569199" y="911877"/>
                    </a:lnTo>
                    <a:lnTo>
                      <a:pt x="3572547" y="910582"/>
                    </a:lnTo>
                    <a:lnTo>
                      <a:pt x="3594208" y="909810"/>
                    </a:lnTo>
                    <a:lnTo>
                      <a:pt x="3597331" y="910874"/>
                    </a:lnTo>
                    <a:lnTo>
                      <a:pt x="3597061" y="911602"/>
                    </a:lnTo>
                    <a:lnTo>
                      <a:pt x="3596882" y="912195"/>
                    </a:lnTo>
                    <a:lnTo>
                      <a:pt x="3596650" y="912801"/>
                    </a:lnTo>
                    <a:lnTo>
                      <a:pt x="3596202" y="913523"/>
                    </a:lnTo>
                    <a:lnTo>
                      <a:pt x="3596875" y="915621"/>
                    </a:lnTo>
                    <a:lnTo>
                      <a:pt x="3597960" y="917074"/>
                    </a:lnTo>
                    <a:lnTo>
                      <a:pt x="3599322" y="918067"/>
                    </a:lnTo>
                    <a:lnTo>
                      <a:pt x="3600832" y="918728"/>
                    </a:lnTo>
                    <a:lnTo>
                      <a:pt x="3602100" y="914395"/>
                    </a:lnTo>
                    <a:lnTo>
                      <a:pt x="3604460" y="912906"/>
                    </a:lnTo>
                    <a:lnTo>
                      <a:pt x="3607249" y="912453"/>
                    </a:lnTo>
                    <a:lnTo>
                      <a:pt x="3609825" y="911324"/>
                    </a:lnTo>
                    <a:lnTo>
                      <a:pt x="3610190" y="910507"/>
                    </a:lnTo>
                    <a:lnTo>
                      <a:pt x="3611103" y="907613"/>
                    </a:lnTo>
                    <a:lnTo>
                      <a:pt x="3611889" y="906351"/>
                    </a:lnTo>
                    <a:lnTo>
                      <a:pt x="3613455" y="905417"/>
                    </a:lnTo>
                    <a:lnTo>
                      <a:pt x="3617056" y="904393"/>
                    </a:lnTo>
                    <a:lnTo>
                      <a:pt x="3636161" y="894810"/>
                    </a:lnTo>
                    <a:lnTo>
                      <a:pt x="3638093" y="890410"/>
                    </a:lnTo>
                    <a:lnTo>
                      <a:pt x="3659497" y="886215"/>
                    </a:lnTo>
                    <a:lnTo>
                      <a:pt x="3686371" y="883346"/>
                    </a:lnTo>
                    <a:lnTo>
                      <a:pt x="3717249" y="882422"/>
                    </a:lnTo>
                    <a:lnTo>
                      <a:pt x="3743734" y="884854"/>
                    </a:lnTo>
                    <a:lnTo>
                      <a:pt x="3749987" y="887147"/>
                    </a:lnTo>
                    <a:lnTo>
                      <a:pt x="3754599" y="891461"/>
                    </a:lnTo>
                    <a:lnTo>
                      <a:pt x="3725050" y="887950"/>
                    </a:lnTo>
                    <a:lnTo>
                      <a:pt x="3722738" y="887576"/>
                    </a:lnTo>
                    <a:lnTo>
                      <a:pt x="3723484" y="889966"/>
                    </a:lnTo>
                    <a:lnTo>
                      <a:pt x="3727468" y="890781"/>
                    </a:lnTo>
                    <a:lnTo>
                      <a:pt x="3735589" y="890919"/>
                    </a:lnTo>
                    <a:lnTo>
                      <a:pt x="3737552" y="892769"/>
                    </a:lnTo>
                    <a:lnTo>
                      <a:pt x="3738869" y="895712"/>
                    </a:lnTo>
                    <a:lnTo>
                      <a:pt x="3739518" y="899358"/>
                    </a:lnTo>
                    <a:lnTo>
                      <a:pt x="3739482" y="903314"/>
                    </a:lnTo>
                    <a:lnTo>
                      <a:pt x="3738337" y="906938"/>
                    </a:lnTo>
                    <a:lnTo>
                      <a:pt x="3736124" y="909612"/>
                    </a:lnTo>
                    <a:lnTo>
                      <a:pt x="3726951" y="915834"/>
                    </a:lnTo>
                    <a:lnTo>
                      <a:pt x="3726311" y="917143"/>
                    </a:lnTo>
                    <a:lnTo>
                      <a:pt x="3725795" y="918892"/>
                    </a:lnTo>
                    <a:lnTo>
                      <a:pt x="3724824" y="920552"/>
                    </a:lnTo>
                    <a:lnTo>
                      <a:pt x="3723734" y="921885"/>
                    </a:lnTo>
                    <a:lnTo>
                      <a:pt x="3722885" y="922719"/>
                    </a:lnTo>
                    <a:lnTo>
                      <a:pt x="3723635" y="926411"/>
                    </a:lnTo>
                    <a:lnTo>
                      <a:pt x="3723067" y="928888"/>
                    </a:lnTo>
                    <a:lnTo>
                      <a:pt x="3722114" y="931201"/>
                    </a:lnTo>
                    <a:lnTo>
                      <a:pt x="3721710" y="934397"/>
                    </a:lnTo>
                    <a:lnTo>
                      <a:pt x="3724051" y="939732"/>
                    </a:lnTo>
                    <a:lnTo>
                      <a:pt x="3723875" y="939918"/>
                    </a:lnTo>
                    <a:lnTo>
                      <a:pt x="3723847" y="940983"/>
                    </a:lnTo>
                    <a:lnTo>
                      <a:pt x="3724219" y="942376"/>
                    </a:lnTo>
                    <a:lnTo>
                      <a:pt x="3725217" y="943511"/>
                    </a:lnTo>
                    <a:lnTo>
                      <a:pt x="3722417" y="947868"/>
                    </a:lnTo>
                    <a:lnTo>
                      <a:pt x="3717498" y="951394"/>
                    </a:lnTo>
                    <a:lnTo>
                      <a:pt x="3712258" y="953790"/>
                    </a:lnTo>
                    <a:lnTo>
                      <a:pt x="3708448" y="954736"/>
                    </a:lnTo>
                    <a:lnTo>
                      <a:pt x="3702524" y="954627"/>
                    </a:lnTo>
                    <a:lnTo>
                      <a:pt x="3699829" y="955375"/>
                    </a:lnTo>
                    <a:lnTo>
                      <a:pt x="3697418" y="957612"/>
                    </a:lnTo>
                    <a:lnTo>
                      <a:pt x="3694919" y="958735"/>
                    </a:lnTo>
                    <a:lnTo>
                      <a:pt x="3689015" y="957770"/>
                    </a:lnTo>
                    <a:lnTo>
                      <a:pt x="3687058" y="960515"/>
                    </a:lnTo>
                    <a:lnTo>
                      <a:pt x="3704221" y="961262"/>
                    </a:lnTo>
                    <a:lnTo>
                      <a:pt x="3709522" y="958623"/>
                    </a:lnTo>
                    <a:lnTo>
                      <a:pt x="3708653" y="961955"/>
                    </a:lnTo>
                    <a:lnTo>
                      <a:pt x="3709957" y="963055"/>
                    </a:lnTo>
                    <a:lnTo>
                      <a:pt x="3711936" y="962460"/>
                    </a:lnTo>
                    <a:lnTo>
                      <a:pt x="3713078" y="960727"/>
                    </a:lnTo>
                    <a:lnTo>
                      <a:pt x="3713867" y="958423"/>
                    </a:lnTo>
                    <a:lnTo>
                      <a:pt x="3715295" y="957773"/>
                    </a:lnTo>
                    <a:lnTo>
                      <a:pt x="3716961" y="958137"/>
                    </a:lnTo>
                    <a:lnTo>
                      <a:pt x="3718446" y="958887"/>
                    </a:lnTo>
                    <a:lnTo>
                      <a:pt x="3719064" y="966327"/>
                    </a:lnTo>
                    <a:lnTo>
                      <a:pt x="3722274" y="972822"/>
                    </a:lnTo>
                    <a:lnTo>
                      <a:pt x="3726927" y="977959"/>
                    </a:lnTo>
                    <a:lnTo>
                      <a:pt x="3731860" y="981311"/>
                    </a:lnTo>
                    <a:lnTo>
                      <a:pt x="3740178" y="983745"/>
                    </a:lnTo>
                    <a:lnTo>
                      <a:pt x="3775899" y="981116"/>
                    </a:lnTo>
                    <a:lnTo>
                      <a:pt x="3777522" y="981973"/>
                    </a:lnTo>
                    <a:lnTo>
                      <a:pt x="3781019" y="984761"/>
                    </a:lnTo>
                    <a:lnTo>
                      <a:pt x="3782905" y="985401"/>
                    </a:lnTo>
                    <a:lnTo>
                      <a:pt x="3800710" y="986897"/>
                    </a:lnTo>
                    <a:lnTo>
                      <a:pt x="3809665" y="985458"/>
                    </a:lnTo>
                    <a:lnTo>
                      <a:pt x="3814104" y="983928"/>
                    </a:lnTo>
                    <a:lnTo>
                      <a:pt x="3818335" y="981588"/>
                    </a:lnTo>
                    <a:lnTo>
                      <a:pt x="3820112" y="981116"/>
                    </a:lnTo>
                    <a:lnTo>
                      <a:pt x="3829060" y="982356"/>
                    </a:lnTo>
                    <a:lnTo>
                      <a:pt x="3837885" y="981178"/>
                    </a:lnTo>
                    <a:lnTo>
                      <a:pt x="3840754" y="980123"/>
                    </a:lnTo>
                    <a:lnTo>
                      <a:pt x="3839970" y="981502"/>
                    </a:lnTo>
                    <a:lnTo>
                      <a:pt x="3845562" y="985100"/>
                    </a:lnTo>
                    <a:lnTo>
                      <a:pt x="3848367" y="988135"/>
                    </a:lnTo>
                    <a:lnTo>
                      <a:pt x="3848467" y="991363"/>
                    </a:lnTo>
                    <a:lnTo>
                      <a:pt x="3847777" y="992430"/>
                    </a:lnTo>
                    <a:lnTo>
                      <a:pt x="3847197" y="993546"/>
                    </a:lnTo>
                    <a:lnTo>
                      <a:pt x="3846845" y="995021"/>
                    </a:lnTo>
                    <a:lnTo>
                      <a:pt x="3846869" y="997134"/>
                    </a:lnTo>
                    <a:lnTo>
                      <a:pt x="3847391" y="999589"/>
                    </a:lnTo>
                    <a:lnTo>
                      <a:pt x="3848110" y="1000065"/>
                    </a:lnTo>
                    <a:lnTo>
                      <a:pt x="3848933" y="999401"/>
                    </a:lnTo>
                    <a:lnTo>
                      <a:pt x="3849747" y="998488"/>
                    </a:lnTo>
                    <a:lnTo>
                      <a:pt x="3849990" y="997441"/>
                    </a:lnTo>
                    <a:lnTo>
                      <a:pt x="3850224" y="995710"/>
                    </a:lnTo>
                    <a:lnTo>
                      <a:pt x="3850975" y="994092"/>
                    </a:lnTo>
                    <a:lnTo>
                      <a:pt x="3852770" y="993394"/>
                    </a:lnTo>
                    <a:lnTo>
                      <a:pt x="3862624" y="991926"/>
                    </a:lnTo>
                    <a:lnTo>
                      <a:pt x="3867226" y="990251"/>
                    </a:lnTo>
                    <a:lnTo>
                      <a:pt x="3869454" y="989891"/>
                    </a:lnTo>
                    <a:lnTo>
                      <a:pt x="3870228" y="989486"/>
                    </a:lnTo>
                    <a:lnTo>
                      <a:pt x="3870948" y="988716"/>
                    </a:lnTo>
                    <a:lnTo>
                      <a:pt x="3871674" y="988403"/>
                    </a:lnTo>
                    <a:lnTo>
                      <a:pt x="3872467" y="989249"/>
                    </a:lnTo>
                    <a:lnTo>
                      <a:pt x="3873353" y="991295"/>
                    </a:lnTo>
                    <a:lnTo>
                      <a:pt x="3873887" y="992196"/>
                    </a:lnTo>
                    <a:lnTo>
                      <a:pt x="3874498" y="992570"/>
                    </a:lnTo>
                    <a:lnTo>
                      <a:pt x="3875789" y="992966"/>
                    </a:lnTo>
                    <a:lnTo>
                      <a:pt x="3878563" y="994721"/>
                    </a:lnTo>
                    <a:lnTo>
                      <a:pt x="3879948" y="995263"/>
                    </a:lnTo>
                    <a:lnTo>
                      <a:pt x="3884462" y="995179"/>
                    </a:lnTo>
                    <a:lnTo>
                      <a:pt x="3888947" y="994158"/>
                    </a:lnTo>
                    <a:lnTo>
                      <a:pt x="3899764" y="988852"/>
                    </a:lnTo>
                    <a:lnTo>
                      <a:pt x="3903147" y="988119"/>
                    </a:lnTo>
                    <a:lnTo>
                      <a:pt x="3931424" y="994967"/>
                    </a:lnTo>
                    <a:lnTo>
                      <a:pt x="3929478" y="995260"/>
                    </a:lnTo>
                    <a:lnTo>
                      <a:pt x="3927708" y="996420"/>
                    </a:lnTo>
                    <a:lnTo>
                      <a:pt x="3924412" y="1000000"/>
                    </a:lnTo>
                    <a:lnTo>
                      <a:pt x="3926240" y="1000354"/>
                    </a:lnTo>
                    <a:lnTo>
                      <a:pt x="3930094" y="998213"/>
                    </a:lnTo>
                    <a:lnTo>
                      <a:pt x="3931998" y="998846"/>
                    </a:lnTo>
                    <a:lnTo>
                      <a:pt x="3933004" y="1000684"/>
                    </a:lnTo>
                    <a:lnTo>
                      <a:pt x="3932755" y="1002408"/>
                    </a:lnTo>
                    <a:lnTo>
                      <a:pt x="3931644" y="1003977"/>
                    </a:lnTo>
                    <a:lnTo>
                      <a:pt x="3930048" y="1005255"/>
                    </a:lnTo>
                    <a:lnTo>
                      <a:pt x="3932906" y="1006872"/>
                    </a:lnTo>
                    <a:lnTo>
                      <a:pt x="3936931" y="1007359"/>
                    </a:lnTo>
                    <a:lnTo>
                      <a:pt x="3941060" y="1006863"/>
                    </a:lnTo>
                    <a:lnTo>
                      <a:pt x="3944182" y="1005503"/>
                    </a:lnTo>
                    <a:lnTo>
                      <a:pt x="3944251" y="1004321"/>
                    </a:lnTo>
                    <a:lnTo>
                      <a:pt x="3938455" y="1001657"/>
                    </a:lnTo>
                    <a:lnTo>
                      <a:pt x="3940137" y="998507"/>
                    </a:lnTo>
                    <a:lnTo>
                      <a:pt x="3942089" y="995653"/>
                    </a:lnTo>
                    <a:lnTo>
                      <a:pt x="3944240" y="993235"/>
                    </a:lnTo>
                    <a:lnTo>
                      <a:pt x="3946502" y="991369"/>
                    </a:lnTo>
                    <a:lnTo>
                      <a:pt x="3950176" y="989819"/>
                    </a:lnTo>
                    <a:lnTo>
                      <a:pt x="3952073" y="988532"/>
                    </a:lnTo>
                    <a:lnTo>
                      <a:pt x="3952400" y="986957"/>
                    </a:lnTo>
                    <a:lnTo>
                      <a:pt x="3951290" y="986646"/>
                    </a:lnTo>
                    <a:lnTo>
                      <a:pt x="3945980" y="988904"/>
                    </a:lnTo>
                    <a:lnTo>
                      <a:pt x="3946063" y="987485"/>
                    </a:lnTo>
                    <a:lnTo>
                      <a:pt x="3948538" y="986031"/>
                    </a:lnTo>
                    <a:lnTo>
                      <a:pt x="3957518" y="977274"/>
                    </a:lnTo>
                    <a:lnTo>
                      <a:pt x="3959738" y="974404"/>
                    </a:lnTo>
                    <a:lnTo>
                      <a:pt x="3960656" y="972868"/>
                    </a:lnTo>
                    <a:lnTo>
                      <a:pt x="3962164" y="968720"/>
                    </a:lnTo>
                    <a:lnTo>
                      <a:pt x="3963228" y="966736"/>
                    </a:lnTo>
                    <a:lnTo>
                      <a:pt x="3964741" y="965925"/>
                    </a:lnTo>
                    <a:lnTo>
                      <a:pt x="3965483" y="965123"/>
                    </a:lnTo>
                    <a:lnTo>
                      <a:pt x="3968817" y="958636"/>
                    </a:lnTo>
                    <a:lnTo>
                      <a:pt x="3969558" y="956525"/>
                    </a:lnTo>
                    <a:lnTo>
                      <a:pt x="3970159" y="955599"/>
                    </a:lnTo>
                    <a:lnTo>
                      <a:pt x="3971120" y="954994"/>
                    </a:lnTo>
                    <a:lnTo>
                      <a:pt x="3973372" y="954362"/>
                    </a:lnTo>
                    <a:lnTo>
                      <a:pt x="3978386" y="951176"/>
                    </a:lnTo>
                    <a:lnTo>
                      <a:pt x="3994095" y="952105"/>
                    </a:lnTo>
                    <a:lnTo>
                      <a:pt x="3993663" y="952627"/>
                    </a:lnTo>
                    <a:lnTo>
                      <a:pt x="3992494" y="954542"/>
                    </a:lnTo>
                    <a:lnTo>
                      <a:pt x="3997953" y="960149"/>
                    </a:lnTo>
                    <a:lnTo>
                      <a:pt x="4000278" y="961212"/>
                    </a:lnTo>
                    <a:lnTo>
                      <a:pt x="4006920" y="962104"/>
                    </a:lnTo>
                    <a:lnTo>
                      <a:pt x="4013573" y="961399"/>
                    </a:lnTo>
                    <a:lnTo>
                      <a:pt x="4018830" y="957997"/>
                    </a:lnTo>
                    <a:lnTo>
                      <a:pt x="4021353" y="957165"/>
                    </a:lnTo>
                    <a:lnTo>
                      <a:pt x="4023354" y="958956"/>
                    </a:lnTo>
                    <a:lnTo>
                      <a:pt x="4023548" y="960860"/>
                    </a:lnTo>
                    <a:lnTo>
                      <a:pt x="4022979" y="963213"/>
                    </a:lnTo>
                    <a:lnTo>
                      <a:pt x="4021773" y="965030"/>
                    </a:lnTo>
                    <a:lnTo>
                      <a:pt x="4020041" y="965335"/>
                    </a:lnTo>
                    <a:lnTo>
                      <a:pt x="4020271" y="967149"/>
                    </a:lnTo>
                    <a:lnTo>
                      <a:pt x="4020675" y="968795"/>
                    </a:lnTo>
                    <a:lnTo>
                      <a:pt x="4021267" y="970320"/>
                    </a:lnTo>
                    <a:lnTo>
                      <a:pt x="4022030" y="971804"/>
                    </a:lnTo>
                    <a:lnTo>
                      <a:pt x="4020766" y="973090"/>
                    </a:lnTo>
                    <a:lnTo>
                      <a:pt x="4019904" y="974574"/>
                    </a:lnTo>
                    <a:lnTo>
                      <a:pt x="4019667" y="976274"/>
                    </a:lnTo>
                    <a:lnTo>
                      <a:pt x="4020258" y="978215"/>
                    </a:lnTo>
                    <a:lnTo>
                      <a:pt x="4018420" y="979487"/>
                    </a:lnTo>
                    <a:lnTo>
                      <a:pt x="4016283" y="979826"/>
                    </a:lnTo>
                    <a:lnTo>
                      <a:pt x="4011977" y="979507"/>
                    </a:lnTo>
                    <a:lnTo>
                      <a:pt x="4011917" y="980794"/>
                    </a:lnTo>
                    <a:lnTo>
                      <a:pt x="4014042" y="981906"/>
                    </a:lnTo>
                    <a:lnTo>
                      <a:pt x="4016589" y="982170"/>
                    </a:lnTo>
                    <a:lnTo>
                      <a:pt x="4019219" y="981784"/>
                    </a:lnTo>
                    <a:lnTo>
                      <a:pt x="4021615" y="980926"/>
                    </a:lnTo>
                    <a:lnTo>
                      <a:pt x="4023396" y="979729"/>
                    </a:lnTo>
                    <a:lnTo>
                      <a:pt x="4024504" y="978295"/>
                    </a:lnTo>
                    <a:lnTo>
                      <a:pt x="4026355" y="974545"/>
                    </a:lnTo>
                    <a:lnTo>
                      <a:pt x="4029625" y="969740"/>
                    </a:lnTo>
                    <a:lnTo>
                      <a:pt x="4030405" y="968041"/>
                    </a:lnTo>
                    <a:lnTo>
                      <a:pt x="4032114" y="960725"/>
                    </a:lnTo>
                    <a:lnTo>
                      <a:pt x="4033018" y="959082"/>
                    </a:lnTo>
                    <a:lnTo>
                      <a:pt x="4031380" y="955127"/>
                    </a:lnTo>
                    <a:lnTo>
                      <a:pt x="4026858" y="950700"/>
                    </a:lnTo>
                    <a:lnTo>
                      <a:pt x="4024990" y="947986"/>
                    </a:lnTo>
                    <a:lnTo>
                      <a:pt x="4023167" y="944330"/>
                    </a:lnTo>
                    <a:lnTo>
                      <a:pt x="4021194" y="941621"/>
                    </a:lnTo>
                    <a:lnTo>
                      <a:pt x="4018916" y="939659"/>
                    </a:lnTo>
                    <a:lnTo>
                      <a:pt x="4005733" y="934573"/>
                    </a:lnTo>
                    <a:lnTo>
                      <a:pt x="4000554" y="933686"/>
                    </a:lnTo>
                    <a:lnTo>
                      <a:pt x="3996969" y="931855"/>
                    </a:lnTo>
                    <a:lnTo>
                      <a:pt x="3995072" y="931429"/>
                    </a:lnTo>
                    <a:lnTo>
                      <a:pt x="3988163" y="931625"/>
                    </a:lnTo>
                    <a:lnTo>
                      <a:pt x="3979177" y="926934"/>
                    </a:lnTo>
                    <a:lnTo>
                      <a:pt x="3954014" y="926928"/>
                    </a:lnTo>
                    <a:lnTo>
                      <a:pt x="3952661" y="927378"/>
                    </a:lnTo>
                    <a:lnTo>
                      <a:pt x="3948607" y="930680"/>
                    </a:lnTo>
                    <a:lnTo>
                      <a:pt x="3946381" y="931423"/>
                    </a:lnTo>
                    <a:lnTo>
                      <a:pt x="3939713" y="931927"/>
                    </a:lnTo>
                    <a:lnTo>
                      <a:pt x="3936378" y="934212"/>
                    </a:lnTo>
                    <a:lnTo>
                      <a:pt x="3934555" y="938110"/>
                    </a:lnTo>
                    <a:lnTo>
                      <a:pt x="3934972" y="941429"/>
                    </a:lnTo>
                    <a:lnTo>
                      <a:pt x="3938356" y="942072"/>
                    </a:lnTo>
                    <a:lnTo>
                      <a:pt x="3937004" y="943459"/>
                    </a:lnTo>
                    <a:lnTo>
                      <a:pt x="3937577" y="944649"/>
                    </a:lnTo>
                    <a:lnTo>
                      <a:pt x="3938835" y="945891"/>
                    </a:lnTo>
                    <a:lnTo>
                      <a:pt x="3939575" y="947369"/>
                    </a:lnTo>
                    <a:lnTo>
                      <a:pt x="3939135" y="950059"/>
                    </a:lnTo>
                    <a:lnTo>
                      <a:pt x="3937831" y="951761"/>
                    </a:lnTo>
                    <a:lnTo>
                      <a:pt x="3936151" y="952053"/>
                    </a:lnTo>
                    <a:lnTo>
                      <a:pt x="3934562" y="950437"/>
                    </a:lnTo>
                    <a:lnTo>
                      <a:pt x="3933900" y="948769"/>
                    </a:lnTo>
                    <a:lnTo>
                      <a:pt x="3933414" y="946767"/>
                    </a:lnTo>
                    <a:lnTo>
                      <a:pt x="3933126" y="944661"/>
                    </a:lnTo>
                    <a:lnTo>
                      <a:pt x="3933104" y="942622"/>
                    </a:lnTo>
                    <a:lnTo>
                      <a:pt x="3932675" y="941312"/>
                    </a:lnTo>
                    <a:lnTo>
                      <a:pt x="3931637" y="940633"/>
                    </a:lnTo>
                    <a:lnTo>
                      <a:pt x="3930703" y="939527"/>
                    </a:lnTo>
                    <a:lnTo>
                      <a:pt x="3930580" y="936912"/>
                    </a:lnTo>
                    <a:lnTo>
                      <a:pt x="3931665" y="933873"/>
                    </a:lnTo>
                    <a:lnTo>
                      <a:pt x="3937541" y="925996"/>
                    </a:lnTo>
                    <a:lnTo>
                      <a:pt x="3938954" y="923500"/>
                    </a:lnTo>
                    <a:lnTo>
                      <a:pt x="3940296" y="920176"/>
                    </a:lnTo>
                    <a:lnTo>
                      <a:pt x="3941301" y="916379"/>
                    </a:lnTo>
                    <a:lnTo>
                      <a:pt x="3941702" y="912450"/>
                    </a:lnTo>
                    <a:lnTo>
                      <a:pt x="3939937" y="904302"/>
                    </a:lnTo>
                    <a:lnTo>
                      <a:pt x="3935591" y="898213"/>
                    </a:lnTo>
                    <a:lnTo>
                      <a:pt x="3920701" y="885359"/>
                    </a:lnTo>
                    <a:lnTo>
                      <a:pt x="3912521" y="873998"/>
                    </a:lnTo>
                    <a:lnTo>
                      <a:pt x="3907871" y="869310"/>
                    </a:lnTo>
                    <a:lnTo>
                      <a:pt x="3902258" y="866283"/>
                    </a:lnTo>
                    <a:lnTo>
                      <a:pt x="3883663" y="864383"/>
                    </a:lnTo>
                    <a:lnTo>
                      <a:pt x="3880544" y="862864"/>
                    </a:lnTo>
                    <a:lnTo>
                      <a:pt x="3879165" y="861786"/>
                    </a:lnTo>
                    <a:lnTo>
                      <a:pt x="3878084" y="861304"/>
                    </a:lnTo>
                    <a:lnTo>
                      <a:pt x="3877123" y="860663"/>
                    </a:lnTo>
                    <a:lnTo>
                      <a:pt x="3876108" y="859080"/>
                    </a:lnTo>
                    <a:lnTo>
                      <a:pt x="3875652" y="857580"/>
                    </a:lnTo>
                    <a:lnTo>
                      <a:pt x="3875675" y="854780"/>
                    </a:lnTo>
                    <a:lnTo>
                      <a:pt x="3875426" y="853123"/>
                    </a:lnTo>
                    <a:lnTo>
                      <a:pt x="3874132" y="850273"/>
                    </a:lnTo>
                    <a:lnTo>
                      <a:pt x="3870710" y="845334"/>
                    </a:lnTo>
                    <a:lnTo>
                      <a:pt x="3869702" y="842622"/>
                    </a:lnTo>
                    <a:lnTo>
                      <a:pt x="3867817" y="843252"/>
                    </a:lnTo>
                    <a:lnTo>
                      <a:pt x="3865910" y="839432"/>
                    </a:lnTo>
                    <a:lnTo>
                      <a:pt x="3864743" y="834605"/>
                    </a:lnTo>
                    <a:lnTo>
                      <a:pt x="3865040" y="832250"/>
                    </a:lnTo>
                    <a:lnTo>
                      <a:pt x="3870022" y="829220"/>
                    </a:lnTo>
                    <a:lnTo>
                      <a:pt x="3871840" y="828679"/>
                    </a:lnTo>
                    <a:lnTo>
                      <a:pt x="3877875" y="828598"/>
                    </a:lnTo>
                    <a:lnTo>
                      <a:pt x="3878313" y="828049"/>
                    </a:lnTo>
                    <a:lnTo>
                      <a:pt x="3878454" y="827234"/>
                    </a:lnTo>
                    <a:lnTo>
                      <a:pt x="3879456" y="825162"/>
                    </a:lnTo>
                    <a:lnTo>
                      <a:pt x="3880115" y="823450"/>
                    </a:lnTo>
                    <a:lnTo>
                      <a:pt x="3880989" y="821871"/>
                    </a:lnTo>
                    <a:lnTo>
                      <a:pt x="3882137" y="821209"/>
                    </a:lnTo>
                    <a:lnTo>
                      <a:pt x="3883354" y="821831"/>
                    </a:lnTo>
                    <a:lnTo>
                      <a:pt x="3884197" y="823324"/>
                    </a:lnTo>
                    <a:lnTo>
                      <a:pt x="3885707" y="826993"/>
                    </a:lnTo>
                    <a:lnTo>
                      <a:pt x="3888757" y="828464"/>
                    </a:lnTo>
                    <a:lnTo>
                      <a:pt x="3892403" y="826240"/>
                    </a:lnTo>
                    <a:lnTo>
                      <a:pt x="3895960" y="823021"/>
                    </a:lnTo>
                    <a:lnTo>
                      <a:pt x="3898753" y="821559"/>
                    </a:lnTo>
                    <a:lnTo>
                      <a:pt x="3900816" y="823000"/>
                    </a:lnTo>
                    <a:lnTo>
                      <a:pt x="3902902" y="826022"/>
                    </a:lnTo>
                    <a:lnTo>
                      <a:pt x="3909883" y="838886"/>
                    </a:lnTo>
                    <a:lnTo>
                      <a:pt x="3918557" y="850935"/>
                    </a:lnTo>
                    <a:lnTo>
                      <a:pt x="3921232" y="853189"/>
                    </a:lnTo>
                    <a:lnTo>
                      <a:pt x="3927630" y="854832"/>
                    </a:lnTo>
                    <a:lnTo>
                      <a:pt x="3929284" y="855864"/>
                    </a:lnTo>
                    <a:lnTo>
                      <a:pt x="3929378" y="857480"/>
                    </a:lnTo>
                    <a:lnTo>
                      <a:pt x="3924904" y="864401"/>
                    </a:lnTo>
                    <a:lnTo>
                      <a:pt x="3922114" y="869778"/>
                    </a:lnTo>
                    <a:lnTo>
                      <a:pt x="3921080" y="873416"/>
                    </a:lnTo>
                    <a:lnTo>
                      <a:pt x="3921090" y="877279"/>
                    </a:lnTo>
                    <a:lnTo>
                      <a:pt x="3922502" y="879777"/>
                    </a:lnTo>
                    <a:lnTo>
                      <a:pt x="3927683" y="883441"/>
                    </a:lnTo>
                    <a:lnTo>
                      <a:pt x="3929710" y="885789"/>
                    </a:lnTo>
                    <a:lnTo>
                      <a:pt x="3937445" y="898086"/>
                    </a:lnTo>
                    <a:lnTo>
                      <a:pt x="3941904" y="902874"/>
                    </a:lnTo>
                    <a:lnTo>
                      <a:pt x="3966483" y="917256"/>
                    </a:lnTo>
                    <a:lnTo>
                      <a:pt x="3969295" y="918067"/>
                    </a:lnTo>
                    <a:lnTo>
                      <a:pt x="3988017" y="915622"/>
                    </a:lnTo>
                    <a:lnTo>
                      <a:pt x="3993073" y="913294"/>
                    </a:lnTo>
                    <a:lnTo>
                      <a:pt x="3996800" y="912638"/>
                    </a:lnTo>
                    <a:lnTo>
                      <a:pt x="3998383" y="911972"/>
                    </a:lnTo>
                    <a:lnTo>
                      <a:pt x="3998324" y="910800"/>
                    </a:lnTo>
                    <a:lnTo>
                      <a:pt x="4001297" y="909742"/>
                    </a:lnTo>
                    <a:lnTo>
                      <a:pt x="4006935" y="904473"/>
                    </a:lnTo>
                    <a:lnTo>
                      <a:pt x="4009711" y="903266"/>
                    </a:lnTo>
                    <a:lnTo>
                      <a:pt x="4013302" y="902794"/>
                    </a:lnTo>
                    <a:lnTo>
                      <a:pt x="4014432" y="903294"/>
                    </a:lnTo>
                    <a:lnTo>
                      <a:pt x="4018231" y="909430"/>
                    </a:lnTo>
                    <a:lnTo>
                      <a:pt x="4019610" y="910522"/>
                    </a:lnTo>
                    <a:lnTo>
                      <a:pt x="4028182" y="912872"/>
                    </a:lnTo>
                    <a:lnTo>
                      <a:pt x="4031020" y="914930"/>
                    </a:lnTo>
                    <a:lnTo>
                      <a:pt x="4036102" y="921549"/>
                    </a:lnTo>
                    <a:lnTo>
                      <a:pt x="4056961" y="934240"/>
                    </a:lnTo>
                    <a:lnTo>
                      <a:pt x="4059020" y="935029"/>
                    </a:lnTo>
                    <a:lnTo>
                      <a:pt x="4065803" y="933750"/>
                    </a:lnTo>
                    <a:lnTo>
                      <a:pt x="4074980" y="935021"/>
                    </a:lnTo>
                    <a:lnTo>
                      <a:pt x="4093017" y="931001"/>
                    </a:lnTo>
                    <a:lnTo>
                      <a:pt x="4114775" y="929590"/>
                    </a:lnTo>
                    <a:lnTo>
                      <a:pt x="4117043" y="927771"/>
                    </a:lnTo>
                    <a:lnTo>
                      <a:pt x="4118480" y="923880"/>
                    </a:lnTo>
                    <a:lnTo>
                      <a:pt x="4118628" y="920643"/>
                    </a:lnTo>
                    <a:lnTo>
                      <a:pt x="4118349" y="912436"/>
                    </a:lnTo>
                    <a:lnTo>
                      <a:pt x="4118691" y="905215"/>
                    </a:lnTo>
                    <a:lnTo>
                      <a:pt x="4115612" y="899657"/>
                    </a:lnTo>
                    <a:lnTo>
                      <a:pt x="4107739" y="891442"/>
                    </a:lnTo>
                    <a:lnTo>
                      <a:pt x="4108232" y="891188"/>
                    </a:lnTo>
                    <a:lnTo>
                      <a:pt x="4109217" y="890446"/>
                    </a:lnTo>
                    <a:lnTo>
                      <a:pt x="4109889" y="890298"/>
                    </a:lnTo>
                    <a:lnTo>
                      <a:pt x="4108745" y="885944"/>
                    </a:lnTo>
                    <a:lnTo>
                      <a:pt x="4110692" y="884885"/>
                    </a:lnTo>
                    <a:lnTo>
                      <a:pt x="4113948" y="884920"/>
                    </a:lnTo>
                    <a:lnTo>
                      <a:pt x="4116711" y="883828"/>
                    </a:lnTo>
                    <a:lnTo>
                      <a:pt x="4113406" y="882133"/>
                    </a:lnTo>
                    <a:lnTo>
                      <a:pt x="4108830" y="881909"/>
                    </a:lnTo>
                    <a:lnTo>
                      <a:pt x="4104876" y="883891"/>
                    </a:lnTo>
                    <a:lnTo>
                      <a:pt x="4103442" y="888849"/>
                    </a:lnTo>
                    <a:lnTo>
                      <a:pt x="4100227" y="886716"/>
                    </a:lnTo>
                    <a:lnTo>
                      <a:pt x="4095561" y="885472"/>
                    </a:lnTo>
                    <a:lnTo>
                      <a:pt x="4090903" y="885708"/>
                    </a:lnTo>
                    <a:lnTo>
                      <a:pt x="4087695" y="888055"/>
                    </a:lnTo>
                    <a:lnTo>
                      <a:pt x="4086809" y="890294"/>
                    </a:lnTo>
                    <a:lnTo>
                      <a:pt x="4086302" y="892124"/>
                    </a:lnTo>
                    <a:lnTo>
                      <a:pt x="4085437" y="893354"/>
                    </a:lnTo>
                    <a:lnTo>
                      <a:pt x="4083482" y="893778"/>
                    </a:lnTo>
                    <a:lnTo>
                      <a:pt x="4074683" y="892401"/>
                    </a:lnTo>
                    <a:lnTo>
                      <a:pt x="4067974" y="889527"/>
                    </a:lnTo>
                    <a:lnTo>
                      <a:pt x="4056047" y="880144"/>
                    </a:lnTo>
                    <a:lnTo>
                      <a:pt x="4048945" y="878109"/>
                    </a:lnTo>
                    <a:lnTo>
                      <a:pt x="4029798" y="881720"/>
                    </a:lnTo>
                    <a:lnTo>
                      <a:pt x="4021590" y="881611"/>
                    </a:lnTo>
                    <a:lnTo>
                      <a:pt x="4017737" y="882964"/>
                    </a:lnTo>
                    <a:lnTo>
                      <a:pt x="4014202" y="886527"/>
                    </a:lnTo>
                    <a:lnTo>
                      <a:pt x="4014065" y="887288"/>
                    </a:lnTo>
                    <a:lnTo>
                      <a:pt x="4014158" y="889607"/>
                    </a:lnTo>
                    <a:lnTo>
                      <a:pt x="4014018" y="890363"/>
                    </a:lnTo>
                    <a:lnTo>
                      <a:pt x="4013126" y="890992"/>
                    </a:lnTo>
                    <a:lnTo>
                      <a:pt x="4010912" y="891267"/>
                    </a:lnTo>
                    <a:lnTo>
                      <a:pt x="4010309" y="891596"/>
                    </a:lnTo>
                    <a:lnTo>
                      <a:pt x="4009901" y="893534"/>
                    </a:lnTo>
                    <a:lnTo>
                      <a:pt x="4010161" y="895105"/>
                    </a:lnTo>
                    <a:lnTo>
                      <a:pt x="4010308" y="896708"/>
                    </a:lnTo>
                    <a:lnTo>
                      <a:pt x="4009566" y="898717"/>
                    </a:lnTo>
                    <a:lnTo>
                      <a:pt x="4006093" y="901882"/>
                    </a:lnTo>
                    <a:lnTo>
                      <a:pt x="4001554" y="903254"/>
                    </a:lnTo>
                    <a:lnTo>
                      <a:pt x="3992807" y="903017"/>
                    </a:lnTo>
                    <a:lnTo>
                      <a:pt x="3989240" y="901723"/>
                    </a:lnTo>
                    <a:lnTo>
                      <a:pt x="3987402" y="901449"/>
                    </a:lnTo>
                    <a:lnTo>
                      <a:pt x="3983578" y="903251"/>
                    </a:lnTo>
                    <a:lnTo>
                      <a:pt x="3982120" y="902699"/>
                    </a:lnTo>
                    <a:lnTo>
                      <a:pt x="3979798" y="900136"/>
                    </a:lnTo>
                    <a:lnTo>
                      <a:pt x="3975241" y="897003"/>
                    </a:lnTo>
                    <a:lnTo>
                      <a:pt x="3975034" y="894902"/>
                    </a:lnTo>
                    <a:lnTo>
                      <a:pt x="3977305" y="891097"/>
                    </a:lnTo>
                    <a:lnTo>
                      <a:pt x="3971830" y="890274"/>
                    </a:lnTo>
                    <a:lnTo>
                      <a:pt x="3966425" y="888119"/>
                    </a:lnTo>
                    <a:lnTo>
                      <a:pt x="3944181" y="870171"/>
                    </a:lnTo>
                    <a:lnTo>
                      <a:pt x="3940934" y="864698"/>
                    </a:lnTo>
                    <a:lnTo>
                      <a:pt x="3944360" y="861189"/>
                    </a:lnTo>
                    <a:lnTo>
                      <a:pt x="3944886" y="860441"/>
                    </a:lnTo>
                    <a:lnTo>
                      <a:pt x="3944775" y="858443"/>
                    </a:lnTo>
                    <a:lnTo>
                      <a:pt x="3943736" y="854479"/>
                    </a:lnTo>
                    <a:lnTo>
                      <a:pt x="3943555" y="850921"/>
                    </a:lnTo>
                    <a:lnTo>
                      <a:pt x="3944130" y="849784"/>
                    </a:lnTo>
                    <a:lnTo>
                      <a:pt x="3947067" y="848966"/>
                    </a:lnTo>
                    <a:lnTo>
                      <a:pt x="3950801" y="845624"/>
                    </a:lnTo>
                    <a:lnTo>
                      <a:pt x="3953090" y="842623"/>
                    </a:lnTo>
                    <a:lnTo>
                      <a:pt x="3953124" y="840338"/>
                    </a:lnTo>
                    <a:lnTo>
                      <a:pt x="3952529" y="837783"/>
                    </a:lnTo>
                    <a:lnTo>
                      <a:pt x="3952951" y="834009"/>
                    </a:lnTo>
                    <a:lnTo>
                      <a:pt x="3954976" y="831454"/>
                    </a:lnTo>
                    <a:lnTo>
                      <a:pt x="3960848" y="829739"/>
                    </a:lnTo>
                    <a:lnTo>
                      <a:pt x="3962899" y="826612"/>
                    </a:lnTo>
                    <a:lnTo>
                      <a:pt x="3962267" y="826019"/>
                    </a:lnTo>
                    <a:lnTo>
                      <a:pt x="3962006" y="825412"/>
                    </a:lnTo>
                    <a:lnTo>
                      <a:pt x="3961851" y="824768"/>
                    </a:lnTo>
                    <a:lnTo>
                      <a:pt x="3961546" y="824030"/>
                    </a:lnTo>
                    <a:lnTo>
                      <a:pt x="3968920" y="822346"/>
                    </a:lnTo>
                    <a:lnTo>
                      <a:pt x="3972394" y="822243"/>
                    </a:lnTo>
                    <a:lnTo>
                      <a:pt x="3979765" y="823502"/>
                    </a:lnTo>
                    <a:lnTo>
                      <a:pt x="3984014" y="823066"/>
                    </a:lnTo>
                    <a:lnTo>
                      <a:pt x="3986170" y="821145"/>
                    </a:lnTo>
                    <a:lnTo>
                      <a:pt x="3983601" y="817287"/>
                    </a:lnTo>
                    <a:lnTo>
                      <a:pt x="3981613" y="816644"/>
                    </a:lnTo>
                    <a:lnTo>
                      <a:pt x="3976845" y="816842"/>
                    </a:lnTo>
                    <a:lnTo>
                      <a:pt x="3975430" y="815925"/>
                    </a:lnTo>
                    <a:lnTo>
                      <a:pt x="3974207" y="814065"/>
                    </a:lnTo>
                    <a:lnTo>
                      <a:pt x="3972674" y="812764"/>
                    </a:lnTo>
                    <a:lnTo>
                      <a:pt x="3966916" y="809912"/>
                    </a:lnTo>
                    <a:lnTo>
                      <a:pt x="3965976" y="809897"/>
                    </a:lnTo>
                    <a:lnTo>
                      <a:pt x="3965187" y="810418"/>
                    </a:lnTo>
                    <a:lnTo>
                      <a:pt x="3964658" y="811324"/>
                    </a:lnTo>
                    <a:lnTo>
                      <a:pt x="3964390" y="812175"/>
                    </a:lnTo>
                    <a:lnTo>
                      <a:pt x="3964382" y="812540"/>
                    </a:lnTo>
                    <a:lnTo>
                      <a:pt x="3962867" y="812552"/>
                    </a:lnTo>
                    <a:lnTo>
                      <a:pt x="3961247" y="812067"/>
                    </a:lnTo>
                    <a:lnTo>
                      <a:pt x="3959711" y="810934"/>
                    </a:lnTo>
                    <a:lnTo>
                      <a:pt x="3958473" y="809065"/>
                    </a:lnTo>
                    <a:lnTo>
                      <a:pt x="3955709" y="806115"/>
                    </a:lnTo>
                    <a:lnTo>
                      <a:pt x="3951691" y="804823"/>
                    </a:lnTo>
                    <a:lnTo>
                      <a:pt x="3935331" y="805608"/>
                    </a:lnTo>
                    <a:lnTo>
                      <a:pt x="3907800" y="811485"/>
                    </a:lnTo>
                    <a:lnTo>
                      <a:pt x="3906848" y="810429"/>
                    </a:lnTo>
                    <a:lnTo>
                      <a:pt x="3906954" y="808117"/>
                    </a:lnTo>
                    <a:lnTo>
                      <a:pt x="3907418" y="805705"/>
                    </a:lnTo>
                    <a:lnTo>
                      <a:pt x="3907574" y="804373"/>
                    </a:lnTo>
                    <a:lnTo>
                      <a:pt x="3906623" y="802727"/>
                    </a:lnTo>
                    <a:lnTo>
                      <a:pt x="3905628" y="801538"/>
                    </a:lnTo>
                    <a:lnTo>
                      <a:pt x="3904300" y="800939"/>
                    </a:lnTo>
                    <a:lnTo>
                      <a:pt x="3902421" y="801015"/>
                    </a:lnTo>
                    <a:lnTo>
                      <a:pt x="3903115" y="804792"/>
                    </a:lnTo>
                    <a:lnTo>
                      <a:pt x="3901940" y="806694"/>
                    </a:lnTo>
                    <a:lnTo>
                      <a:pt x="3901161" y="808633"/>
                    </a:lnTo>
                    <a:lnTo>
                      <a:pt x="3902984" y="812549"/>
                    </a:lnTo>
                    <a:lnTo>
                      <a:pt x="3900825" y="813437"/>
                    </a:lnTo>
                    <a:lnTo>
                      <a:pt x="3895086" y="812387"/>
                    </a:lnTo>
                    <a:lnTo>
                      <a:pt x="3887753" y="815576"/>
                    </a:lnTo>
                    <a:lnTo>
                      <a:pt x="3885550" y="814865"/>
                    </a:lnTo>
                    <a:lnTo>
                      <a:pt x="3884605" y="813417"/>
                    </a:lnTo>
                    <a:lnTo>
                      <a:pt x="3884628" y="812050"/>
                    </a:lnTo>
                    <a:lnTo>
                      <a:pt x="3889371" y="803056"/>
                    </a:lnTo>
                    <a:lnTo>
                      <a:pt x="3889757" y="802033"/>
                    </a:lnTo>
                    <a:lnTo>
                      <a:pt x="3891994" y="800575"/>
                    </a:lnTo>
                    <a:lnTo>
                      <a:pt x="3894262" y="797066"/>
                    </a:lnTo>
                    <a:lnTo>
                      <a:pt x="3898176" y="789286"/>
                    </a:lnTo>
                    <a:lnTo>
                      <a:pt x="3900089" y="786931"/>
                    </a:lnTo>
                    <a:lnTo>
                      <a:pt x="3900473" y="785855"/>
                    </a:lnTo>
                    <a:lnTo>
                      <a:pt x="3899974" y="784197"/>
                    </a:lnTo>
                    <a:lnTo>
                      <a:pt x="3898061" y="782698"/>
                    </a:lnTo>
                    <a:lnTo>
                      <a:pt x="3895168" y="782386"/>
                    </a:lnTo>
                    <a:lnTo>
                      <a:pt x="3892174" y="782918"/>
                    </a:lnTo>
                    <a:lnTo>
                      <a:pt x="3889973" y="783985"/>
                    </a:lnTo>
                    <a:lnTo>
                      <a:pt x="3893876" y="784006"/>
                    </a:lnTo>
                    <a:lnTo>
                      <a:pt x="3895434" y="785109"/>
                    </a:lnTo>
                    <a:lnTo>
                      <a:pt x="3896125" y="787946"/>
                    </a:lnTo>
                    <a:lnTo>
                      <a:pt x="3894426" y="788964"/>
                    </a:lnTo>
                    <a:lnTo>
                      <a:pt x="3883421" y="802309"/>
                    </a:lnTo>
                    <a:lnTo>
                      <a:pt x="3875185" y="809874"/>
                    </a:lnTo>
                    <a:lnTo>
                      <a:pt x="3872840" y="810746"/>
                    </a:lnTo>
                    <a:lnTo>
                      <a:pt x="3864091" y="810359"/>
                    </a:lnTo>
                    <a:lnTo>
                      <a:pt x="3862733" y="809917"/>
                    </a:lnTo>
                    <a:lnTo>
                      <a:pt x="3861397" y="809085"/>
                    </a:lnTo>
                    <a:lnTo>
                      <a:pt x="3861632" y="808424"/>
                    </a:lnTo>
                    <a:lnTo>
                      <a:pt x="3861792" y="807810"/>
                    </a:lnTo>
                    <a:lnTo>
                      <a:pt x="3861999" y="807173"/>
                    </a:lnTo>
                    <a:lnTo>
                      <a:pt x="3862392" y="806426"/>
                    </a:lnTo>
                    <a:lnTo>
                      <a:pt x="3857259" y="804055"/>
                    </a:lnTo>
                    <a:lnTo>
                      <a:pt x="3840834" y="804769"/>
                    </a:lnTo>
                    <a:lnTo>
                      <a:pt x="3835594" y="803665"/>
                    </a:lnTo>
                    <a:lnTo>
                      <a:pt x="3834239" y="804350"/>
                    </a:lnTo>
                    <a:lnTo>
                      <a:pt x="3835534" y="807210"/>
                    </a:lnTo>
                    <a:lnTo>
                      <a:pt x="3837568" y="808847"/>
                    </a:lnTo>
                    <a:lnTo>
                      <a:pt x="3842442" y="810086"/>
                    </a:lnTo>
                    <a:lnTo>
                      <a:pt x="3844622" y="811261"/>
                    </a:lnTo>
                    <a:lnTo>
                      <a:pt x="3841808" y="811860"/>
                    </a:lnTo>
                    <a:lnTo>
                      <a:pt x="3821281" y="805682"/>
                    </a:lnTo>
                    <a:lnTo>
                      <a:pt x="3814448" y="801475"/>
                    </a:lnTo>
                    <a:lnTo>
                      <a:pt x="3787140" y="797223"/>
                    </a:lnTo>
                    <a:lnTo>
                      <a:pt x="3784420" y="795431"/>
                    </a:lnTo>
                    <a:lnTo>
                      <a:pt x="3758001" y="791280"/>
                    </a:lnTo>
                    <a:lnTo>
                      <a:pt x="3754312" y="789661"/>
                    </a:lnTo>
                    <a:lnTo>
                      <a:pt x="3750591" y="784166"/>
                    </a:lnTo>
                    <a:lnTo>
                      <a:pt x="3750454" y="776577"/>
                    </a:lnTo>
                    <a:lnTo>
                      <a:pt x="3751380" y="768102"/>
                    </a:lnTo>
                    <a:lnTo>
                      <a:pt x="3750846" y="759857"/>
                    </a:lnTo>
                    <a:lnTo>
                      <a:pt x="3750587" y="756193"/>
                    </a:lnTo>
                    <a:lnTo>
                      <a:pt x="3749631" y="747509"/>
                    </a:lnTo>
                    <a:lnTo>
                      <a:pt x="3748554" y="743837"/>
                    </a:lnTo>
                    <a:lnTo>
                      <a:pt x="3737080" y="716473"/>
                    </a:lnTo>
                    <a:lnTo>
                      <a:pt x="3729614" y="704061"/>
                    </a:lnTo>
                    <a:lnTo>
                      <a:pt x="3719935" y="693285"/>
                    </a:lnTo>
                    <a:lnTo>
                      <a:pt x="3691604" y="675454"/>
                    </a:lnTo>
                    <a:lnTo>
                      <a:pt x="3683732" y="667531"/>
                    </a:lnTo>
                    <a:lnTo>
                      <a:pt x="3677484" y="662945"/>
                    </a:lnTo>
                    <a:lnTo>
                      <a:pt x="3668831" y="653198"/>
                    </a:lnTo>
                    <a:lnTo>
                      <a:pt x="3665695" y="651231"/>
                    </a:lnTo>
                    <a:lnTo>
                      <a:pt x="3661705" y="650428"/>
                    </a:lnTo>
                    <a:lnTo>
                      <a:pt x="3661009" y="650403"/>
                    </a:lnTo>
                    <a:lnTo>
                      <a:pt x="3661590" y="653112"/>
                    </a:lnTo>
                    <a:lnTo>
                      <a:pt x="3663137" y="654401"/>
                    </a:lnTo>
                    <a:lnTo>
                      <a:pt x="3664544" y="655373"/>
                    </a:lnTo>
                    <a:lnTo>
                      <a:pt x="3665863" y="656973"/>
                    </a:lnTo>
                    <a:lnTo>
                      <a:pt x="3662960" y="655751"/>
                    </a:lnTo>
                    <a:lnTo>
                      <a:pt x="3658142" y="650248"/>
                    </a:lnTo>
                    <a:lnTo>
                      <a:pt x="3652845" y="647963"/>
                    </a:lnTo>
                    <a:lnTo>
                      <a:pt x="3634683" y="631672"/>
                    </a:lnTo>
                    <a:lnTo>
                      <a:pt x="3618122" y="618964"/>
                    </a:lnTo>
                    <a:lnTo>
                      <a:pt x="3599014" y="606503"/>
                    </a:lnTo>
                    <a:lnTo>
                      <a:pt x="3581389" y="599866"/>
                    </a:lnTo>
                    <a:lnTo>
                      <a:pt x="3566764" y="596470"/>
                    </a:lnTo>
                    <a:lnTo>
                      <a:pt x="3551558" y="590205"/>
                    </a:lnTo>
                    <a:lnTo>
                      <a:pt x="3545794" y="584324"/>
                    </a:lnTo>
                    <a:lnTo>
                      <a:pt x="3543183" y="579110"/>
                    </a:lnTo>
                    <a:lnTo>
                      <a:pt x="3539711" y="574789"/>
                    </a:lnTo>
                    <a:lnTo>
                      <a:pt x="3538869" y="573169"/>
                    </a:lnTo>
                    <a:lnTo>
                      <a:pt x="3536790" y="570308"/>
                    </a:lnTo>
                    <a:lnTo>
                      <a:pt x="3527174" y="565630"/>
                    </a:lnTo>
                    <a:lnTo>
                      <a:pt x="3519155" y="558354"/>
                    </a:lnTo>
                    <a:lnTo>
                      <a:pt x="3485820" y="548419"/>
                    </a:lnTo>
                    <a:lnTo>
                      <a:pt x="3471098" y="548650"/>
                    </a:lnTo>
                    <a:lnTo>
                      <a:pt x="3468175" y="546300"/>
                    </a:lnTo>
                    <a:lnTo>
                      <a:pt x="3467554" y="546271"/>
                    </a:lnTo>
                    <a:lnTo>
                      <a:pt x="3469521" y="544835"/>
                    </a:lnTo>
                    <a:lnTo>
                      <a:pt x="3492261" y="536832"/>
                    </a:lnTo>
                    <a:lnTo>
                      <a:pt x="3501756" y="534506"/>
                    </a:lnTo>
                    <a:lnTo>
                      <a:pt x="3507881" y="535290"/>
                    </a:lnTo>
                    <a:lnTo>
                      <a:pt x="3500858" y="536000"/>
                    </a:lnTo>
                    <a:lnTo>
                      <a:pt x="3479181" y="542731"/>
                    </a:lnTo>
                    <a:lnTo>
                      <a:pt x="3476080" y="544440"/>
                    </a:lnTo>
                    <a:lnTo>
                      <a:pt x="3483954" y="547052"/>
                    </a:lnTo>
                    <a:lnTo>
                      <a:pt x="3495776" y="546212"/>
                    </a:lnTo>
                    <a:lnTo>
                      <a:pt x="3506261" y="539209"/>
                    </a:lnTo>
                    <a:lnTo>
                      <a:pt x="3508908" y="539650"/>
                    </a:lnTo>
                    <a:lnTo>
                      <a:pt x="3513663" y="542035"/>
                    </a:lnTo>
                    <a:lnTo>
                      <a:pt x="3513173" y="539851"/>
                    </a:lnTo>
                    <a:lnTo>
                      <a:pt x="3510724" y="538455"/>
                    </a:lnTo>
                    <a:lnTo>
                      <a:pt x="3509653" y="536632"/>
                    </a:lnTo>
                    <a:lnTo>
                      <a:pt x="3517898" y="539535"/>
                    </a:lnTo>
                    <a:lnTo>
                      <a:pt x="3520368" y="538520"/>
                    </a:lnTo>
                    <a:lnTo>
                      <a:pt x="3518801" y="537172"/>
                    </a:lnTo>
                    <a:lnTo>
                      <a:pt x="3517684" y="532747"/>
                    </a:lnTo>
                    <a:lnTo>
                      <a:pt x="3515886" y="531806"/>
                    </a:lnTo>
                    <a:lnTo>
                      <a:pt x="3520648" y="527042"/>
                    </a:lnTo>
                    <a:lnTo>
                      <a:pt x="3522582" y="524597"/>
                    </a:lnTo>
                    <a:lnTo>
                      <a:pt x="3524590" y="520606"/>
                    </a:lnTo>
                    <a:lnTo>
                      <a:pt x="3524598" y="517026"/>
                    </a:lnTo>
                    <a:lnTo>
                      <a:pt x="3526935" y="514236"/>
                    </a:lnTo>
                    <a:lnTo>
                      <a:pt x="3530051" y="511860"/>
                    </a:lnTo>
                    <a:lnTo>
                      <a:pt x="3532376" y="509487"/>
                    </a:lnTo>
                    <a:lnTo>
                      <a:pt x="3533707" y="506629"/>
                    </a:lnTo>
                    <a:lnTo>
                      <a:pt x="3533766" y="505287"/>
                    </a:lnTo>
                    <a:lnTo>
                      <a:pt x="3533408" y="504138"/>
                    </a:lnTo>
                    <a:lnTo>
                      <a:pt x="3533548" y="501898"/>
                    </a:lnTo>
                    <a:lnTo>
                      <a:pt x="3534139" y="499903"/>
                    </a:lnTo>
                    <a:lnTo>
                      <a:pt x="3536806" y="494394"/>
                    </a:lnTo>
                    <a:lnTo>
                      <a:pt x="3535889" y="492736"/>
                    </a:lnTo>
                    <a:lnTo>
                      <a:pt x="3536260" y="491590"/>
                    </a:lnTo>
                    <a:lnTo>
                      <a:pt x="3537257" y="490549"/>
                    </a:lnTo>
                    <a:lnTo>
                      <a:pt x="3538219" y="489240"/>
                    </a:lnTo>
                    <a:lnTo>
                      <a:pt x="3539138" y="486912"/>
                    </a:lnTo>
                    <a:lnTo>
                      <a:pt x="3539611" y="485082"/>
                    </a:lnTo>
                    <a:lnTo>
                      <a:pt x="3540150" y="481052"/>
                    </a:lnTo>
                    <a:lnTo>
                      <a:pt x="3541089" y="477002"/>
                    </a:lnTo>
                    <a:lnTo>
                      <a:pt x="3542215" y="473462"/>
                    </a:lnTo>
                    <a:lnTo>
                      <a:pt x="3543086" y="469767"/>
                    </a:lnTo>
                    <a:lnTo>
                      <a:pt x="3543263" y="465260"/>
                    </a:lnTo>
                    <a:lnTo>
                      <a:pt x="3541740" y="456674"/>
                    </a:lnTo>
                    <a:lnTo>
                      <a:pt x="3541606" y="451964"/>
                    </a:lnTo>
                    <a:lnTo>
                      <a:pt x="3543306" y="449993"/>
                    </a:lnTo>
                    <a:lnTo>
                      <a:pt x="3556848" y="449549"/>
                    </a:lnTo>
                    <a:lnTo>
                      <a:pt x="3563805" y="453335"/>
                    </a:lnTo>
                    <a:lnTo>
                      <a:pt x="3583110" y="452914"/>
                    </a:lnTo>
                    <a:lnTo>
                      <a:pt x="3597190" y="456841"/>
                    </a:lnTo>
                    <a:lnTo>
                      <a:pt x="3631110" y="455442"/>
                    </a:lnTo>
                    <a:lnTo>
                      <a:pt x="3658446" y="455557"/>
                    </a:lnTo>
                    <a:lnTo>
                      <a:pt x="3684002" y="450409"/>
                    </a:lnTo>
                    <a:lnTo>
                      <a:pt x="3727783" y="449124"/>
                    </a:lnTo>
                    <a:lnTo>
                      <a:pt x="3736888" y="446212"/>
                    </a:lnTo>
                    <a:lnTo>
                      <a:pt x="3745505" y="445171"/>
                    </a:lnTo>
                    <a:lnTo>
                      <a:pt x="3753869" y="440768"/>
                    </a:lnTo>
                    <a:lnTo>
                      <a:pt x="3766603" y="436682"/>
                    </a:lnTo>
                    <a:lnTo>
                      <a:pt x="3769655" y="435046"/>
                    </a:lnTo>
                    <a:lnTo>
                      <a:pt x="3775873" y="430371"/>
                    </a:lnTo>
                    <a:lnTo>
                      <a:pt x="3781405" y="428834"/>
                    </a:lnTo>
                    <a:lnTo>
                      <a:pt x="3802141" y="416206"/>
                    </a:lnTo>
                    <a:lnTo>
                      <a:pt x="3838176" y="381666"/>
                    </a:lnTo>
                    <a:lnTo>
                      <a:pt x="3840509" y="378834"/>
                    </a:lnTo>
                    <a:lnTo>
                      <a:pt x="3848727" y="362642"/>
                    </a:lnTo>
                    <a:lnTo>
                      <a:pt x="3850685" y="360530"/>
                    </a:lnTo>
                    <a:lnTo>
                      <a:pt x="3852620" y="361705"/>
                    </a:lnTo>
                    <a:lnTo>
                      <a:pt x="3842925" y="378582"/>
                    </a:lnTo>
                    <a:lnTo>
                      <a:pt x="3839374" y="382965"/>
                    </a:lnTo>
                    <a:lnTo>
                      <a:pt x="3839266" y="384115"/>
                    </a:lnTo>
                    <a:lnTo>
                      <a:pt x="3842267" y="382953"/>
                    </a:lnTo>
                    <a:lnTo>
                      <a:pt x="3851569" y="373064"/>
                    </a:lnTo>
                    <a:lnTo>
                      <a:pt x="3850969" y="371782"/>
                    </a:lnTo>
                    <a:lnTo>
                      <a:pt x="3853099" y="370165"/>
                    </a:lnTo>
                    <a:lnTo>
                      <a:pt x="3854968" y="367487"/>
                    </a:lnTo>
                    <a:lnTo>
                      <a:pt x="3855741" y="364455"/>
                    </a:lnTo>
                    <a:lnTo>
                      <a:pt x="3854579" y="361757"/>
                    </a:lnTo>
                    <a:lnTo>
                      <a:pt x="3855980" y="360031"/>
                    </a:lnTo>
                    <a:lnTo>
                      <a:pt x="3856325" y="358601"/>
                    </a:lnTo>
                    <a:lnTo>
                      <a:pt x="3856265" y="357214"/>
                    </a:lnTo>
                    <a:lnTo>
                      <a:pt x="3856459" y="355608"/>
                    </a:lnTo>
                    <a:lnTo>
                      <a:pt x="3857384" y="353424"/>
                    </a:lnTo>
                    <a:lnTo>
                      <a:pt x="3858243" y="351859"/>
                    </a:lnTo>
                    <a:lnTo>
                      <a:pt x="3858557" y="350225"/>
                    </a:lnTo>
                    <a:lnTo>
                      <a:pt x="3857820" y="347946"/>
                    </a:lnTo>
                    <a:lnTo>
                      <a:pt x="3860931" y="347079"/>
                    </a:lnTo>
                    <a:lnTo>
                      <a:pt x="3862445" y="343534"/>
                    </a:lnTo>
                    <a:lnTo>
                      <a:pt x="3862939" y="339678"/>
                    </a:lnTo>
                    <a:lnTo>
                      <a:pt x="3863023" y="337858"/>
                    </a:lnTo>
                    <a:lnTo>
                      <a:pt x="3863616" y="336986"/>
                    </a:lnTo>
                    <a:lnTo>
                      <a:pt x="3863504" y="334980"/>
                    </a:lnTo>
                    <a:lnTo>
                      <a:pt x="3863037" y="332838"/>
                    </a:lnTo>
                    <a:lnTo>
                      <a:pt x="3862594" y="331523"/>
                    </a:lnTo>
                    <a:lnTo>
                      <a:pt x="3861428" y="330530"/>
                    </a:lnTo>
                    <a:lnTo>
                      <a:pt x="3856323" y="328731"/>
                    </a:lnTo>
                    <a:lnTo>
                      <a:pt x="3856430" y="327582"/>
                    </a:lnTo>
                    <a:lnTo>
                      <a:pt x="3862544" y="327090"/>
                    </a:lnTo>
                    <a:lnTo>
                      <a:pt x="3865682" y="326036"/>
                    </a:lnTo>
                    <a:lnTo>
                      <a:pt x="3868539" y="324109"/>
                    </a:lnTo>
                    <a:lnTo>
                      <a:pt x="3867718" y="322974"/>
                    </a:lnTo>
                    <a:lnTo>
                      <a:pt x="3864987" y="320240"/>
                    </a:lnTo>
                    <a:lnTo>
                      <a:pt x="3868410" y="317673"/>
                    </a:lnTo>
                    <a:lnTo>
                      <a:pt x="3867624" y="317209"/>
                    </a:lnTo>
                    <a:lnTo>
                      <a:pt x="3865447" y="315197"/>
                    </a:lnTo>
                    <a:lnTo>
                      <a:pt x="3867363" y="312809"/>
                    </a:lnTo>
                    <a:lnTo>
                      <a:pt x="3873391" y="313965"/>
                    </a:lnTo>
                    <a:lnTo>
                      <a:pt x="3876107" y="312946"/>
                    </a:lnTo>
                    <a:lnTo>
                      <a:pt x="3878210" y="308652"/>
                    </a:lnTo>
                    <a:lnTo>
                      <a:pt x="3876591" y="306370"/>
                    </a:lnTo>
                    <a:lnTo>
                      <a:pt x="3873265" y="305434"/>
                    </a:lnTo>
                    <a:lnTo>
                      <a:pt x="3870245" y="305227"/>
                    </a:lnTo>
                    <a:lnTo>
                      <a:pt x="3871167" y="302079"/>
                    </a:lnTo>
                    <a:lnTo>
                      <a:pt x="3872557" y="300769"/>
                    </a:lnTo>
                    <a:lnTo>
                      <a:pt x="3874228" y="300128"/>
                    </a:lnTo>
                    <a:lnTo>
                      <a:pt x="3875998" y="298957"/>
                    </a:lnTo>
                    <a:lnTo>
                      <a:pt x="3875406" y="297677"/>
                    </a:lnTo>
                    <a:lnTo>
                      <a:pt x="3878432" y="294019"/>
                    </a:lnTo>
                    <a:lnTo>
                      <a:pt x="3894403" y="282810"/>
                    </a:lnTo>
                    <a:lnTo>
                      <a:pt x="3897909" y="279471"/>
                    </a:lnTo>
                    <a:lnTo>
                      <a:pt x="3902348" y="277956"/>
                    </a:lnTo>
                    <a:lnTo>
                      <a:pt x="3906666" y="273284"/>
                    </a:lnTo>
                    <a:lnTo>
                      <a:pt x="3914464" y="266981"/>
                    </a:lnTo>
                    <a:lnTo>
                      <a:pt x="3919852" y="264337"/>
                    </a:lnTo>
                    <a:lnTo>
                      <a:pt x="3922627" y="260670"/>
                    </a:lnTo>
                    <a:lnTo>
                      <a:pt x="3925050" y="256147"/>
                    </a:lnTo>
                    <a:lnTo>
                      <a:pt x="3926512" y="252062"/>
                    </a:lnTo>
                    <a:lnTo>
                      <a:pt x="3926183" y="250832"/>
                    </a:lnTo>
                    <a:lnTo>
                      <a:pt x="3925633" y="247000"/>
                    </a:lnTo>
                    <a:lnTo>
                      <a:pt x="3928516" y="245558"/>
                    </a:lnTo>
                    <a:lnTo>
                      <a:pt x="3937914" y="246143"/>
                    </a:lnTo>
                    <a:lnTo>
                      <a:pt x="3937672" y="245021"/>
                    </a:lnTo>
                    <a:lnTo>
                      <a:pt x="3937232" y="242092"/>
                    </a:lnTo>
                    <a:lnTo>
                      <a:pt x="3936980" y="240962"/>
                    </a:lnTo>
                    <a:lnTo>
                      <a:pt x="3940266" y="239775"/>
                    </a:lnTo>
                    <a:lnTo>
                      <a:pt x="3939443" y="236818"/>
                    </a:lnTo>
                    <a:lnTo>
                      <a:pt x="3942559" y="233406"/>
                    </a:lnTo>
                    <a:lnTo>
                      <a:pt x="3950095" y="228667"/>
                    </a:lnTo>
                    <a:lnTo>
                      <a:pt x="3953724" y="227372"/>
                    </a:lnTo>
                    <a:lnTo>
                      <a:pt x="3954448" y="226825"/>
                    </a:lnTo>
                    <a:lnTo>
                      <a:pt x="3955018" y="225578"/>
                    </a:lnTo>
                    <a:lnTo>
                      <a:pt x="3955471" y="224328"/>
                    </a:lnTo>
                    <a:lnTo>
                      <a:pt x="3955869" y="223752"/>
                    </a:lnTo>
                    <a:lnTo>
                      <a:pt x="3957369" y="223155"/>
                    </a:lnTo>
                    <a:lnTo>
                      <a:pt x="3961907" y="219832"/>
                    </a:lnTo>
                    <a:lnTo>
                      <a:pt x="3964500" y="216679"/>
                    </a:lnTo>
                    <a:lnTo>
                      <a:pt x="3969131" y="212496"/>
                    </a:lnTo>
                    <a:lnTo>
                      <a:pt x="3973078" y="206411"/>
                    </a:lnTo>
                    <a:lnTo>
                      <a:pt x="3974357" y="205777"/>
                    </a:lnTo>
                    <a:lnTo>
                      <a:pt x="3978831" y="201494"/>
                    </a:lnTo>
                    <a:lnTo>
                      <a:pt x="3983743" y="198654"/>
                    </a:lnTo>
                    <a:lnTo>
                      <a:pt x="3986166" y="198273"/>
                    </a:lnTo>
                    <a:lnTo>
                      <a:pt x="3988538" y="199165"/>
                    </a:lnTo>
                    <a:lnTo>
                      <a:pt x="3988256" y="199841"/>
                    </a:lnTo>
                    <a:lnTo>
                      <a:pt x="3987681" y="201664"/>
                    </a:lnTo>
                    <a:lnTo>
                      <a:pt x="3989627" y="201805"/>
                    </a:lnTo>
                    <a:lnTo>
                      <a:pt x="3990267" y="201715"/>
                    </a:lnTo>
                    <a:lnTo>
                      <a:pt x="3990184" y="202971"/>
                    </a:lnTo>
                    <a:lnTo>
                      <a:pt x="3989495" y="203122"/>
                    </a:lnTo>
                    <a:lnTo>
                      <a:pt x="3987507" y="204281"/>
                    </a:lnTo>
                    <a:lnTo>
                      <a:pt x="4000048" y="207383"/>
                    </a:lnTo>
                    <a:lnTo>
                      <a:pt x="4001807" y="209459"/>
                    </a:lnTo>
                    <a:lnTo>
                      <a:pt x="3998855" y="211878"/>
                    </a:lnTo>
                    <a:lnTo>
                      <a:pt x="3987209" y="210117"/>
                    </a:lnTo>
                    <a:lnTo>
                      <a:pt x="3983299" y="210372"/>
                    </a:lnTo>
                    <a:lnTo>
                      <a:pt x="3986284" y="213051"/>
                    </a:lnTo>
                    <a:lnTo>
                      <a:pt x="3993413" y="213575"/>
                    </a:lnTo>
                    <a:lnTo>
                      <a:pt x="3996275" y="215650"/>
                    </a:lnTo>
                    <a:lnTo>
                      <a:pt x="3993432" y="215671"/>
                    </a:lnTo>
                    <a:lnTo>
                      <a:pt x="3989325" y="216704"/>
                    </a:lnTo>
                    <a:lnTo>
                      <a:pt x="3986689" y="218729"/>
                    </a:lnTo>
                    <a:lnTo>
                      <a:pt x="3988252" y="221777"/>
                    </a:lnTo>
                    <a:lnTo>
                      <a:pt x="3985726" y="224695"/>
                    </a:lnTo>
                    <a:lnTo>
                      <a:pt x="3982556" y="224763"/>
                    </a:lnTo>
                    <a:lnTo>
                      <a:pt x="3972615" y="221324"/>
                    </a:lnTo>
                    <a:lnTo>
                      <a:pt x="3971046" y="221441"/>
                    </a:lnTo>
                    <a:lnTo>
                      <a:pt x="3969661" y="222215"/>
                    </a:lnTo>
                    <a:lnTo>
                      <a:pt x="3967055" y="224321"/>
                    </a:lnTo>
                    <a:lnTo>
                      <a:pt x="3965637" y="225108"/>
                    </a:lnTo>
                    <a:lnTo>
                      <a:pt x="3961646" y="227538"/>
                    </a:lnTo>
                    <a:lnTo>
                      <a:pt x="3961548" y="228908"/>
                    </a:lnTo>
                    <a:lnTo>
                      <a:pt x="3985690" y="226577"/>
                    </a:lnTo>
                    <a:lnTo>
                      <a:pt x="3987284" y="225746"/>
                    </a:lnTo>
                    <a:lnTo>
                      <a:pt x="3990752" y="222447"/>
                    </a:lnTo>
                    <a:lnTo>
                      <a:pt x="3993307" y="221100"/>
                    </a:lnTo>
                    <a:lnTo>
                      <a:pt x="4001013" y="222014"/>
                    </a:lnTo>
                    <a:lnTo>
                      <a:pt x="3999516" y="220922"/>
                    </a:lnTo>
                    <a:lnTo>
                      <a:pt x="3998777" y="220715"/>
                    </a:lnTo>
                    <a:lnTo>
                      <a:pt x="3997857" y="220698"/>
                    </a:lnTo>
                    <a:lnTo>
                      <a:pt x="3998834" y="218259"/>
                    </a:lnTo>
                    <a:lnTo>
                      <a:pt x="4000486" y="216739"/>
                    </a:lnTo>
                    <a:lnTo>
                      <a:pt x="4002339" y="215985"/>
                    </a:lnTo>
                    <a:lnTo>
                      <a:pt x="4003950" y="215790"/>
                    </a:lnTo>
                    <a:lnTo>
                      <a:pt x="4004840" y="215340"/>
                    </a:lnTo>
                    <a:lnTo>
                      <a:pt x="4005204" y="214285"/>
                    </a:lnTo>
                    <a:lnTo>
                      <a:pt x="4005475" y="213030"/>
                    </a:lnTo>
                    <a:lnTo>
                      <a:pt x="4006081" y="212053"/>
                    </a:lnTo>
                    <a:lnTo>
                      <a:pt x="4007257" y="211333"/>
                    </a:lnTo>
                    <a:lnTo>
                      <a:pt x="4008344" y="210984"/>
                    </a:lnTo>
                    <a:lnTo>
                      <a:pt x="4035266" y="210943"/>
                    </a:lnTo>
                    <a:lnTo>
                      <a:pt x="4047644" y="207818"/>
                    </a:lnTo>
                    <a:lnTo>
                      <a:pt x="4061313" y="201019"/>
                    </a:lnTo>
                    <a:lnTo>
                      <a:pt x="4065235" y="200431"/>
                    </a:lnTo>
                    <a:lnTo>
                      <a:pt x="4065180" y="201567"/>
                    </a:lnTo>
                    <a:lnTo>
                      <a:pt x="4064547" y="201558"/>
                    </a:lnTo>
                    <a:lnTo>
                      <a:pt x="4064480" y="202936"/>
                    </a:lnTo>
                    <a:lnTo>
                      <a:pt x="4066510" y="203016"/>
                    </a:lnTo>
                    <a:lnTo>
                      <a:pt x="4071944" y="205657"/>
                    </a:lnTo>
                    <a:lnTo>
                      <a:pt x="4071429" y="203622"/>
                    </a:lnTo>
                    <a:lnTo>
                      <a:pt x="4069599" y="201359"/>
                    </a:lnTo>
                    <a:lnTo>
                      <a:pt x="4069089" y="199235"/>
                    </a:lnTo>
                    <a:lnTo>
                      <a:pt x="4071573" y="197869"/>
                    </a:lnTo>
                    <a:lnTo>
                      <a:pt x="4080688" y="195311"/>
                    </a:lnTo>
                    <a:lnTo>
                      <a:pt x="4103409" y="180465"/>
                    </a:lnTo>
                    <a:lnTo>
                      <a:pt x="4105501" y="178240"/>
                    </a:lnTo>
                    <a:lnTo>
                      <a:pt x="4099640" y="179607"/>
                    </a:lnTo>
                    <a:lnTo>
                      <a:pt x="4095409" y="182293"/>
                    </a:lnTo>
                    <a:lnTo>
                      <a:pt x="4085449" y="188042"/>
                    </a:lnTo>
                    <a:lnTo>
                      <a:pt x="4089256" y="184679"/>
                    </a:lnTo>
                    <a:lnTo>
                      <a:pt x="4097200" y="179577"/>
                    </a:lnTo>
                    <a:lnTo>
                      <a:pt x="4119716" y="169611"/>
                    </a:lnTo>
                    <a:lnTo>
                      <a:pt x="4141632" y="153409"/>
                    </a:lnTo>
                    <a:lnTo>
                      <a:pt x="4144286" y="150124"/>
                    </a:lnTo>
                    <a:lnTo>
                      <a:pt x="4145802" y="148696"/>
                    </a:lnTo>
                    <a:lnTo>
                      <a:pt x="4147351" y="148447"/>
                    </a:lnTo>
                    <a:lnTo>
                      <a:pt x="4146192" y="150290"/>
                    </a:lnTo>
                    <a:lnTo>
                      <a:pt x="4146860" y="151819"/>
                    </a:lnTo>
                    <a:lnTo>
                      <a:pt x="4148378" y="152923"/>
                    </a:lnTo>
                    <a:lnTo>
                      <a:pt x="4149759" y="153479"/>
                    </a:lnTo>
                    <a:lnTo>
                      <a:pt x="4151995" y="153596"/>
                    </a:lnTo>
                    <a:lnTo>
                      <a:pt x="4158012" y="151038"/>
                    </a:lnTo>
                    <a:lnTo>
                      <a:pt x="4166359" y="150273"/>
                    </a:lnTo>
                    <a:lnTo>
                      <a:pt x="4168067" y="151114"/>
                    </a:lnTo>
                    <a:lnTo>
                      <a:pt x="4168364" y="153178"/>
                    </a:lnTo>
                    <a:lnTo>
                      <a:pt x="4167890" y="155573"/>
                    </a:lnTo>
                    <a:lnTo>
                      <a:pt x="4166987" y="157612"/>
                    </a:lnTo>
                    <a:lnTo>
                      <a:pt x="4165999" y="158629"/>
                    </a:lnTo>
                    <a:lnTo>
                      <a:pt x="4165967" y="159883"/>
                    </a:lnTo>
                    <a:lnTo>
                      <a:pt x="4166563" y="159776"/>
                    </a:lnTo>
                    <a:lnTo>
                      <a:pt x="4168416" y="159900"/>
                    </a:lnTo>
                    <a:lnTo>
                      <a:pt x="4166304" y="164091"/>
                    </a:lnTo>
                    <a:lnTo>
                      <a:pt x="4160123" y="164343"/>
                    </a:lnTo>
                    <a:lnTo>
                      <a:pt x="4157231" y="166765"/>
                    </a:lnTo>
                    <a:lnTo>
                      <a:pt x="4154170" y="170193"/>
                    </a:lnTo>
                    <a:lnTo>
                      <a:pt x="4150384" y="171544"/>
                    </a:lnTo>
                    <a:lnTo>
                      <a:pt x="4142353" y="172221"/>
                    </a:lnTo>
                    <a:lnTo>
                      <a:pt x="4145339" y="174206"/>
                    </a:lnTo>
                    <a:lnTo>
                      <a:pt x="4149302" y="174233"/>
                    </a:lnTo>
                    <a:lnTo>
                      <a:pt x="4165748" y="169138"/>
                    </a:lnTo>
                    <a:lnTo>
                      <a:pt x="4168161" y="170038"/>
                    </a:lnTo>
                    <a:lnTo>
                      <a:pt x="4166593" y="172522"/>
                    </a:lnTo>
                    <a:lnTo>
                      <a:pt x="4163195" y="176182"/>
                    </a:lnTo>
                    <a:lnTo>
                      <a:pt x="4161654" y="178771"/>
                    </a:lnTo>
                    <a:lnTo>
                      <a:pt x="4159318" y="184427"/>
                    </a:lnTo>
                    <a:lnTo>
                      <a:pt x="4157805" y="186614"/>
                    </a:lnTo>
                    <a:lnTo>
                      <a:pt x="4155741" y="187496"/>
                    </a:lnTo>
                    <a:lnTo>
                      <a:pt x="4155217" y="191012"/>
                    </a:lnTo>
                    <a:lnTo>
                      <a:pt x="4149706" y="196629"/>
                    </a:lnTo>
                    <a:lnTo>
                      <a:pt x="4147805" y="200107"/>
                    </a:lnTo>
                    <a:lnTo>
                      <a:pt x="4151268" y="200832"/>
                    </a:lnTo>
                    <a:lnTo>
                      <a:pt x="4159524" y="193522"/>
                    </a:lnTo>
                    <a:lnTo>
                      <a:pt x="4163260" y="191435"/>
                    </a:lnTo>
                    <a:lnTo>
                      <a:pt x="4165163" y="191920"/>
                    </a:lnTo>
                    <a:lnTo>
                      <a:pt x="4166538" y="193425"/>
                    </a:lnTo>
                    <a:lnTo>
                      <a:pt x="4167490" y="195818"/>
                    </a:lnTo>
                    <a:lnTo>
                      <a:pt x="4168123" y="199009"/>
                    </a:lnTo>
                    <a:lnTo>
                      <a:pt x="4167904" y="199299"/>
                    </a:lnTo>
                    <a:lnTo>
                      <a:pt x="4167384" y="199721"/>
                    </a:lnTo>
                    <a:lnTo>
                      <a:pt x="4166903" y="200436"/>
                    </a:lnTo>
                    <a:lnTo>
                      <a:pt x="4166794" y="201506"/>
                    </a:lnTo>
                    <a:lnTo>
                      <a:pt x="4167032" y="202053"/>
                    </a:lnTo>
                    <a:lnTo>
                      <a:pt x="4167461" y="202421"/>
                    </a:lnTo>
                    <a:lnTo>
                      <a:pt x="4167854" y="202619"/>
                    </a:lnTo>
                    <a:lnTo>
                      <a:pt x="4168032" y="202650"/>
                    </a:lnTo>
                    <a:lnTo>
                      <a:pt x="4168357" y="204134"/>
                    </a:lnTo>
                    <a:lnTo>
                      <a:pt x="4168745" y="205050"/>
                    </a:lnTo>
                    <a:lnTo>
                      <a:pt x="4168899" y="206038"/>
                    </a:lnTo>
                    <a:lnTo>
                      <a:pt x="4168538" y="207787"/>
                    </a:lnTo>
                    <a:lnTo>
                      <a:pt x="4172325" y="209009"/>
                    </a:lnTo>
                    <a:lnTo>
                      <a:pt x="4175308" y="213760"/>
                    </a:lnTo>
                    <a:lnTo>
                      <a:pt x="4177977" y="219615"/>
                    </a:lnTo>
                    <a:lnTo>
                      <a:pt x="4180844" y="224199"/>
                    </a:lnTo>
                    <a:lnTo>
                      <a:pt x="4181019" y="218735"/>
                    </a:lnTo>
                    <a:lnTo>
                      <a:pt x="4179571" y="216347"/>
                    </a:lnTo>
                    <a:lnTo>
                      <a:pt x="4177395" y="214716"/>
                    </a:lnTo>
                    <a:lnTo>
                      <a:pt x="4175414" y="211605"/>
                    </a:lnTo>
                    <a:lnTo>
                      <a:pt x="4175060" y="209785"/>
                    </a:lnTo>
                    <a:lnTo>
                      <a:pt x="4174945" y="207546"/>
                    </a:lnTo>
                    <a:lnTo>
                      <a:pt x="4175030" y="203387"/>
                    </a:lnTo>
                    <a:lnTo>
                      <a:pt x="4174483" y="202463"/>
                    </a:lnTo>
                    <a:lnTo>
                      <a:pt x="4174064" y="201541"/>
                    </a:lnTo>
                    <a:lnTo>
                      <a:pt x="4173779" y="200305"/>
                    </a:lnTo>
                    <a:lnTo>
                      <a:pt x="4174041" y="199251"/>
                    </a:lnTo>
                    <a:lnTo>
                      <a:pt x="4174714" y="198404"/>
                    </a:lnTo>
                    <a:lnTo>
                      <a:pt x="4175181" y="197396"/>
                    </a:lnTo>
                    <a:lnTo>
                      <a:pt x="4174864" y="195847"/>
                    </a:lnTo>
                    <a:lnTo>
                      <a:pt x="4171483" y="191000"/>
                    </a:lnTo>
                    <a:lnTo>
                      <a:pt x="4170892" y="188879"/>
                    </a:lnTo>
                    <a:lnTo>
                      <a:pt x="4170989" y="186734"/>
                    </a:lnTo>
                    <a:lnTo>
                      <a:pt x="4171456" y="185129"/>
                    </a:lnTo>
                    <a:lnTo>
                      <a:pt x="4171987" y="183690"/>
                    </a:lnTo>
                    <a:lnTo>
                      <a:pt x="4172264" y="181981"/>
                    </a:lnTo>
                    <a:lnTo>
                      <a:pt x="4173193" y="178452"/>
                    </a:lnTo>
                    <a:lnTo>
                      <a:pt x="4175020" y="176170"/>
                    </a:lnTo>
                    <a:lnTo>
                      <a:pt x="4176667" y="173474"/>
                    </a:lnTo>
                    <a:lnTo>
                      <a:pt x="4177035" y="168740"/>
                    </a:lnTo>
                    <a:lnTo>
                      <a:pt x="4178476" y="168061"/>
                    </a:lnTo>
                    <a:lnTo>
                      <a:pt x="4179478" y="168359"/>
                    </a:lnTo>
                    <a:lnTo>
                      <a:pt x="4185920" y="173279"/>
                    </a:lnTo>
                    <a:lnTo>
                      <a:pt x="4187602" y="173811"/>
                    </a:lnTo>
                    <a:lnTo>
                      <a:pt x="4191301" y="173227"/>
                    </a:lnTo>
                    <a:lnTo>
                      <a:pt x="4198382" y="169686"/>
                    </a:lnTo>
                    <a:lnTo>
                      <a:pt x="4203231" y="168493"/>
                    </a:lnTo>
                    <a:lnTo>
                      <a:pt x="4207464" y="165464"/>
                    </a:lnTo>
                    <a:lnTo>
                      <a:pt x="4208817" y="165523"/>
                    </a:lnTo>
                    <a:lnTo>
                      <a:pt x="4211650" y="168218"/>
                    </a:lnTo>
                    <a:lnTo>
                      <a:pt x="4212974" y="168933"/>
                    </a:lnTo>
                    <a:lnTo>
                      <a:pt x="4214474" y="168453"/>
                    </a:lnTo>
                    <a:lnTo>
                      <a:pt x="4219240" y="165177"/>
                    </a:lnTo>
                    <a:lnTo>
                      <a:pt x="4223057" y="164518"/>
                    </a:lnTo>
                    <a:lnTo>
                      <a:pt x="4224894" y="163629"/>
                    </a:lnTo>
                    <a:lnTo>
                      <a:pt x="4226242" y="161451"/>
                    </a:lnTo>
                    <a:lnTo>
                      <a:pt x="4214302" y="164022"/>
                    </a:lnTo>
                    <a:lnTo>
                      <a:pt x="4204253" y="162400"/>
                    </a:lnTo>
                    <a:lnTo>
                      <a:pt x="4201101" y="162603"/>
                    </a:lnTo>
                    <a:lnTo>
                      <a:pt x="4200791" y="163050"/>
                    </a:lnTo>
                    <a:lnTo>
                      <a:pt x="4200552" y="163907"/>
                    </a:lnTo>
                    <a:lnTo>
                      <a:pt x="4200402" y="164735"/>
                    </a:lnTo>
                    <a:lnTo>
                      <a:pt x="4200382" y="165094"/>
                    </a:lnTo>
                    <a:lnTo>
                      <a:pt x="4199696" y="165240"/>
                    </a:lnTo>
                    <a:lnTo>
                      <a:pt x="4194992" y="165132"/>
                    </a:lnTo>
                    <a:lnTo>
                      <a:pt x="4194062" y="165673"/>
                    </a:lnTo>
                    <a:lnTo>
                      <a:pt x="4193159" y="167006"/>
                    </a:lnTo>
                    <a:lnTo>
                      <a:pt x="4191934" y="168276"/>
                    </a:lnTo>
                    <a:lnTo>
                      <a:pt x="4190273" y="168866"/>
                    </a:lnTo>
                    <a:lnTo>
                      <a:pt x="4187133" y="168803"/>
                    </a:lnTo>
                    <a:lnTo>
                      <a:pt x="4185640" y="168270"/>
                    </a:lnTo>
                    <a:lnTo>
                      <a:pt x="4184729" y="167473"/>
                    </a:lnTo>
                    <a:lnTo>
                      <a:pt x="4182764" y="164994"/>
                    </a:lnTo>
                    <a:lnTo>
                      <a:pt x="4177278" y="160163"/>
                    </a:lnTo>
                    <a:lnTo>
                      <a:pt x="4175748" y="158070"/>
                    </a:lnTo>
                    <a:lnTo>
                      <a:pt x="4175144" y="156743"/>
                    </a:lnTo>
                    <a:lnTo>
                      <a:pt x="4174651" y="155238"/>
                    </a:lnTo>
                    <a:lnTo>
                      <a:pt x="4174332" y="153601"/>
                    </a:lnTo>
                    <a:lnTo>
                      <a:pt x="4174243" y="151836"/>
                    </a:lnTo>
                    <a:lnTo>
                      <a:pt x="4173916" y="149990"/>
                    </a:lnTo>
                    <a:lnTo>
                      <a:pt x="4173019" y="149319"/>
                    </a:lnTo>
                    <a:lnTo>
                      <a:pt x="4171910" y="148969"/>
                    </a:lnTo>
                    <a:lnTo>
                      <a:pt x="4166475" y="143082"/>
                    </a:lnTo>
                    <a:lnTo>
                      <a:pt x="4161207" y="142371"/>
                    </a:lnTo>
                    <a:lnTo>
                      <a:pt x="4155713" y="144591"/>
                    </a:lnTo>
                    <a:lnTo>
                      <a:pt x="4150589" y="148474"/>
                    </a:lnTo>
                    <a:lnTo>
                      <a:pt x="4150398" y="147750"/>
                    </a:lnTo>
                    <a:lnTo>
                      <a:pt x="4150218" y="146762"/>
                    </a:lnTo>
                    <a:lnTo>
                      <a:pt x="4150016" y="144827"/>
                    </a:lnTo>
                    <a:lnTo>
                      <a:pt x="4152953" y="141760"/>
                    </a:lnTo>
                    <a:lnTo>
                      <a:pt x="4169951" y="131330"/>
                    </a:lnTo>
                    <a:lnTo>
                      <a:pt x="4172250" y="130443"/>
                    </a:lnTo>
                    <a:lnTo>
                      <a:pt x="4176977" y="130012"/>
                    </a:lnTo>
                    <a:lnTo>
                      <a:pt x="4179208" y="128654"/>
                    </a:lnTo>
                    <a:lnTo>
                      <a:pt x="4176098" y="128633"/>
                    </a:lnTo>
                    <a:lnTo>
                      <a:pt x="4179170" y="126400"/>
                    </a:lnTo>
                    <a:lnTo>
                      <a:pt x="4188840" y="117031"/>
                    </a:lnTo>
                    <a:lnTo>
                      <a:pt x="4191246" y="113689"/>
                    </a:lnTo>
                    <a:lnTo>
                      <a:pt x="4192638" y="112339"/>
                    </a:lnTo>
                    <a:lnTo>
                      <a:pt x="4194770" y="111433"/>
                    </a:lnTo>
                    <a:lnTo>
                      <a:pt x="4199265" y="110763"/>
                    </a:lnTo>
                    <a:lnTo>
                      <a:pt x="4203544" y="107772"/>
                    </a:lnTo>
                    <a:lnTo>
                      <a:pt x="4206201" y="106772"/>
                    </a:lnTo>
                    <a:lnTo>
                      <a:pt x="4215960" y="105666"/>
                    </a:lnTo>
                    <a:lnTo>
                      <a:pt x="4218578" y="104782"/>
                    </a:lnTo>
                    <a:lnTo>
                      <a:pt x="4221965" y="101782"/>
                    </a:lnTo>
                    <a:lnTo>
                      <a:pt x="4238765" y="97519"/>
                    </a:lnTo>
                    <a:lnTo>
                      <a:pt x="4234639" y="101265"/>
                    </a:lnTo>
                    <a:lnTo>
                      <a:pt x="4224447" y="102217"/>
                    </a:lnTo>
                    <a:lnTo>
                      <a:pt x="4219481" y="104964"/>
                    </a:lnTo>
                    <a:lnTo>
                      <a:pt x="4237511" y="103561"/>
                    </a:lnTo>
                    <a:lnTo>
                      <a:pt x="4239230" y="104952"/>
                    </a:lnTo>
                    <a:lnTo>
                      <a:pt x="4240516" y="108788"/>
                    </a:lnTo>
                    <a:lnTo>
                      <a:pt x="4236807" y="110373"/>
                    </a:lnTo>
                    <a:lnTo>
                      <a:pt x="4224969" y="111121"/>
                    </a:lnTo>
                    <a:lnTo>
                      <a:pt x="4215925" y="115673"/>
                    </a:lnTo>
                    <a:lnTo>
                      <a:pt x="4212452" y="116197"/>
                    </a:lnTo>
                    <a:lnTo>
                      <a:pt x="4212432" y="117560"/>
                    </a:lnTo>
                    <a:lnTo>
                      <a:pt x="4217581" y="119365"/>
                    </a:lnTo>
                    <a:lnTo>
                      <a:pt x="4219242" y="120543"/>
                    </a:lnTo>
                    <a:lnTo>
                      <a:pt x="4220768" y="120682"/>
                    </a:lnTo>
                    <a:lnTo>
                      <a:pt x="4222394" y="119525"/>
                    </a:lnTo>
                    <a:lnTo>
                      <a:pt x="4224017" y="119032"/>
                    </a:lnTo>
                    <a:lnTo>
                      <a:pt x="4225522" y="121140"/>
                    </a:lnTo>
                    <a:lnTo>
                      <a:pt x="4225003" y="121839"/>
                    </a:lnTo>
                    <a:lnTo>
                      <a:pt x="4224198" y="123269"/>
                    </a:lnTo>
                    <a:lnTo>
                      <a:pt x="4223629" y="123743"/>
                    </a:lnTo>
                    <a:lnTo>
                      <a:pt x="4225769" y="126765"/>
                    </a:lnTo>
                    <a:lnTo>
                      <a:pt x="4230691" y="130571"/>
                    </a:lnTo>
                    <a:lnTo>
                      <a:pt x="4232841" y="133794"/>
                    </a:lnTo>
                    <a:lnTo>
                      <a:pt x="4233417" y="132653"/>
                    </a:lnTo>
                    <a:lnTo>
                      <a:pt x="4228579" y="123567"/>
                    </a:lnTo>
                    <a:lnTo>
                      <a:pt x="4227844" y="119879"/>
                    </a:lnTo>
                    <a:lnTo>
                      <a:pt x="4231751" y="118772"/>
                    </a:lnTo>
                    <a:lnTo>
                      <a:pt x="4242316" y="120053"/>
                    </a:lnTo>
                    <a:lnTo>
                      <a:pt x="4254139" y="117680"/>
                    </a:lnTo>
                    <a:lnTo>
                      <a:pt x="4252910" y="113971"/>
                    </a:lnTo>
                    <a:lnTo>
                      <a:pt x="4250590" y="112529"/>
                    </a:lnTo>
                    <a:lnTo>
                      <a:pt x="4245497" y="112542"/>
                    </a:lnTo>
                    <a:lnTo>
                      <a:pt x="4247769" y="110428"/>
                    </a:lnTo>
                    <a:lnTo>
                      <a:pt x="4279047" y="115077"/>
                    </a:lnTo>
                    <a:lnTo>
                      <a:pt x="4313252" y="110137"/>
                    </a:lnTo>
                    <a:lnTo>
                      <a:pt x="4304066" y="109412"/>
                    </a:lnTo>
                    <a:lnTo>
                      <a:pt x="4299187" y="107541"/>
                    </a:lnTo>
                    <a:lnTo>
                      <a:pt x="4296401" y="103803"/>
                    </a:lnTo>
                    <a:lnTo>
                      <a:pt x="4300347" y="103708"/>
                    </a:lnTo>
                    <a:lnTo>
                      <a:pt x="4308566" y="106718"/>
                    </a:lnTo>
                    <a:lnTo>
                      <a:pt x="4339933" y="106591"/>
                    </a:lnTo>
                    <a:lnTo>
                      <a:pt x="4355956" y="101091"/>
                    </a:lnTo>
                    <a:lnTo>
                      <a:pt x="4373024" y="90662"/>
                    </a:lnTo>
                    <a:lnTo>
                      <a:pt x="4377420" y="89074"/>
                    </a:lnTo>
                    <a:lnTo>
                      <a:pt x="4380158" y="86327"/>
                    </a:lnTo>
                    <a:lnTo>
                      <a:pt x="4381520" y="85691"/>
                    </a:lnTo>
                    <a:lnTo>
                      <a:pt x="4383214" y="85359"/>
                    </a:lnTo>
                    <a:lnTo>
                      <a:pt x="4412022" y="63147"/>
                    </a:lnTo>
                    <a:lnTo>
                      <a:pt x="4424307" y="47719"/>
                    </a:lnTo>
                    <a:lnTo>
                      <a:pt x="4429539" y="38852"/>
                    </a:lnTo>
                    <a:lnTo>
                      <a:pt x="4447288" y="19790"/>
                    </a:lnTo>
                    <a:lnTo>
                      <a:pt x="4458902" y="11167"/>
                    </a:lnTo>
                    <a:lnTo>
                      <a:pt x="4466754" y="8870"/>
                    </a:lnTo>
                    <a:lnTo>
                      <a:pt x="4472673" y="4223"/>
                    </a:lnTo>
                    <a:lnTo>
                      <a:pt x="4474640" y="1490"/>
                    </a:lnTo>
                    <a:close/>
                  </a:path>
                </a:pathLst>
              </a:custGeom>
              <a:solidFill>
                <a:srgbClr val="E7001D"/>
              </a:solidFill>
              <a:ln w="3175" cap="rnd">
                <a:solidFill>
                  <a:srgbClr val="E7001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0" name="TextBox 189">
              <a:hlinkClick r:id="rId229" action="ppaction://hlinksldjump"/>
              <a:extLst>
                <a:ext uri="{FF2B5EF4-FFF2-40B4-BE49-F238E27FC236}">
                  <a16:creationId xmlns:a16="http://schemas.microsoft.com/office/drawing/2014/main" id="{A9C617F8-720D-4D89-9104-B2E22E4D0526}"/>
                </a:ext>
              </a:extLst>
            </p:cNvPr>
            <p:cNvSpPr txBox="1"/>
            <p:nvPr/>
          </p:nvSpPr>
          <p:spPr>
            <a:xfrm>
              <a:off x="5383028" y="2682468"/>
              <a:ext cx="3746752" cy="11849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.S. 2018: 25-30% prevalence </a:t>
              </a:r>
            </a:p>
            <a:p>
              <a:pPr lvl="0" algn="ctr">
                <a:spcAft>
                  <a:spcPts val="600"/>
                </a:spcAft>
                <a:defRPr/>
              </a:pPr>
              <a:r>
                <a:rPr lang="en-US" sz="2400" dirty="0">
                  <a:solidFill>
                    <a:prstClr val="white"/>
                  </a:solidFill>
                </a:rPr>
                <a:t>(1990: ~11.5M)</a:t>
              </a:r>
              <a:br>
                <a:rPr lang="en-US" sz="2400" dirty="0">
                  <a:solidFill>
                    <a:prstClr val="white"/>
                  </a:solidFill>
                </a:rPr>
              </a:br>
              <a:r>
                <a:rPr lang="en-US" sz="2400" dirty="0">
                  <a:solidFill>
                    <a:prstClr val="white"/>
                  </a:solidFill>
                </a:rPr>
                <a:t> 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1 : ~90M</a:t>
              </a:r>
            </a:p>
          </p:txBody>
        </p:sp>
      </p:grpSp>
      <p:sp>
        <p:nvSpPr>
          <p:cNvPr id="255" name="TextBox 254">
            <a:extLst>
              <a:ext uri="{FF2B5EF4-FFF2-40B4-BE49-F238E27FC236}">
                <a16:creationId xmlns:a16="http://schemas.microsoft.com/office/drawing/2014/main" id="{3B9DC443-6E1E-48B6-B685-6076888F0E9D}"/>
              </a:ext>
            </a:extLst>
          </p:cNvPr>
          <p:cNvSpPr txBox="1"/>
          <p:nvPr/>
        </p:nvSpPr>
        <p:spPr>
          <a:xfrm>
            <a:off x="5058553" y="3779592"/>
            <a:ext cx="559156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2030 forecast: 100.9 M</a:t>
            </a:r>
            <a:r>
              <a:rPr lang="en-US" sz="3200" b="1" dirty="0">
                <a:solidFill>
                  <a:prstClr val="white"/>
                </a:solidFill>
              </a:rPr>
              <a:t>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230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750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750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75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E2B38-4ADC-D890-FB0E-E4146FAAC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05DE5-9B0D-A90D-7242-700D6B0B5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tabolicky</a:t>
            </a:r>
            <a:r>
              <a:rPr lang="en-US" dirty="0"/>
              <a:t> </a:t>
            </a:r>
            <a:r>
              <a:rPr lang="en-US" dirty="0" err="1"/>
              <a:t>asociovaná</a:t>
            </a:r>
            <a:r>
              <a:rPr lang="en-US" dirty="0"/>
              <a:t> </a:t>
            </a:r>
            <a:r>
              <a:rPr lang="en-US" dirty="0" err="1"/>
              <a:t>steatotická</a:t>
            </a:r>
            <a:r>
              <a:rPr lang="en-US" dirty="0"/>
              <a:t> </a:t>
            </a:r>
            <a:r>
              <a:rPr lang="en-US" dirty="0" err="1"/>
              <a:t>nemoc</a:t>
            </a:r>
            <a:r>
              <a:rPr lang="en-US" dirty="0"/>
              <a:t> </a:t>
            </a:r>
            <a:r>
              <a:rPr lang="en-US" dirty="0" err="1"/>
              <a:t>jater</a:t>
            </a:r>
            <a:r>
              <a:rPr lang="en-US" dirty="0"/>
              <a:t> (MASLD): Diabetes mellitus 2. </a:t>
            </a:r>
            <a:r>
              <a:rPr lang="en-US" dirty="0" err="1"/>
              <a:t>typu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93641F-80FD-98C0-AF62-70D7FD5583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Younossi</a:t>
            </a:r>
            <a:r>
              <a:rPr lang="en-US" dirty="0"/>
              <a:t>, Z. et al. Nat Rev Gastro </a:t>
            </a:r>
            <a:r>
              <a:rPr lang="en-US" dirty="0" err="1"/>
              <a:t>Hepat</a:t>
            </a:r>
            <a:r>
              <a:rPr lang="en-US" dirty="0"/>
              <a:t>. 2018;15:11–20</a:t>
            </a:r>
          </a:p>
          <a:p>
            <a:r>
              <a:rPr lang="en-US" dirty="0"/>
              <a:t>Estes C, et al. Hepatology . 2018;67:123-33.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715B3EF4-44E7-937B-4E54-6F6E9A8C31E6}"/>
              </a:ext>
            </a:extLst>
          </p:cNvPr>
          <p:cNvSpPr txBox="1"/>
          <p:nvPr/>
        </p:nvSpPr>
        <p:spPr>
          <a:xfrm>
            <a:off x="5478082" y="6986570"/>
            <a:ext cx="86130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ounoss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Z. et al. Nat Ret Gastro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pa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18;15:11–20 / Estes C, et al. Hepatology . 2018;67:123-33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id="{E8E3AB6E-9744-B6E4-E800-3C2E795AF9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023" y="1427183"/>
            <a:ext cx="9210424" cy="473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704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D396C-EDE2-3F6A-3FA7-CDD8D13BB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oporučené</a:t>
            </a:r>
            <a:r>
              <a:rPr lang="en-US" noProof="0" dirty="0"/>
              <a:t> </a:t>
            </a:r>
            <a:r>
              <a:rPr lang="en-US" noProof="0" dirty="0" err="1"/>
              <a:t>postupy</a:t>
            </a:r>
            <a:r>
              <a:rPr lang="en-US" noProof="0" dirty="0"/>
              <a:t> EASL-EASD-EASO</a:t>
            </a:r>
            <a:endParaRPr lang="cs-CZ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162EDC-EC05-C745-80BD-06C174B43E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111D610-D3B9-3AAE-1717-097F3166DE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0874"/>
          <a:stretch>
            <a:fillRect/>
          </a:stretch>
        </p:blipFill>
        <p:spPr>
          <a:xfrm>
            <a:off x="540000" y="1680236"/>
            <a:ext cx="7429552" cy="39893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8D6F83C-BED9-F9A8-0366-04C677483D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1216" r="54798"/>
          <a:stretch>
            <a:fillRect/>
          </a:stretch>
        </p:blipFill>
        <p:spPr>
          <a:xfrm>
            <a:off x="8175626" y="4653247"/>
            <a:ext cx="3604182" cy="101637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6FE754-DAF4-9F06-6D1F-97EB07D374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1732" t="81216"/>
          <a:stretch>
            <a:fillRect/>
          </a:stretch>
        </p:blipFill>
        <p:spPr>
          <a:xfrm>
            <a:off x="8175626" y="3040346"/>
            <a:ext cx="3848656" cy="1016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91E2715-CB3D-D718-86B6-3E443338B3C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1488" t="26625" r="28808" b="65566"/>
          <a:stretch>
            <a:fillRect/>
          </a:stretch>
        </p:blipFill>
        <p:spPr>
          <a:xfrm>
            <a:off x="3741022" y="2731301"/>
            <a:ext cx="3278590" cy="881723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2291BA-EA40-8572-84EC-26733F7759D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1732" t="96002" r="7983"/>
          <a:stretch>
            <a:fillRect/>
          </a:stretch>
        </p:blipFill>
        <p:spPr>
          <a:xfrm>
            <a:off x="3741022" y="3767811"/>
            <a:ext cx="6660056" cy="44849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45AF5E29-6D57-9C6C-2111-7E233A84879C}"/>
              </a:ext>
            </a:extLst>
          </p:cNvPr>
          <p:cNvSpPr/>
          <p:nvPr/>
        </p:nvSpPr>
        <p:spPr>
          <a:xfrm>
            <a:off x="6084886" y="3727084"/>
            <a:ext cx="934725" cy="399603"/>
          </a:xfrm>
          <a:prstGeom prst="ellipse">
            <a:avLst/>
          </a:prstGeom>
          <a:noFill/>
          <a:ln w="57150">
            <a:solidFill>
              <a:schemeClr val="accent1">
                <a:alpha val="62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34836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IAAAAAAAAAAwAAAAMAAAAA/////wQADw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2cBuhdelV9FgbTnQ5bYMFEFAAAAAAADAAAAAAADAAAAAwADAAAAAAD///////8DAAAAAAD///////8DAAAAAAD///////8DAAAAAAD///////8DAAAAAAD///////8DAAEA////////BAAAAAMAEAAL2+W0bS2DiEa/1JNKcrZPV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cBuhdelV9FgbTnQ5bYMFEDRGF0YQAbAAAABExpbmtlZFNoYXBlRGF0YQAFAAAAAAACTmFtZQAZAAAATGlua2VkU2hhcGVzRGF0YVByb3BlcnR5ABBWZXJzaW9uAAAAAAAJTGFzdFdyaXRlAKF0zP6GAQAAAAEA/////8YAxgAAAAVfaWQAEAAAAATb5bRtLYOIRr/Uk0pytk9UA0RhdGEAUwAAAAhQcmVzZW50YXRpb25TY2FubmVkRm9yTGlua2VkU2hhcGVzAAECTnVtYmVyRm9ybWF0U2VwYXJhdG9yTW9kZQAKAAAAQXV0b21hdGljAAACTmFtZQAkAAAATGlua2VkU2hhcGVQcmVzZW50YXRpb25TZXR0aW5nc0RhdGEAEFZlcnNpb24AAAAAAAlMYXN0V3JpdGUAuHTM/o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1"/>
  <p:tag name="EE4P_MAPWIZARD" val="Arizo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\World Bank Region"/>
  <p:tag name="EE4P_MAPWIZARD" val="Bosnia and Herzegovina\Europe\Europe\Southern Europe\Europe &amp; Central As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\World Bank Region"/>
  <p:tag name="EE4P_MAPWIZARD" val="Belarus\Europe\Europe\Eastern Europe\Europe &amp; Central Asi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\World Bank Region"/>
  <p:tag name="EE4P_MAPWIZARD" val="Brunei\Asia\Asia\South-Eastern Asia\East Asia &amp; Pacific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\World Bank Region"/>
  <p:tag name="EE4P_MAPWIZARD" val="Bhutan\Asia\Asia\Southern Asia\South As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\World Bank Region"/>
  <p:tag name="EE4P_MAPWIZARD" val="Botswana\Africa\Africa\Southern Africa\Sub-Saharan Afric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\World Bank Region"/>
  <p:tag name="EE4P_MAPWIZARD" val="Central African Republic\Africa\Africa\Middle Africa\Sub-Saharan Afric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\World Bank Region"/>
  <p:tag name="EE4P_MAPWIZARD" val="China\Asia\Asia\Eastern Asia\East Asia &amp; Pacific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\World Bank Region"/>
  <p:tag name="EE4P_MAPWIZARD" val="Switzerland\Europe\Europe\Western Europe\Europe &amp; Central As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\World Bank Region"/>
  <p:tag name="EE4P_MAPWIZARD" val="Ivory Coast\Africa\Africa\Western Africa\Sub-Saharan Afri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\World Bank Region"/>
  <p:tag name="EE4P_MAPWIZARD" val="Cameroon\Africa\Africa\Middle Africa\Sub-Saharan Afr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1"/>
  <p:tag name="EE4P_MAPWIZARD" val="Californ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\World Bank Region"/>
  <p:tag name="EE4P_MAPWIZARD" val="Democratic Republic of the Congo\Africa\Africa\Middle Africa\Sub-Saharan Afric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\World Bank Region"/>
  <p:tag name="EE4P_MAPWIZARD" val="Republic of Congo\Africa\Africa\Middle Africa\Sub-Saharan Afri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\World Bank Region"/>
  <p:tag name="EE4P_MAPWIZARD" val="Northern Cyprus\Asia\Asia\Western Asia\Europe &amp; Central Asi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\World Bank Region"/>
  <p:tag name="EE4P_MAPWIZARD" val="Cyprus\Asia\Asia\Western Asia\Europe &amp; Central Asi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\World Bank Region"/>
  <p:tag name="EE4P_MAPWIZARD" val="Czech Republic\Europe\Europe\Eastern Europe\Europe &amp; Central Asi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\World Bank Region"/>
  <p:tag name="EE4P_MAPWIZARD" val="Germany\Europe\Europe\Western Europe\Europe &amp; Central As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\World Bank Region"/>
  <p:tag name="EE4P_MAPWIZARD" val="Djibouti\Africa\Africa\Eastern Africa\Middle East &amp; North Afri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\World Bank Region"/>
  <p:tag name="EE4P_MAPWIZARD" val="Algeria\Africa\Africa\Northern Africa\Middle East &amp; North Afri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\World Bank Region"/>
  <p:tag name="EE4P_MAPWIZARD" val="Egypt\Africa\Africa\Northern Africa\Middle East &amp; North Afri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\World Bank Region"/>
  <p:tag name="EE4P_MAPWIZARD" val="Eritrea\Africa\Africa\Eastern Africa\Sub-Saharan Afr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1"/>
  <p:tag name="EE4P_MAPWIZARD" val="Colorado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\World Bank Region"/>
  <p:tag name="EE4P_MAPWIZARD" val="Spain\Europe\Europe\Southern Europe\Europe &amp; Central Asi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\World Bank Region"/>
  <p:tag name="EE4P_MAPWIZARD" val="Estonia\Europe\Europe\Northern Europe\Europe &amp; Central As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\World Bank Region"/>
  <p:tag name="EE4P_MAPWIZARD" val="Ethiopia\Africa\Africa\Eastern Africa\Sub-Saharan Afric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\World Bank Region"/>
  <p:tag name="EE4P_MAPWIZARD" val="Finland\Europe\Europe\Northern Europe\Europe &amp; Central Asi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\World Bank Region"/>
  <p:tag name="EE4P_MAPWIZARD" val="France\Europe\Europe\Western Europe\Europe &amp; Central As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\World Bank Region"/>
  <p:tag name="EE4P_MAPWIZARD" val="Gabon\Africa\Africa\Middle Africa\Sub-Saharan Afri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\World Bank Region"/>
  <p:tag name="EE4P_MAPWIZARD" val="Georgia\Asia\Asia\Western Asia\Europe &amp; Central As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\World Bank Region"/>
  <p:tag name="EE4P_MAPWIZARD" val="Ghana\Africa\Africa\Western Africa\Sub-Saharan Afri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\World Bank Region"/>
  <p:tag name="EE4P_MAPWIZARD" val="Guinea\Africa\Africa\Western Africa\Sub-Saharan Afri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\World Bank Region"/>
  <p:tag name="EE4P_MAPWIZARD" val="Gambia\Africa\Africa\Western Africa\Sub-Saharan Afri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V"/>
  <p:tag name="EE4P_MAPWIZARD_HEADINGS" val="Admin 1"/>
  <p:tag name="EE4P_MAPWIZARD" val="Neva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\World Bank Region"/>
  <p:tag name="EE4P_MAPWIZARD" val="Guinea Bissau\Africa\Africa\Western Africa\Sub-Saharan Afric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\World Bank Region"/>
  <p:tag name="EE4P_MAPWIZARD" val="Equatorial Guinea\Africa\Africa\Middle Africa\Sub-Saharan Afri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\World Bank Region"/>
  <p:tag name="EE4P_MAPWIZARD" val="Greece\Europe\Europe\Southern Europe\Europe &amp; Central As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\World Bank Region"/>
  <p:tag name="EE4P_MAPWIZARD" val="Croatia\Europe\Europe\Southern Europe\Europe &amp; Central As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\World Bank Region"/>
  <p:tag name="EE4P_MAPWIZARD" val="Hungary\Europe\Europe\Eastern Europe\Europe &amp; Central As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\World Bank Region"/>
  <p:tag name="EE4P_MAPWIZARD" val="Indonesia\Asia\Asia\South-Eastern Asia\East Asia &amp; Pacific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\World Bank Region"/>
  <p:tag name="EE4P_MAPWIZARD" val="India\Asia\Asia\Southern Asia\South As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\World Bank Region"/>
  <p:tag name="EE4P_MAPWIZARD" val="Ireland\Europe\Europe\Northern Europe\Europe &amp; Central As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\World Bank Region"/>
  <p:tag name="EE4P_MAPWIZARD" val="Iran\Asia\Asia\Southern Asia\Middle East &amp; North Afric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\World Bank Region"/>
  <p:tag name="EE4P_MAPWIZARD" val="Iraq\Asia\Asia\Western Asia\Middle East &amp; North Afr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M"/>
  <p:tag name="EE4P_MAPWIZARD_HEADINGS" val="Admin 1"/>
  <p:tag name="EE4P_MAPWIZARD" val="New Mexico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\World Bank Region"/>
  <p:tag name="EE4P_MAPWIZARD" val="Iceland\Europe\Europe\Northern Europe\Europe &amp; Central Asi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\World Bank Region"/>
  <p:tag name="EE4P_MAPWIZARD" val="Israel\Asia\Asia\Western Asia\Middle East &amp; North Afri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\World Bank Region"/>
  <p:tag name="EE4P_MAPWIZARD" val="Italy\Europe\Europe\Southern Europe\Europe &amp; Central As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\World Bank Region"/>
  <p:tag name="EE4P_MAPWIZARD" val="Jordan\Asia\Asia\Western Asia\Middle East &amp; North Afr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\World Bank Region"/>
  <p:tag name="EE4P_MAPWIZARD" val="Japan\Asia\Asia\Eastern Asia\East Asia &amp; Pacific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\World Bank Region"/>
  <p:tag name="EE4P_MAPWIZARD" val="Kazakhstan\Asia\Asia\Central Asia\Europe &amp; Central As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\World Bank Region"/>
  <p:tag name="EE4P_MAPWIZARD" val="Kenya\Africa\Africa\Eastern Africa\Sub-Saharan Afri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\World Bank Region"/>
  <p:tag name="EE4P_MAPWIZARD" val="Kyrgyzstan\Asia\Asia\Central Asia\Europe &amp; Central Asi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\World Bank Region"/>
  <p:tag name="EE4P_MAPWIZARD" val="Cambodia\Asia\Asia\South-Eastern Asia\East Asia &amp; Pacific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\World Bank Region"/>
  <p:tag name="EE4P_MAPWIZARD" val="South Korea\Asia\Asia\Eastern Asia\East Asia &amp; Pacifi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R"/>
  <p:tag name="EE4P_MAPWIZARD_HEADINGS" val="Admin 1"/>
  <p:tag name="EE4P_MAPWIZARD" val="Oreg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\World Bank Region"/>
  <p:tag name="EE4P_MAPWIZARD" val="Kosovo\Europe\Europe\Southern Europe\Europe &amp; Central Asi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\World Bank Region"/>
  <p:tag name="EE4P_MAPWIZARD" val="Kuwait\Asia\Asia\Western Asia\Middle East &amp; North Afric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\World Bank Region"/>
  <p:tag name="EE4P_MAPWIZARD" val="Laos\Asia\Asia\South-Eastern Asia\East Asia &amp; Pacific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\World Bank Region"/>
  <p:tag name="EE4P_MAPWIZARD" val="Lebanon\Asia\Asia\Western Asia\Middle East &amp; North Afri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\World Bank Region"/>
  <p:tag name="EE4P_MAPWIZARD" val="Liberia\Africa\Africa\Western Africa\Sub-Saharan Afri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\World Bank Region"/>
  <p:tag name="EE4P_MAPWIZARD" val="Libya\Africa\Africa\Northern Africa\Middle East &amp; North Afri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\World Bank Region"/>
  <p:tag name="EE4P_MAPWIZARD" val="Sri Lanka\Asia\Asia\Southern Asia\South Asi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\World Bank Region"/>
  <p:tag name="EE4P_MAPWIZARD" val="Lesotho\Africa\Africa\Southern Africa\Sub-Saharan Afri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\World Bank Region"/>
  <p:tag name="EE4P_MAPWIZARD" val="Lithuania\Europe\Europe\Northern Europe\Europe &amp; Central As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\World Bank Region"/>
  <p:tag name="EE4P_MAPWIZARD" val="Luxembourg\Europe\Europe\Western Europe\Europe &amp; Central As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T"/>
  <p:tag name="EE4P_MAPWIZARD_HEADINGS" val="Admin 1"/>
  <p:tag name="EE4P_MAPWIZARD" val="Utah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\World Bank Region"/>
  <p:tag name="EE4P_MAPWIZARD" val="Latvia\Europe\Europe\Northern Europe\Europe &amp; Central As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\World Bank Region"/>
  <p:tag name="EE4P_MAPWIZARD" val="Morocco\Africa\Africa\Northern Africa\Middle East &amp; North Afric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\World Bank Region"/>
  <p:tag name="EE4P_MAPWIZARD" val="Moldova\Europe\Europe\Eastern Europe\Europe &amp; Central As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\World Bank Region"/>
  <p:tag name="EE4P_MAPWIZARD" val="Madagascar\Africa\Africa\Eastern Africa\Sub-Saharan Afri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\World Bank Region"/>
  <p:tag name="EE4P_MAPWIZARD" val="Macedonia\Europe\Europe\Southern Europe\Europe &amp; Central Asi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\World Bank Region"/>
  <p:tag name="EE4P_MAPWIZARD" val="Mali\Africa\Africa\Western Africa\Sub-Saharan Afri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\World Bank Region"/>
  <p:tag name="EE4P_MAPWIZARD" val="Myanmar\Asia\Asia\South-Eastern Asia\East Asia &amp; Pacific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\World Bank Region"/>
  <p:tag name="EE4P_MAPWIZARD" val="Montenegro\Europe\Europe\Southern Europe\Europe &amp; Central As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\World Bank Region"/>
  <p:tag name="EE4P_MAPWIZARD" val="Mongolia\Asia\Asia\Eastern Asia\East Asia &amp; Pacific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\World Bank Region"/>
  <p:tag name="EE4P_MAPWIZARD" val="Mozambique\Africa\Africa\Eastern Africa\Sub-Saharan Afri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Wyomin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\World Bank Region"/>
  <p:tag name="EE4P_MAPWIZARD" val="Mauritania\Africa\Africa\Western Africa\Sub-Saharan Afri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\World Bank Region"/>
  <p:tag name="EE4P_MAPWIZARD" val="Malawi\Africa\Africa\Eastern Africa\Sub-Saharan Afric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\World Bank Region"/>
  <p:tag name="EE4P_MAPWIZARD" val="Malaysia\Asia\Asia\South-Eastern Asia\East Asia &amp; Pacific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\World Bank Region"/>
  <p:tag name="EE4P_MAPWIZARD" val="Namibia\Africa\Africa\Southern Africa\Sub-Saharan Afri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\World Bank Region"/>
  <p:tag name="EE4P_MAPWIZARD" val="Niger\Africa\Africa\Western Africa\Sub-Saharan Afric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\World Bank Region"/>
  <p:tag name="EE4P_MAPWIZARD" val="Nigeria\Africa\Africa\Western Africa\Sub-Saharan Afric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\World Bank Region"/>
  <p:tag name="EE4P_MAPWIZARD" val="Netherlands\Europe\Europe\Western Europe\Europe &amp; Central Asi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\World Bank Region"/>
  <p:tag name="EE4P_MAPWIZARD" val="Norway\Europe\Europe\Northern Europe\Europe &amp; Central Asi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\World Bank Region"/>
  <p:tag name="EE4P_MAPWIZARD" val="Nepal\Asia\Asia\Southern Asia\South Asi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\World Bank Region"/>
  <p:tag name="EE4P_MAPWIZARD" val="New Zealand\Oceania\Oceania\Australia and New Zealand\East Asia &amp; Pacifi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Arkansa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\World Bank Region"/>
  <p:tag name="EE4P_MAPWIZARD" val="Oman\Asia\Asia\Western Asia\Middle East &amp; North Afric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\World Bank Region"/>
  <p:tag name="EE4P_MAPWIZARD" val="Pakistan\Asia\Asia\Southern Asia\South Asi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\World Bank Region"/>
  <p:tag name="EE4P_MAPWIZARD" val="Philippines\Asia\Asia\South-Eastern Asia\East Asia &amp; Pacific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\World Bank Region"/>
  <p:tag name="EE4P_MAPWIZARD" val="Papua New Guinea\Oceania\Oceania\Melanesia\East Asia &amp; Pacific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\World Bank Region"/>
  <p:tag name="EE4P_MAPWIZARD" val="Poland\Europe\Europe\Eastern Europe\Europe &amp; Central Asi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\World Bank Region"/>
  <p:tag name="EE4P_MAPWIZARD" val="North Korea\Asia\Asia\Eastern Asia\East Asia &amp; Pacific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\World Bank Region"/>
  <p:tag name="EE4P_MAPWIZARD" val="Portugal\Europe\Europe\Southern Europe\Europe &amp; Central Asi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\World Bank Region"/>
  <p:tag name="EE4P_MAPWIZARD" val="Qatar\Asia\Asia\Western Asia\Middle East &amp; North Afri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\World Bank Region"/>
  <p:tag name="EE4P_MAPWIZARD" val="Romania\Europe\Europe\Eastern Europe\Europe &amp; Central Asi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\World Bank Region"/>
  <p:tag name="EE4P_MAPWIZARD" val="Russia\Europe\Europe\Eastern Europe\Europe &amp; Central As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A"/>
  <p:tag name="EE4P_MAPWIZARD_HEADINGS" val="Admin 1"/>
  <p:tag name="EE4P_MAPWIZARD" val="Io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\World Bank Region"/>
  <p:tag name="EE4P_MAPWIZARD" val="Rwanda\Africa\Africa\Eastern Africa\Sub-Saharan Afri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\World Bank Region"/>
  <p:tag name="EE4P_MAPWIZARD" val="Western Sahara\Africa\Africa\Northern Africa\Middle East &amp; North Afric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\World Bank Region"/>
  <p:tag name="EE4P_MAPWIZARD" val="Saudi Arabia\Asia\Asia\Western Asia\Middle East &amp; North Afric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\World Bank Region"/>
  <p:tag name="EE4P_MAPWIZARD" val="Sudan\Africa\Africa\Northern Africa\Sub-Saharan Afri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\World Bank Region"/>
  <p:tag name="EE4P_MAPWIZARD" val="South Sudan\Africa\Africa\Eastern Africa\Sub-Saharan Afric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\World Bank Region"/>
  <p:tag name="EE4P_MAPWIZARD" val="Senegal\Africa\Africa\Western Africa\Sub-Saharan Afric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\World Bank Region"/>
  <p:tag name="EE4P_MAPWIZARD" val="Solomon Islands\Oceania\Oceania\Melanesia\East Asia &amp; Pacific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\World Bank Region"/>
  <p:tag name="EE4P_MAPWIZARD" val="Sierra Leone\Africa\Africa\Western Africa\Sub-Saharan Afric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\World Bank Region"/>
  <p:tag name="EE4P_MAPWIZARD" val="Somaliland\Africa\Africa\Eastern Africa\Sub-Saharan Afri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\World Bank Region"/>
  <p:tag name="EE4P_MAPWIZARD" val="Somalia\Africa\Africa\Eastern Africa\Sub-Saharan Afri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I"/>
  <p:tag name="EE4P_MAPWIZARD_HEADINGS" val="Admin 1"/>
  <p:tag name="EE4P_MAPWIZARD" val="Hawaii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S"/>
  <p:tag name="EE4P_MAPWIZARD_HEADINGS" val="Admin 1"/>
  <p:tag name="EE4P_MAPWIZARD" val="Kansa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\World Bank Region"/>
  <p:tag name="EE4P_MAPWIZARD" val="Republic of Serbia\Europe\Europe\Southern Europe\Europe &amp; Central Asi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\World Bank Region"/>
  <p:tag name="EE4P_MAPWIZARD" val="Slovakia\Europe\Europe\Eastern Europe\Europe &amp; Central Asi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\World Bank Region"/>
  <p:tag name="EE4P_MAPWIZARD" val="Slovenia\Europe\Europe\Southern Europe\Europe &amp; Central Asi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\World Bank Region"/>
  <p:tag name="EE4P_MAPWIZARD" val="Sweden\Europe\Europe\Northern Europe\Europe &amp; Central Asi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\World Bank Region"/>
  <p:tag name="EE4P_MAPWIZARD" val="Swaziland\Africa\Africa\Southern Africa\Sub-Saharan Afric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\World Bank Region"/>
  <p:tag name="EE4P_MAPWIZARD" val="Syria\Asia\Asia\Western Asia\Middle East &amp; North Afric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\World Bank Region"/>
  <p:tag name="EE4P_MAPWIZARD" val="Chad\Africa\Africa\Middle Africa\Sub-Saharan Afric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\World Bank Region"/>
  <p:tag name="EE4P_MAPWIZARD" val="Togo\Africa\Africa\Western Africa\Sub-Saharan Afric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\World Bank Region"/>
  <p:tag name="EE4P_MAPWIZARD" val="Thailand\Asia\Asia\South-Eastern Asia\East Asia &amp; Pacific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\World Bank Region"/>
  <p:tag name="EE4P_MAPWIZARD" val="Tajikistan\Asia\Asia\Central Asia\Europe &amp; Central As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Missouri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\World Bank Region"/>
  <p:tag name="EE4P_MAPWIZARD" val="Turkmenistan\Asia\Asia\Central Asia\Europe &amp; Central Asi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\World Bank Region"/>
  <p:tag name="EE4P_MAPWIZARD" val="East Timor\Asia\Asia\South-Eastern Asia\East Asia &amp; Pacific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\World Bank Region"/>
  <p:tag name="EE4P_MAPWIZARD" val="Tunisia\Africa\Africa\Northern Africa\Middle East &amp; North Afric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\World Bank Region"/>
  <p:tag name="EE4P_MAPWIZARD" val="Turkey\Asia\Asia\Western Asia\Europe &amp; Central Asi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\World Bank Region"/>
  <p:tag name="EE4P_MAPWIZARD" val="Taiwan\Asia\Asia\Eastern Asia\East Asia &amp; Pacific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\World Bank Region"/>
  <p:tag name="EE4P_MAPWIZARD" val="United Republic of Tanzania\Africa\Africa\Eastern Africa\Sub-Saharan Afric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\World Bank Region"/>
  <p:tag name="EE4P_MAPWIZARD" val="Uganda\Africa\Africa\Eastern Africa\Sub-Saharan Afric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\World Bank Region"/>
  <p:tag name="EE4P_MAPWIZARD" val="Ukraine\Europe\Europe\Eastern Europe\Europe &amp; Central Asi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\World Bank Region"/>
  <p:tag name="EE4P_MAPWIZARD" val="Uzbekistan\Asia\Asia\Central Asia\Europe &amp; Central Asi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\World Bank Region"/>
  <p:tag name="EE4P_MAPWIZARD" val="Vietnam\Asia\Asia\South-Eastern Asia\East Asia &amp; Pacific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1"/>
  <p:tag name="EE4P_MAPWIZARD" val="Nebrask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\World Bank Region"/>
  <p:tag name="EE4P_MAPWIZARD" val="Vanuatu\Oceania\Oceania\Melanesia\East Asia &amp; Pacific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\World Bank Region"/>
  <p:tag name="EE4P_MAPWIZARD" val="Yemen\Asia\Asia\Western Asia\Middle East &amp; North Afric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\World Bank Region"/>
  <p:tag name="EE4P_MAPWIZARD" val="South Africa\Africa\Africa\Southern Africa\Sub-Saharan Afric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\World Bank Region"/>
  <p:tag name="EE4P_MAPWIZARD" val="Zambia\Africa\Africa\Eastern Africa\Sub-Saharan Afric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\World Bank Region"/>
  <p:tag name="EE4P_MAPWIZARD" val="Zimbabwe\Africa\Africa\Eastern Africa\Sub-Saharan Afric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\World Bank Region"/>
  <p:tag name="EE4P_MAPWIZARD" val="Fiji\Oceania\Oceania\Melanesia\East Asia &amp; Pacific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\World Bank Region"/>
  <p:tag name="EE4P_MAPWIZARD" val="France\Europe\Europe\Western Europe\Europe &amp; Central Asi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\World Bank Region"/>
  <p:tag name="EE4P_MAPWIZARD" val="United Kingdom\Europe\Europe\Northern Europe\Europe &amp; Central As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K"/>
  <p:tag name="EE4P_MAPWIZARD_HEADINGS" val="Admin 1"/>
  <p:tag name="EE4P_MAPWIZARD" val="Oklaho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1"/>
  <p:tag name="EE4P_MAPWIZARD" val="South Dako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Louisia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T"/>
  <p:tag name="EE4P_MAPWIZARD_HEADINGS" val="Admin 1"/>
  <p:tag name="EE4P_MAPWIZARD" val="Connecticu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H"/>
  <p:tag name="EE4P_MAPWIZARD_HEADINGS" val="Admin 1"/>
  <p:tag name="EE4P_MAPWIZARD" val="New Hampshir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I"/>
  <p:tag name="EE4P_MAPWIZARD_HEADINGS" val="Admin 1"/>
  <p:tag name="EE4P_MAPWIZARD" val="Rhode Islan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T"/>
  <p:tag name="EE4P_MAPWIZARD_HEADINGS" val="Admin 1"/>
  <p:tag name="EE4P_MAPWIZARD" val="Vermo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K"/>
  <p:tag name="EE4P_MAPWIZARD_HEADINGS" val="Admin 1"/>
  <p:tag name="EE4P_MAPWIZARD" val="Alas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1"/>
  <p:tag name="EE4P_MAPWIZARD" val="Alaba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L"/>
  <p:tag name="EE4P_MAPWIZARD_HEADINGS" val="Admin 1"/>
  <p:tag name="EE4P_MAPWIZARD" val="Flori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1"/>
  <p:tag name="EE4P_MAPWIZARD" val="Georg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Mississippi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C"/>
  <p:tag name="EE4P_MAPWIZARD_HEADINGS" val="Admin 1"/>
  <p:tag name="EE4P_MAPWIZARD" val="South Caroli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1"/>
  <p:tag name="EE4P_MAPWIZARD" val="Illinoi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1"/>
  <p:tag name="EE4P_MAPWIZARD" val="India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Y"/>
  <p:tag name="EE4P_MAPWIZARD_HEADINGS" val="Admin 1"/>
  <p:tag name="EE4P_MAPWIZARD" val="Kentucky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C"/>
  <p:tag name="EE4P_MAPWIZARD_HEADINGS" val="Admin 1"/>
  <p:tag name="EE4P_MAPWIZARD" val="North Caroli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H"/>
  <p:tag name="EE4P_MAPWIZARD_HEADINGS" val="Admin 1"/>
  <p:tag name="EE4P_MAPWIZARD" val="Ohi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1"/>
  <p:tag name="EE4P_MAPWIZARD" val="Massachusett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1"/>
  <p:tag name="EE4P_MAPWIZARD" val="Tennesse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1"/>
  <p:tag name="EE4P_MAPWIZARD" val="Virgin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Wisconsi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V"/>
  <p:tag name="EE4P_MAPWIZARD_HEADINGS" val="Admin 1"/>
  <p:tag name="EE4P_MAPWIZARD" val="West Virgin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1"/>
  <p:tag name="EE4P_MAPWIZARD" val="Delawar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C"/>
  <p:tag name="EE4P_MAPWIZARD_HEADINGS" val="Admin 1"/>
  <p:tag name="EE4P_MAPWIZARD" val="District of Columb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1"/>
  <p:tag name="EE4P_MAPWIZARD" val="Marylan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J"/>
  <p:tag name="EE4P_MAPWIZARD_HEADINGS" val="Admin 1"/>
  <p:tag name="EE4P_MAPWIZARD" val="New Jerse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Y"/>
  <p:tag name="EE4P_MAPWIZARD_HEADINGS" val="Admin 1"/>
  <p:tag name="EE4P_MAPWIZARD" val="New York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1"/>
  <p:tag name="EE4P_MAPWIZARD" val="Pennsylvan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Minneso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1"/>
  <p:tag name="EE4P_MAPWIZARD" val="Ma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I"/>
  <p:tag name="EE4P_MAPWIZARD_HEADINGS" val="Admin 1"/>
  <p:tag name="EE4P_MAPWIZARD" val="Michiga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X"/>
  <p:tag name="EE4P_MAPWIZARD_HEADINGS" val="Admin 1"/>
  <p:tag name="EE4P_MAPWIZARD" val="Texa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\World Bank Region"/>
  <p:tag name="EE4P_MAPWIZARD" val="Canada\North America\Americas\Northern America\North Ameri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\World Bank Region"/>
  <p:tag name="EE4P_MAPWIZARD" val="Denmark\Europe\Europe\Northern Europe\Europe &amp; Central As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\World Bank Region"/>
  <p:tag name="EE4P_MAPWIZARD" val="United States of America\North America\Americas\Northern America\North Ameri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\World Bank Region"/>
  <p:tag name="EE4P_MAPWIZARD" val="United Kingdom\Europe\Europe\Northern Europe\Europe &amp; Central As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\World Bank Region"/>
  <p:tag name="EE4P_MAPWIZARD" val="Argentina\South America\Americas\South America\Latin America &amp; Caribbea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\World Bank Region"/>
  <p:tag name="EE4P_MAPWIZARD" val="The Bahamas\North America\Americas\Caribbean\Latin America &amp; Caribbea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\World Bank Region"/>
  <p:tag name="EE4P_MAPWIZARD" val="Belize\North America\Americas\Central America\Latin America &amp; Caribbea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1"/>
  <p:tag name="EE4P_MAPWIZARD" val="Monta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\World Bank Region"/>
  <p:tag name="EE4P_MAPWIZARD" val="Bolivia\South America\Americas\South America\Latin America &amp; Caribbea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\World Bank Region"/>
  <p:tag name="EE4P_MAPWIZARD" val="Brazil\South America\Americas\South America\Latin America &amp; Caribbea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\World Bank Region"/>
  <p:tag name="EE4P_MAPWIZARD" val="Chile\South America\Americas\South America\Latin America &amp; Caribbea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\World Bank Region"/>
  <p:tag name="EE4P_MAPWIZARD" val="Colombia\South America\Americas\South America\Latin America &amp; Caribbea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\World Bank Region"/>
  <p:tag name="EE4P_MAPWIZARD" val="Costa Rica\North America\Americas\Central America\Latin America &amp; Caribbea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\World Bank Region"/>
  <p:tag name="EE4P_MAPWIZARD" val="Cuba\North America\Americas\Caribbean\Latin America &amp; Caribbea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\World Bank Region"/>
  <p:tag name="EE4P_MAPWIZARD" val="Dominican Republic\North America\Americas\Caribbean\Latin America &amp; Caribbea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\World Bank Region"/>
  <p:tag name="EE4P_MAPWIZARD" val="Ecuador\South America\Americas\South America\Latin America &amp; Caribbea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\World Bank Region"/>
  <p:tag name="EE4P_MAPWIZARD" val="Guatemala\North America\Americas\Central America\Latin America &amp; Caribbea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\World Bank Region"/>
  <p:tag name="EE4P_MAPWIZARD" val="Guyana\South America\Americas\South America\Latin America &amp; Caribbe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North Dako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\World Bank Region"/>
  <p:tag name="EE4P_MAPWIZARD" val="Honduras\North America\Americas\Central America\Latin America &amp; Caribbea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\World Bank Region"/>
  <p:tag name="EE4P_MAPWIZARD" val="Haiti\North America\Americas\Caribbean\Latin America &amp; Caribbea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\World Bank Region"/>
  <p:tag name="EE4P_MAPWIZARD" val="Jamaica\North America\Americas\Caribbean\Latin America &amp; Caribbea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\World Bank Region"/>
  <p:tag name="EE4P_MAPWIZARD" val="Mexico\North America\Americas\Central America\Latin America &amp; Caribbea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\World Bank Region"/>
  <p:tag name="EE4P_MAPWIZARD" val="Nicaragua\North America\Americas\Central America\Latin America &amp; Caribbea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\World Bank Region"/>
  <p:tag name="EE4P_MAPWIZARD" val="Panama\North America\Americas\Central America\Latin America &amp; Caribbea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\World Bank Region"/>
  <p:tag name="EE4P_MAPWIZARD" val="Peru\South America\Americas\South America\Latin America &amp; Caribbea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\World Bank Region"/>
  <p:tag name="EE4P_MAPWIZARD" val="Paraguay\South America\Americas\South America\Latin America &amp; Caribbea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\World Bank Region"/>
  <p:tag name="EE4P_MAPWIZARD" val="El Salvador\North America\Americas\Central America\Latin America &amp; Caribbea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\World Bank Region"/>
  <p:tag name="EE4P_MAPWIZARD" val="Suriname\South America\Americas\South America\Latin America &amp; Caribbea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1"/>
  <p:tag name="EE4P_MAPWIZARD" val="Idaho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\World Bank Region"/>
  <p:tag name="EE4P_MAPWIZARD" val="Trinidad and Tobago\North America\Americas\Caribbean\Latin America &amp; Caribbea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\World Bank Region"/>
  <p:tag name="EE4P_MAPWIZARD" val="Uruguay\South America\Americas\South America\Latin America &amp; Caribbea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\World Bank Region"/>
  <p:tag name="EE4P_MAPWIZARD" val="United States of America\North America\Americas\Northern America\North Ameri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\World Bank Region"/>
  <p:tag name="EE4P_MAPWIZARD" val="Venezuela\South America\Americas\South America\Latin America &amp; Caribbea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\World Bank Region"/>
  <p:tag name="EE4P_MAPWIZARD" val="Denmark\Europe\Europe\Northern Europe\Europe &amp; Central As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\World Bank Region"/>
  <p:tag name="EE4P_MAPWIZARD" val="United Kingdom\Europe\Europe\Northern Europe\Europe &amp; Central As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\World Bank Region"/>
  <p:tag name="EE4P_MAPWIZARD" val="Afghanistan\Asia\Asia\Southern Asia\South As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\World Bank Region"/>
  <p:tag name="EE4P_MAPWIZARD" val="Angola\Africa\Africa\Middle Africa\Sub-Saharan Afri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\World Bank Region"/>
  <p:tag name="EE4P_MAPWIZARD" val="Albania\Europe\Europe\Southern Europe\Europe &amp; Central As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\World Bank Region"/>
  <p:tag name="EE4P_MAPWIZARD" val="United Arab Emirates\Asia\Asia\Western Asia\Middle East &amp; North Afri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A"/>
  <p:tag name="EE4P_MAPWIZARD_HEADINGS" val="Admin 1"/>
  <p:tag name="EE4P_MAPWIZARD" val="Washingt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\World Bank Region"/>
  <p:tag name="EE4P_MAPWIZARD" val="Armenia\Asia\Asia\Western Asia\Europe &amp; Central As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\World Bank Region"/>
  <p:tag name="EE4P_MAPWIZARD" val="Australia\Oceania\Oceania\Australia and New Zealand\East Asia &amp; Pacific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\World Bank Region"/>
  <p:tag name="EE4P_MAPWIZARD" val="Austria\Europe\Europe\Western Europe\Europe &amp; Central As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\World Bank Region"/>
  <p:tag name="EE4P_MAPWIZARD" val="Azerbaijan\Asia\Asia\Western Asia\Europe &amp; Central As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\World Bank Region"/>
  <p:tag name="EE4P_MAPWIZARD" val="Burundi\Africa\Africa\Eastern Africa\Sub-Saharan Afric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\World Bank Region"/>
  <p:tag name="EE4P_MAPWIZARD" val="Belgium\Europe\Europe\Western Europe\Europe &amp; Central As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\World Bank Region"/>
  <p:tag name="EE4P_MAPWIZARD" val="Benin\Africa\Africa\Western Africa\Sub-Saharan Afri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\World Bank Region"/>
  <p:tag name="EE4P_MAPWIZARD" val="Burkina Faso\Africa\Africa\Western Africa\Sub-Saharan Afri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\World Bank Region"/>
  <p:tag name="EE4P_MAPWIZARD" val="Bangladesh\Asia\Asia\Southern Asia\South As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\World Bank Region"/>
  <p:tag name="EE4P_MAPWIZARD" val="Bulgaria\Europe\Europe\Eastern Europe\Europe &amp; Central Asia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9" id="{DB80524C-F3E0-42C5-92CC-7F32BC2F7BC1}" vid="{C0FC4420-B227-4BEF-9805-C717DCD64E71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03785ad-acb8-44be-9004-2dab229825aa">
      <Terms xmlns="http://schemas.microsoft.com/office/infopath/2007/PartnerControls"/>
    </lcf76f155ced4ddcb4097134ff3c332f>
    <TaxCatchAll xmlns="8fcb8544-2e40-4f02-887e-5cd2f4e9420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44E36B9F7D8AB41B5E2EA6E5A4F64A5" ma:contentTypeVersion="12" ma:contentTypeDescription="Vytvoří nový dokument" ma:contentTypeScope="" ma:versionID="d7518cbeb0a585721d9cbfef7e5b1e9e">
  <xsd:schema xmlns:xsd="http://www.w3.org/2001/XMLSchema" xmlns:xs="http://www.w3.org/2001/XMLSchema" xmlns:p="http://schemas.microsoft.com/office/2006/metadata/properties" xmlns:ns2="103785ad-acb8-44be-9004-2dab229825aa" xmlns:ns3="8fcb8544-2e40-4f02-887e-5cd2f4e94207" targetNamespace="http://schemas.microsoft.com/office/2006/metadata/properties" ma:root="true" ma:fieldsID="3a5502a27e01d3f262a599166fba3471" ns2:_="" ns3:_="">
    <xsd:import namespace="103785ad-acb8-44be-9004-2dab229825aa"/>
    <xsd:import namespace="8fcb8544-2e40-4f02-887e-5cd2f4e942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3785ad-acb8-44be-9004-2dab229825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Značky obrázků" ma:readOnly="false" ma:fieldId="{5cf76f15-5ced-4ddc-b409-7134ff3c332f}" ma:taxonomyMulti="true" ma:sspId="b43e7359-1bb9-4f84-b037-448f316cac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cb8544-2e40-4f02-887e-5cd2f4e94207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46fa252f-2bf0-4a29-bc25-c767b4f79a95}" ma:internalName="TaxCatchAll" ma:showField="CatchAllData" ma:web="8fcb8544-2e40-4f02-887e-5cd2f4e942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VariableList UniqueId="4318a6f2-bcec-4906-a222-7ecbb1d29109" Name="System" ContentType="XML" MajorVersion="0" MinorVersion="1" isLocalCopy="False" IsBaseObject="False" DataSourceId="27563e76-b085-4823-9088-9d5a8c59f2c0" DataSourceMajorVersion="0" DataSourceMinorVersion="1"/>
</file>

<file path=customXml/item4.xml><?xml version="1.0" encoding="utf-8"?>
<AllExternalAdhocVariableMappings/>
</file>

<file path=customXml/item5.xml><?xml version="1.0" encoding="utf-8"?>
<VariableList UniqueId="7690555e-f1c0-417b-8bfa-af01814dd9ab" Name="AD_HOC" ContentType="XML" MajorVersion="0" MinorVersion="1" isLocalCopy="False" IsBaseObject="False" DataSourceId="2646fb72-1c39-4a96-a364-9ffa8c56fd3e" DataSourceMajorVersion="0" DataSourceMinorVersion="1"/>
</file>

<file path=customXml/item6.xml><?xml version="1.0" encoding="utf-8"?>
<VariableList UniqueId="0e22c224-88fc-4f27-8f41-b33ec50c30ac" Name="Computed" ContentType="XML" MajorVersion="0" MinorVersion="1" isLocalCopy="False" IsBaseObject="False" DataSourceId="7d2beb25-a964-4ff6-97aa-33dae838af2b" DataSourceMajorVersion="0" DataSourceMinorVersion="1"/>
</file>

<file path=customXml/item7.xml><?xml version="1.0" encoding="utf-8"?>
<VariableListDefinition name="Computed" displayName="Computed" id="0e22c224-88fc-4f27-8f41-b33ec50c30ac" isdomainofvalue="False" dataSourceId="7d2beb25-a964-4ff6-97aa-33dae838af2b"/>
</file>

<file path=customXml/item8.xml><?xml version="1.0" encoding="utf-8"?>
<VariableListDefinition name="AD_HOC" displayName="AD_HOC" id="7690555e-f1c0-417b-8bfa-af01814dd9ab" isdomainofvalue="False" dataSourceId="2646fb72-1c39-4a96-a364-9ffa8c56fd3e"/>
</file>

<file path=customXml/item9.xml><?xml version="1.0" encoding="utf-8"?>
<VariableListDefinition name="System" displayName="System" id="4318a6f2-bcec-4906-a222-7ecbb1d29109" isdomainofvalue="False" dataSourceId="27563e76-b085-4823-9088-9d5a8c59f2c0"/>
</file>

<file path=customXml/itemProps1.xml><?xml version="1.0" encoding="utf-8"?>
<ds:datastoreItem xmlns:ds="http://schemas.openxmlformats.org/officeDocument/2006/customXml" ds:itemID="{A3FDB18D-DE5E-4D12-BBB6-8809C2D94A23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E9F1D58A-69E6-4662-80AB-003C6886B450}"/>
</file>

<file path=customXml/itemProps2.xml><?xml version="1.0" encoding="utf-8"?>
<ds:datastoreItem xmlns:ds="http://schemas.openxmlformats.org/officeDocument/2006/customXml" ds:itemID="{1F638072-D23A-41F7-9030-66E54F890674}"/>
</file>

<file path=customXml/itemProps3.xml><?xml version="1.0" encoding="utf-8"?>
<ds:datastoreItem xmlns:ds="http://schemas.openxmlformats.org/officeDocument/2006/customXml" ds:itemID="{F718C08A-00AD-4875-B43F-9FB3CDBB4DA5}">
  <ds:schemaRefs/>
</ds:datastoreItem>
</file>

<file path=customXml/itemProps4.xml><?xml version="1.0" encoding="utf-8"?>
<ds:datastoreItem xmlns:ds="http://schemas.openxmlformats.org/officeDocument/2006/customXml" ds:itemID="{00156865-B736-452B-A4E4-37BB5F57E751}">
  <ds:schemaRefs/>
</ds:datastoreItem>
</file>

<file path=customXml/itemProps5.xml><?xml version="1.0" encoding="utf-8"?>
<ds:datastoreItem xmlns:ds="http://schemas.openxmlformats.org/officeDocument/2006/customXml" ds:itemID="{2A61D509-F0C5-4B67-A7BC-400B3788CE19}">
  <ds:schemaRefs/>
</ds:datastoreItem>
</file>

<file path=customXml/itemProps6.xml><?xml version="1.0" encoding="utf-8"?>
<ds:datastoreItem xmlns:ds="http://schemas.openxmlformats.org/officeDocument/2006/customXml" ds:itemID="{A9C95A0C-928A-4BB4-8F0B-BA25A87004F3}">
  <ds:schemaRefs/>
</ds:datastoreItem>
</file>

<file path=customXml/itemProps7.xml><?xml version="1.0" encoding="utf-8"?>
<ds:datastoreItem xmlns:ds="http://schemas.openxmlformats.org/officeDocument/2006/customXml" ds:itemID="{3A534C47-0182-44E9-BE0F-EAABFF83DA15}">
  <ds:schemaRefs/>
</ds:datastoreItem>
</file>

<file path=customXml/itemProps8.xml><?xml version="1.0" encoding="utf-8"?>
<ds:datastoreItem xmlns:ds="http://schemas.openxmlformats.org/officeDocument/2006/customXml" ds:itemID="{6BB7D2BE-295A-41F3-8769-22851359CD9B}">
  <ds:schemaRefs/>
</ds:datastoreItem>
</file>

<file path=customXml/itemProps9.xml><?xml version="1.0" encoding="utf-8"?>
<ds:datastoreItem xmlns:ds="http://schemas.openxmlformats.org/officeDocument/2006/customXml" ds:itemID="{70CFEFE2-859D-4511-AC37-42F0B7B7EE1F}">
  <ds:schemaRefs/>
</ds:datastoreItem>
</file>

<file path=docMetadata/LabelInfo.xml><?xml version="1.0" encoding="utf-8"?>
<clbl:labelList xmlns:clbl="http://schemas.microsoft.com/office/2020/mipLabelMetadata">
  <clbl:label id="{ff6dbec8-95a8-4638-9f5f-bd076536645c}" enabled="1" method="Standard" siteId="{5dbf1add-202a-4b8d-815b-bf0fb024e033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_CC_Brand_ppt-template-16x9-V1.8</Template>
  <TotalTime>0</TotalTime>
  <Words>1020</Words>
  <Application>Microsoft Office PowerPoint</Application>
  <PresentationFormat>Custom</PresentationFormat>
  <Paragraphs>183</Paragraphs>
  <Slides>23</Slides>
  <Notes>23</Notes>
  <HiddenSlides>0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Times New Roman</vt:lpstr>
      <vt:lpstr>Wingdings</vt:lpstr>
      <vt:lpstr>SH_PPT_template_16x9_V201808_Calibri</vt:lpstr>
      <vt:lpstr>CS ChemDraw Drawing</vt:lpstr>
      <vt:lpstr>Horbaczewského Analytický Den</vt:lpstr>
      <vt:lpstr>Magline™ · ELF™ test · Acridinium Ester · InteliQ BIO-RAD</vt:lpstr>
      <vt:lpstr>Magline™</vt:lpstr>
      <vt:lpstr>Technologický patent: Atellica Magline™</vt:lpstr>
      <vt:lpstr>ELF™</vt:lpstr>
      <vt:lpstr>Etiologie chronického onemocnění jater</vt:lpstr>
      <vt:lpstr>Metabolicky asociovaná steatotická nemoc jater (MASLD): Celosvětová krize</vt:lpstr>
      <vt:lpstr>Metabolicky asociovaná steatotická nemoc jater (MASLD): Diabetes mellitus 2. typu</vt:lpstr>
      <vt:lpstr>Doporučené postupy EASL-EASD-EASO</vt:lpstr>
      <vt:lpstr>ELF™ TEST</vt:lpstr>
      <vt:lpstr>ELF hodnotí prognostické riziko progrese onemocnění u pacientů s MASH s pokročilou fibrózou</vt:lpstr>
      <vt:lpstr>Diagnostika rychlostí světla</vt:lpstr>
      <vt:lpstr>Advanced Acridinium Ester Technology</vt:lpstr>
      <vt:lpstr>1. Generace AE</vt:lpstr>
      <vt:lpstr>Mechanismus chemiluminescence</vt:lpstr>
      <vt:lpstr>Cíle vývoje – strukturální obměny a jejich význam</vt:lpstr>
      <vt:lpstr>Příklady komerčně používaných AE</vt:lpstr>
      <vt:lpstr>Budoucnost AE ?</vt:lpstr>
      <vt:lpstr>BIO-RAD &amp; Siemens Healthineers</vt:lpstr>
      <vt:lpstr>UNITY™ Data Management</vt:lpstr>
      <vt:lpstr>Partnerství s BIO-RAD</vt:lpstr>
      <vt:lpstr>PowerPoint Presentation</vt:lpstr>
      <vt:lpstr>We pioneer breakthroughs in healthcare. For everyone. Everywhere. Sustainably. </vt:lpstr>
    </vt:vector>
  </TitlesOfParts>
  <Company>Siemens Healthine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Siemens Healthineers PPT-Template Basic Version</dc:subject>
  <dc:creator>Macků, Jan</dc:creator>
  <dc:description>January 2023</dc:description>
  <cp:lastModifiedBy>Macků, Jan</cp:lastModifiedBy>
  <cp:revision>1</cp:revision>
  <dcterms:created xsi:type="dcterms:W3CDTF">2025-12-09T13:39:54Z</dcterms:created>
  <dcterms:modified xsi:type="dcterms:W3CDTF">2026-03-24T14:3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6dbec8-95a8-4638-9f5f-bd076536645c_Enabled">
    <vt:lpwstr>true</vt:lpwstr>
  </property>
  <property fmtid="{D5CDD505-2E9C-101B-9397-08002B2CF9AE}" pid="3" name="MSIP_Label_ff6dbec8-95a8-4638-9f5f-bd076536645c_SetDate">
    <vt:lpwstr>2022-01-17T14:42:41Z</vt:lpwstr>
  </property>
  <property fmtid="{D5CDD505-2E9C-101B-9397-08002B2CF9AE}" pid="4" name="MSIP_Label_ff6dbec8-95a8-4638-9f5f-bd076536645c_Method">
    <vt:lpwstr>Standard</vt:lpwstr>
  </property>
  <property fmtid="{D5CDD505-2E9C-101B-9397-08002B2CF9AE}" pid="5" name="MSIP_Label_ff6dbec8-95a8-4638-9f5f-bd076536645c_Name">
    <vt:lpwstr>Restricted - Default</vt:lpwstr>
  </property>
  <property fmtid="{D5CDD505-2E9C-101B-9397-08002B2CF9AE}" pid="6" name="MSIP_Label_ff6dbec8-95a8-4638-9f5f-bd076536645c_SiteId">
    <vt:lpwstr>5dbf1add-202a-4b8d-815b-bf0fb024e033</vt:lpwstr>
  </property>
  <property fmtid="{D5CDD505-2E9C-101B-9397-08002B2CF9AE}" pid="7" name="MSIP_Label_ff6dbec8-95a8-4638-9f5f-bd076536645c_ActionId">
    <vt:lpwstr>9edd446f-1471-43b6-916d-e47369feafce</vt:lpwstr>
  </property>
  <property fmtid="{D5CDD505-2E9C-101B-9397-08002B2CF9AE}" pid="8" name="MSIP_Label_ff6dbec8-95a8-4638-9f5f-bd076536645c_ContentBits">
    <vt:lpwstr>0</vt:lpwstr>
  </property>
  <property fmtid="{D5CDD505-2E9C-101B-9397-08002B2CF9AE}" pid="9" name="ContentTypeId">
    <vt:lpwstr>0x010100D44E36B9F7D8AB41B5E2EA6E5A4F64A5</vt:lpwstr>
  </property>
</Properties>
</file>